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sdx" ContentType="application/vnd.ms-visio.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ink/ink1.xml" ContentType="application/inkml+xml"/>
  <Override PartName="/ppt/ink/ink2.xml" ContentType="application/inkml+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3.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4.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5.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6.xml" ContentType="application/vnd.openxmlformats-officedocument.theme+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7.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9.xml" ContentType="application/vnd.openxmlformats-officedocument.theme+xml"/>
  <Override PartName="/ppt/ink/ink3.xml" ContentType="application/inkml+xml"/>
  <Override PartName="/ppt/ink/ink4.xml" ContentType="application/inkml+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theme/theme10.xml" ContentType="application/vnd.openxmlformats-officedocument.theme+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11.xml" ContentType="application/vnd.openxmlformats-officedocument.theme+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theme/theme12.xml" ContentType="application/vnd.openxmlformats-officedocument.theme+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theme/theme13.xml" ContentType="application/vnd.openxmlformats-officedocument.theme+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theme/theme14.xml" ContentType="application/vnd.openxmlformats-officedocument.theme+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theme/theme15.xml" ContentType="application/vnd.openxmlformats-officedocument.theme+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theme/theme16.xml" ContentType="application/vnd.openxmlformats-officedocument.theme+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omments/modernComment_7FB477FF_2D3065A9.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5956" r:id="rId5"/>
    <p:sldMasterId id="2147486550" r:id="rId6"/>
    <p:sldMasterId id="2147486753" r:id="rId7"/>
    <p:sldMasterId id="2147487020" r:id="rId8"/>
    <p:sldMasterId id="2147487178" r:id="rId9"/>
    <p:sldMasterId id="2147487474" r:id="rId10"/>
    <p:sldMasterId id="2147487557" r:id="rId11"/>
    <p:sldMasterId id="2147487640" r:id="rId12"/>
    <p:sldMasterId id="2147487685" r:id="rId13"/>
    <p:sldMasterId id="2147487775" r:id="rId14"/>
    <p:sldMasterId id="2147487858" r:id="rId15"/>
    <p:sldMasterId id="2147488112" r:id="rId16"/>
    <p:sldMasterId id="2147488205" r:id="rId17"/>
    <p:sldMasterId id="2147488302" r:id="rId18"/>
    <p:sldMasterId id="2147488514" r:id="rId19"/>
    <p:sldMasterId id="2147488727" r:id="rId20"/>
  </p:sldMasterIdLst>
  <p:notesMasterIdLst>
    <p:notesMasterId r:id="rId91"/>
  </p:notesMasterIdLst>
  <p:handoutMasterIdLst>
    <p:handoutMasterId r:id="rId92"/>
  </p:handoutMasterIdLst>
  <p:sldIdLst>
    <p:sldId id="141169746" r:id="rId21"/>
    <p:sldId id="2142532817" r:id="rId22"/>
    <p:sldId id="2142532818" r:id="rId23"/>
    <p:sldId id="2147377644" r:id="rId24"/>
    <p:sldId id="2147377606" r:id="rId25"/>
    <p:sldId id="2147377612" r:id="rId26"/>
    <p:sldId id="2142533133" r:id="rId27"/>
    <p:sldId id="2142532784" r:id="rId28"/>
    <p:sldId id="2147377569" r:id="rId29"/>
    <p:sldId id="2147377608" r:id="rId30"/>
    <p:sldId id="2142532862" r:id="rId31"/>
    <p:sldId id="2147377617" r:id="rId32"/>
    <p:sldId id="2147377613" r:id="rId33"/>
    <p:sldId id="2142532816" r:id="rId34"/>
    <p:sldId id="2147377607" r:id="rId35"/>
    <p:sldId id="2147377616" r:id="rId36"/>
    <p:sldId id="2147376238" r:id="rId37"/>
    <p:sldId id="2142532837" r:id="rId38"/>
    <p:sldId id="2142532838" r:id="rId39"/>
    <p:sldId id="2142532872" r:id="rId40"/>
    <p:sldId id="2147377582" r:id="rId41"/>
    <p:sldId id="2147376236" r:id="rId42"/>
    <p:sldId id="2147376242" r:id="rId43"/>
    <p:sldId id="2147377578" r:id="rId44"/>
    <p:sldId id="2147377609" r:id="rId45"/>
    <p:sldId id="2147377600" r:id="rId46"/>
    <p:sldId id="2147377604" r:id="rId47"/>
    <p:sldId id="2147377618" r:id="rId48"/>
    <p:sldId id="18234" r:id="rId49"/>
    <p:sldId id="18298" r:id="rId50"/>
    <p:sldId id="2147377622" r:id="rId51"/>
    <p:sldId id="2147377623" r:id="rId52"/>
    <p:sldId id="2147377628" r:id="rId53"/>
    <p:sldId id="2147377626" r:id="rId54"/>
    <p:sldId id="2147377624" r:id="rId55"/>
    <p:sldId id="2147377625" r:id="rId56"/>
    <p:sldId id="2147377630" r:id="rId57"/>
    <p:sldId id="2147377629" r:id="rId58"/>
    <p:sldId id="2147377638" r:id="rId59"/>
    <p:sldId id="2147377636" r:id="rId60"/>
    <p:sldId id="2147377639" r:id="rId61"/>
    <p:sldId id="2142533657" r:id="rId62"/>
    <p:sldId id="2142533631" r:id="rId63"/>
    <p:sldId id="2147377631" r:id="rId64"/>
    <p:sldId id="2142533653" r:id="rId65"/>
    <p:sldId id="2142533592" r:id="rId66"/>
    <p:sldId id="2147377643" r:id="rId67"/>
    <p:sldId id="2142533591" r:id="rId68"/>
    <p:sldId id="2147376241" r:id="rId69"/>
    <p:sldId id="2142533151" r:id="rId70"/>
    <p:sldId id="2142532830" r:id="rId71"/>
    <p:sldId id="2142532831" r:id="rId72"/>
    <p:sldId id="2142533641" r:id="rId73"/>
    <p:sldId id="2147377577" r:id="rId74"/>
    <p:sldId id="2147377567" r:id="rId75"/>
    <p:sldId id="2147376234" r:id="rId76"/>
    <p:sldId id="141169751" r:id="rId77"/>
    <p:sldId id="2147376254" r:id="rId78"/>
    <p:sldId id="2147376258" r:id="rId79"/>
    <p:sldId id="2142533739" r:id="rId80"/>
    <p:sldId id="2142534084" r:id="rId81"/>
    <p:sldId id="2142533998" r:id="rId82"/>
    <p:sldId id="2142534077" r:id="rId83"/>
    <p:sldId id="2142534052" r:id="rId84"/>
    <p:sldId id="2147377574" r:id="rId85"/>
    <p:sldId id="141169818" r:id="rId86"/>
    <p:sldId id="2142533579" r:id="rId87"/>
    <p:sldId id="2142533587" r:id="rId88"/>
    <p:sldId id="2142533580" r:id="rId89"/>
    <p:sldId id="2142533589" r:id="rId90"/>
  </p:sldIdLst>
  <p:sldSz cx="12192000" cy="6858000"/>
  <p:notesSz cx="6858000" cy="9144000"/>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CBA8778-1C1C-4B0D-92DD-DDC2DCDD4FC2}">
          <p14:sldIdLst>
            <p14:sldId id="141169746"/>
            <p14:sldId id="2142532817"/>
            <p14:sldId id="2142532818"/>
            <p14:sldId id="2147377644"/>
            <p14:sldId id="2147377606"/>
          </p14:sldIdLst>
        </p14:section>
        <p14:section name="Intro" id="{DAD05B7C-B918-43BB-924C-D2D445B7AD63}">
          <p14:sldIdLst>
            <p14:sldId id="2147377612"/>
            <p14:sldId id="2142533133"/>
            <p14:sldId id="2142532784"/>
            <p14:sldId id="2147377569"/>
            <p14:sldId id="2147377608"/>
            <p14:sldId id="2142532862"/>
            <p14:sldId id="2147377617"/>
            <p14:sldId id="2147377613"/>
            <p14:sldId id="2142532816"/>
            <p14:sldId id="2147377607"/>
            <p14:sldId id="2147377616"/>
            <p14:sldId id="2147376238"/>
            <p14:sldId id="2142532837"/>
            <p14:sldId id="2142532838"/>
            <p14:sldId id="2142532872"/>
            <p14:sldId id="2147377582"/>
            <p14:sldId id="2147376236"/>
            <p14:sldId id="2147376242"/>
            <p14:sldId id="2147377578"/>
            <p14:sldId id="2147377609"/>
            <p14:sldId id="2147377600"/>
            <p14:sldId id="2147377604"/>
            <p14:sldId id="2147377618"/>
            <p14:sldId id="18234"/>
            <p14:sldId id="18298"/>
            <p14:sldId id="2147377622"/>
            <p14:sldId id="2147377623"/>
            <p14:sldId id="2147377628"/>
            <p14:sldId id="2147377626"/>
            <p14:sldId id="2147377624"/>
            <p14:sldId id="2147377625"/>
            <p14:sldId id="2147377630"/>
            <p14:sldId id="2147377629"/>
            <p14:sldId id="2147377638"/>
            <p14:sldId id="2147377636"/>
            <p14:sldId id="2147377639"/>
            <p14:sldId id="2142533657"/>
            <p14:sldId id="2142533631"/>
            <p14:sldId id="2147377631"/>
            <p14:sldId id="2142533653"/>
            <p14:sldId id="2142533592"/>
            <p14:sldId id="2147377643"/>
            <p14:sldId id="2142533591"/>
            <p14:sldId id="2147376241"/>
            <p14:sldId id="2142533151"/>
            <p14:sldId id="2142532830"/>
            <p14:sldId id="2142532831"/>
            <p14:sldId id="2142533641"/>
            <p14:sldId id="2147377577"/>
            <p14:sldId id="2147377567"/>
            <p14:sldId id="2147376234"/>
            <p14:sldId id="141169751"/>
            <p14:sldId id="2147376254"/>
            <p14:sldId id="2147376258"/>
            <p14:sldId id="2142533739"/>
            <p14:sldId id="2142534084"/>
            <p14:sldId id="2142533998"/>
            <p14:sldId id="2142534077"/>
            <p14:sldId id="2142534052"/>
            <p14:sldId id="2147377574"/>
            <p14:sldId id="141169818"/>
            <p14:sldId id="2142533579"/>
            <p14:sldId id="2142533587"/>
            <p14:sldId id="2142533580"/>
            <p14:sldId id="2142533589"/>
          </p14:sldIdLst>
        </p14:section>
        <p14:section name="Beyond Rel-16" id="{4BFAB32A-96A7-411D-99CF-CD285B7A6383}">
          <p14:sldIdLst/>
        </p14:section>
        <p14:section name="6G Vision" id="{BC0EC715-5F8A-4EFE-8A1C-AD75E2895D92}">
          <p14:sldIdLst/>
        </p14:section>
      </p14:sectionLst>
    </p:ex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0C3D7B-03CC-C524-FEE7-EF2782CB98F1}" name="Thomas Stockhammer" initials="TS" userId="S::tsto@qti.qualcomm.com::2aa20ba2-ba43-46c1-9e8b-e40494025eed" providerId="AD"/>
  <p188:author id="{2CF427FA-3F5B-A355-F749-9D4C141E7A10}" name="Ayan Sengupta" initials="AS" userId="S::asengupt@qti.qualcomm.com::4b62888b-695a-4add-a847-341e7cdd05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F816D8"/>
    <a:srgbClr val="FFFFFF"/>
    <a:srgbClr val="190000"/>
    <a:srgbClr val="E05050"/>
    <a:srgbClr val="DDDFE5"/>
    <a:srgbClr val="F2F2F2"/>
    <a:srgbClr val="6AB19B"/>
    <a:srgbClr val="294D4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876" y="180"/>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slide" Target="slides/slide56.xml"/><Relationship Id="rId84" Type="http://schemas.openxmlformats.org/officeDocument/2006/relationships/slide" Target="slides/slide64.xml"/><Relationship Id="rId89" Type="http://schemas.openxmlformats.org/officeDocument/2006/relationships/slide" Target="slides/slide69.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1.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slide" Target="slides/slide67.xml"/><Relationship Id="rId5" Type="http://schemas.openxmlformats.org/officeDocument/2006/relationships/slideMaster" Target="slideMasters/slideMaster2.xml"/><Relationship Id="rId61" Type="http://schemas.openxmlformats.org/officeDocument/2006/relationships/slide" Target="slides/slide41.xml"/><Relationship Id="rId82" Type="http://schemas.openxmlformats.org/officeDocument/2006/relationships/slide" Target="slides/slide62.xml"/><Relationship Id="rId90" Type="http://schemas.openxmlformats.org/officeDocument/2006/relationships/slide" Target="slides/slide70.xml"/><Relationship Id="rId95" Type="http://schemas.openxmlformats.org/officeDocument/2006/relationships/presProps" Target="presProp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commentAuthors" Target="commentAuthor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s>
</file>

<file path=ppt/comments/modernComment_7FB477FF_2D3065A9.xml><?xml version="1.0" encoding="utf-8"?>
<p188:cmLst xmlns:a="http://schemas.openxmlformats.org/drawingml/2006/main" xmlns:r="http://schemas.openxmlformats.org/officeDocument/2006/relationships" xmlns:p188="http://schemas.microsoft.com/office/powerpoint/2018/8/main">
  <p188:cm id="{BCD1FD4E-7143-4F9F-BB00-2CDE1A9C3CCC}" authorId="{570C3D7B-03CC-C524-FEE7-EF2782CB98F1}" created="2023-09-14T06:14:03.941">
    <pc:sldMkLst xmlns:pc="http://schemas.microsoft.com/office/powerpoint/2013/main/command">
      <pc:docMk/>
      <pc:sldMk cId="758146473" sldId="2142533631"/>
    </pc:sldMkLst>
    <p188:txBody>
      <a:bodyPr/>
      <a:lstStyle/>
      <a:p>
        <a:r>
          <a:rPr lang="en-US"/>
          <a:t>Figure &amp; Table is ATSC, needs to go</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_rels/data3.xml.rels><?xml version="1.0" encoding="UTF-8" standalone="yes"?>
<Relationships xmlns="http://schemas.openxmlformats.org/package/2006/relationships"><Relationship Id="rId1" Type="http://schemas.openxmlformats.org/officeDocument/2006/relationships/hyperlink" Target="https://www.etsi.org/deliver/etsi_ts/103700_103799/103720/01.01.01_60/ts_103720v010101p.pdf" TargetMode="External"/></Relationships>
</file>

<file path=ppt/diagrams/_rels/data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svg"/><Relationship Id="rId1" Type="http://schemas.openxmlformats.org/officeDocument/2006/relationships/image" Target="../media/image171.png"/><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_rels/drawing3.xml.rels><?xml version="1.0" encoding="UTF-8" standalone="yes"?>
<Relationships xmlns="http://schemas.openxmlformats.org/package/2006/relationships"><Relationship Id="rId1" Type="http://schemas.openxmlformats.org/officeDocument/2006/relationships/hyperlink" Target="https://www.etsi.org/deliver/etsi_ts/103700_103799/103720/01.01.01_60/ts_103720v010101p.pdf" TargetMode="External"/></Relationships>
</file>

<file path=ppt/diagrams/_rels/drawing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svg"/><Relationship Id="rId1" Type="http://schemas.openxmlformats.org/officeDocument/2006/relationships/image" Target="../media/image171.png"/><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38A2-A149-4A31-BDB5-AE28F6BBA111}"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3E564DD-067B-4D14-8823-419B9EBE3D8D}">
      <dgm:prSet/>
      <dgm:spPr/>
      <dgm:t>
        <a:bodyPr/>
        <a:lstStyle/>
        <a:p>
          <a:r>
            <a:rPr lang="de-DE"/>
            <a:t>Quality</a:t>
          </a:r>
          <a:endParaRPr lang="en-US"/>
        </a:p>
      </dgm:t>
    </dgm:pt>
    <dgm:pt modelId="{0F6168DC-921A-4845-8719-F665939BDB3E}" type="parTrans" cxnId="{7CE4A6EA-8ECF-4E85-BD80-06949C9908CC}">
      <dgm:prSet/>
      <dgm:spPr/>
      <dgm:t>
        <a:bodyPr/>
        <a:lstStyle/>
        <a:p>
          <a:endParaRPr lang="en-US"/>
        </a:p>
      </dgm:t>
    </dgm:pt>
    <dgm:pt modelId="{CF2CDA0B-2C9F-4DB5-A37B-EC506D975A6A}" type="sibTrans" cxnId="{7CE4A6EA-8ECF-4E85-BD80-06949C9908CC}">
      <dgm:prSet/>
      <dgm:spPr/>
      <dgm:t>
        <a:bodyPr/>
        <a:lstStyle/>
        <a:p>
          <a:endParaRPr lang="en-US"/>
        </a:p>
      </dgm:t>
    </dgm:pt>
    <dgm:pt modelId="{6D2C388E-B666-440D-8DAE-CD9722787F20}">
      <dgm:prSet/>
      <dgm:spPr/>
      <dgm:t>
        <a:bodyPr/>
        <a:lstStyle/>
        <a:p>
          <a:r>
            <a:rPr lang="de-DE" dirty="0"/>
            <a:t>Cost </a:t>
          </a:r>
          <a:endParaRPr lang="en-US" dirty="0"/>
        </a:p>
      </dgm:t>
    </dgm:pt>
    <dgm:pt modelId="{EB4264CD-44FF-49DA-9F14-92D1B66E9E0A}" type="parTrans" cxnId="{461EB8CD-2C9C-426F-9774-D6A6DF63266A}">
      <dgm:prSet/>
      <dgm:spPr/>
      <dgm:t>
        <a:bodyPr/>
        <a:lstStyle/>
        <a:p>
          <a:endParaRPr lang="en-US"/>
        </a:p>
      </dgm:t>
    </dgm:pt>
    <dgm:pt modelId="{80875830-3CE4-4638-9602-E38FE9C07B78}" type="sibTrans" cxnId="{461EB8CD-2C9C-426F-9774-D6A6DF63266A}">
      <dgm:prSet/>
      <dgm:spPr/>
      <dgm:t>
        <a:bodyPr/>
        <a:lstStyle/>
        <a:p>
          <a:endParaRPr lang="en-US"/>
        </a:p>
      </dgm:t>
    </dgm:pt>
    <dgm:pt modelId="{CFC48373-657F-4D76-8FC5-78933DAB4DC1}">
      <dgm:prSet/>
      <dgm:spPr/>
      <dgm:t>
        <a:bodyPr/>
        <a:lstStyle/>
        <a:p>
          <a:r>
            <a:rPr lang="de-DE" dirty="0"/>
            <a:t>Scalability</a:t>
          </a:r>
          <a:endParaRPr lang="en-US" dirty="0"/>
        </a:p>
      </dgm:t>
    </dgm:pt>
    <dgm:pt modelId="{03C8480F-0288-4E1F-B42B-CBF7DC4919F4}" type="parTrans" cxnId="{F41A88F9-CA21-403A-A587-5EDE8B91405C}">
      <dgm:prSet/>
      <dgm:spPr/>
      <dgm:t>
        <a:bodyPr/>
        <a:lstStyle/>
        <a:p>
          <a:endParaRPr lang="en-US"/>
        </a:p>
      </dgm:t>
    </dgm:pt>
    <dgm:pt modelId="{53DD31B9-2481-4EF0-829A-9E3E6747BEE1}" type="sibTrans" cxnId="{F41A88F9-CA21-403A-A587-5EDE8B91405C}">
      <dgm:prSet/>
      <dgm:spPr/>
      <dgm:t>
        <a:bodyPr/>
        <a:lstStyle/>
        <a:p>
          <a:endParaRPr lang="en-US"/>
        </a:p>
      </dgm:t>
    </dgm:pt>
    <dgm:pt modelId="{2C5B801B-00AC-4D6C-874E-5008972246C9}" type="pres">
      <dgm:prSet presAssocID="{163C38A2-A149-4A31-BDB5-AE28F6BBA111}" presName="root" presStyleCnt="0">
        <dgm:presLayoutVars>
          <dgm:dir/>
          <dgm:resizeHandles val="exact"/>
        </dgm:presLayoutVars>
      </dgm:prSet>
      <dgm:spPr/>
    </dgm:pt>
    <dgm:pt modelId="{14CCE65C-601B-4F7A-99A9-8A5B18D3767E}" type="pres">
      <dgm:prSet presAssocID="{23E564DD-067B-4D14-8823-419B9EBE3D8D}" presName="compNode" presStyleCnt="0"/>
      <dgm:spPr/>
    </dgm:pt>
    <dgm:pt modelId="{5631E48A-1DCC-4854-B2F1-9B44434004DC}" type="pres">
      <dgm:prSet presAssocID="{23E564DD-067B-4D14-8823-419B9EBE3D8D}" presName="iconRect" presStyleLbl="node1" presStyleIdx="0" presStyleCnt="3" custLinFactNeighborX="5381" custLinFactNeighborY="-308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ibbon"/>
        </a:ext>
      </dgm:extLst>
    </dgm:pt>
    <dgm:pt modelId="{7935CB0A-9215-4925-9299-B21CE52F387D}" type="pres">
      <dgm:prSet presAssocID="{23E564DD-067B-4D14-8823-419B9EBE3D8D}" presName="spaceRect" presStyleCnt="0"/>
      <dgm:spPr/>
    </dgm:pt>
    <dgm:pt modelId="{8F060474-3948-4339-B84A-D4E168D8F1F8}" type="pres">
      <dgm:prSet presAssocID="{23E564DD-067B-4D14-8823-419B9EBE3D8D}" presName="textRect" presStyleLbl="revTx" presStyleIdx="0" presStyleCnt="3">
        <dgm:presLayoutVars>
          <dgm:chMax val="1"/>
          <dgm:chPref val="1"/>
        </dgm:presLayoutVars>
      </dgm:prSet>
      <dgm:spPr/>
    </dgm:pt>
    <dgm:pt modelId="{F1D1061A-2F8B-439A-AD37-1D2CF3138BA7}" type="pres">
      <dgm:prSet presAssocID="{CF2CDA0B-2C9F-4DB5-A37B-EC506D975A6A}" presName="sibTrans" presStyleCnt="0"/>
      <dgm:spPr/>
    </dgm:pt>
    <dgm:pt modelId="{0EB4D63B-A6E8-4118-A51E-9355BA143FF0}" type="pres">
      <dgm:prSet presAssocID="{6D2C388E-B666-440D-8DAE-CD9722787F20}" presName="compNode" presStyleCnt="0"/>
      <dgm:spPr/>
    </dgm:pt>
    <dgm:pt modelId="{3E5A1486-4058-42A1-9D9F-5A983081E275}" type="pres">
      <dgm:prSet presAssocID="{6D2C388E-B666-440D-8DAE-CD9722787F2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llar"/>
        </a:ext>
      </dgm:extLst>
    </dgm:pt>
    <dgm:pt modelId="{4286CB30-96B9-4E24-B1E4-B22BDC5F7A0A}" type="pres">
      <dgm:prSet presAssocID="{6D2C388E-B666-440D-8DAE-CD9722787F20}" presName="spaceRect" presStyleCnt="0"/>
      <dgm:spPr/>
    </dgm:pt>
    <dgm:pt modelId="{E8AD7F80-0370-40BD-AC3B-E3FEC1804A8A}" type="pres">
      <dgm:prSet presAssocID="{6D2C388E-B666-440D-8DAE-CD9722787F20}" presName="textRect" presStyleLbl="revTx" presStyleIdx="1" presStyleCnt="3">
        <dgm:presLayoutVars>
          <dgm:chMax val="1"/>
          <dgm:chPref val="1"/>
        </dgm:presLayoutVars>
      </dgm:prSet>
      <dgm:spPr/>
    </dgm:pt>
    <dgm:pt modelId="{1C0B2003-E54C-4903-B73C-DBC00B74F426}" type="pres">
      <dgm:prSet presAssocID="{80875830-3CE4-4638-9602-E38FE9C07B78}" presName="sibTrans" presStyleCnt="0"/>
      <dgm:spPr/>
    </dgm:pt>
    <dgm:pt modelId="{0D49288C-EAED-44B6-B88D-567DDF587DBE}" type="pres">
      <dgm:prSet presAssocID="{CFC48373-657F-4D76-8FC5-78933DAB4DC1}" presName="compNode" presStyleCnt="0"/>
      <dgm:spPr/>
    </dgm:pt>
    <dgm:pt modelId="{ED43B295-6359-4C40-BD4B-1CD9455183A9}" type="pres">
      <dgm:prSet presAssocID="{CFC48373-657F-4D76-8FC5-78933DAB4DC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2D87BA45-5A2B-4AAB-8BF9-FF5304B7ED8A}" type="pres">
      <dgm:prSet presAssocID="{CFC48373-657F-4D76-8FC5-78933DAB4DC1}" presName="spaceRect" presStyleCnt="0"/>
      <dgm:spPr/>
    </dgm:pt>
    <dgm:pt modelId="{20DD44E3-90F0-4D54-AC60-657FAEAAE753}" type="pres">
      <dgm:prSet presAssocID="{CFC48373-657F-4D76-8FC5-78933DAB4DC1}" presName="textRect" presStyleLbl="revTx" presStyleIdx="2" presStyleCnt="3">
        <dgm:presLayoutVars>
          <dgm:chMax val="1"/>
          <dgm:chPref val="1"/>
        </dgm:presLayoutVars>
      </dgm:prSet>
      <dgm:spPr/>
    </dgm:pt>
  </dgm:ptLst>
  <dgm:cxnLst>
    <dgm:cxn modelId="{B264AF0B-9F8B-481B-B372-0FE1AF281C51}" type="presOf" srcId="{23E564DD-067B-4D14-8823-419B9EBE3D8D}" destId="{8F060474-3948-4339-B84A-D4E168D8F1F8}" srcOrd="0" destOrd="0" presId="urn:microsoft.com/office/officeart/2018/2/layout/IconLabelList"/>
    <dgm:cxn modelId="{ABE67834-6FEE-4123-86EB-0722F30B5E3F}" type="presOf" srcId="{163C38A2-A149-4A31-BDB5-AE28F6BBA111}" destId="{2C5B801B-00AC-4D6C-874E-5008972246C9}" srcOrd="0" destOrd="0" presId="urn:microsoft.com/office/officeart/2018/2/layout/IconLabelList"/>
    <dgm:cxn modelId="{4AE2B95F-15D0-4CF4-B6B6-C388A0268245}" type="presOf" srcId="{CFC48373-657F-4D76-8FC5-78933DAB4DC1}" destId="{20DD44E3-90F0-4D54-AC60-657FAEAAE753}" srcOrd="0" destOrd="0" presId="urn:microsoft.com/office/officeart/2018/2/layout/IconLabelList"/>
    <dgm:cxn modelId="{9C809C97-6347-44B0-B13D-09CC9CA56D05}" type="presOf" srcId="{6D2C388E-B666-440D-8DAE-CD9722787F20}" destId="{E8AD7F80-0370-40BD-AC3B-E3FEC1804A8A}" srcOrd="0" destOrd="0" presId="urn:microsoft.com/office/officeart/2018/2/layout/IconLabelList"/>
    <dgm:cxn modelId="{461EB8CD-2C9C-426F-9774-D6A6DF63266A}" srcId="{163C38A2-A149-4A31-BDB5-AE28F6BBA111}" destId="{6D2C388E-B666-440D-8DAE-CD9722787F20}" srcOrd="1" destOrd="0" parTransId="{EB4264CD-44FF-49DA-9F14-92D1B66E9E0A}" sibTransId="{80875830-3CE4-4638-9602-E38FE9C07B78}"/>
    <dgm:cxn modelId="{7CE4A6EA-8ECF-4E85-BD80-06949C9908CC}" srcId="{163C38A2-A149-4A31-BDB5-AE28F6BBA111}" destId="{23E564DD-067B-4D14-8823-419B9EBE3D8D}" srcOrd="0" destOrd="0" parTransId="{0F6168DC-921A-4845-8719-F665939BDB3E}" sibTransId="{CF2CDA0B-2C9F-4DB5-A37B-EC506D975A6A}"/>
    <dgm:cxn modelId="{F41A88F9-CA21-403A-A587-5EDE8B91405C}" srcId="{163C38A2-A149-4A31-BDB5-AE28F6BBA111}" destId="{CFC48373-657F-4D76-8FC5-78933DAB4DC1}" srcOrd="2" destOrd="0" parTransId="{03C8480F-0288-4E1F-B42B-CBF7DC4919F4}" sibTransId="{53DD31B9-2481-4EF0-829A-9E3E6747BEE1}"/>
    <dgm:cxn modelId="{046E0C8D-95F6-4A0B-8112-14D7335022B8}" type="presParOf" srcId="{2C5B801B-00AC-4D6C-874E-5008972246C9}" destId="{14CCE65C-601B-4F7A-99A9-8A5B18D3767E}" srcOrd="0" destOrd="0" presId="urn:microsoft.com/office/officeart/2018/2/layout/IconLabelList"/>
    <dgm:cxn modelId="{4C7E4BF2-2883-47CD-8397-081A33D79D30}" type="presParOf" srcId="{14CCE65C-601B-4F7A-99A9-8A5B18D3767E}" destId="{5631E48A-1DCC-4854-B2F1-9B44434004DC}" srcOrd="0" destOrd="0" presId="urn:microsoft.com/office/officeart/2018/2/layout/IconLabelList"/>
    <dgm:cxn modelId="{DB5077F2-7B34-48A8-BF90-D22F544FFA09}" type="presParOf" srcId="{14CCE65C-601B-4F7A-99A9-8A5B18D3767E}" destId="{7935CB0A-9215-4925-9299-B21CE52F387D}" srcOrd="1" destOrd="0" presId="urn:microsoft.com/office/officeart/2018/2/layout/IconLabelList"/>
    <dgm:cxn modelId="{2AFD4CA5-0FB8-4445-9ABE-3B1678088D93}" type="presParOf" srcId="{14CCE65C-601B-4F7A-99A9-8A5B18D3767E}" destId="{8F060474-3948-4339-B84A-D4E168D8F1F8}" srcOrd="2" destOrd="0" presId="urn:microsoft.com/office/officeart/2018/2/layout/IconLabelList"/>
    <dgm:cxn modelId="{D2A6F2FB-112D-423E-87D4-10567537D393}" type="presParOf" srcId="{2C5B801B-00AC-4D6C-874E-5008972246C9}" destId="{F1D1061A-2F8B-439A-AD37-1D2CF3138BA7}" srcOrd="1" destOrd="0" presId="urn:microsoft.com/office/officeart/2018/2/layout/IconLabelList"/>
    <dgm:cxn modelId="{C7303518-F149-499C-9F9C-34FEC42F2A7A}" type="presParOf" srcId="{2C5B801B-00AC-4D6C-874E-5008972246C9}" destId="{0EB4D63B-A6E8-4118-A51E-9355BA143FF0}" srcOrd="2" destOrd="0" presId="urn:microsoft.com/office/officeart/2018/2/layout/IconLabelList"/>
    <dgm:cxn modelId="{8CFC5687-6B4E-43D6-9EA3-F27ABCE4744A}" type="presParOf" srcId="{0EB4D63B-A6E8-4118-A51E-9355BA143FF0}" destId="{3E5A1486-4058-42A1-9D9F-5A983081E275}" srcOrd="0" destOrd="0" presId="urn:microsoft.com/office/officeart/2018/2/layout/IconLabelList"/>
    <dgm:cxn modelId="{B9B84ACF-98FD-42FF-8A43-E33A520D8579}" type="presParOf" srcId="{0EB4D63B-A6E8-4118-A51E-9355BA143FF0}" destId="{4286CB30-96B9-4E24-B1E4-B22BDC5F7A0A}" srcOrd="1" destOrd="0" presId="urn:microsoft.com/office/officeart/2018/2/layout/IconLabelList"/>
    <dgm:cxn modelId="{8AB2102E-168C-41E8-A607-B77AA9C17B3E}" type="presParOf" srcId="{0EB4D63B-A6E8-4118-A51E-9355BA143FF0}" destId="{E8AD7F80-0370-40BD-AC3B-E3FEC1804A8A}" srcOrd="2" destOrd="0" presId="urn:microsoft.com/office/officeart/2018/2/layout/IconLabelList"/>
    <dgm:cxn modelId="{27283BC6-00D5-4E0E-845F-A12A60A5B59A}" type="presParOf" srcId="{2C5B801B-00AC-4D6C-874E-5008972246C9}" destId="{1C0B2003-E54C-4903-B73C-DBC00B74F426}" srcOrd="3" destOrd="0" presId="urn:microsoft.com/office/officeart/2018/2/layout/IconLabelList"/>
    <dgm:cxn modelId="{5008451A-D455-4D43-BF5C-52495F3EA5BE}" type="presParOf" srcId="{2C5B801B-00AC-4D6C-874E-5008972246C9}" destId="{0D49288C-EAED-44B6-B88D-567DDF587DBE}" srcOrd="4" destOrd="0" presId="urn:microsoft.com/office/officeart/2018/2/layout/IconLabelList"/>
    <dgm:cxn modelId="{0745BB7B-CC8E-4083-A17C-92AFE833F09C}" type="presParOf" srcId="{0D49288C-EAED-44B6-B88D-567DDF587DBE}" destId="{ED43B295-6359-4C40-BD4B-1CD9455183A9}" srcOrd="0" destOrd="0" presId="urn:microsoft.com/office/officeart/2018/2/layout/IconLabelList"/>
    <dgm:cxn modelId="{A295E2AA-261E-4B2A-BA95-FE296EFF9F66}" type="presParOf" srcId="{0D49288C-EAED-44B6-B88D-567DDF587DBE}" destId="{2D87BA45-5A2B-4AAB-8BF9-FF5304B7ED8A}" srcOrd="1" destOrd="0" presId="urn:microsoft.com/office/officeart/2018/2/layout/IconLabelList"/>
    <dgm:cxn modelId="{EA9A789D-4523-4639-BAEF-865B96F890A5}" type="presParOf" srcId="{0D49288C-EAED-44B6-B88D-567DDF587DBE}" destId="{20DD44E3-90F0-4D54-AC60-657FAEAAE753}" srcOrd="2" destOrd="0" presId="urn:microsoft.com/office/officeart/2018/2/layout/IconLabel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4187D4-231D-4AB8-A9F7-C620DF87BC5D}"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309A8B2A-FAFF-4973-8C29-4CA788746955}">
      <dgm:prSet phldrT="[Text]"/>
      <dgm:spPr/>
      <dgm:t>
        <a:bodyPr/>
        <a:lstStyle/>
        <a:p>
          <a:pPr>
            <a:buSzPct val="80000"/>
          </a:pPr>
          <a:r>
            <a:rPr lang="en-US" altLang="en-US" dirty="0">
              <a:latin typeface="Arial"/>
            </a:rPr>
            <a:t>SIM-less reception with simplified architecture </a:t>
          </a:r>
          <a:endParaRPr lang="en-US" dirty="0"/>
        </a:p>
      </dgm:t>
    </dgm:pt>
    <dgm:pt modelId="{AAA4B967-9ED2-4348-8F39-2CD98D3BD57F}" type="parTrans" cxnId="{C9D192F1-B9ED-4D1E-AD84-A0F41A0709C2}">
      <dgm:prSet/>
      <dgm:spPr/>
      <dgm:t>
        <a:bodyPr/>
        <a:lstStyle/>
        <a:p>
          <a:endParaRPr lang="en-US"/>
        </a:p>
      </dgm:t>
    </dgm:pt>
    <dgm:pt modelId="{ECB580FF-7F3B-4116-B14B-BB7A5F9FBC46}" type="sibTrans" cxnId="{C9D192F1-B9ED-4D1E-AD84-A0F41A0709C2}">
      <dgm:prSet/>
      <dgm:spPr/>
      <dgm:t>
        <a:bodyPr/>
        <a:lstStyle/>
        <a:p>
          <a:endParaRPr lang="en-US"/>
        </a:p>
      </dgm:t>
    </dgm:pt>
    <dgm:pt modelId="{3AA33947-ECF9-4AAA-8603-84C058459B70}">
      <dgm:prSet phldrT="[Text]"/>
      <dgm:spPr/>
      <dgm:t>
        <a:bodyPr/>
        <a:lstStyle/>
        <a:p>
          <a:pPr>
            <a:buSzPct val="80000"/>
          </a:pPr>
          <a:r>
            <a:rPr lang="en-US" altLang="en-US">
              <a:latin typeface="Arial"/>
            </a:rPr>
            <a:t>Receive-Only Mode (ROM) &amp; </a:t>
          </a:r>
          <a:r>
            <a:rPr lang="en-US" altLang="en-US">
              <a:ln/>
              <a:latin typeface="Arial"/>
            </a:rPr>
            <a:t>Free-to-Air (FTA)</a:t>
          </a:r>
          <a:endParaRPr lang="en-US" dirty="0"/>
        </a:p>
      </dgm:t>
    </dgm:pt>
    <dgm:pt modelId="{4AF94546-A25B-49B6-A00B-8BDCFF388457}" type="parTrans" cxnId="{69CA81E5-4A24-4A02-B6B8-2C627913A0A1}">
      <dgm:prSet/>
      <dgm:spPr/>
      <dgm:t>
        <a:bodyPr/>
        <a:lstStyle/>
        <a:p>
          <a:endParaRPr lang="en-US"/>
        </a:p>
      </dgm:t>
    </dgm:pt>
    <dgm:pt modelId="{AF9D9CD6-A4E4-469C-9956-6D83C1542897}" type="sibTrans" cxnId="{69CA81E5-4A24-4A02-B6B8-2C627913A0A1}">
      <dgm:prSet/>
      <dgm:spPr/>
      <dgm:t>
        <a:bodyPr/>
        <a:lstStyle/>
        <a:p>
          <a:endParaRPr lang="en-US"/>
        </a:p>
      </dgm:t>
    </dgm:pt>
    <dgm:pt modelId="{89FC40A9-4F8D-4EC4-9C58-E39733326065}">
      <dgm:prSet phldrT="[Text]"/>
      <dgm:spPr/>
      <dgm:t>
        <a:bodyPr/>
        <a:lstStyle/>
        <a:p>
          <a:pPr>
            <a:buSzPct val="80000"/>
          </a:pPr>
          <a:r>
            <a:rPr lang="en-US" altLang="en-US">
              <a:latin typeface="Arial"/>
            </a:rPr>
            <a:t>Different spectrum options (e.g. UHF, SDL), as well as SFN/MFN</a:t>
          </a:r>
          <a:endParaRPr lang="en-US" dirty="0"/>
        </a:p>
      </dgm:t>
    </dgm:pt>
    <dgm:pt modelId="{CBED7DE1-FC70-475C-A0F0-2258D5C7F369}" type="parTrans" cxnId="{0BC8A39A-38C0-48C8-AB33-65311104CAFF}">
      <dgm:prSet/>
      <dgm:spPr/>
      <dgm:t>
        <a:bodyPr/>
        <a:lstStyle/>
        <a:p>
          <a:endParaRPr lang="en-US"/>
        </a:p>
      </dgm:t>
    </dgm:pt>
    <dgm:pt modelId="{9679B232-9AA5-4E32-93BC-0100194F3B79}" type="sibTrans" cxnId="{0BC8A39A-38C0-48C8-AB33-65311104CAFF}">
      <dgm:prSet/>
      <dgm:spPr/>
      <dgm:t>
        <a:bodyPr/>
        <a:lstStyle/>
        <a:p>
          <a:endParaRPr lang="en-US"/>
        </a:p>
      </dgm:t>
    </dgm:pt>
    <dgm:pt modelId="{245309D3-0A0E-46F6-B227-3B91D39B7C51}">
      <dgm:prSet phldrT="[Text]"/>
      <dgm:spPr/>
      <dgm:t>
        <a:bodyPr/>
        <a:lstStyle/>
        <a:p>
          <a:pPr>
            <a:buSzPct val="80000"/>
          </a:pPr>
          <a:r>
            <a:rPr lang="en-US" altLang="en-US" dirty="0">
              <a:latin typeface="Arial"/>
            </a:rPr>
            <a:t>Various deployment possibilities (e.g. MNOs, BNOs)</a:t>
          </a:r>
          <a:endParaRPr lang="en-US" dirty="0"/>
        </a:p>
      </dgm:t>
    </dgm:pt>
    <dgm:pt modelId="{59DD11BC-99D9-4430-A239-3F80F5F0A0EE}" type="parTrans" cxnId="{7C110F15-45C3-42DB-A739-14B526FEEC1A}">
      <dgm:prSet/>
      <dgm:spPr/>
      <dgm:t>
        <a:bodyPr/>
        <a:lstStyle/>
        <a:p>
          <a:endParaRPr lang="en-US"/>
        </a:p>
      </dgm:t>
    </dgm:pt>
    <dgm:pt modelId="{36BB9272-A217-41DC-ACB9-212281497E26}" type="sibTrans" cxnId="{7C110F15-45C3-42DB-A739-14B526FEEC1A}">
      <dgm:prSet/>
      <dgm:spPr/>
      <dgm:t>
        <a:bodyPr/>
        <a:lstStyle/>
        <a:p>
          <a:endParaRPr lang="en-US"/>
        </a:p>
      </dgm:t>
    </dgm:pt>
    <dgm:pt modelId="{CFB829C9-6A1A-4B31-8062-943E484D5E03}">
      <dgm:prSet phldrT="[Text]"/>
      <dgm:spPr/>
      <dgm:t>
        <a:bodyPr/>
        <a:lstStyle/>
        <a:p>
          <a:pPr>
            <a:buSzPct val="80000"/>
          </a:pPr>
          <a:r>
            <a:rPr lang="en-US" altLang="en-US">
              <a:latin typeface="Arial"/>
            </a:rPr>
            <a:t>Using existing infrastructure (HPHT, MPMT and LPLT)</a:t>
          </a:r>
          <a:endParaRPr lang="en-US" dirty="0"/>
        </a:p>
      </dgm:t>
    </dgm:pt>
    <dgm:pt modelId="{B9C03EBB-9BF8-4EAB-B520-221FC8A9C4BC}" type="parTrans" cxnId="{ED913F38-E59B-444B-ADE9-C4386DC1964F}">
      <dgm:prSet/>
      <dgm:spPr/>
      <dgm:t>
        <a:bodyPr/>
        <a:lstStyle/>
        <a:p>
          <a:endParaRPr lang="en-US"/>
        </a:p>
      </dgm:t>
    </dgm:pt>
    <dgm:pt modelId="{695A17DA-0705-4089-8FCA-9B5B01020AB6}" type="sibTrans" cxnId="{ED913F38-E59B-444B-ADE9-C4386DC1964F}">
      <dgm:prSet/>
      <dgm:spPr/>
      <dgm:t>
        <a:bodyPr/>
        <a:lstStyle/>
        <a:p>
          <a:endParaRPr lang="en-US"/>
        </a:p>
      </dgm:t>
    </dgm:pt>
    <dgm:pt modelId="{81A55424-841E-4DB5-AD99-55539E995520}">
      <dgm:prSet phldrT="[Text]"/>
      <dgm:spPr/>
      <dgm:t>
        <a:bodyPr/>
        <a:lstStyle/>
        <a:p>
          <a:pPr>
            <a:buSzPct val="80000"/>
          </a:pPr>
          <a:r>
            <a:rPr lang="en-US" altLang="en-US">
              <a:latin typeface="Arial"/>
            </a:rPr>
            <a:t>Highly flexible velocities (up to 250 KM/h Vs up to 300 µS)</a:t>
          </a:r>
          <a:endParaRPr lang="en-US" altLang="en-US" dirty="0">
            <a:latin typeface="Arial"/>
          </a:endParaRPr>
        </a:p>
      </dgm:t>
    </dgm:pt>
    <dgm:pt modelId="{8A57DEF7-4380-433F-B9F9-90C75A931E4D}" type="parTrans" cxnId="{22246F82-E690-4E93-9E02-0CAF29978097}">
      <dgm:prSet/>
      <dgm:spPr/>
      <dgm:t>
        <a:bodyPr/>
        <a:lstStyle/>
        <a:p>
          <a:endParaRPr lang="en-US"/>
        </a:p>
      </dgm:t>
    </dgm:pt>
    <dgm:pt modelId="{E03DBEC5-450E-4219-BB8B-CB627D485C42}" type="sibTrans" cxnId="{22246F82-E690-4E93-9E02-0CAF29978097}">
      <dgm:prSet/>
      <dgm:spPr/>
      <dgm:t>
        <a:bodyPr/>
        <a:lstStyle/>
        <a:p>
          <a:endParaRPr lang="en-US"/>
        </a:p>
      </dgm:t>
    </dgm:pt>
    <dgm:pt modelId="{B0B60FF3-F68A-4C62-8403-60B81EA22335}">
      <dgm:prSet phldrT="[Text]"/>
      <dgm:spPr/>
      <dgm:t>
        <a:bodyPr/>
        <a:lstStyle/>
        <a:p>
          <a:pPr>
            <a:buSzPct val="80000"/>
          </a:pPr>
          <a:r>
            <a:rPr lang="de-DE" altLang="en-US" dirty="0">
              <a:latin typeface="Arial"/>
            </a:rPr>
            <a:t>Can be combined with existing 4G and 5G features (unicast, PWS)</a:t>
          </a:r>
          <a:endParaRPr lang="en-US" altLang="en-US" dirty="0">
            <a:latin typeface="Arial"/>
          </a:endParaRPr>
        </a:p>
      </dgm:t>
    </dgm:pt>
    <dgm:pt modelId="{74B85DEB-0766-4C03-9EB1-A512EE608CBB}" type="parTrans" cxnId="{9C2DE960-F2D8-4057-9E28-E123258C0716}">
      <dgm:prSet/>
      <dgm:spPr/>
      <dgm:t>
        <a:bodyPr/>
        <a:lstStyle/>
        <a:p>
          <a:endParaRPr lang="en-US"/>
        </a:p>
      </dgm:t>
    </dgm:pt>
    <dgm:pt modelId="{F8B7E8A5-8D9B-47AC-AFDF-D2CE3B552286}" type="sibTrans" cxnId="{9C2DE960-F2D8-4057-9E28-E123258C0716}">
      <dgm:prSet/>
      <dgm:spPr/>
      <dgm:t>
        <a:bodyPr/>
        <a:lstStyle/>
        <a:p>
          <a:endParaRPr lang="en-US"/>
        </a:p>
      </dgm:t>
    </dgm:pt>
    <dgm:pt modelId="{DDEFF4FA-A416-4410-9451-0ED57DD11543}" type="pres">
      <dgm:prSet presAssocID="{B74187D4-231D-4AB8-A9F7-C620DF87BC5D}" presName="Name0" presStyleCnt="0">
        <dgm:presLayoutVars>
          <dgm:chMax val="7"/>
          <dgm:chPref val="7"/>
          <dgm:dir/>
        </dgm:presLayoutVars>
      </dgm:prSet>
      <dgm:spPr/>
    </dgm:pt>
    <dgm:pt modelId="{A89215BD-01F7-4E92-A22E-A3D9A7D79E23}" type="pres">
      <dgm:prSet presAssocID="{B74187D4-231D-4AB8-A9F7-C620DF87BC5D}" presName="Name1" presStyleCnt="0"/>
      <dgm:spPr/>
    </dgm:pt>
    <dgm:pt modelId="{4E3D5DAF-6745-40F3-A73D-F6C5139A806B}" type="pres">
      <dgm:prSet presAssocID="{B74187D4-231D-4AB8-A9F7-C620DF87BC5D}" presName="cycle" presStyleCnt="0"/>
      <dgm:spPr/>
    </dgm:pt>
    <dgm:pt modelId="{01ED8C74-77E5-434E-95D7-E64EECCF75A1}" type="pres">
      <dgm:prSet presAssocID="{B74187D4-231D-4AB8-A9F7-C620DF87BC5D}" presName="srcNode" presStyleLbl="node1" presStyleIdx="0" presStyleCnt="7"/>
      <dgm:spPr/>
    </dgm:pt>
    <dgm:pt modelId="{61700248-8E7F-47D0-ADE0-875A5B19503E}" type="pres">
      <dgm:prSet presAssocID="{B74187D4-231D-4AB8-A9F7-C620DF87BC5D}" presName="conn" presStyleLbl="parChTrans1D2" presStyleIdx="0" presStyleCnt="1"/>
      <dgm:spPr/>
    </dgm:pt>
    <dgm:pt modelId="{9FD7B543-6B3C-4787-AC35-C85A4E8A2C7B}" type="pres">
      <dgm:prSet presAssocID="{B74187D4-231D-4AB8-A9F7-C620DF87BC5D}" presName="extraNode" presStyleLbl="node1" presStyleIdx="0" presStyleCnt="7"/>
      <dgm:spPr/>
    </dgm:pt>
    <dgm:pt modelId="{96876C39-C39B-4FD3-B0EE-CE805D1AB990}" type="pres">
      <dgm:prSet presAssocID="{B74187D4-231D-4AB8-A9F7-C620DF87BC5D}" presName="dstNode" presStyleLbl="node1" presStyleIdx="0" presStyleCnt="7"/>
      <dgm:spPr/>
    </dgm:pt>
    <dgm:pt modelId="{9DEF26BC-7B40-49A7-9B8F-734580048F50}" type="pres">
      <dgm:prSet presAssocID="{309A8B2A-FAFF-4973-8C29-4CA788746955}" presName="text_1" presStyleLbl="node1" presStyleIdx="0" presStyleCnt="7">
        <dgm:presLayoutVars>
          <dgm:bulletEnabled val="1"/>
        </dgm:presLayoutVars>
      </dgm:prSet>
      <dgm:spPr/>
    </dgm:pt>
    <dgm:pt modelId="{DB3505B5-C0C0-456A-A4F5-419254753A97}" type="pres">
      <dgm:prSet presAssocID="{309A8B2A-FAFF-4973-8C29-4CA788746955}" presName="accent_1" presStyleCnt="0"/>
      <dgm:spPr/>
    </dgm:pt>
    <dgm:pt modelId="{26836185-39F8-499A-ABAD-DE1951A4BC76}" type="pres">
      <dgm:prSet presAssocID="{309A8B2A-FAFF-4973-8C29-4CA788746955}" presName="accentRepeatNode" presStyleLbl="solidFgAcc1" presStyleIdx="0" presStyleCnt="7"/>
      <dgm:spPr/>
    </dgm:pt>
    <dgm:pt modelId="{7B60ABF7-908F-44EB-A527-6683AA277981}" type="pres">
      <dgm:prSet presAssocID="{3AA33947-ECF9-4AAA-8603-84C058459B70}" presName="text_2" presStyleLbl="node1" presStyleIdx="1" presStyleCnt="7">
        <dgm:presLayoutVars>
          <dgm:bulletEnabled val="1"/>
        </dgm:presLayoutVars>
      </dgm:prSet>
      <dgm:spPr/>
    </dgm:pt>
    <dgm:pt modelId="{E729EFFF-3C8A-407F-9AC1-8246DF67BAD8}" type="pres">
      <dgm:prSet presAssocID="{3AA33947-ECF9-4AAA-8603-84C058459B70}" presName="accent_2" presStyleCnt="0"/>
      <dgm:spPr/>
    </dgm:pt>
    <dgm:pt modelId="{29631583-3915-450C-918F-381562F92C37}" type="pres">
      <dgm:prSet presAssocID="{3AA33947-ECF9-4AAA-8603-84C058459B70}" presName="accentRepeatNode" presStyleLbl="solidFgAcc1" presStyleIdx="1" presStyleCnt="7"/>
      <dgm:spPr/>
    </dgm:pt>
    <dgm:pt modelId="{39756C36-4673-46B3-B3E1-9D2554FF81EE}" type="pres">
      <dgm:prSet presAssocID="{89FC40A9-4F8D-4EC4-9C58-E39733326065}" presName="text_3" presStyleLbl="node1" presStyleIdx="2" presStyleCnt="7">
        <dgm:presLayoutVars>
          <dgm:bulletEnabled val="1"/>
        </dgm:presLayoutVars>
      </dgm:prSet>
      <dgm:spPr/>
    </dgm:pt>
    <dgm:pt modelId="{8B631BDB-DA2B-4EE2-9F25-ED4CADF3C5B3}" type="pres">
      <dgm:prSet presAssocID="{89FC40A9-4F8D-4EC4-9C58-E39733326065}" presName="accent_3" presStyleCnt="0"/>
      <dgm:spPr/>
    </dgm:pt>
    <dgm:pt modelId="{E2774E36-190F-4960-BA91-50A7DC3D1E62}" type="pres">
      <dgm:prSet presAssocID="{89FC40A9-4F8D-4EC4-9C58-E39733326065}" presName="accentRepeatNode" presStyleLbl="solidFgAcc1" presStyleIdx="2" presStyleCnt="7"/>
      <dgm:spPr/>
    </dgm:pt>
    <dgm:pt modelId="{25FE89CC-0349-4F90-AB30-A1749C57C833}" type="pres">
      <dgm:prSet presAssocID="{245309D3-0A0E-46F6-B227-3B91D39B7C51}" presName="text_4" presStyleLbl="node1" presStyleIdx="3" presStyleCnt="7">
        <dgm:presLayoutVars>
          <dgm:bulletEnabled val="1"/>
        </dgm:presLayoutVars>
      </dgm:prSet>
      <dgm:spPr/>
    </dgm:pt>
    <dgm:pt modelId="{5B420657-3F71-4410-B9DB-E629B2CA0C30}" type="pres">
      <dgm:prSet presAssocID="{245309D3-0A0E-46F6-B227-3B91D39B7C51}" presName="accent_4" presStyleCnt="0"/>
      <dgm:spPr/>
    </dgm:pt>
    <dgm:pt modelId="{D46A05FF-F4BC-4410-8DA0-08ECE07647AC}" type="pres">
      <dgm:prSet presAssocID="{245309D3-0A0E-46F6-B227-3B91D39B7C51}" presName="accentRepeatNode" presStyleLbl="solidFgAcc1" presStyleIdx="3" presStyleCnt="7"/>
      <dgm:spPr/>
    </dgm:pt>
    <dgm:pt modelId="{760983C4-8A0E-4205-A83A-8AB71B7D83DE}" type="pres">
      <dgm:prSet presAssocID="{CFB829C9-6A1A-4B31-8062-943E484D5E03}" presName="text_5" presStyleLbl="node1" presStyleIdx="4" presStyleCnt="7">
        <dgm:presLayoutVars>
          <dgm:bulletEnabled val="1"/>
        </dgm:presLayoutVars>
      </dgm:prSet>
      <dgm:spPr/>
    </dgm:pt>
    <dgm:pt modelId="{9B8EEDDF-516D-4AFE-82AC-FE5093670934}" type="pres">
      <dgm:prSet presAssocID="{CFB829C9-6A1A-4B31-8062-943E484D5E03}" presName="accent_5" presStyleCnt="0"/>
      <dgm:spPr/>
    </dgm:pt>
    <dgm:pt modelId="{4C098424-7B56-4E09-B3B6-F0175404274B}" type="pres">
      <dgm:prSet presAssocID="{CFB829C9-6A1A-4B31-8062-943E484D5E03}" presName="accentRepeatNode" presStyleLbl="solidFgAcc1" presStyleIdx="4" presStyleCnt="7"/>
      <dgm:spPr/>
    </dgm:pt>
    <dgm:pt modelId="{402FCDF2-298D-483A-9803-663B4F4E5A71}" type="pres">
      <dgm:prSet presAssocID="{81A55424-841E-4DB5-AD99-55539E995520}" presName="text_6" presStyleLbl="node1" presStyleIdx="5" presStyleCnt="7">
        <dgm:presLayoutVars>
          <dgm:bulletEnabled val="1"/>
        </dgm:presLayoutVars>
      </dgm:prSet>
      <dgm:spPr/>
    </dgm:pt>
    <dgm:pt modelId="{4C1DFF63-E916-4739-8AE4-539EBD3301C7}" type="pres">
      <dgm:prSet presAssocID="{81A55424-841E-4DB5-AD99-55539E995520}" presName="accent_6" presStyleCnt="0"/>
      <dgm:spPr/>
    </dgm:pt>
    <dgm:pt modelId="{7836CEB8-3E80-469A-9E94-D0062B7AAE95}" type="pres">
      <dgm:prSet presAssocID="{81A55424-841E-4DB5-AD99-55539E995520}" presName="accentRepeatNode" presStyleLbl="solidFgAcc1" presStyleIdx="5" presStyleCnt="7"/>
      <dgm:spPr/>
    </dgm:pt>
    <dgm:pt modelId="{5DE94CD9-46FC-4F55-BD2B-1A5E5E071710}" type="pres">
      <dgm:prSet presAssocID="{B0B60FF3-F68A-4C62-8403-60B81EA22335}" presName="text_7" presStyleLbl="node1" presStyleIdx="6" presStyleCnt="7">
        <dgm:presLayoutVars>
          <dgm:bulletEnabled val="1"/>
        </dgm:presLayoutVars>
      </dgm:prSet>
      <dgm:spPr/>
    </dgm:pt>
    <dgm:pt modelId="{6DA85489-6022-4F29-A1DC-4288A5470268}" type="pres">
      <dgm:prSet presAssocID="{B0B60FF3-F68A-4C62-8403-60B81EA22335}" presName="accent_7" presStyleCnt="0"/>
      <dgm:spPr/>
    </dgm:pt>
    <dgm:pt modelId="{145488B2-B5C2-4150-96B3-13CBD449EC31}" type="pres">
      <dgm:prSet presAssocID="{B0B60FF3-F68A-4C62-8403-60B81EA22335}" presName="accentRepeatNode" presStyleLbl="solidFgAcc1" presStyleIdx="6" presStyleCnt="7"/>
      <dgm:spPr/>
    </dgm:pt>
  </dgm:ptLst>
  <dgm:cxnLst>
    <dgm:cxn modelId="{82124203-A609-47FF-ACF3-E11204A5D442}" type="presOf" srcId="{245309D3-0A0E-46F6-B227-3B91D39B7C51}" destId="{25FE89CC-0349-4F90-AB30-A1749C57C833}" srcOrd="0" destOrd="0" presId="urn:microsoft.com/office/officeart/2008/layout/VerticalCurvedList"/>
    <dgm:cxn modelId="{7C110F15-45C3-42DB-A739-14B526FEEC1A}" srcId="{B74187D4-231D-4AB8-A9F7-C620DF87BC5D}" destId="{245309D3-0A0E-46F6-B227-3B91D39B7C51}" srcOrd="3" destOrd="0" parTransId="{59DD11BC-99D9-4430-A239-3F80F5F0A0EE}" sibTransId="{36BB9272-A217-41DC-ACB9-212281497E26}"/>
    <dgm:cxn modelId="{B71EE41A-7941-42F4-8D8A-B72B34F845B4}" type="presOf" srcId="{B74187D4-231D-4AB8-A9F7-C620DF87BC5D}" destId="{DDEFF4FA-A416-4410-9451-0ED57DD11543}" srcOrd="0" destOrd="0" presId="urn:microsoft.com/office/officeart/2008/layout/VerticalCurvedList"/>
    <dgm:cxn modelId="{ED913F38-E59B-444B-ADE9-C4386DC1964F}" srcId="{B74187D4-231D-4AB8-A9F7-C620DF87BC5D}" destId="{CFB829C9-6A1A-4B31-8062-943E484D5E03}" srcOrd="4" destOrd="0" parTransId="{B9C03EBB-9BF8-4EAB-B520-221FC8A9C4BC}" sibTransId="{695A17DA-0705-4089-8FCA-9B5B01020AB6}"/>
    <dgm:cxn modelId="{9C2DE960-F2D8-4057-9E28-E123258C0716}" srcId="{B74187D4-231D-4AB8-A9F7-C620DF87BC5D}" destId="{B0B60FF3-F68A-4C62-8403-60B81EA22335}" srcOrd="6" destOrd="0" parTransId="{74B85DEB-0766-4C03-9EB1-A512EE608CBB}" sibTransId="{F8B7E8A5-8D9B-47AC-AFDF-D2CE3B552286}"/>
    <dgm:cxn modelId="{A1B60156-9E80-4918-A148-9CFA63C60892}" type="presOf" srcId="{ECB580FF-7F3B-4116-B14B-BB7A5F9FBC46}" destId="{61700248-8E7F-47D0-ADE0-875A5B19503E}" srcOrd="0" destOrd="0" presId="urn:microsoft.com/office/officeart/2008/layout/VerticalCurvedList"/>
    <dgm:cxn modelId="{22246F82-E690-4E93-9E02-0CAF29978097}" srcId="{B74187D4-231D-4AB8-A9F7-C620DF87BC5D}" destId="{81A55424-841E-4DB5-AD99-55539E995520}" srcOrd="5" destOrd="0" parTransId="{8A57DEF7-4380-433F-B9F9-90C75A931E4D}" sibTransId="{E03DBEC5-450E-4219-BB8B-CB627D485C42}"/>
    <dgm:cxn modelId="{EFCFD58A-BCBB-43DA-96F3-036E95E8C94E}" type="presOf" srcId="{3AA33947-ECF9-4AAA-8603-84C058459B70}" destId="{7B60ABF7-908F-44EB-A527-6683AA277981}" srcOrd="0" destOrd="0" presId="urn:microsoft.com/office/officeart/2008/layout/VerticalCurvedList"/>
    <dgm:cxn modelId="{2679D892-0832-4A6A-8AD6-A274904B4D8C}" type="presOf" srcId="{89FC40A9-4F8D-4EC4-9C58-E39733326065}" destId="{39756C36-4673-46B3-B3E1-9D2554FF81EE}" srcOrd="0" destOrd="0" presId="urn:microsoft.com/office/officeart/2008/layout/VerticalCurvedList"/>
    <dgm:cxn modelId="{633C0A96-FD7C-42D8-9A10-C63F7685A510}" type="presOf" srcId="{81A55424-841E-4DB5-AD99-55539E995520}" destId="{402FCDF2-298D-483A-9803-663B4F4E5A71}" srcOrd="0" destOrd="0" presId="urn:microsoft.com/office/officeart/2008/layout/VerticalCurvedList"/>
    <dgm:cxn modelId="{0BC8A39A-38C0-48C8-AB33-65311104CAFF}" srcId="{B74187D4-231D-4AB8-A9F7-C620DF87BC5D}" destId="{89FC40A9-4F8D-4EC4-9C58-E39733326065}" srcOrd="2" destOrd="0" parTransId="{CBED7DE1-FC70-475C-A0F0-2258D5C7F369}" sibTransId="{9679B232-9AA5-4E32-93BC-0100194F3B79}"/>
    <dgm:cxn modelId="{905B1CA5-E46C-4BAF-8CE4-8EB66CA9426F}" type="presOf" srcId="{309A8B2A-FAFF-4973-8C29-4CA788746955}" destId="{9DEF26BC-7B40-49A7-9B8F-734580048F50}" srcOrd="0" destOrd="0" presId="urn:microsoft.com/office/officeart/2008/layout/VerticalCurvedList"/>
    <dgm:cxn modelId="{90033DD8-3F21-46A4-8928-1630635CDA65}" type="presOf" srcId="{CFB829C9-6A1A-4B31-8062-943E484D5E03}" destId="{760983C4-8A0E-4205-A83A-8AB71B7D83DE}" srcOrd="0" destOrd="0" presId="urn:microsoft.com/office/officeart/2008/layout/VerticalCurvedList"/>
    <dgm:cxn modelId="{75B7D7D8-1456-4253-BC9C-E12AFD92EFC4}" type="presOf" srcId="{B0B60FF3-F68A-4C62-8403-60B81EA22335}" destId="{5DE94CD9-46FC-4F55-BD2B-1A5E5E071710}" srcOrd="0" destOrd="0" presId="urn:microsoft.com/office/officeart/2008/layout/VerticalCurvedList"/>
    <dgm:cxn modelId="{69CA81E5-4A24-4A02-B6B8-2C627913A0A1}" srcId="{B74187D4-231D-4AB8-A9F7-C620DF87BC5D}" destId="{3AA33947-ECF9-4AAA-8603-84C058459B70}" srcOrd="1" destOrd="0" parTransId="{4AF94546-A25B-49B6-A00B-8BDCFF388457}" sibTransId="{AF9D9CD6-A4E4-469C-9956-6D83C1542897}"/>
    <dgm:cxn modelId="{C9D192F1-B9ED-4D1E-AD84-A0F41A0709C2}" srcId="{B74187D4-231D-4AB8-A9F7-C620DF87BC5D}" destId="{309A8B2A-FAFF-4973-8C29-4CA788746955}" srcOrd="0" destOrd="0" parTransId="{AAA4B967-9ED2-4348-8F39-2CD98D3BD57F}" sibTransId="{ECB580FF-7F3B-4116-B14B-BB7A5F9FBC46}"/>
    <dgm:cxn modelId="{0BDB9F7A-2163-4AAF-8C01-2706DE60BF50}" type="presParOf" srcId="{DDEFF4FA-A416-4410-9451-0ED57DD11543}" destId="{A89215BD-01F7-4E92-A22E-A3D9A7D79E23}" srcOrd="0" destOrd="0" presId="urn:microsoft.com/office/officeart/2008/layout/VerticalCurvedList"/>
    <dgm:cxn modelId="{168EB6FA-1B1B-466C-96D0-ECDB170EA6A0}" type="presParOf" srcId="{A89215BD-01F7-4E92-A22E-A3D9A7D79E23}" destId="{4E3D5DAF-6745-40F3-A73D-F6C5139A806B}" srcOrd="0" destOrd="0" presId="urn:microsoft.com/office/officeart/2008/layout/VerticalCurvedList"/>
    <dgm:cxn modelId="{296359E2-2D38-4555-808B-86646E67964F}" type="presParOf" srcId="{4E3D5DAF-6745-40F3-A73D-F6C5139A806B}" destId="{01ED8C74-77E5-434E-95D7-E64EECCF75A1}" srcOrd="0" destOrd="0" presId="urn:microsoft.com/office/officeart/2008/layout/VerticalCurvedList"/>
    <dgm:cxn modelId="{116F8CA1-F6F3-444C-B33D-0FE46C1DACF6}" type="presParOf" srcId="{4E3D5DAF-6745-40F3-A73D-F6C5139A806B}" destId="{61700248-8E7F-47D0-ADE0-875A5B19503E}" srcOrd="1" destOrd="0" presId="urn:microsoft.com/office/officeart/2008/layout/VerticalCurvedList"/>
    <dgm:cxn modelId="{D02BC1BF-6FEB-4F2A-A913-E426A7613769}" type="presParOf" srcId="{4E3D5DAF-6745-40F3-A73D-F6C5139A806B}" destId="{9FD7B543-6B3C-4787-AC35-C85A4E8A2C7B}" srcOrd="2" destOrd="0" presId="urn:microsoft.com/office/officeart/2008/layout/VerticalCurvedList"/>
    <dgm:cxn modelId="{79344270-4F34-4284-ADD0-C2E1D4AFC9DD}" type="presParOf" srcId="{4E3D5DAF-6745-40F3-A73D-F6C5139A806B}" destId="{96876C39-C39B-4FD3-B0EE-CE805D1AB990}" srcOrd="3" destOrd="0" presId="urn:microsoft.com/office/officeart/2008/layout/VerticalCurvedList"/>
    <dgm:cxn modelId="{B84D6EF3-653C-42BB-9436-2205DEC7F8B7}" type="presParOf" srcId="{A89215BD-01F7-4E92-A22E-A3D9A7D79E23}" destId="{9DEF26BC-7B40-49A7-9B8F-734580048F50}" srcOrd="1" destOrd="0" presId="urn:microsoft.com/office/officeart/2008/layout/VerticalCurvedList"/>
    <dgm:cxn modelId="{1A7FAAD0-5FCF-41A2-BD02-D3AEF9120172}" type="presParOf" srcId="{A89215BD-01F7-4E92-A22E-A3D9A7D79E23}" destId="{DB3505B5-C0C0-456A-A4F5-419254753A97}" srcOrd="2" destOrd="0" presId="urn:microsoft.com/office/officeart/2008/layout/VerticalCurvedList"/>
    <dgm:cxn modelId="{56F23C23-9CCD-41C4-A76D-AF7D4B4619FF}" type="presParOf" srcId="{DB3505B5-C0C0-456A-A4F5-419254753A97}" destId="{26836185-39F8-499A-ABAD-DE1951A4BC76}" srcOrd="0" destOrd="0" presId="urn:microsoft.com/office/officeart/2008/layout/VerticalCurvedList"/>
    <dgm:cxn modelId="{A0F40F53-6381-47D8-AD98-5B5101930AA7}" type="presParOf" srcId="{A89215BD-01F7-4E92-A22E-A3D9A7D79E23}" destId="{7B60ABF7-908F-44EB-A527-6683AA277981}" srcOrd="3" destOrd="0" presId="urn:microsoft.com/office/officeart/2008/layout/VerticalCurvedList"/>
    <dgm:cxn modelId="{D1DCF6B7-C11F-4ECB-AA67-57F3A1968D24}" type="presParOf" srcId="{A89215BD-01F7-4E92-A22E-A3D9A7D79E23}" destId="{E729EFFF-3C8A-407F-9AC1-8246DF67BAD8}" srcOrd="4" destOrd="0" presId="urn:microsoft.com/office/officeart/2008/layout/VerticalCurvedList"/>
    <dgm:cxn modelId="{0AADCBB2-9C48-4362-800A-BE600C873780}" type="presParOf" srcId="{E729EFFF-3C8A-407F-9AC1-8246DF67BAD8}" destId="{29631583-3915-450C-918F-381562F92C37}" srcOrd="0" destOrd="0" presId="urn:microsoft.com/office/officeart/2008/layout/VerticalCurvedList"/>
    <dgm:cxn modelId="{3569EB02-DEF6-4A75-B868-990C3A84767B}" type="presParOf" srcId="{A89215BD-01F7-4E92-A22E-A3D9A7D79E23}" destId="{39756C36-4673-46B3-B3E1-9D2554FF81EE}" srcOrd="5" destOrd="0" presId="urn:microsoft.com/office/officeart/2008/layout/VerticalCurvedList"/>
    <dgm:cxn modelId="{81A6F05A-6E1A-4C9F-A13B-62F3E9718EDF}" type="presParOf" srcId="{A89215BD-01F7-4E92-A22E-A3D9A7D79E23}" destId="{8B631BDB-DA2B-4EE2-9F25-ED4CADF3C5B3}" srcOrd="6" destOrd="0" presId="urn:microsoft.com/office/officeart/2008/layout/VerticalCurvedList"/>
    <dgm:cxn modelId="{71C2B8BB-2D12-4561-BB4A-0FBE3FA5F559}" type="presParOf" srcId="{8B631BDB-DA2B-4EE2-9F25-ED4CADF3C5B3}" destId="{E2774E36-190F-4960-BA91-50A7DC3D1E62}" srcOrd="0" destOrd="0" presId="urn:microsoft.com/office/officeart/2008/layout/VerticalCurvedList"/>
    <dgm:cxn modelId="{8B6DA67F-0B1B-4302-8253-144D5AF671A6}" type="presParOf" srcId="{A89215BD-01F7-4E92-A22E-A3D9A7D79E23}" destId="{25FE89CC-0349-4F90-AB30-A1749C57C833}" srcOrd="7" destOrd="0" presId="urn:microsoft.com/office/officeart/2008/layout/VerticalCurvedList"/>
    <dgm:cxn modelId="{5CC7EEC4-6DB8-4A63-8850-7E7260528B93}" type="presParOf" srcId="{A89215BD-01F7-4E92-A22E-A3D9A7D79E23}" destId="{5B420657-3F71-4410-B9DB-E629B2CA0C30}" srcOrd="8" destOrd="0" presId="urn:microsoft.com/office/officeart/2008/layout/VerticalCurvedList"/>
    <dgm:cxn modelId="{EF07541D-21BA-440E-8297-2DC7A1763105}" type="presParOf" srcId="{5B420657-3F71-4410-B9DB-E629B2CA0C30}" destId="{D46A05FF-F4BC-4410-8DA0-08ECE07647AC}" srcOrd="0" destOrd="0" presId="urn:microsoft.com/office/officeart/2008/layout/VerticalCurvedList"/>
    <dgm:cxn modelId="{CF8BBEA2-0672-4C28-ADD7-B9572CE7F925}" type="presParOf" srcId="{A89215BD-01F7-4E92-A22E-A3D9A7D79E23}" destId="{760983C4-8A0E-4205-A83A-8AB71B7D83DE}" srcOrd="9" destOrd="0" presId="urn:microsoft.com/office/officeart/2008/layout/VerticalCurvedList"/>
    <dgm:cxn modelId="{5E433576-DA61-492B-89D6-8EC21688283C}" type="presParOf" srcId="{A89215BD-01F7-4E92-A22E-A3D9A7D79E23}" destId="{9B8EEDDF-516D-4AFE-82AC-FE5093670934}" srcOrd="10" destOrd="0" presId="urn:microsoft.com/office/officeart/2008/layout/VerticalCurvedList"/>
    <dgm:cxn modelId="{41EB6B3B-FF80-4E15-889E-AC57D535116E}" type="presParOf" srcId="{9B8EEDDF-516D-4AFE-82AC-FE5093670934}" destId="{4C098424-7B56-4E09-B3B6-F0175404274B}" srcOrd="0" destOrd="0" presId="urn:microsoft.com/office/officeart/2008/layout/VerticalCurvedList"/>
    <dgm:cxn modelId="{4B47263D-B264-4DC5-B907-E3E22DA46162}" type="presParOf" srcId="{A89215BD-01F7-4E92-A22E-A3D9A7D79E23}" destId="{402FCDF2-298D-483A-9803-663B4F4E5A71}" srcOrd="11" destOrd="0" presId="urn:microsoft.com/office/officeart/2008/layout/VerticalCurvedList"/>
    <dgm:cxn modelId="{67AA6164-8B6A-4D2D-ADFD-F2DCA5B7A408}" type="presParOf" srcId="{A89215BD-01F7-4E92-A22E-A3D9A7D79E23}" destId="{4C1DFF63-E916-4739-8AE4-539EBD3301C7}" srcOrd="12" destOrd="0" presId="urn:microsoft.com/office/officeart/2008/layout/VerticalCurvedList"/>
    <dgm:cxn modelId="{D41EA47D-54B9-473D-81D3-896948E2FD0E}" type="presParOf" srcId="{4C1DFF63-E916-4739-8AE4-539EBD3301C7}" destId="{7836CEB8-3E80-469A-9E94-D0062B7AAE95}" srcOrd="0" destOrd="0" presId="urn:microsoft.com/office/officeart/2008/layout/VerticalCurvedList"/>
    <dgm:cxn modelId="{097DE540-CE60-4DC4-B3E2-F634C960CFDF}" type="presParOf" srcId="{A89215BD-01F7-4E92-A22E-A3D9A7D79E23}" destId="{5DE94CD9-46FC-4F55-BD2B-1A5E5E071710}" srcOrd="13" destOrd="0" presId="urn:microsoft.com/office/officeart/2008/layout/VerticalCurvedList"/>
    <dgm:cxn modelId="{4FF13357-EB01-4CBE-81CA-2020928C174F}" type="presParOf" srcId="{A89215BD-01F7-4E92-A22E-A3D9A7D79E23}" destId="{6DA85489-6022-4F29-A1DC-4288A5470268}" srcOrd="14" destOrd="0" presId="urn:microsoft.com/office/officeart/2008/layout/VerticalCurvedList"/>
    <dgm:cxn modelId="{4DE5EF07-CBF6-4FBE-9471-AE7AFD8179D8}" type="presParOf" srcId="{6DA85489-6022-4F29-A1DC-4288A5470268}" destId="{145488B2-B5C2-4150-96B3-13CBD449EC31}"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A5BD33-0D70-4A15-8FA5-7CF18AF11C69}"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2D96EB79-872C-4F6F-94FF-0BDF74344384}">
      <dgm:prSet phldrT="[Text]"/>
      <dgm:spPr/>
      <dgm:t>
        <a:bodyPr/>
        <a:lstStyle/>
        <a:p>
          <a:pPr>
            <a:buClrTx/>
            <a:buSzTx/>
            <a:buFontTx/>
            <a:buNone/>
          </a:pPr>
          <a:r>
            <a:rPr kumimoji="0" lang="en-US" b="0" i="0" u="none" strike="noStrike" cap="none" spc="0" normalizeH="0" baseline="0" noProof="0" dirty="0">
              <a:ln>
                <a:noFill/>
              </a:ln>
              <a:solidFill>
                <a:srgbClr val="0083A2"/>
              </a:solidFill>
              <a:effectLst/>
              <a:uLnTx/>
              <a:uFillTx/>
              <a:latin typeface="Arial"/>
            </a:rPr>
            <a:t>Rel-14</a:t>
          </a:r>
        </a:p>
        <a:p>
          <a:pPr>
            <a:buClrTx/>
            <a:buSzTx/>
            <a:buFontTx/>
            <a:buNone/>
          </a:pPr>
          <a:r>
            <a:rPr kumimoji="0" lang="en-US" b="0" i="0" u="none" strike="noStrike" cap="none" spc="0" normalizeH="0" baseline="0" noProof="0" dirty="0">
              <a:ln>
                <a:noFill/>
              </a:ln>
              <a:solidFill>
                <a:srgbClr val="0083A2"/>
              </a:solidFill>
              <a:effectLst/>
              <a:uLnTx/>
              <a:uFillTx/>
              <a:latin typeface="Arial"/>
            </a:rPr>
            <a:t>SCS1.25KHz/ CP=200µs  Mobility up to 120 km/h</a:t>
          </a:r>
          <a:endParaRPr lang="en-US" dirty="0"/>
        </a:p>
      </dgm:t>
    </dgm:pt>
    <dgm:pt modelId="{906F69A1-9BBE-4991-A99A-AD3AFC238CE9}" type="parTrans" cxnId="{E027A6B0-C8D1-49E7-8ADB-BD49B12F640D}">
      <dgm:prSet/>
      <dgm:spPr/>
      <dgm:t>
        <a:bodyPr/>
        <a:lstStyle/>
        <a:p>
          <a:endParaRPr lang="en-US"/>
        </a:p>
      </dgm:t>
    </dgm:pt>
    <dgm:pt modelId="{C817A8E2-FC56-4A43-8778-77019B229307}" type="sibTrans" cxnId="{E027A6B0-C8D1-49E7-8ADB-BD49B12F640D}">
      <dgm:prSet/>
      <dgm:spPr/>
      <dgm:t>
        <a:bodyPr/>
        <a:lstStyle/>
        <a:p>
          <a:endParaRPr lang="en-US"/>
        </a:p>
      </dgm:t>
    </dgm:pt>
    <dgm:pt modelId="{12333A0C-669D-41CB-A52A-6085329C4A48}">
      <dgm:prSet phldrT="[Text]"/>
      <dgm:spPr/>
      <dgm:t>
        <a:bodyPr/>
        <a:lstStyle/>
        <a:p>
          <a:pPr>
            <a:buClrTx/>
            <a:buSzTx/>
            <a:buFontTx/>
            <a:buNone/>
          </a:pPr>
          <a:r>
            <a:rPr kumimoji="0" lang="de-DE" b="0" i="0" u="none" strike="noStrike" cap="none" spc="0" normalizeH="0" baseline="0" noProof="0" dirty="0">
              <a:ln>
                <a:noFill/>
              </a:ln>
              <a:solidFill>
                <a:srgbClr val="0083A2"/>
              </a:solidFill>
              <a:effectLst/>
              <a:uLnTx/>
              <a:uFillTx/>
              <a:latin typeface="Arial"/>
            </a:rPr>
            <a:t>5G BC  worldwide standard </a:t>
          </a:r>
        </a:p>
        <a:p>
          <a:pPr>
            <a:buClrTx/>
            <a:buSzTx/>
            <a:buFontTx/>
            <a:buNone/>
          </a:pPr>
          <a:r>
            <a:rPr kumimoji="0" lang="de-DE" b="0" i="0" u="none" strike="noStrike" cap="none" spc="0" normalizeH="0" baseline="0" noProof="0" dirty="0">
              <a:ln>
                <a:noFill/>
              </a:ln>
              <a:solidFill>
                <a:srgbClr val="0083A2"/>
              </a:solidFill>
              <a:effectLst/>
              <a:uLnTx/>
              <a:uFillTx/>
              <a:latin typeface="Arial"/>
            </a:rPr>
            <a:t>TG6/1 and WP6A</a:t>
          </a:r>
          <a:endParaRPr lang="en-US" dirty="0"/>
        </a:p>
      </dgm:t>
    </dgm:pt>
    <dgm:pt modelId="{18134235-43D5-49B0-8980-F571044E5788}" type="parTrans" cxnId="{FA50BEB2-D08C-4C3D-B661-DA5D6EC474AF}">
      <dgm:prSet/>
      <dgm:spPr/>
      <dgm:t>
        <a:bodyPr/>
        <a:lstStyle/>
        <a:p>
          <a:endParaRPr lang="en-US"/>
        </a:p>
      </dgm:t>
    </dgm:pt>
    <dgm:pt modelId="{7F65693E-BAA3-4E60-A0EA-9C4F00B67561}" type="sibTrans" cxnId="{FA50BEB2-D08C-4C3D-B661-DA5D6EC474AF}">
      <dgm:prSet/>
      <dgm:spPr/>
      <dgm:t>
        <a:bodyPr/>
        <a:lstStyle/>
        <a:p>
          <a:endParaRPr lang="en-US"/>
        </a:p>
      </dgm:t>
    </dgm:pt>
    <dgm:pt modelId="{770D4FD5-1DE3-4391-896F-675F59C000AA}">
      <dgm:prSet phldrT="[Text]"/>
      <dgm:spPr/>
      <dgm:t>
        <a:bodyPr/>
        <a:lstStyle/>
        <a:p>
          <a:pPr>
            <a:buClrTx/>
            <a:buSzTx/>
            <a:buFontTx/>
            <a:buNone/>
          </a:pPr>
          <a:r>
            <a:rPr kumimoji="0" lang="en-US" b="0" i="0" u="none" strike="noStrike" cap="none" spc="0" normalizeH="0" baseline="0" noProof="0" dirty="0">
              <a:ln>
                <a:noFill/>
              </a:ln>
              <a:solidFill>
                <a:srgbClr val="0083A2"/>
              </a:solidFill>
              <a:effectLst/>
              <a:uLnTx/>
              <a:uFillTx/>
              <a:latin typeface="Arial"/>
            </a:rPr>
            <a:t>Rel-16</a:t>
          </a:r>
        </a:p>
        <a:p>
          <a:pPr>
            <a:buClrTx/>
            <a:buSzTx/>
            <a:buFontTx/>
            <a:buNone/>
          </a:pPr>
          <a:r>
            <a:rPr kumimoji="0" lang="en-US" b="0" i="0" u="none" strike="noStrike" cap="none" spc="0" normalizeH="0" baseline="0" noProof="0" dirty="0">
              <a:ln>
                <a:noFill/>
              </a:ln>
              <a:solidFill>
                <a:srgbClr val="0083A2"/>
              </a:solidFill>
              <a:effectLst/>
              <a:uLnTx/>
              <a:uFillTx/>
              <a:latin typeface="Arial"/>
              <a:sym typeface="Wingdings" panose="05000000000000000000" pitchFamily="2" charset="2"/>
            </a:rPr>
            <a:t>Rooftop</a:t>
          </a:r>
          <a:r>
            <a:rPr kumimoji="0" lang="en-US" b="0" i="0" u="none" strike="noStrike" cap="none" spc="0" normalizeH="0" baseline="0" noProof="0" dirty="0">
              <a:ln>
                <a:noFill/>
              </a:ln>
              <a:solidFill>
                <a:srgbClr val="0083A2"/>
              </a:solidFill>
              <a:effectLst/>
              <a:uLnTx/>
              <a:uFillTx/>
              <a:latin typeface="Arial"/>
            </a:rPr>
            <a:t>  Mobility up to 250 km/h</a:t>
          </a:r>
          <a:endParaRPr lang="en-US" dirty="0"/>
        </a:p>
      </dgm:t>
    </dgm:pt>
    <dgm:pt modelId="{13204540-2619-4563-831C-D7EA7A35BF4E}" type="parTrans" cxnId="{64EC19C5-7E6D-4BE1-B987-EC2211909147}">
      <dgm:prSet/>
      <dgm:spPr/>
      <dgm:t>
        <a:bodyPr/>
        <a:lstStyle/>
        <a:p>
          <a:endParaRPr lang="en-US"/>
        </a:p>
      </dgm:t>
    </dgm:pt>
    <dgm:pt modelId="{790DECA3-6B1C-4302-BB37-8C8FEFC71957}" type="sibTrans" cxnId="{64EC19C5-7E6D-4BE1-B987-EC2211909147}">
      <dgm:prSet/>
      <dgm:spPr/>
      <dgm:t>
        <a:bodyPr/>
        <a:lstStyle/>
        <a:p>
          <a:endParaRPr lang="en-US"/>
        </a:p>
      </dgm:t>
    </dgm:pt>
    <dgm:pt modelId="{6602B524-125B-4B94-88BA-6D015ABA5725}">
      <dgm:prSet phldrT="[Text]"/>
      <dgm:spPr/>
      <dgm:t>
        <a:bodyPr/>
        <a:lstStyle/>
        <a:p>
          <a:pPr>
            <a:buClrTx/>
            <a:buSzTx/>
            <a:buFontTx/>
            <a:buNone/>
          </a:pPr>
          <a:r>
            <a:rPr kumimoji="0" lang="de-DE" b="0" i="0" u="none" strike="noStrike" cap="none" spc="0" normalizeH="0" baseline="0" noProof="0" dirty="0">
              <a:ln>
                <a:noFill/>
              </a:ln>
              <a:solidFill>
                <a:srgbClr val="0083A2"/>
              </a:solidFill>
              <a:effectLst/>
              <a:uLnTx/>
              <a:uFillTx/>
              <a:latin typeface="Arial"/>
            </a:rPr>
            <a:t>5G BC is an EU standard (ETSI </a:t>
          </a:r>
          <a:r>
            <a:rPr kumimoji="0" lang="en-US" b="0" i="0" u="none" strike="noStrike" cap="none" spc="0" normalizeH="0" baseline="0" noProof="0" dirty="0">
              <a:ln>
                <a:noFill/>
              </a:ln>
              <a:solidFill>
                <a:srgbClr val="0083A2"/>
              </a:solidFill>
              <a:effectLst/>
              <a:uLnTx/>
              <a:uFillTx/>
              <a:latin typeface="Arial"/>
              <a:hlinkClick xmlns:r="http://schemas.openxmlformats.org/officeDocument/2006/relationships" r:id="rId1">
                <a:extLst>
                  <a:ext uri="{A12FA001-AC4F-418D-AE19-62706E023703}">
                    <ahyp:hlinkClr xmlns:ahyp="http://schemas.microsoft.com/office/drawing/2018/hyperlinkcolor" val="tx"/>
                  </a:ext>
                </a:extLst>
              </a:hlinkClick>
            </a:rPr>
            <a:t>TS 103 720</a:t>
          </a:r>
          <a:r>
            <a:rPr kumimoji="0" lang="en-US" b="0" i="0" u="none" strike="noStrike" cap="none" spc="0" normalizeH="0" baseline="0" noProof="0" dirty="0">
              <a:ln>
                <a:noFill/>
              </a:ln>
              <a:solidFill>
                <a:srgbClr val="0083A2"/>
              </a:solidFill>
              <a:effectLst/>
              <a:uLnTx/>
              <a:uFillTx/>
              <a:latin typeface="Arial"/>
            </a:rPr>
            <a:t>)</a:t>
          </a:r>
          <a:endParaRPr lang="en-US" dirty="0"/>
        </a:p>
      </dgm:t>
    </dgm:pt>
    <dgm:pt modelId="{FA2DFF9F-4841-4E63-B343-D6A1A6211BB8}" type="parTrans" cxnId="{A7F3E696-4D30-43C2-8067-2C700C21F6D9}">
      <dgm:prSet/>
      <dgm:spPr/>
      <dgm:t>
        <a:bodyPr/>
        <a:lstStyle/>
        <a:p>
          <a:endParaRPr lang="en-US"/>
        </a:p>
      </dgm:t>
    </dgm:pt>
    <dgm:pt modelId="{56018235-535A-429E-8520-4140EEC5C80D}" type="sibTrans" cxnId="{A7F3E696-4D30-43C2-8067-2C700C21F6D9}">
      <dgm:prSet/>
      <dgm:spPr/>
      <dgm:t>
        <a:bodyPr/>
        <a:lstStyle/>
        <a:p>
          <a:endParaRPr lang="en-US"/>
        </a:p>
      </dgm:t>
    </dgm:pt>
    <dgm:pt modelId="{4D6A7648-7E18-48FF-9A59-77421F150C72}">
      <dgm:prSet phldrT="[Text]"/>
      <dgm:spPr/>
      <dgm:t>
        <a:bodyPr/>
        <a:lstStyle/>
        <a:p>
          <a:pPr>
            <a:buClrTx/>
            <a:buSzTx/>
            <a:buFontTx/>
            <a:buNone/>
          </a:pPr>
          <a:r>
            <a:rPr kumimoji="0" lang="de-DE" b="0" i="0" u="none" strike="noStrike" cap="none" spc="0" normalizeH="0" baseline="0" noProof="0" dirty="0">
              <a:ln>
                <a:noFill/>
              </a:ln>
              <a:solidFill>
                <a:srgbClr val="0083A2"/>
              </a:solidFill>
              <a:effectLst/>
              <a:uLnTx/>
              <a:uFillTx/>
              <a:latin typeface="Arial"/>
            </a:rPr>
            <a:t>Rel-17</a:t>
          </a:r>
          <a:br>
            <a:rPr kumimoji="0" lang="de-DE" b="0" i="0" u="none" strike="noStrike" cap="none" spc="0" normalizeH="0" baseline="0" noProof="0" dirty="0">
              <a:ln>
                <a:noFill/>
              </a:ln>
              <a:solidFill>
                <a:srgbClr val="0083A2"/>
              </a:solidFill>
              <a:effectLst/>
              <a:uLnTx/>
              <a:uFillTx/>
              <a:latin typeface="Arial"/>
            </a:rPr>
          </a:br>
          <a:r>
            <a:rPr kumimoji="0" lang="de-DE" b="0" i="0" u="none" strike="noStrike" cap="none" spc="0" normalizeH="0" baseline="0" noProof="0" dirty="0">
              <a:ln>
                <a:noFill/>
              </a:ln>
              <a:solidFill>
                <a:srgbClr val="0083A2"/>
              </a:solidFill>
              <a:effectLst/>
              <a:uLnTx/>
              <a:uFillTx/>
              <a:latin typeface="Arial"/>
            </a:rPr>
            <a:t>Enhanced BW= 6/7/8 MHz for UHF</a:t>
          </a:r>
          <a:endParaRPr lang="en-US" dirty="0"/>
        </a:p>
      </dgm:t>
    </dgm:pt>
    <dgm:pt modelId="{07BB1A74-F98F-4094-9793-90DF56D4AD45}" type="parTrans" cxnId="{30B93C41-C734-467D-BED0-C0ADE98DAC97}">
      <dgm:prSet/>
      <dgm:spPr/>
      <dgm:t>
        <a:bodyPr/>
        <a:lstStyle/>
        <a:p>
          <a:endParaRPr lang="en-US"/>
        </a:p>
      </dgm:t>
    </dgm:pt>
    <dgm:pt modelId="{1ACAB758-449B-442D-BD0D-837DB8F08818}" type="sibTrans" cxnId="{30B93C41-C734-467D-BED0-C0ADE98DAC97}">
      <dgm:prSet/>
      <dgm:spPr/>
      <dgm:t>
        <a:bodyPr/>
        <a:lstStyle/>
        <a:p>
          <a:endParaRPr lang="en-US"/>
        </a:p>
      </dgm:t>
    </dgm:pt>
    <dgm:pt modelId="{57FE0073-0D87-49CC-9C18-F851E9A3B098}">
      <dgm:prSet phldrT="[Text]"/>
      <dgm:spPr/>
      <dgm:t>
        <a:bodyPr/>
        <a:lstStyle/>
        <a:p>
          <a:pPr>
            <a:buClrTx/>
            <a:buSzTx/>
            <a:buFontTx/>
            <a:buNone/>
          </a:pPr>
          <a:r>
            <a:rPr kumimoji="0" lang="en-US" b="0" i="0" u="none" strike="noStrike" cap="none" spc="0" normalizeH="0" baseline="0" noProof="0" dirty="0">
              <a:ln>
                <a:noFill/>
              </a:ln>
              <a:solidFill>
                <a:srgbClr val="0083A2"/>
              </a:solidFill>
              <a:effectLst/>
              <a:uLnTx/>
              <a:uFillTx/>
              <a:latin typeface="Arial"/>
            </a:rPr>
            <a:t>Enhanced Version of ETSI TS 103 720</a:t>
          </a:r>
          <a:endParaRPr lang="en-US" dirty="0"/>
        </a:p>
      </dgm:t>
    </dgm:pt>
    <dgm:pt modelId="{AE651091-5BFF-4A12-98CD-96DB5A2C8016}" type="parTrans" cxnId="{7643C8F2-2718-4484-B30D-FDA9E12277E3}">
      <dgm:prSet/>
      <dgm:spPr/>
      <dgm:t>
        <a:bodyPr/>
        <a:lstStyle/>
        <a:p>
          <a:endParaRPr lang="en-US"/>
        </a:p>
      </dgm:t>
    </dgm:pt>
    <dgm:pt modelId="{5549FA5F-9E61-4817-BF2D-C582ABDBBEFF}" type="sibTrans" cxnId="{7643C8F2-2718-4484-B30D-FDA9E12277E3}">
      <dgm:prSet/>
      <dgm:spPr/>
      <dgm:t>
        <a:bodyPr/>
        <a:lstStyle/>
        <a:p>
          <a:endParaRPr lang="en-US"/>
        </a:p>
      </dgm:t>
    </dgm:pt>
    <dgm:pt modelId="{02FF2C65-7B80-42EA-B321-5200C8F667BE}">
      <dgm:prSet phldrT="[Text]"/>
      <dgm:spPr/>
      <dgm:t>
        <a:bodyPr/>
        <a:lstStyle/>
        <a:p>
          <a:pPr>
            <a:buClrTx/>
            <a:buSzTx/>
            <a:buFontTx/>
            <a:buNone/>
          </a:pPr>
          <a:r>
            <a:rPr kumimoji="0" lang="en-US" b="0" i="0" u="none" strike="noStrike" cap="none" spc="0" normalizeH="0" baseline="0" noProof="0">
              <a:ln>
                <a:noFill/>
              </a:ln>
              <a:solidFill>
                <a:srgbClr val="0083A2"/>
              </a:solidFill>
              <a:effectLst/>
              <a:uLnTx/>
              <a:uFillTx/>
              <a:latin typeface="Arial"/>
            </a:rPr>
            <a:t>AI1.5 WRC23</a:t>
          </a:r>
          <a:endParaRPr lang="en-US" dirty="0"/>
        </a:p>
      </dgm:t>
    </dgm:pt>
    <dgm:pt modelId="{F08F2C9E-7EC1-43D4-A685-918D845EA624}" type="parTrans" cxnId="{4046373F-AA4D-43D2-83DF-63376775ED6B}">
      <dgm:prSet/>
      <dgm:spPr/>
      <dgm:t>
        <a:bodyPr/>
        <a:lstStyle/>
        <a:p>
          <a:endParaRPr lang="en-US"/>
        </a:p>
      </dgm:t>
    </dgm:pt>
    <dgm:pt modelId="{D9CF0FE4-C9BB-4AE1-B43B-B1862E0F2F9C}" type="sibTrans" cxnId="{4046373F-AA4D-43D2-83DF-63376775ED6B}">
      <dgm:prSet/>
      <dgm:spPr/>
      <dgm:t>
        <a:bodyPr/>
        <a:lstStyle/>
        <a:p>
          <a:endParaRPr lang="en-US"/>
        </a:p>
      </dgm:t>
    </dgm:pt>
    <dgm:pt modelId="{8F6E1654-6836-49FC-9188-D61CA29769F2}">
      <dgm:prSet phldrT="[Text]"/>
      <dgm:spPr/>
      <dgm:t>
        <a:bodyPr/>
        <a:lstStyle/>
        <a:p>
          <a:pPr>
            <a:buClrTx/>
            <a:buSzTx/>
            <a:buFontTx/>
            <a:buNone/>
          </a:pPr>
          <a:r>
            <a:rPr lang="de-DE" dirty="0">
              <a:solidFill>
                <a:schemeClr val="accent3">
                  <a:lumMod val="75000"/>
                </a:schemeClr>
              </a:solidFill>
            </a:rPr>
            <a:t>Rel-18</a:t>
          </a:r>
          <a:br>
            <a:rPr lang="de-DE" dirty="0">
              <a:solidFill>
                <a:schemeClr val="accent3">
                  <a:lumMod val="75000"/>
                </a:schemeClr>
              </a:solidFill>
            </a:rPr>
          </a:br>
          <a:r>
            <a:rPr lang="en-US" dirty="0">
              <a:solidFill>
                <a:schemeClr val="accent3">
                  <a:lumMod val="75000"/>
                </a:schemeClr>
              </a:solidFill>
            </a:rPr>
            <a:t>Requirements for UHF and 6/7/8 MHz, URL Handling</a:t>
          </a:r>
        </a:p>
      </dgm:t>
    </dgm:pt>
    <dgm:pt modelId="{23B08E2E-A492-46F0-BCF5-0CC2D3D77D48}" type="parTrans" cxnId="{851907BA-46B5-482D-8DB4-47E5DC2640EE}">
      <dgm:prSet/>
      <dgm:spPr/>
      <dgm:t>
        <a:bodyPr/>
        <a:lstStyle/>
        <a:p>
          <a:endParaRPr lang="en-US"/>
        </a:p>
      </dgm:t>
    </dgm:pt>
    <dgm:pt modelId="{E8E3FC1F-A16F-4880-867B-D4037E8D77DD}" type="sibTrans" cxnId="{851907BA-46B5-482D-8DB4-47E5DC2640EE}">
      <dgm:prSet/>
      <dgm:spPr/>
      <dgm:t>
        <a:bodyPr/>
        <a:lstStyle/>
        <a:p>
          <a:endParaRPr lang="en-US"/>
        </a:p>
      </dgm:t>
    </dgm:pt>
    <dgm:pt modelId="{FD246D05-EB06-4582-BA9B-CC9101E1A24B}" type="pres">
      <dgm:prSet presAssocID="{CCA5BD33-0D70-4A15-8FA5-7CF18AF11C69}" presName="Name0" presStyleCnt="0">
        <dgm:presLayoutVars>
          <dgm:chMax val="11"/>
          <dgm:chPref val="11"/>
          <dgm:dir/>
          <dgm:resizeHandles/>
        </dgm:presLayoutVars>
      </dgm:prSet>
      <dgm:spPr/>
    </dgm:pt>
    <dgm:pt modelId="{D08D72F9-1EA6-4AA4-BFCA-A18776267AED}" type="pres">
      <dgm:prSet presAssocID="{02FF2C65-7B80-42EA-B321-5200C8F667BE}" presName="Accent8" presStyleCnt="0"/>
      <dgm:spPr/>
    </dgm:pt>
    <dgm:pt modelId="{163BBA7A-21B1-4EBB-8A35-E6AAB09D1377}" type="pres">
      <dgm:prSet presAssocID="{02FF2C65-7B80-42EA-B321-5200C8F667BE}" presName="Accent" presStyleLbl="node1" presStyleIdx="0" presStyleCnt="8"/>
      <dgm:spPr/>
    </dgm:pt>
    <dgm:pt modelId="{71EABC6E-0C8F-42BB-88B7-BA550F0E683E}" type="pres">
      <dgm:prSet presAssocID="{02FF2C65-7B80-42EA-B321-5200C8F667BE}" presName="ParentBackground8" presStyleCnt="0"/>
      <dgm:spPr/>
    </dgm:pt>
    <dgm:pt modelId="{647EC55D-4194-4166-ABBA-E42F7D113506}" type="pres">
      <dgm:prSet presAssocID="{02FF2C65-7B80-42EA-B321-5200C8F667BE}" presName="ParentBackground" presStyleLbl="fgAcc1" presStyleIdx="0" presStyleCnt="8"/>
      <dgm:spPr/>
    </dgm:pt>
    <dgm:pt modelId="{99A491E4-9838-4667-8D27-28F236D69DB8}" type="pres">
      <dgm:prSet presAssocID="{02FF2C65-7B80-42EA-B321-5200C8F667BE}" presName="Parent8" presStyleLbl="revTx" presStyleIdx="0" presStyleCnt="0">
        <dgm:presLayoutVars>
          <dgm:chMax val="1"/>
          <dgm:chPref val="1"/>
          <dgm:bulletEnabled val="1"/>
        </dgm:presLayoutVars>
      </dgm:prSet>
      <dgm:spPr/>
    </dgm:pt>
    <dgm:pt modelId="{EEF71798-B889-459A-97BB-1CB54F720074}" type="pres">
      <dgm:prSet presAssocID="{8F6E1654-6836-49FC-9188-D61CA29769F2}" presName="Accent7" presStyleCnt="0"/>
      <dgm:spPr/>
    </dgm:pt>
    <dgm:pt modelId="{5E43C491-AD1D-41BF-8412-A813F21A38EE}" type="pres">
      <dgm:prSet presAssocID="{8F6E1654-6836-49FC-9188-D61CA29769F2}" presName="Accent" presStyleLbl="node1" presStyleIdx="1" presStyleCnt="8"/>
      <dgm:spPr/>
    </dgm:pt>
    <dgm:pt modelId="{5CD03E29-04EF-4E97-8BAB-3D8ACACF4F69}" type="pres">
      <dgm:prSet presAssocID="{8F6E1654-6836-49FC-9188-D61CA29769F2}" presName="ParentBackground7" presStyleCnt="0"/>
      <dgm:spPr/>
    </dgm:pt>
    <dgm:pt modelId="{6088BDF8-98A3-43B3-A802-F6B79B3131CE}" type="pres">
      <dgm:prSet presAssocID="{8F6E1654-6836-49FC-9188-D61CA29769F2}" presName="ParentBackground" presStyleLbl="fgAcc1" presStyleIdx="1" presStyleCnt="8"/>
      <dgm:spPr/>
    </dgm:pt>
    <dgm:pt modelId="{657026A8-4987-49FA-87A5-D5D34D319EA5}" type="pres">
      <dgm:prSet presAssocID="{8F6E1654-6836-49FC-9188-D61CA29769F2}" presName="Parent7" presStyleLbl="revTx" presStyleIdx="0" presStyleCnt="0">
        <dgm:presLayoutVars>
          <dgm:chMax val="1"/>
          <dgm:chPref val="1"/>
          <dgm:bulletEnabled val="1"/>
        </dgm:presLayoutVars>
      </dgm:prSet>
      <dgm:spPr/>
    </dgm:pt>
    <dgm:pt modelId="{931F5EF5-1F74-4602-A8CD-FD44B6DE7CFE}" type="pres">
      <dgm:prSet presAssocID="{57FE0073-0D87-49CC-9C18-F851E9A3B098}" presName="Accent6" presStyleCnt="0"/>
      <dgm:spPr/>
    </dgm:pt>
    <dgm:pt modelId="{F4B278F1-6C00-4AAB-835D-03F55381840B}" type="pres">
      <dgm:prSet presAssocID="{57FE0073-0D87-49CC-9C18-F851E9A3B098}" presName="Accent" presStyleLbl="node1" presStyleIdx="2" presStyleCnt="8"/>
      <dgm:spPr/>
    </dgm:pt>
    <dgm:pt modelId="{D3FBFB01-6311-4C58-B7A5-4EA70376F90E}" type="pres">
      <dgm:prSet presAssocID="{57FE0073-0D87-49CC-9C18-F851E9A3B098}" presName="ParentBackground6" presStyleCnt="0"/>
      <dgm:spPr/>
    </dgm:pt>
    <dgm:pt modelId="{448F32BF-E251-43CE-BA58-D06214E885A4}" type="pres">
      <dgm:prSet presAssocID="{57FE0073-0D87-49CC-9C18-F851E9A3B098}" presName="ParentBackground" presStyleLbl="fgAcc1" presStyleIdx="2" presStyleCnt="8"/>
      <dgm:spPr/>
    </dgm:pt>
    <dgm:pt modelId="{F4021B97-77F3-4683-9DF0-E07A31CBF52F}" type="pres">
      <dgm:prSet presAssocID="{57FE0073-0D87-49CC-9C18-F851E9A3B098}" presName="Parent6" presStyleLbl="revTx" presStyleIdx="0" presStyleCnt="0">
        <dgm:presLayoutVars>
          <dgm:chMax val="1"/>
          <dgm:chPref val="1"/>
          <dgm:bulletEnabled val="1"/>
        </dgm:presLayoutVars>
      </dgm:prSet>
      <dgm:spPr/>
    </dgm:pt>
    <dgm:pt modelId="{5089BF6E-667B-411E-A0DC-DF3269DA773F}" type="pres">
      <dgm:prSet presAssocID="{4D6A7648-7E18-48FF-9A59-77421F150C72}" presName="Accent5" presStyleCnt="0"/>
      <dgm:spPr/>
    </dgm:pt>
    <dgm:pt modelId="{DDED353F-1552-4490-AC0D-9DEF658998E0}" type="pres">
      <dgm:prSet presAssocID="{4D6A7648-7E18-48FF-9A59-77421F150C72}" presName="Accent" presStyleLbl="node1" presStyleIdx="3" presStyleCnt="8"/>
      <dgm:spPr/>
    </dgm:pt>
    <dgm:pt modelId="{404CA857-2EB7-475E-8FB8-327D2AA66B63}" type="pres">
      <dgm:prSet presAssocID="{4D6A7648-7E18-48FF-9A59-77421F150C72}" presName="ParentBackground5" presStyleCnt="0"/>
      <dgm:spPr/>
    </dgm:pt>
    <dgm:pt modelId="{D8909048-32F9-4E75-886C-3F57DCB37ED2}" type="pres">
      <dgm:prSet presAssocID="{4D6A7648-7E18-48FF-9A59-77421F150C72}" presName="ParentBackground" presStyleLbl="fgAcc1" presStyleIdx="3" presStyleCnt="8"/>
      <dgm:spPr/>
    </dgm:pt>
    <dgm:pt modelId="{17B26BFB-E7AC-4791-AE35-D8F8073B497A}" type="pres">
      <dgm:prSet presAssocID="{4D6A7648-7E18-48FF-9A59-77421F150C72}" presName="Parent5" presStyleLbl="revTx" presStyleIdx="0" presStyleCnt="0">
        <dgm:presLayoutVars>
          <dgm:chMax val="1"/>
          <dgm:chPref val="1"/>
          <dgm:bulletEnabled val="1"/>
        </dgm:presLayoutVars>
      </dgm:prSet>
      <dgm:spPr/>
    </dgm:pt>
    <dgm:pt modelId="{4990C671-F3ED-4644-9D62-9E67050B8D53}" type="pres">
      <dgm:prSet presAssocID="{6602B524-125B-4B94-88BA-6D015ABA5725}" presName="Accent4" presStyleCnt="0"/>
      <dgm:spPr/>
    </dgm:pt>
    <dgm:pt modelId="{8D2D7A9D-E955-4BB2-B5A3-9D2886F6FA6B}" type="pres">
      <dgm:prSet presAssocID="{6602B524-125B-4B94-88BA-6D015ABA5725}" presName="Accent" presStyleLbl="node1" presStyleIdx="4" presStyleCnt="8"/>
      <dgm:spPr/>
    </dgm:pt>
    <dgm:pt modelId="{786A8580-9EB5-4E0A-9429-4D2B895612FB}" type="pres">
      <dgm:prSet presAssocID="{6602B524-125B-4B94-88BA-6D015ABA5725}" presName="ParentBackground4" presStyleCnt="0"/>
      <dgm:spPr/>
    </dgm:pt>
    <dgm:pt modelId="{7BD11445-825F-49E8-866F-A295A7411F9E}" type="pres">
      <dgm:prSet presAssocID="{6602B524-125B-4B94-88BA-6D015ABA5725}" presName="ParentBackground" presStyleLbl="fgAcc1" presStyleIdx="4" presStyleCnt="8"/>
      <dgm:spPr/>
    </dgm:pt>
    <dgm:pt modelId="{AE2B1CED-C2FB-435F-928F-AE66F1ACC55D}" type="pres">
      <dgm:prSet presAssocID="{6602B524-125B-4B94-88BA-6D015ABA5725}" presName="Parent4" presStyleLbl="revTx" presStyleIdx="0" presStyleCnt="0">
        <dgm:presLayoutVars>
          <dgm:chMax val="1"/>
          <dgm:chPref val="1"/>
          <dgm:bulletEnabled val="1"/>
        </dgm:presLayoutVars>
      </dgm:prSet>
      <dgm:spPr/>
    </dgm:pt>
    <dgm:pt modelId="{C7812AD2-6AC4-46A5-89A3-D91D3327F66A}" type="pres">
      <dgm:prSet presAssocID="{770D4FD5-1DE3-4391-896F-675F59C000AA}" presName="Accent3" presStyleCnt="0"/>
      <dgm:spPr/>
    </dgm:pt>
    <dgm:pt modelId="{A0E88B4A-82D0-420B-925D-B7CBDDE07732}" type="pres">
      <dgm:prSet presAssocID="{770D4FD5-1DE3-4391-896F-675F59C000AA}" presName="Accent" presStyleLbl="node1" presStyleIdx="5" presStyleCnt="8"/>
      <dgm:spPr/>
    </dgm:pt>
    <dgm:pt modelId="{022BFFB0-F20E-4A89-9F27-DCD8C3AADE46}" type="pres">
      <dgm:prSet presAssocID="{770D4FD5-1DE3-4391-896F-675F59C000AA}" presName="ParentBackground3" presStyleCnt="0"/>
      <dgm:spPr/>
    </dgm:pt>
    <dgm:pt modelId="{A31D6B98-94C5-4AF2-A4BB-0E5E7A5D422E}" type="pres">
      <dgm:prSet presAssocID="{770D4FD5-1DE3-4391-896F-675F59C000AA}" presName="ParentBackground" presStyleLbl="fgAcc1" presStyleIdx="5" presStyleCnt="8"/>
      <dgm:spPr/>
    </dgm:pt>
    <dgm:pt modelId="{892C52E5-60AA-4625-87D2-C8150E13465C}" type="pres">
      <dgm:prSet presAssocID="{770D4FD5-1DE3-4391-896F-675F59C000AA}" presName="Parent3" presStyleLbl="revTx" presStyleIdx="0" presStyleCnt="0">
        <dgm:presLayoutVars>
          <dgm:chMax val="1"/>
          <dgm:chPref val="1"/>
          <dgm:bulletEnabled val="1"/>
        </dgm:presLayoutVars>
      </dgm:prSet>
      <dgm:spPr/>
    </dgm:pt>
    <dgm:pt modelId="{02E254E8-E6C9-4A10-A075-27256A136298}" type="pres">
      <dgm:prSet presAssocID="{12333A0C-669D-41CB-A52A-6085329C4A48}" presName="Accent2" presStyleCnt="0"/>
      <dgm:spPr/>
    </dgm:pt>
    <dgm:pt modelId="{AADDE8E5-E4FD-4942-86DA-6E10E6C1A2F7}" type="pres">
      <dgm:prSet presAssocID="{12333A0C-669D-41CB-A52A-6085329C4A48}" presName="Accent" presStyleLbl="node1" presStyleIdx="6" presStyleCnt="8"/>
      <dgm:spPr/>
    </dgm:pt>
    <dgm:pt modelId="{9094654B-644F-4F58-908F-D50887BF43A2}" type="pres">
      <dgm:prSet presAssocID="{12333A0C-669D-41CB-A52A-6085329C4A48}" presName="ParentBackground2" presStyleCnt="0"/>
      <dgm:spPr/>
    </dgm:pt>
    <dgm:pt modelId="{1F6E9D62-BBD0-463D-B544-4429B65D93E5}" type="pres">
      <dgm:prSet presAssocID="{12333A0C-669D-41CB-A52A-6085329C4A48}" presName="ParentBackground" presStyleLbl="fgAcc1" presStyleIdx="6" presStyleCnt="8"/>
      <dgm:spPr/>
    </dgm:pt>
    <dgm:pt modelId="{13EC4AA8-65FC-4001-AF78-1B69BA2B0F53}" type="pres">
      <dgm:prSet presAssocID="{12333A0C-669D-41CB-A52A-6085329C4A48}" presName="Parent2" presStyleLbl="revTx" presStyleIdx="0" presStyleCnt="0">
        <dgm:presLayoutVars>
          <dgm:chMax val="1"/>
          <dgm:chPref val="1"/>
          <dgm:bulletEnabled val="1"/>
        </dgm:presLayoutVars>
      </dgm:prSet>
      <dgm:spPr/>
    </dgm:pt>
    <dgm:pt modelId="{E30009A9-605B-4A6D-A9C6-2930E7448172}" type="pres">
      <dgm:prSet presAssocID="{2D96EB79-872C-4F6F-94FF-0BDF74344384}" presName="Accent1" presStyleCnt="0"/>
      <dgm:spPr/>
    </dgm:pt>
    <dgm:pt modelId="{896365B5-14BE-4479-B830-0B2FA3CB031B}" type="pres">
      <dgm:prSet presAssocID="{2D96EB79-872C-4F6F-94FF-0BDF74344384}" presName="Accent" presStyleLbl="node1" presStyleIdx="7" presStyleCnt="8"/>
      <dgm:spPr/>
    </dgm:pt>
    <dgm:pt modelId="{23E44CAF-6494-466D-BACE-515F3814C320}" type="pres">
      <dgm:prSet presAssocID="{2D96EB79-872C-4F6F-94FF-0BDF74344384}" presName="ParentBackground1" presStyleCnt="0"/>
      <dgm:spPr/>
    </dgm:pt>
    <dgm:pt modelId="{5311A34D-6873-4ADD-90D8-B783C069773F}" type="pres">
      <dgm:prSet presAssocID="{2D96EB79-872C-4F6F-94FF-0BDF74344384}" presName="ParentBackground" presStyleLbl="fgAcc1" presStyleIdx="7" presStyleCnt="8"/>
      <dgm:spPr/>
    </dgm:pt>
    <dgm:pt modelId="{C38329D9-E98B-4652-B582-A217D92856A4}" type="pres">
      <dgm:prSet presAssocID="{2D96EB79-872C-4F6F-94FF-0BDF74344384}" presName="Parent1" presStyleLbl="revTx" presStyleIdx="0" presStyleCnt="0">
        <dgm:presLayoutVars>
          <dgm:chMax val="1"/>
          <dgm:chPref val="1"/>
          <dgm:bulletEnabled val="1"/>
        </dgm:presLayoutVars>
      </dgm:prSet>
      <dgm:spPr/>
    </dgm:pt>
  </dgm:ptLst>
  <dgm:cxnLst>
    <dgm:cxn modelId="{4453EA07-1968-4F22-8917-727C15C4CFC0}" type="presOf" srcId="{57FE0073-0D87-49CC-9C18-F851E9A3B098}" destId="{F4021B97-77F3-4683-9DF0-E07A31CBF52F}" srcOrd="1" destOrd="0" presId="urn:microsoft.com/office/officeart/2011/layout/CircleProcess"/>
    <dgm:cxn modelId="{04CAD613-C3FF-4933-B7B6-DDC75A83E139}" type="presOf" srcId="{12333A0C-669D-41CB-A52A-6085329C4A48}" destId="{1F6E9D62-BBD0-463D-B544-4429B65D93E5}" srcOrd="0" destOrd="0" presId="urn:microsoft.com/office/officeart/2011/layout/CircleProcess"/>
    <dgm:cxn modelId="{4046373F-AA4D-43D2-83DF-63376775ED6B}" srcId="{CCA5BD33-0D70-4A15-8FA5-7CF18AF11C69}" destId="{02FF2C65-7B80-42EA-B321-5200C8F667BE}" srcOrd="7" destOrd="0" parTransId="{F08F2C9E-7EC1-43D4-A685-918D845EA624}" sibTransId="{D9CF0FE4-C9BB-4AE1-B43B-B1862E0F2F9C}"/>
    <dgm:cxn modelId="{30B93C41-C734-467D-BED0-C0ADE98DAC97}" srcId="{CCA5BD33-0D70-4A15-8FA5-7CF18AF11C69}" destId="{4D6A7648-7E18-48FF-9A59-77421F150C72}" srcOrd="4" destOrd="0" parTransId="{07BB1A74-F98F-4094-9793-90DF56D4AD45}" sibTransId="{1ACAB758-449B-442D-BD0D-837DB8F08818}"/>
    <dgm:cxn modelId="{91E00E45-CC1F-4376-8BF9-555B14270244}" type="presOf" srcId="{4D6A7648-7E18-48FF-9A59-77421F150C72}" destId="{D8909048-32F9-4E75-886C-3F57DCB37ED2}" srcOrd="0" destOrd="0" presId="urn:microsoft.com/office/officeart/2011/layout/CircleProcess"/>
    <dgm:cxn modelId="{F687EC66-2D7A-4581-911F-FEC08149A9D6}" type="presOf" srcId="{2D96EB79-872C-4F6F-94FF-0BDF74344384}" destId="{5311A34D-6873-4ADD-90D8-B783C069773F}" srcOrd="0" destOrd="0" presId="urn:microsoft.com/office/officeart/2011/layout/CircleProcess"/>
    <dgm:cxn modelId="{B9238F6A-1F31-4E9B-8C42-A3C4E9C4E666}" type="presOf" srcId="{CCA5BD33-0D70-4A15-8FA5-7CF18AF11C69}" destId="{FD246D05-EB06-4582-BA9B-CC9101E1A24B}" srcOrd="0" destOrd="0" presId="urn:microsoft.com/office/officeart/2011/layout/CircleProcess"/>
    <dgm:cxn modelId="{0B28054B-1D30-4D20-8CE0-9CBDB74231F6}" type="presOf" srcId="{770D4FD5-1DE3-4391-896F-675F59C000AA}" destId="{A31D6B98-94C5-4AF2-A4BB-0E5E7A5D422E}" srcOrd="0" destOrd="0" presId="urn:microsoft.com/office/officeart/2011/layout/CircleProcess"/>
    <dgm:cxn modelId="{C5E8A94C-1F0B-4D21-A83A-BC2191639DEA}" type="presOf" srcId="{8F6E1654-6836-49FC-9188-D61CA29769F2}" destId="{657026A8-4987-49FA-87A5-D5D34D319EA5}" srcOrd="1" destOrd="0" presId="urn:microsoft.com/office/officeart/2011/layout/CircleProcess"/>
    <dgm:cxn modelId="{046AD052-D1C2-4937-A252-B38117E14C70}" type="presOf" srcId="{12333A0C-669D-41CB-A52A-6085329C4A48}" destId="{13EC4AA8-65FC-4001-AF78-1B69BA2B0F53}" srcOrd="1" destOrd="0" presId="urn:microsoft.com/office/officeart/2011/layout/CircleProcess"/>
    <dgm:cxn modelId="{9EE39A74-C358-4197-897A-DE447355BD79}" type="presOf" srcId="{6602B524-125B-4B94-88BA-6D015ABA5725}" destId="{7BD11445-825F-49E8-866F-A295A7411F9E}" srcOrd="0" destOrd="0" presId="urn:microsoft.com/office/officeart/2011/layout/CircleProcess"/>
    <dgm:cxn modelId="{31DF7859-09D9-4655-A4F9-8BC0E8AF69C3}" type="presOf" srcId="{4D6A7648-7E18-48FF-9A59-77421F150C72}" destId="{17B26BFB-E7AC-4791-AE35-D8F8073B497A}" srcOrd="1" destOrd="0" presId="urn:microsoft.com/office/officeart/2011/layout/CircleProcess"/>
    <dgm:cxn modelId="{2EA13489-5C1B-4D23-818B-2DFFD8C0D557}" type="presOf" srcId="{02FF2C65-7B80-42EA-B321-5200C8F667BE}" destId="{99A491E4-9838-4667-8D27-28F236D69DB8}" srcOrd="1" destOrd="0" presId="urn:microsoft.com/office/officeart/2011/layout/CircleProcess"/>
    <dgm:cxn modelId="{4ED4B991-EE65-4CC8-8ABE-4BB5849FA63D}" type="presOf" srcId="{8F6E1654-6836-49FC-9188-D61CA29769F2}" destId="{6088BDF8-98A3-43B3-A802-F6B79B3131CE}" srcOrd="0" destOrd="0" presId="urn:microsoft.com/office/officeart/2011/layout/CircleProcess"/>
    <dgm:cxn modelId="{A7F3E696-4D30-43C2-8067-2C700C21F6D9}" srcId="{CCA5BD33-0D70-4A15-8FA5-7CF18AF11C69}" destId="{6602B524-125B-4B94-88BA-6D015ABA5725}" srcOrd="3" destOrd="0" parTransId="{FA2DFF9F-4841-4E63-B343-D6A1A6211BB8}" sibTransId="{56018235-535A-429E-8520-4140EEC5C80D}"/>
    <dgm:cxn modelId="{F614CF9E-B129-42B8-8E39-6B61281FC7E7}" type="presOf" srcId="{2D96EB79-872C-4F6F-94FF-0BDF74344384}" destId="{C38329D9-E98B-4652-B582-A217D92856A4}" srcOrd="1" destOrd="0" presId="urn:microsoft.com/office/officeart/2011/layout/CircleProcess"/>
    <dgm:cxn modelId="{E027A6B0-C8D1-49E7-8ADB-BD49B12F640D}" srcId="{CCA5BD33-0D70-4A15-8FA5-7CF18AF11C69}" destId="{2D96EB79-872C-4F6F-94FF-0BDF74344384}" srcOrd="0" destOrd="0" parTransId="{906F69A1-9BBE-4991-A99A-AD3AFC238CE9}" sibTransId="{C817A8E2-FC56-4A43-8778-77019B229307}"/>
    <dgm:cxn modelId="{FA50BEB2-D08C-4C3D-B661-DA5D6EC474AF}" srcId="{CCA5BD33-0D70-4A15-8FA5-7CF18AF11C69}" destId="{12333A0C-669D-41CB-A52A-6085329C4A48}" srcOrd="1" destOrd="0" parTransId="{18134235-43D5-49B0-8980-F571044E5788}" sibTransId="{7F65693E-BAA3-4E60-A0EA-9C4F00B67561}"/>
    <dgm:cxn modelId="{851907BA-46B5-482D-8DB4-47E5DC2640EE}" srcId="{CCA5BD33-0D70-4A15-8FA5-7CF18AF11C69}" destId="{8F6E1654-6836-49FC-9188-D61CA29769F2}" srcOrd="6" destOrd="0" parTransId="{23B08E2E-A492-46F0-BCF5-0CC2D3D77D48}" sibTransId="{E8E3FC1F-A16F-4880-867B-D4037E8D77DD}"/>
    <dgm:cxn modelId="{64EC19C5-7E6D-4BE1-B987-EC2211909147}" srcId="{CCA5BD33-0D70-4A15-8FA5-7CF18AF11C69}" destId="{770D4FD5-1DE3-4391-896F-675F59C000AA}" srcOrd="2" destOrd="0" parTransId="{13204540-2619-4563-831C-D7EA7A35BF4E}" sibTransId="{790DECA3-6B1C-4302-BB37-8C8FEFC71957}"/>
    <dgm:cxn modelId="{6D3385DF-6642-430E-9A13-4CC47B4BDBE0}" type="presOf" srcId="{6602B524-125B-4B94-88BA-6D015ABA5725}" destId="{AE2B1CED-C2FB-435F-928F-AE66F1ACC55D}" srcOrd="1" destOrd="0" presId="urn:microsoft.com/office/officeart/2011/layout/CircleProcess"/>
    <dgm:cxn modelId="{E1C94FE3-2637-45AE-B450-A3F614F3A678}" type="presOf" srcId="{57FE0073-0D87-49CC-9C18-F851E9A3B098}" destId="{448F32BF-E251-43CE-BA58-D06214E885A4}" srcOrd="0" destOrd="0" presId="urn:microsoft.com/office/officeart/2011/layout/CircleProcess"/>
    <dgm:cxn modelId="{E84CC1F2-8CC5-4754-9F6F-891FD6C4478E}" type="presOf" srcId="{02FF2C65-7B80-42EA-B321-5200C8F667BE}" destId="{647EC55D-4194-4166-ABBA-E42F7D113506}" srcOrd="0" destOrd="0" presId="urn:microsoft.com/office/officeart/2011/layout/CircleProcess"/>
    <dgm:cxn modelId="{7643C8F2-2718-4484-B30D-FDA9E12277E3}" srcId="{CCA5BD33-0D70-4A15-8FA5-7CF18AF11C69}" destId="{57FE0073-0D87-49CC-9C18-F851E9A3B098}" srcOrd="5" destOrd="0" parTransId="{AE651091-5BFF-4A12-98CD-96DB5A2C8016}" sibTransId="{5549FA5F-9E61-4817-BF2D-C582ABDBBEFF}"/>
    <dgm:cxn modelId="{CD1425FE-1435-458A-8C43-69897B0479CA}" type="presOf" srcId="{770D4FD5-1DE3-4391-896F-675F59C000AA}" destId="{892C52E5-60AA-4625-87D2-C8150E13465C}" srcOrd="1" destOrd="0" presId="urn:microsoft.com/office/officeart/2011/layout/CircleProcess"/>
    <dgm:cxn modelId="{784F89EA-C25B-4436-BB3B-85AD47D2E519}" type="presParOf" srcId="{FD246D05-EB06-4582-BA9B-CC9101E1A24B}" destId="{D08D72F9-1EA6-4AA4-BFCA-A18776267AED}" srcOrd="0" destOrd="0" presId="urn:microsoft.com/office/officeart/2011/layout/CircleProcess"/>
    <dgm:cxn modelId="{77C80602-FBD7-4C41-BC1B-F062C43EC924}" type="presParOf" srcId="{D08D72F9-1EA6-4AA4-BFCA-A18776267AED}" destId="{163BBA7A-21B1-4EBB-8A35-E6AAB09D1377}" srcOrd="0" destOrd="0" presId="urn:microsoft.com/office/officeart/2011/layout/CircleProcess"/>
    <dgm:cxn modelId="{F54ABEDA-CC3F-4469-9B4D-52677B1ED06E}" type="presParOf" srcId="{FD246D05-EB06-4582-BA9B-CC9101E1A24B}" destId="{71EABC6E-0C8F-42BB-88B7-BA550F0E683E}" srcOrd="1" destOrd="0" presId="urn:microsoft.com/office/officeart/2011/layout/CircleProcess"/>
    <dgm:cxn modelId="{D5B53910-622B-4B59-883F-BE3F9A2A3D5C}" type="presParOf" srcId="{71EABC6E-0C8F-42BB-88B7-BA550F0E683E}" destId="{647EC55D-4194-4166-ABBA-E42F7D113506}" srcOrd="0" destOrd="0" presId="urn:microsoft.com/office/officeart/2011/layout/CircleProcess"/>
    <dgm:cxn modelId="{CE22AE4C-2F6B-41DC-8E6B-51BB87794ACC}" type="presParOf" srcId="{FD246D05-EB06-4582-BA9B-CC9101E1A24B}" destId="{99A491E4-9838-4667-8D27-28F236D69DB8}" srcOrd="2" destOrd="0" presId="urn:microsoft.com/office/officeart/2011/layout/CircleProcess"/>
    <dgm:cxn modelId="{32AE7C55-34C3-4E12-B003-5A5C1E36F56C}" type="presParOf" srcId="{FD246D05-EB06-4582-BA9B-CC9101E1A24B}" destId="{EEF71798-B889-459A-97BB-1CB54F720074}" srcOrd="3" destOrd="0" presId="urn:microsoft.com/office/officeart/2011/layout/CircleProcess"/>
    <dgm:cxn modelId="{16684D07-A3CD-491B-B28E-291245CC8512}" type="presParOf" srcId="{EEF71798-B889-459A-97BB-1CB54F720074}" destId="{5E43C491-AD1D-41BF-8412-A813F21A38EE}" srcOrd="0" destOrd="0" presId="urn:microsoft.com/office/officeart/2011/layout/CircleProcess"/>
    <dgm:cxn modelId="{A389525A-928E-4664-96D1-C7FE9EB74A7A}" type="presParOf" srcId="{FD246D05-EB06-4582-BA9B-CC9101E1A24B}" destId="{5CD03E29-04EF-4E97-8BAB-3D8ACACF4F69}" srcOrd="4" destOrd="0" presId="urn:microsoft.com/office/officeart/2011/layout/CircleProcess"/>
    <dgm:cxn modelId="{38127BA3-7DA8-4DAA-B821-E31F7AC4934B}" type="presParOf" srcId="{5CD03E29-04EF-4E97-8BAB-3D8ACACF4F69}" destId="{6088BDF8-98A3-43B3-A802-F6B79B3131CE}" srcOrd="0" destOrd="0" presId="urn:microsoft.com/office/officeart/2011/layout/CircleProcess"/>
    <dgm:cxn modelId="{B3F4DEA1-C608-4CF3-A467-46F1D418F33C}" type="presParOf" srcId="{FD246D05-EB06-4582-BA9B-CC9101E1A24B}" destId="{657026A8-4987-49FA-87A5-D5D34D319EA5}" srcOrd="5" destOrd="0" presId="urn:microsoft.com/office/officeart/2011/layout/CircleProcess"/>
    <dgm:cxn modelId="{7DE47CD6-5F85-4EF0-B267-D055FFFF8342}" type="presParOf" srcId="{FD246D05-EB06-4582-BA9B-CC9101E1A24B}" destId="{931F5EF5-1F74-4602-A8CD-FD44B6DE7CFE}" srcOrd="6" destOrd="0" presId="urn:microsoft.com/office/officeart/2011/layout/CircleProcess"/>
    <dgm:cxn modelId="{42E39E99-27A5-4646-9482-81C50DB2AA69}" type="presParOf" srcId="{931F5EF5-1F74-4602-A8CD-FD44B6DE7CFE}" destId="{F4B278F1-6C00-4AAB-835D-03F55381840B}" srcOrd="0" destOrd="0" presId="urn:microsoft.com/office/officeart/2011/layout/CircleProcess"/>
    <dgm:cxn modelId="{60C24AB0-2937-44E6-9F1C-23CCFE770868}" type="presParOf" srcId="{FD246D05-EB06-4582-BA9B-CC9101E1A24B}" destId="{D3FBFB01-6311-4C58-B7A5-4EA70376F90E}" srcOrd="7" destOrd="0" presId="urn:microsoft.com/office/officeart/2011/layout/CircleProcess"/>
    <dgm:cxn modelId="{0BD6C971-F1CC-44C7-9127-56D68AF3270A}" type="presParOf" srcId="{D3FBFB01-6311-4C58-B7A5-4EA70376F90E}" destId="{448F32BF-E251-43CE-BA58-D06214E885A4}" srcOrd="0" destOrd="0" presId="urn:microsoft.com/office/officeart/2011/layout/CircleProcess"/>
    <dgm:cxn modelId="{55B79D9D-E5E0-4E62-8E1D-59436A41983C}" type="presParOf" srcId="{FD246D05-EB06-4582-BA9B-CC9101E1A24B}" destId="{F4021B97-77F3-4683-9DF0-E07A31CBF52F}" srcOrd="8" destOrd="0" presId="urn:microsoft.com/office/officeart/2011/layout/CircleProcess"/>
    <dgm:cxn modelId="{17B67FE1-0DAF-48A4-986B-8112C0F23025}" type="presParOf" srcId="{FD246D05-EB06-4582-BA9B-CC9101E1A24B}" destId="{5089BF6E-667B-411E-A0DC-DF3269DA773F}" srcOrd="9" destOrd="0" presId="urn:microsoft.com/office/officeart/2011/layout/CircleProcess"/>
    <dgm:cxn modelId="{32D0D300-46D6-438D-924F-81DEF29193E6}" type="presParOf" srcId="{5089BF6E-667B-411E-A0DC-DF3269DA773F}" destId="{DDED353F-1552-4490-AC0D-9DEF658998E0}" srcOrd="0" destOrd="0" presId="urn:microsoft.com/office/officeart/2011/layout/CircleProcess"/>
    <dgm:cxn modelId="{08A0C1CB-8A7F-4FA2-AEF8-B1A04A03D6A4}" type="presParOf" srcId="{FD246D05-EB06-4582-BA9B-CC9101E1A24B}" destId="{404CA857-2EB7-475E-8FB8-327D2AA66B63}" srcOrd="10" destOrd="0" presId="urn:microsoft.com/office/officeart/2011/layout/CircleProcess"/>
    <dgm:cxn modelId="{9BBECF89-7A28-422D-82F7-03179DDA8614}" type="presParOf" srcId="{404CA857-2EB7-475E-8FB8-327D2AA66B63}" destId="{D8909048-32F9-4E75-886C-3F57DCB37ED2}" srcOrd="0" destOrd="0" presId="urn:microsoft.com/office/officeart/2011/layout/CircleProcess"/>
    <dgm:cxn modelId="{3E593DDE-FA95-4E34-A2D8-444E587E0276}" type="presParOf" srcId="{FD246D05-EB06-4582-BA9B-CC9101E1A24B}" destId="{17B26BFB-E7AC-4791-AE35-D8F8073B497A}" srcOrd="11" destOrd="0" presId="urn:microsoft.com/office/officeart/2011/layout/CircleProcess"/>
    <dgm:cxn modelId="{0B207193-463A-43A1-A64A-A937961E9AC8}" type="presParOf" srcId="{FD246D05-EB06-4582-BA9B-CC9101E1A24B}" destId="{4990C671-F3ED-4644-9D62-9E67050B8D53}" srcOrd="12" destOrd="0" presId="urn:microsoft.com/office/officeart/2011/layout/CircleProcess"/>
    <dgm:cxn modelId="{07C6DF61-CC76-4498-9C10-206375A3D910}" type="presParOf" srcId="{4990C671-F3ED-4644-9D62-9E67050B8D53}" destId="{8D2D7A9D-E955-4BB2-B5A3-9D2886F6FA6B}" srcOrd="0" destOrd="0" presId="urn:microsoft.com/office/officeart/2011/layout/CircleProcess"/>
    <dgm:cxn modelId="{C1DAD701-989F-4EE6-9AAF-869011C62A65}" type="presParOf" srcId="{FD246D05-EB06-4582-BA9B-CC9101E1A24B}" destId="{786A8580-9EB5-4E0A-9429-4D2B895612FB}" srcOrd="13" destOrd="0" presId="urn:microsoft.com/office/officeart/2011/layout/CircleProcess"/>
    <dgm:cxn modelId="{BD05084C-8233-4C0F-A804-90A413DD773C}" type="presParOf" srcId="{786A8580-9EB5-4E0A-9429-4D2B895612FB}" destId="{7BD11445-825F-49E8-866F-A295A7411F9E}" srcOrd="0" destOrd="0" presId="urn:microsoft.com/office/officeart/2011/layout/CircleProcess"/>
    <dgm:cxn modelId="{983F8F03-35D5-4B7D-A672-93199FC42DB3}" type="presParOf" srcId="{FD246D05-EB06-4582-BA9B-CC9101E1A24B}" destId="{AE2B1CED-C2FB-435F-928F-AE66F1ACC55D}" srcOrd="14" destOrd="0" presId="urn:microsoft.com/office/officeart/2011/layout/CircleProcess"/>
    <dgm:cxn modelId="{2441E550-D0C6-49F3-8442-5816A93AF8F1}" type="presParOf" srcId="{FD246D05-EB06-4582-BA9B-CC9101E1A24B}" destId="{C7812AD2-6AC4-46A5-89A3-D91D3327F66A}" srcOrd="15" destOrd="0" presId="urn:microsoft.com/office/officeart/2011/layout/CircleProcess"/>
    <dgm:cxn modelId="{815C84A3-5A66-4AB9-9D86-81F14B04E1C1}" type="presParOf" srcId="{C7812AD2-6AC4-46A5-89A3-D91D3327F66A}" destId="{A0E88B4A-82D0-420B-925D-B7CBDDE07732}" srcOrd="0" destOrd="0" presId="urn:microsoft.com/office/officeart/2011/layout/CircleProcess"/>
    <dgm:cxn modelId="{90166A82-2B9F-4001-8536-4EEB9FC3FD51}" type="presParOf" srcId="{FD246D05-EB06-4582-BA9B-CC9101E1A24B}" destId="{022BFFB0-F20E-4A89-9F27-DCD8C3AADE46}" srcOrd="16" destOrd="0" presId="urn:microsoft.com/office/officeart/2011/layout/CircleProcess"/>
    <dgm:cxn modelId="{2F99E357-2A8E-44D7-9514-93B9DD824A8D}" type="presParOf" srcId="{022BFFB0-F20E-4A89-9F27-DCD8C3AADE46}" destId="{A31D6B98-94C5-4AF2-A4BB-0E5E7A5D422E}" srcOrd="0" destOrd="0" presId="urn:microsoft.com/office/officeart/2011/layout/CircleProcess"/>
    <dgm:cxn modelId="{D34C19A1-9E65-407E-8E4B-630BEC009945}" type="presParOf" srcId="{FD246D05-EB06-4582-BA9B-CC9101E1A24B}" destId="{892C52E5-60AA-4625-87D2-C8150E13465C}" srcOrd="17" destOrd="0" presId="urn:microsoft.com/office/officeart/2011/layout/CircleProcess"/>
    <dgm:cxn modelId="{5B27C445-31C1-42FF-8CB5-69A4554D6D2A}" type="presParOf" srcId="{FD246D05-EB06-4582-BA9B-CC9101E1A24B}" destId="{02E254E8-E6C9-4A10-A075-27256A136298}" srcOrd="18" destOrd="0" presId="urn:microsoft.com/office/officeart/2011/layout/CircleProcess"/>
    <dgm:cxn modelId="{4B2BB8EE-43C1-4721-ADEA-FC0062588D15}" type="presParOf" srcId="{02E254E8-E6C9-4A10-A075-27256A136298}" destId="{AADDE8E5-E4FD-4942-86DA-6E10E6C1A2F7}" srcOrd="0" destOrd="0" presId="urn:microsoft.com/office/officeart/2011/layout/CircleProcess"/>
    <dgm:cxn modelId="{034E8CD3-0765-40E7-AD9D-097EB9848201}" type="presParOf" srcId="{FD246D05-EB06-4582-BA9B-CC9101E1A24B}" destId="{9094654B-644F-4F58-908F-D50887BF43A2}" srcOrd="19" destOrd="0" presId="urn:microsoft.com/office/officeart/2011/layout/CircleProcess"/>
    <dgm:cxn modelId="{1D02E405-06B0-446D-B968-284D08C3AD7F}" type="presParOf" srcId="{9094654B-644F-4F58-908F-D50887BF43A2}" destId="{1F6E9D62-BBD0-463D-B544-4429B65D93E5}" srcOrd="0" destOrd="0" presId="urn:microsoft.com/office/officeart/2011/layout/CircleProcess"/>
    <dgm:cxn modelId="{7A1F0856-45B8-45D4-BA64-08C831C17511}" type="presParOf" srcId="{FD246D05-EB06-4582-BA9B-CC9101E1A24B}" destId="{13EC4AA8-65FC-4001-AF78-1B69BA2B0F53}" srcOrd="20" destOrd="0" presId="urn:microsoft.com/office/officeart/2011/layout/CircleProcess"/>
    <dgm:cxn modelId="{B5E4FDC0-B006-4BF1-B7BE-2A4B4FB19387}" type="presParOf" srcId="{FD246D05-EB06-4582-BA9B-CC9101E1A24B}" destId="{E30009A9-605B-4A6D-A9C6-2930E7448172}" srcOrd="21" destOrd="0" presId="urn:microsoft.com/office/officeart/2011/layout/CircleProcess"/>
    <dgm:cxn modelId="{052DAA84-6833-4891-B8C1-01F19E422975}" type="presParOf" srcId="{E30009A9-605B-4A6D-A9C6-2930E7448172}" destId="{896365B5-14BE-4479-B830-0B2FA3CB031B}" srcOrd="0" destOrd="0" presId="urn:microsoft.com/office/officeart/2011/layout/CircleProcess"/>
    <dgm:cxn modelId="{3FA7CD9C-00EF-4716-8C48-4E1B3AA690CC}" type="presParOf" srcId="{FD246D05-EB06-4582-BA9B-CC9101E1A24B}" destId="{23E44CAF-6494-466D-BACE-515F3814C320}" srcOrd="22" destOrd="0" presId="urn:microsoft.com/office/officeart/2011/layout/CircleProcess"/>
    <dgm:cxn modelId="{8FB81BB9-CA1B-41E3-A32D-7968B238D00D}" type="presParOf" srcId="{23E44CAF-6494-466D-BACE-515F3814C320}" destId="{5311A34D-6873-4ADD-90D8-B783C069773F}" srcOrd="0" destOrd="0" presId="urn:microsoft.com/office/officeart/2011/layout/CircleProcess"/>
    <dgm:cxn modelId="{2AE48841-CC1C-4175-8F5C-2CB659FEDD8A}" type="presParOf" srcId="{FD246D05-EB06-4582-BA9B-CC9101E1A24B}" destId="{C38329D9-E98B-4652-B582-A217D92856A4}" srcOrd="23"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97A920-8BC1-4606-A080-F5794745A80F}"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1B7D14D-077F-4E2D-AC08-42AB88E3D0DA}">
      <dgm:prSet phldrT="[Text]"/>
      <dgm:spPr/>
      <dgm:t>
        <a:bodyPr/>
        <a:lstStyle/>
        <a:p>
          <a:r>
            <a:rPr lang="de-DE" dirty="0"/>
            <a:t>Channel Coding and modulation schemes</a:t>
          </a:r>
          <a:endParaRPr lang="en-US" dirty="0"/>
        </a:p>
      </dgm:t>
    </dgm:pt>
    <dgm:pt modelId="{114A06E7-0ABB-4329-89BA-C0C52555990E}" type="parTrans" cxnId="{DB4C30DB-BBB0-4072-BC97-E4CC3BBC2B3C}">
      <dgm:prSet/>
      <dgm:spPr/>
      <dgm:t>
        <a:bodyPr/>
        <a:lstStyle/>
        <a:p>
          <a:endParaRPr lang="en-US"/>
        </a:p>
      </dgm:t>
    </dgm:pt>
    <dgm:pt modelId="{B9CB31F9-BEA9-4FAD-B5DF-A8BABC83A092}" type="sibTrans" cxnId="{DB4C30DB-BBB0-4072-BC97-E4CC3BBC2B3C}">
      <dgm:prSet/>
      <dgm:spPr/>
      <dgm:t>
        <a:bodyPr/>
        <a:lstStyle/>
        <a:p>
          <a:endParaRPr lang="en-US"/>
        </a:p>
      </dgm:t>
    </dgm:pt>
    <dgm:pt modelId="{AF134796-4C07-4CF9-AB13-FBCC58BF1887}">
      <dgm:prSet/>
      <dgm:spPr/>
      <dgm:t>
        <a:bodyPr/>
        <a:lstStyle/>
        <a:p>
          <a:r>
            <a:rPr lang="de-DE" dirty="0"/>
            <a:t>Time Interleaving</a:t>
          </a:r>
        </a:p>
      </dgm:t>
    </dgm:pt>
    <dgm:pt modelId="{99C049E5-C84A-4AE5-803D-A28F7DA2B3A4}" type="parTrans" cxnId="{9A10BE3F-0A87-46AE-8977-6E4418E09F77}">
      <dgm:prSet/>
      <dgm:spPr/>
      <dgm:t>
        <a:bodyPr/>
        <a:lstStyle/>
        <a:p>
          <a:endParaRPr lang="en-US"/>
        </a:p>
      </dgm:t>
    </dgm:pt>
    <dgm:pt modelId="{9D5AFA97-CE9C-4072-80C0-954D14D236D8}" type="sibTrans" cxnId="{9A10BE3F-0A87-46AE-8977-6E4418E09F77}">
      <dgm:prSet/>
      <dgm:spPr/>
      <dgm:t>
        <a:bodyPr/>
        <a:lstStyle/>
        <a:p>
          <a:endParaRPr lang="en-US"/>
        </a:p>
      </dgm:t>
    </dgm:pt>
    <dgm:pt modelId="{58C83E0A-ACF5-4D6D-A044-6B689906D04F}">
      <dgm:prSet/>
      <dgm:spPr/>
      <dgm:t>
        <a:bodyPr/>
        <a:lstStyle/>
        <a:p>
          <a:r>
            <a:rPr lang="de-DE"/>
            <a:t>Frequency Interleaving</a:t>
          </a:r>
          <a:endParaRPr lang="de-DE" dirty="0"/>
        </a:p>
      </dgm:t>
    </dgm:pt>
    <dgm:pt modelId="{6FD57A47-42C2-4948-A74F-B29277993707}" type="parTrans" cxnId="{4DDC2E40-B83E-402B-BE43-CAFCC0ABE9AC}">
      <dgm:prSet/>
      <dgm:spPr/>
      <dgm:t>
        <a:bodyPr/>
        <a:lstStyle/>
        <a:p>
          <a:endParaRPr lang="en-US"/>
        </a:p>
      </dgm:t>
    </dgm:pt>
    <dgm:pt modelId="{6BE67CEC-3CE4-46E0-A213-528A9DB54A8F}" type="sibTrans" cxnId="{4DDC2E40-B83E-402B-BE43-CAFCC0ABE9AC}">
      <dgm:prSet/>
      <dgm:spPr/>
      <dgm:t>
        <a:bodyPr/>
        <a:lstStyle/>
        <a:p>
          <a:endParaRPr lang="en-US"/>
        </a:p>
      </dgm:t>
    </dgm:pt>
    <dgm:pt modelId="{AD9CD117-BAFF-420A-A072-3391C80898B5}">
      <dgm:prSet/>
      <dgm:spPr/>
      <dgm:t>
        <a:bodyPr/>
        <a:lstStyle/>
        <a:p>
          <a:r>
            <a:rPr lang="de-DE"/>
            <a:t>Antenna Configuration</a:t>
          </a:r>
          <a:endParaRPr lang="de-DE" dirty="0"/>
        </a:p>
      </dgm:t>
    </dgm:pt>
    <dgm:pt modelId="{D13CD86B-1FA3-455D-B125-013B674BF31A}" type="parTrans" cxnId="{280E66D3-27E4-44BB-99AC-C270A04D6DAA}">
      <dgm:prSet/>
      <dgm:spPr/>
      <dgm:t>
        <a:bodyPr/>
        <a:lstStyle/>
        <a:p>
          <a:endParaRPr lang="en-US"/>
        </a:p>
      </dgm:t>
    </dgm:pt>
    <dgm:pt modelId="{194448FC-7C99-4E78-87E1-1C09851E15D0}" type="sibTrans" cxnId="{280E66D3-27E4-44BB-99AC-C270A04D6DAA}">
      <dgm:prSet/>
      <dgm:spPr/>
      <dgm:t>
        <a:bodyPr/>
        <a:lstStyle/>
        <a:p>
          <a:endParaRPr lang="en-US"/>
        </a:p>
      </dgm:t>
    </dgm:pt>
    <dgm:pt modelId="{909A87C7-94AE-4A7B-B517-FC59BA7497C4}">
      <dgm:prSet/>
      <dgm:spPr/>
      <dgm:t>
        <a:bodyPr/>
        <a:lstStyle/>
        <a:p>
          <a:r>
            <a:rPr lang="en-US"/>
            <a:t>Receiver requirements</a:t>
          </a:r>
          <a:endParaRPr lang="en-US" dirty="0"/>
        </a:p>
      </dgm:t>
    </dgm:pt>
    <dgm:pt modelId="{F715828F-7007-477F-B959-FD47B49F5109}" type="parTrans" cxnId="{EEB2518F-A339-4D98-BB41-2437D0EE643D}">
      <dgm:prSet/>
      <dgm:spPr/>
      <dgm:t>
        <a:bodyPr/>
        <a:lstStyle/>
        <a:p>
          <a:endParaRPr lang="en-US"/>
        </a:p>
      </dgm:t>
    </dgm:pt>
    <dgm:pt modelId="{135B72EC-1771-4842-88D5-EB4E9E6B78F1}" type="sibTrans" cxnId="{EEB2518F-A339-4D98-BB41-2437D0EE643D}">
      <dgm:prSet/>
      <dgm:spPr/>
      <dgm:t>
        <a:bodyPr/>
        <a:lstStyle/>
        <a:p>
          <a:endParaRPr lang="en-US"/>
        </a:p>
      </dgm:t>
    </dgm:pt>
    <dgm:pt modelId="{F0380B33-AC57-4CA5-8D9D-B3C9004944D5}" type="pres">
      <dgm:prSet presAssocID="{2C97A920-8BC1-4606-A080-F5794745A80F}" presName="Name0" presStyleCnt="0">
        <dgm:presLayoutVars>
          <dgm:chMax/>
          <dgm:chPref/>
          <dgm:dir/>
        </dgm:presLayoutVars>
      </dgm:prSet>
      <dgm:spPr/>
    </dgm:pt>
    <dgm:pt modelId="{C5496F7C-B48B-4D8E-80FB-F18A620F17F8}" type="pres">
      <dgm:prSet presAssocID="{D1B7D14D-077F-4E2D-AC08-42AB88E3D0DA}" presName="parenttextcomposite" presStyleCnt="0"/>
      <dgm:spPr/>
    </dgm:pt>
    <dgm:pt modelId="{EA60B35E-461D-4DC7-8346-4DE7DCB0A6CB}" type="pres">
      <dgm:prSet presAssocID="{D1B7D14D-077F-4E2D-AC08-42AB88E3D0DA}" presName="parenttext" presStyleLbl="revTx" presStyleIdx="0" presStyleCnt="5">
        <dgm:presLayoutVars>
          <dgm:chMax/>
          <dgm:chPref val="2"/>
          <dgm:bulletEnabled val="1"/>
        </dgm:presLayoutVars>
      </dgm:prSet>
      <dgm:spPr/>
    </dgm:pt>
    <dgm:pt modelId="{4FEF3E25-1A7A-4419-AEED-7748011BE71B}" type="pres">
      <dgm:prSet presAssocID="{D1B7D14D-077F-4E2D-AC08-42AB88E3D0DA}" presName="parallelogramComposite" presStyleCnt="0"/>
      <dgm:spPr/>
    </dgm:pt>
    <dgm:pt modelId="{EC7D663D-D973-4A2D-AB97-4DD4FA29ADA2}" type="pres">
      <dgm:prSet presAssocID="{D1B7D14D-077F-4E2D-AC08-42AB88E3D0DA}" presName="parallelogram1" presStyleLbl="alignNode1" presStyleIdx="0" presStyleCnt="35"/>
      <dgm:spPr/>
    </dgm:pt>
    <dgm:pt modelId="{15D613C5-8583-4DB9-9006-388485C15C0B}" type="pres">
      <dgm:prSet presAssocID="{D1B7D14D-077F-4E2D-AC08-42AB88E3D0DA}" presName="parallelogram2" presStyleLbl="alignNode1" presStyleIdx="1" presStyleCnt="35"/>
      <dgm:spPr/>
    </dgm:pt>
    <dgm:pt modelId="{D5962AF0-8201-4F1A-ADDC-4E27390A4502}" type="pres">
      <dgm:prSet presAssocID="{D1B7D14D-077F-4E2D-AC08-42AB88E3D0DA}" presName="parallelogram3" presStyleLbl="alignNode1" presStyleIdx="2" presStyleCnt="35"/>
      <dgm:spPr/>
    </dgm:pt>
    <dgm:pt modelId="{8AF86B1A-ABF2-4C52-8172-C42064E52FBC}" type="pres">
      <dgm:prSet presAssocID="{D1B7D14D-077F-4E2D-AC08-42AB88E3D0DA}" presName="parallelogram4" presStyleLbl="alignNode1" presStyleIdx="3" presStyleCnt="35"/>
      <dgm:spPr/>
    </dgm:pt>
    <dgm:pt modelId="{654CA30C-5AFF-4343-AECD-8F1AD5E4A0D3}" type="pres">
      <dgm:prSet presAssocID="{D1B7D14D-077F-4E2D-AC08-42AB88E3D0DA}" presName="parallelogram5" presStyleLbl="alignNode1" presStyleIdx="4" presStyleCnt="35"/>
      <dgm:spPr/>
    </dgm:pt>
    <dgm:pt modelId="{D8FAE66B-661E-4A60-A8B3-AF070D350CAC}" type="pres">
      <dgm:prSet presAssocID="{D1B7D14D-077F-4E2D-AC08-42AB88E3D0DA}" presName="parallelogram6" presStyleLbl="alignNode1" presStyleIdx="5" presStyleCnt="35"/>
      <dgm:spPr/>
    </dgm:pt>
    <dgm:pt modelId="{7F541625-9F88-4843-82BC-6EF00452B9E9}" type="pres">
      <dgm:prSet presAssocID="{D1B7D14D-077F-4E2D-AC08-42AB88E3D0DA}" presName="parallelogram7" presStyleLbl="alignNode1" presStyleIdx="6" presStyleCnt="35"/>
      <dgm:spPr/>
    </dgm:pt>
    <dgm:pt modelId="{AF1F2045-4A95-4803-8463-16B99EC66741}" type="pres">
      <dgm:prSet presAssocID="{B9CB31F9-BEA9-4FAD-B5DF-A8BABC83A092}" presName="sibTrans" presStyleCnt="0"/>
      <dgm:spPr/>
    </dgm:pt>
    <dgm:pt modelId="{1D788560-4488-4DC2-8A33-5F1EB3534695}" type="pres">
      <dgm:prSet presAssocID="{AF134796-4C07-4CF9-AB13-FBCC58BF1887}" presName="parenttextcomposite" presStyleCnt="0"/>
      <dgm:spPr/>
    </dgm:pt>
    <dgm:pt modelId="{0B66F2EC-6EA8-4F02-9CA0-6389DF42B76D}" type="pres">
      <dgm:prSet presAssocID="{AF134796-4C07-4CF9-AB13-FBCC58BF1887}" presName="parenttext" presStyleLbl="revTx" presStyleIdx="1" presStyleCnt="5">
        <dgm:presLayoutVars>
          <dgm:chMax/>
          <dgm:chPref val="2"/>
          <dgm:bulletEnabled val="1"/>
        </dgm:presLayoutVars>
      </dgm:prSet>
      <dgm:spPr/>
    </dgm:pt>
    <dgm:pt modelId="{8D3F0C3C-736A-4C95-9A29-2C642FE46582}" type="pres">
      <dgm:prSet presAssocID="{AF134796-4C07-4CF9-AB13-FBCC58BF1887}" presName="parallelogramComposite" presStyleCnt="0"/>
      <dgm:spPr/>
    </dgm:pt>
    <dgm:pt modelId="{BFC41845-D4FB-48E1-9D38-6D40263530D2}" type="pres">
      <dgm:prSet presAssocID="{AF134796-4C07-4CF9-AB13-FBCC58BF1887}" presName="parallelogram1" presStyleLbl="alignNode1" presStyleIdx="7" presStyleCnt="35"/>
      <dgm:spPr/>
    </dgm:pt>
    <dgm:pt modelId="{0E919E5C-8CF0-46D6-8DA4-C9B0A6EA5565}" type="pres">
      <dgm:prSet presAssocID="{AF134796-4C07-4CF9-AB13-FBCC58BF1887}" presName="parallelogram2" presStyleLbl="alignNode1" presStyleIdx="8" presStyleCnt="35"/>
      <dgm:spPr/>
    </dgm:pt>
    <dgm:pt modelId="{34F28FDC-FFCD-45E1-981A-CEEF25FA4CC4}" type="pres">
      <dgm:prSet presAssocID="{AF134796-4C07-4CF9-AB13-FBCC58BF1887}" presName="parallelogram3" presStyleLbl="alignNode1" presStyleIdx="9" presStyleCnt="35"/>
      <dgm:spPr/>
    </dgm:pt>
    <dgm:pt modelId="{C8D92AAB-5A57-4CD6-814B-D69F90C11A76}" type="pres">
      <dgm:prSet presAssocID="{AF134796-4C07-4CF9-AB13-FBCC58BF1887}" presName="parallelogram4" presStyleLbl="alignNode1" presStyleIdx="10" presStyleCnt="35"/>
      <dgm:spPr/>
    </dgm:pt>
    <dgm:pt modelId="{259D895B-686F-4EE3-B9FB-A5F225CCFF0A}" type="pres">
      <dgm:prSet presAssocID="{AF134796-4C07-4CF9-AB13-FBCC58BF1887}" presName="parallelogram5" presStyleLbl="alignNode1" presStyleIdx="11" presStyleCnt="35"/>
      <dgm:spPr/>
    </dgm:pt>
    <dgm:pt modelId="{D655FCFE-91E3-47A0-AD36-9F2F7E49F608}" type="pres">
      <dgm:prSet presAssocID="{AF134796-4C07-4CF9-AB13-FBCC58BF1887}" presName="parallelogram6" presStyleLbl="alignNode1" presStyleIdx="12" presStyleCnt="35"/>
      <dgm:spPr/>
    </dgm:pt>
    <dgm:pt modelId="{5BF7FCA2-02DA-4750-A830-0AAEBCC30851}" type="pres">
      <dgm:prSet presAssocID="{AF134796-4C07-4CF9-AB13-FBCC58BF1887}" presName="parallelogram7" presStyleLbl="alignNode1" presStyleIdx="13" presStyleCnt="35"/>
      <dgm:spPr/>
    </dgm:pt>
    <dgm:pt modelId="{69871BD0-987D-4643-A349-1335E194955B}" type="pres">
      <dgm:prSet presAssocID="{9D5AFA97-CE9C-4072-80C0-954D14D236D8}" presName="sibTrans" presStyleCnt="0"/>
      <dgm:spPr/>
    </dgm:pt>
    <dgm:pt modelId="{312237CD-AE80-434F-8464-84BD3BD0EAED}" type="pres">
      <dgm:prSet presAssocID="{58C83E0A-ACF5-4D6D-A044-6B689906D04F}" presName="parenttextcomposite" presStyleCnt="0"/>
      <dgm:spPr/>
    </dgm:pt>
    <dgm:pt modelId="{6833D666-E2D3-4E9A-9A58-B333CBB8E84F}" type="pres">
      <dgm:prSet presAssocID="{58C83E0A-ACF5-4D6D-A044-6B689906D04F}" presName="parenttext" presStyleLbl="revTx" presStyleIdx="2" presStyleCnt="5">
        <dgm:presLayoutVars>
          <dgm:chMax/>
          <dgm:chPref val="2"/>
          <dgm:bulletEnabled val="1"/>
        </dgm:presLayoutVars>
      </dgm:prSet>
      <dgm:spPr/>
    </dgm:pt>
    <dgm:pt modelId="{4D368708-FCE2-4524-9518-12743CCB82F3}" type="pres">
      <dgm:prSet presAssocID="{58C83E0A-ACF5-4D6D-A044-6B689906D04F}" presName="parallelogramComposite" presStyleCnt="0"/>
      <dgm:spPr/>
    </dgm:pt>
    <dgm:pt modelId="{27836411-E682-41EA-8907-3A0B8BA4E775}" type="pres">
      <dgm:prSet presAssocID="{58C83E0A-ACF5-4D6D-A044-6B689906D04F}" presName="parallelogram1" presStyleLbl="alignNode1" presStyleIdx="14" presStyleCnt="35"/>
      <dgm:spPr/>
    </dgm:pt>
    <dgm:pt modelId="{6C849D9B-4181-4DB3-B111-0C775410F9B5}" type="pres">
      <dgm:prSet presAssocID="{58C83E0A-ACF5-4D6D-A044-6B689906D04F}" presName="parallelogram2" presStyleLbl="alignNode1" presStyleIdx="15" presStyleCnt="35"/>
      <dgm:spPr/>
    </dgm:pt>
    <dgm:pt modelId="{EF6F763C-7BDA-4CBD-AE71-FDF61FFA29A2}" type="pres">
      <dgm:prSet presAssocID="{58C83E0A-ACF5-4D6D-A044-6B689906D04F}" presName="parallelogram3" presStyleLbl="alignNode1" presStyleIdx="16" presStyleCnt="35"/>
      <dgm:spPr/>
    </dgm:pt>
    <dgm:pt modelId="{B55A9F73-3484-4DA2-9A04-7A5F1290FB8F}" type="pres">
      <dgm:prSet presAssocID="{58C83E0A-ACF5-4D6D-A044-6B689906D04F}" presName="parallelogram4" presStyleLbl="alignNode1" presStyleIdx="17" presStyleCnt="35"/>
      <dgm:spPr/>
    </dgm:pt>
    <dgm:pt modelId="{213C6D80-3C6A-4EA1-9983-296133B03E37}" type="pres">
      <dgm:prSet presAssocID="{58C83E0A-ACF5-4D6D-A044-6B689906D04F}" presName="parallelogram5" presStyleLbl="alignNode1" presStyleIdx="18" presStyleCnt="35"/>
      <dgm:spPr/>
    </dgm:pt>
    <dgm:pt modelId="{89CE88BD-BC06-4935-BB51-7C0FD5AB4FC1}" type="pres">
      <dgm:prSet presAssocID="{58C83E0A-ACF5-4D6D-A044-6B689906D04F}" presName="parallelogram6" presStyleLbl="alignNode1" presStyleIdx="19" presStyleCnt="35"/>
      <dgm:spPr/>
    </dgm:pt>
    <dgm:pt modelId="{1C8532A0-8B48-4300-980D-6C211F759280}" type="pres">
      <dgm:prSet presAssocID="{58C83E0A-ACF5-4D6D-A044-6B689906D04F}" presName="parallelogram7" presStyleLbl="alignNode1" presStyleIdx="20" presStyleCnt="35"/>
      <dgm:spPr/>
    </dgm:pt>
    <dgm:pt modelId="{0F951304-566D-418E-913D-EAD8EB7DC235}" type="pres">
      <dgm:prSet presAssocID="{6BE67CEC-3CE4-46E0-A213-528A9DB54A8F}" presName="sibTrans" presStyleCnt="0"/>
      <dgm:spPr/>
    </dgm:pt>
    <dgm:pt modelId="{B0C4D36D-0431-4BFC-A1FE-1B78FE382244}" type="pres">
      <dgm:prSet presAssocID="{AD9CD117-BAFF-420A-A072-3391C80898B5}" presName="parenttextcomposite" presStyleCnt="0"/>
      <dgm:spPr/>
    </dgm:pt>
    <dgm:pt modelId="{FA05A80C-3EDF-4A04-9EFD-E9E1AC8F8EC3}" type="pres">
      <dgm:prSet presAssocID="{AD9CD117-BAFF-420A-A072-3391C80898B5}" presName="parenttext" presStyleLbl="revTx" presStyleIdx="3" presStyleCnt="5">
        <dgm:presLayoutVars>
          <dgm:chMax/>
          <dgm:chPref val="2"/>
          <dgm:bulletEnabled val="1"/>
        </dgm:presLayoutVars>
      </dgm:prSet>
      <dgm:spPr/>
    </dgm:pt>
    <dgm:pt modelId="{45F29C88-F4F9-4F9A-A444-3D0236BFF4F5}" type="pres">
      <dgm:prSet presAssocID="{AD9CD117-BAFF-420A-A072-3391C80898B5}" presName="parallelogramComposite" presStyleCnt="0"/>
      <dgm:spPr/>
    </dgm:pt>
    <dgm:pt modelId="{D4275104-27C4-482C-8C14-58C79A3C041B}" type="pres">
      <dgm:prSet presAssocID="{AD9CD117-BAFF-420A-A072-3391C80898B5}" presName="parallelogram1" presStyleLbl="alignNode1" presStyleIdx="21" presStyleCnt="35"/>
      <dgm:spPr/>
    </dgm:pt>
    <dgm:pt modelId="{C7E20AE3-FC69-4B43-A425-8746B6911A96}" type="pres">
      <dgm:prSet presAssocID="{AD9CD117-BAFF-420A-A072-3391C80898B5}" presName="parallelogram2" presStyleLbl="alignNode1" presStyleIdx="22" presStyleCnt="35"/>
      <dgm:spPr/>
    </dgm:pt>
    <dgm:pt modelId="{DC48ACE2-008C-4CA8-BBC6-C6FC300DF69C}" type="pres">
      <dgm:prSet presAssocID="{AD9CD117-BAFF-420A-A072-3391C80898B5}" presName="parallelogram3" presStyleLbl="alignNode1" presStyleIdx="23" presStyleCnt="35"/>
      <dgm:spPr/>
    </dgm:pt>
    <dgm:pt modelId="{E2FBF66D-A389-4ACE-8BDA-DB192656B2B5}" type="pres">
      <dgm:prSet presAssocID="{AD9CD117-BAFF-420A-A072-3391C80898B5}" presName="parallelogram4" presStyleLbl="alignNode1" presStyleIdx="24" presStyleCnt="35"/>
      <dgm:spPr/>
    </dgm:pt>
    <dgm:pt modelId="{E3B1417E-4770-4462-98CD-AC60E75086A9}" type="pres">
      <dgm:prSet presAssocID="{AD9CD117-BAFF-420A-A072-3391C80898B5}" presName="parallelogram5" presStyleLbl="alignNode1" presStyleIdx="25" presStyleCnt="35"/>
      <dgm:spPr/>
    </dgm:pt>
    <dgm:pt modelId="{FC4512DD-FFA8-4E9B-879B-3C25D8841E0D}" type="pres">
      <dgm:prSet presAssocID="{AD9CD117-BAFF-420A-A072-3391C80898B5}" presName="parallelogram6" presStyleLbl="alignNode1" presStyleIdx="26" presStyleCnt="35"/>
      <dgm:spPr/>
    </dgm:pt>
    <dgm:pt modelId="{7B15CE57-033B-4182-85D2-E62F8F896AEA}" type="pres">
      <dgm:prSet presAssocID="{AD9CD117-BAFF-420A-A072-3391C80898B5}" presName="parallelogram7" presStyleLbl="alignNode1" presStyleIdx="27" presStyleCnt="35"/>
      <dgm:spPr/>
    </dgm:pt>
    <dgm:pt modelId="{32469414-0E6B-4022-884B-3787E680BD35}" type="pres">
      <dgm:prSet presAssocID="{194448FC-7C99-4E78-87E1-1C09851E15D0}" presName="sibTrans" presStyleCnt="0"/>
      <dgm:spPr/>
    </dgm:pt>
    <dgm:pt modelId="{B8F4FBE3-BA8F-4E73-9156-2833FF4E2EAA}" type="pres">
      <dgm:prSet presAssocID="{909A87C7-94AE-4A7B-B517-FC59BA7497C4}" presName="parenttextcomposite" presStyleCnt="0"/>
      <dgm:spPr/>
    </dgm:pt>
    <dgm:pt modelId="{CF83EC92-CBF3-4D0F-8BBC-132C2AD4274C}" type="pres">
      <dgm:prSet presAssocID="{909A87C7-94AE-4A7B-B517-FC59BA7497C4}" presName="parenttext" presStyleLbl="revTx" presStyleIdx="4" presStyleCnt="5">
        <dgm:presLayoutVars>
          <dgm:chMax/>
          <dgm:chPref val="2"/>
          <dgm:bulletEnabled val="1"/>
        </dgm:presLayoutVars>
      </dgm:prSet>
      <dgm:spPr/>
    </dgm:pt>
    <dgm:pt modelId="{572DDD98-49C8-4BDE-898F-40B5EE3629CF}" type="pres">
      <dgm:prSet presAssocID="{909A87C7-94AE-4A7B-B517-FC59BA7497C4}" presName="parallelogramComposite" presStyleCnt="0"/>
      <dgm:spPr/>
    </dgm:pt>
    <dgm:pt modelId="{3D0BD696-1BED-4741-8235-2BE922A56AA1}" type="pres">
      <dgm:prSet presAssocID="{909A87C7-94AE-4A7B-B517-FC59BA7497C4}" presName="parallelogram1" presStyleLbl="alignNode1" presStyleIdx="28" presStyleCnt="35"/>
      <dgm:spPr/>
    </dgm:pt>
    <dgm:pt modelId="{0F9B30AD-63DD-4A5C-9DFC-1516A07792D1}" type="pres">
      <dgm:prSet presAssocID="{909A87C7-94AE-4A7B-B517-FC59BA7497C4}" presName="parallelogram2" presStyleLbl="alignNode1" presStyleIdx="29" presStyleCnt="35"/>
      <dgm:spPr/>
    </dgm:pt>
    <dgm:pt modelId="{5530C2F8-7990-4A57-AE84-F5F0D2B386CA}" type="pres">
      <dgm:prSet presAssocID="{909A87C7-94AE-4A7B-B517-FC59BA7497C4}" presName="parallelogram3" presStyleLbl="alignNode1" presStyleIdx="30" presStyleCnt="35"/>
      <dgm:spPr/>
    </dgm:pt>
    <dgm:pt modelId="{494075C1-6F4C-4885-8EE0-D77DD7E39FEE}" type="pres">
      <dgm:prSet presAssocID="{909A87C7-94AE-4A7B-B517-FC59BA7497C4}" presName="parallelogram4" presStyleLbl="alignNode1" presStyleIdx="31" presStyleCnt="35"/>
      <dgm:spPr/>
    </dgm:pt>
    <dgm:pt modelId="{BF20E2FB-D3A4-451A-B89D-B3FEFEE56AB3}" type="pres">
      <dgm:prSet presAssocID="{909A87C7-94AE-4A7B-B517-FC59BA7497C4}" presName="parallelogram5" presStyleLbl="alignNode1" presStyleIdx="32" presStyleCnt="35"/>
      <dgm:spPr/>
    </dgm:pt>
    <dgm:pt modelId="{B41B7FA5-619E-4DF7-B687-5079B73E0E2B}" type="pres">
      <dgm:prSet presAssocID="{909A87C7-94AE-4A7B-B517-FC59BA7497C4}" presName="parallelogram6" presStyleLbl="alignNode1" presStyleIdx="33" presStyleCnt="35"/>
      <dgm:spPr/>
    </dgm:pt>
    <dgm:pt modelId="{CDB464A7-16BD-4953-9430-6FAE44D66A74}" type="pres">
      <dgm:prSet presAssocID="{909A87C7-94AE-4A7B-B517-FC59BA7497C4}" presName="parallelogram7" presStyleLbl="alignNode1" presStyleIdx="34" presStyleCnt="35"/>
      <dgm:spPr/>
    </dgm:pt>
  </dgm:ptLst>
  <dgm:cxnLst>
    <dgm:cxn modelId="{65774012-4933-4613-80AE-EDFEFB22E763}" type="presOf" srcId="{58C83E0A-ACF5-4D6D-A044-6B689906D04F}" destId="{6833D666-E2D3-4E9A-9A58-B333CBB8E84F}" srcOrd="0" destOrd="0" presId="urn:microsoft.com/office/officeart/2008/layout/VerticalAccentList"/>
    <dgm:cxn modelId="{9A10BE3F-0A87-46AE-8977-6E4418E09F77}" srcId="{2C97A920-8BC1-4606-A080-F5794745A80F}" destId="{AF134796-4C07-4CF9-AB13-FBCC58BF1887}" srcOrd="1" destOrd="0" parTransId="{99C049E5-C84A-4AE5-803D-A28F7DA2B3A4}" sibTransId="{9D5AFA97-CE9C-4072-80C0-954D14D236D8}"/>
    <dgm:cxn modelId="{4DDC2E40-B83E-402B-BE43-CAFCC0ABE9AC}" srcId="{2C97A920-8BC1-4606-A080-F5794745A80F}" destId="{58C83E0A-ACF5-4D6D-A044-6B689906D04F}" srcOrd="2" destOrd="0" parTransId="{6FD57A47-42C2-4948-A74F-B29277993707}" sibTransId="{6BE67CEC-3CE4-46E0-A213-528A9DB54A8F}"/>
    <dgm:cxn modelId="{2D1C2641-CD5D-47A4-8DA7-574A3A98C34E}" type="presOf" srcId="{D1B7D14D-077F-4E2D-AC08-42AB88E3D0DA}" destId="{EA60B35E-461D-4DC7-8346-4DE7DCB0A6CB}" srcOrd="0" destOrd="0" presId="urn:microsoft.com/office/officeart/2008/layout/VerticalAccentList"/>
    <dgm:cxn modelId="{88D88357-9CA1-49B2-A068-B06264292119}" type="presOf" srcId="{AD9CD117-BAFF-420A-A072-3391C80898B5}" destId="{FA05A80C-3EDF-4A04-9EFD-E9E1AC8F8EC3}" srcOrd="0" destOrd="0" presId="urn:microsoft.com/office/officeart/2008/layout/VerticalAccentList"/>
    <dgm:cxn modelId="{55B0AB8B-A49E-47BC-80E6-EE7D6A65D9FC}" type="presOf" srcId="{2C97A920-8BC1-4606-A080-F5794745A80F}" destId="{F0380B33-AC57-4CA5-8D9D-B3C9004944D5}" srcOrd="0" destOrd="0" presId="urn:microsoft.com/office/officeart/2008/layout/VerticalAccentList"/>
    <dgm:cxn modelId="{EEB2518F-A339-4D98-BB41-2437D0EE643D}" srcId="{2C97A920-8BC1-4606-A080-F5794745A80F}" destId="{909A87C7-94AE-4A7B-B517-FC59BA7497C4}" srcOrd="4" destOrd="0" parTransId="{F715828F-7007-477F-B959-FD47B49F5109}" sibTransId="{135B72EC-1771-4842-88D5-EB4E9E6B78F1}"/>
    <dgm:cxn modelId="{72DA1D91-D5A1-45F3-ABFD-30F91C59BC4C}" type="presOf" srcId="{909A87C7-94AE-4A7B-B517-FC59BA7497C4}" destId="{CF83EC92-CBF3-4D0F-8BBC-132C2AD4274C}" srcOrd="0" destOrd="0" presId="urn:microsoft.com/office/officeart/2008/layout/VerticalAccentList"/>
    <dgm:cxn modelId="{C40FCBA8-0616-475F-B235-D0927EB8353A}" type="presOf" srcId="{AF134796-4C07-4CF9-AB13-FBCC58BF1887}" destId="{0B66F2EC-6EA8-4F02-9CA0-6389DF42B76D}" srcOrd="0" destOrd="0" presId="urn:microsoft.com/office/officeart/2008/layout/VerticalAccentList"/>
    <dgm:cxn modelId="{280E66D3-27E4-44BB-99AC-C270A04D6DAA}" srcId="{2C97A920-8BC1-4606-A080-F5794745A80F}" destId="{AD9CD117-BAFF-420A-A072-3391C80898B5}" srcOrd="3" destOrd="0" parTransId="{D13CD86B-1FA3-455D-B125-013B674BF31A}" sibTransId="{194448FC-7C99-4E78-87E1-1C09851E15D0}"/>
    <dgm:cxn modelId="{DB4C30DB-BBB0-4072-BC97-E4CC3BBC2B3C}" srcId="{2C97A920-8BC1-4606-A080-F5794745A80F}" destId="{D1B7D14D-077F-4E2D-AC08-42AB88E3D0DA}" srcOrd="0" destOrd="0" parTransId="{114A06E7-0ABB-4329-89BA-C0C52555990E}" sibTransId="{B9CB31F9-BEA9-4FAD-B5DF-A8BABC83A092}"/>
    <dgm:cxn modelId="{E0E0F7C7-1A8D-4AE2-B9CE-7653D5C46ED9}" type="presParOf" srcId="{F0380B33-AC57-4CA5-8D9D-B3C9004944D5}" destId="{C5496F7C-B48B-4D8E-80FB-F18A620F17F8}" srcOrd="0" destOrd="0" presId="urn:microsoft.com/office/officeart/2008/layout/VerticalAccentList"/>
    <dgm:cxn modelId="{41ADE27E-5011-44AD-82E6-D768D005E495}" type="presParOf" srcId="{C5496F7C-B48B-4D8E-80FB-F18A620F17F8}" destId="{EA60B35E-461D-4DC7-8346-4DE7DCB0A6CB}" srcOrd="0" destOrd="0" presId="urn:microsoft.com/office/officeart/2008/layout/VerticalAccentList"/>
    <dgm:cxn modelId="{25376A4D-9D34-4BAA-A808-C68F63428ABB}" type="presParOf" srcId="{F0380B33-AC57-4CA5-8D9D-B3C9004944D5}" destId="{4FEF3E25-1A7A-4419-AEED-7748011BE71B}" srcOrd="1" destOrd="0" presId="urn:microsoft.com/office/officeart/2008/layout/VerticalAccentList"/>
    <dgm:cxn modelId="{79CF5882-5FAB-4B39-92A3-74206977FD30}" type="presParOf" srcId="{4FEF3E25-1A7A-4419-AEED-7748011BE71B}" destId="{EC7D663D-D973-4A2D-AB97-4DD4FA29ADA2}" srcOrd="0" destOrd="0" presId="urn:microsoft.com/office/officeart/2008/layout/VerticalAccentList"/>
    <dgm:cxn modelId="{C2F020C0-C5F9-489E-8A05-779E4EE3F9E1}" type="presParOf" srcId="{4FEF3E25-1A7A-4419-AEED-7748011BE71B}" destId="{15D613C5-8583-4DB9-9006-388485C15C0B}" srcOrd="1" destOrd="0" presId="urn:microsoft.com/office/officeart/2008/layout/VerticalAccentList"/>
    <dgm:cxn modelId="{0D49117B-7217-43AE-AB96-C4FD0C4C7137}" type="presParOf" srcId="{4FEF3E25-1A7A-4419-AEED-7748011BE71B}" destId="{D5962AF0-8201-4F1A-ADDC-4E27390A4502}" srcOrd="2" destOrd="0" presId="urn:microsoft.com/office/officeart/2008/layout/VerticalAccentList"/>
    <dgm:cxn modelId="{2E77A529-992C-4AA7-8809-4B0BE4880320}" type="presParOf" srcId="{4FEF3E25-1A7A-4419-AEED-7748011BE71B}" destId="{8AF86B1A-ABF2-4C52-8172-C42064E52FBC}" srcOrd="3" destOrd="0" presId="urn:microsoft.com/office/officeart/2008/layout/VerticalAccentList"/>
    <dgm:cxn modelId="{A0899745-9FE6-4367-ABC7-D3EC75F3F239}" type="presParOf" srcId="{4FEF3E25-1A7A-4419-AEED-7748011BE71B}" destId="{654CA30C-5AFF-4343-AECD-8F1AD5E4A0D3}" srcOrd="4" destOrd="0" presId="urn:microsoft.com/office/officeart/2008/layout/VerticalAccentList"/>
    <dgm:cxn modelId="{3E762DA9-4A2F-4EC4-8544-EC005837577F}" type="presParOf" srcId="{4FEF3E25-1A7A-4419-AEED-7748011BE71B}" destId="{D8FAE66B-661E-4A60-A8B3-AF070D350CAC}" srcOrd="5" destOrd="0" presId="urn:microsoft.com/office/officeart/2008/layout/VerticalAccentList"/>
    <dgm:cxn modelId="{833CA2BD-DA10-4F16-8978-552AC678A580}" type="presParOf" srcId="{4FEF3E25-1A7A-4419-AEED-7748011BE71B}" destId="{7F541625-9F88-4843-82BC-6EF00452B9E9}" srcOrd="6" destOrd="0" presId="urn:microsoft.com/office/officeart/2008/layout/VerticalAccentList"/>
    <dgm:cxn modelId="{1660D5A3-93E4-4507-A825-C4A047CE0268}" type="presParOf" srcId="{F0380B33-AC57-4CA5-8D9D-B3C9004944D5}" destId="{AF1F2045-4A95-4803-8463-16B99EC66741}" srcOrd="2" destOrd="0" presId="urn:microsoft.com/office/officeart/2008/layout/VerticalAccentList"/>
    <dgm:cxn modelId="{7DCF0078-F9B3-4E8E-96FF-7C5A6CBAE13C}" type="presParOf" srcId="{F0380B33-AC57-4CA5-8D9D-B3C9004944D5}" destId="{1D788560-4488-4DC2-8A33-5F1EB3534695}" srcOrd="3" destOrd="0" presId="urn:microsoft.com/office/officeart/2008/layout/VerticalAccentList"/>
    <dgm:cxn modelId="{22D86364-3D3C-4BF1-8265-9F53A9E979FA}" type="presParOf" srcId="{1D788560-4488-4DC2-8A33-5F1EB3534695}" destId="{0B66F2EC-6EA8-4F02-9CA0-6389DF42B76D}" srcOrd="0" destOrd="0" presId="urn:microsoft.com/office/officeart/2008/layout/VerticalAccentList"/>
    <dgm:cxn modelId="{0A26F1A4-41E5-4BC5-BB6F-608DC4E0A013}" type="presParOf" srcId="{F0380B33-AC57-4CA5-8D9D-B3C9004944D5}" destId="{8D3F0C3C-736A-4C95-9A29-2C642FE46582}" srcOrd="4" destOrd="0" presId="urn:microsoft.com/office/officeart/2008/layout/VerticalAccentList"/>
    <dgm:cxn modelId="{6C95E563-6BF0-4598-8C21-F09B6649974F}" type="presParOf" srcId="{8D3F0C3C-736A-4C95-9A29-2C642FE46582}" destId="{BFC41845-D4FB-48E1-9D38-6D40263530D2}" srcOrd="0" destOrd="0" presId="urn:microsoft.com/office/officeart/2008/layout/VerticalAccentList"/>
    <dgm:cxn modelId="{7AFBE3CF-FA15-4690-9F74-B0A9175C29AA}" type="presParOf" srcId="{8D3F0C3C-736A-4C95-9A29-2C642FE46582}" destId="{0E919E5C-8CF0-46D6-8DA4-C9B0A6EA5565}" srcOrd="1" destOrd="0" presId="urn:microsoft.com/office/officeart/2008/layout/VerticalAccentList"/>
    <dgm:cxn modelId="{7990BCDD-4276-4887-A372-D04768DD3979}" type="presParOf" srcId="{8D3F0C3C-736A-4C95-9A29-2C642FE46582}" destId="{34F28FDC-FFCD-45E1-981A-CEEF25FA4CC4}" srcOrd="2" destOrd="0" presId="urn:microsoft.com/office/officeart/2008/layout/VerticalAccentList"/>
    <dgm:cxn modelId="{3646FE4D-5568-4D39-B993-B68186A14F29}" type="presParOf" srcId="{8D3F0C3C-736A-4C95-9A29-2C642FE46582}" destId="{C8D92AAB-5A57-4CD6-814B-D69F90C11A76}" srcOrd="3" destOrd="0" presId="urn:microsoft.com/office/officeart/2008/layout/VerticalAccentList"/>
    <dgm:cxn modelId="{DEFE7897-1C2B-4A47-83EC-8F5E2EFF926A}" type="presParOf" srcId="{8D3F0C3C-736A-4C95-9A29-2C642FE46582}" destId="{259D895B-686F-4EE3-B9FB-A5F225CCFF0A}" srcOrd="4" destOrd="0" presId="urn:microsoft.com/office/officeart/2008/layout/VerticalAccentList"/>
    <dgm:cxn modelId="{4F266BF5-CA13-4E1F-A6D8-E95B731BAD79}" type="presParOf" srcId="{8D3F0C3C-736A-4C95-9A29-2C642FE46582}" destId="{D655FCFE-91E3-47A0-AD36-9F2F7E49F608}" srcOrd="5" destOrd="0" presId="urn:microsoft.com/office/officeart/2008/layout/VerticalAccentList"/>
    <dgm:cxn modelId="{9321D22F-CA29-4EF6-BC75-7CDACB211906}" type="presParOf" srcId="{8D3F0C3C-736A-4C95-9A29-2C642FE46582}" destId="{5BF7FCA2-02DA-4750-A830-0AAEBCC30851}" srcOrd="6" destOrd="0" presId="urn:microsoft.com/office/officeart/2008/layout/VerticalAccentList"/>
    <dgm:cxn modelId="{3B5E355B-A581-4A28-9435-50324DCDA1D7}" type="presParOf" srcId="{F0380B33-AC57-4CA5-8D9D-B3C9004944D5}" destId="{69871BD0-987D-4643-A349-1335E194955B}" srcOrd="5" destOrd="0" presId="urn:microsoft.com/office/officeart/2008/layout/VerticalAccentList"/>
    <dgm:cxn modelId="{85B0B76F-5E76-475C-9833-0DF0695C3193}" type="presParOf" srcId="{F0380B33-AC57-4CA5-8D9D-B3C9004944D5}" destId="{312237CD-AE80-434F-8464-84BD3BD0EAED}" srcOrd="6" destOrd="0" presId="urn:microsoft.com/office/officeart/2008/layout/VerticalAccentList"/>
    <dgm:cxn modelId="{46A1F2AA-C50B-4ACB-8E5C-E92FE63DE964}" type="presParOf" srcId="{312237CD-AE80-434F-8464-84BD3BD0EAED}" destId="{6833D666-E2D3-4E9A-9A58-B333CBB8E84F}" srcOrd="0" destOrd="0" presId="urn:microsoft.com/office/officeart/2008/layout/VerticalAccentList"/>
    <dgm:cxn modelId="{1712134E-891B-4374-B6D6-7ED870ABCC16}" type="presParOf" srcId="{F0380B33-AC57-4CA5-8D9D-B3C9004944D5}" destId="{4D368708-FCE2-4524-9518-12743CCB82F3}" srcOrd="7" destOrd="0" presId="urn:microsoft.com/office/officeart/2008/layout/VerticalAccentList"/>
    <dgm:cxn modelId="{C9824D90-F92E-47E9-94C6-CE606BB17DCD}" type="presParOf" srcId="{4D368708-FCE2-4524-9518-12743CCB82F3}" destId="{27836411-E682-41EA-8907-3A0B8BA4E775}" srcOrd="0" destOrd="0" presId="urn:microsoft.com/office/officeart/2008/layout/VerticalAccentList"/>
    <dgm:cxn modelId="{F0C51622-94D3-471E-A30A-706428DB4558}" type="presParOf" srcId="{4D368708-FCE2-4524-9518-12743CCB82F3}" destId="{6C849D9B-4181-4DB3-B111-0C775410F9B5}" srcOrd="1" destOrd="0" presId="urn:microsoft.com/office/officeart/2008/layout/VerticalAccentList"/>
    <dgm:cxn modelId="{DC610639-4756-4C7E-A388-8C0A9D1570AC}" type="presParOf" srcId="{4D368708-FCE2-4524-9518-12743CCB82F3}" destId="{EF6F763C-7BDA-4CBD-AE71-FDF61FFA29A2}" srcOrd="2" destOrd="0" presId="urn:microsoft.com/office/officeart/2008/layout/VerticalAccentList"/>
    <dgm:cxn modelId="{89C508F3-136D-4D9D-B6C7-6C874AB6AB8F}" type="presParOf" srcId="{4D368708-FCE2-4524-9518-12743CCB82F3}" destId="{B55A9F73-3484-4DA2-9A04-7A5F1290FB8F}" srcOrd="3" destOrd="0" presId="urn:microsoft.com/office/officeart/2008/layout/VerticalAccentList"/>
    <dgm:cxn modelId="{53DD7701-CCC0-4116-9FC2-C8185B8C6B95}" type="presParOf" srcId="{4D368708-FCE2-4524-9518-12743CCB82F3}" destId="{213C6D80-3C6A-4EA1-9983-296133B03E37}" srcOrd="4" destOrd="0" presId="urn:microsoft.com/office/officeart/2008/layout/VerticalAccentList"/>
    <dgm:cxn modelId="{B44BB73C-A92E-4C52-95D4-DBBE0FC7BC54}" type="presParOf" srcId="{4D368708-FCE2-4524-9518-12743CCB82F3}" destId="{89CE88BD-BC06-4935-BB51-7C0FD5AB4FC1}" srcOrd="5" destOrd="0" presId="urn:microsoft.com/office/officeart/2008/layout/VerticalAccentList"/>
    <dgm:cxn modelId="{D3D58079-AA0F-4D4B-BEC4-E236B1495CC3}" type="presParOf" srcId="{4D368708-FCE2-4524-9518-12743CCB82F3}" destId="{1C8532A0-8B48-4300-980D-6C211F759280}" srcOrd="6" destOrd="0" presId="urn:microsoft.com/office/officeart/2008/layout/VerticalAccentList"/>
    <dgm:cxn modelId="{B5E6ADBE-A222-49B9-BA92-9F8E4906C1E1}" type="presParOf" srcId="{F0380B33-AC57-4CA5-8D9D-B3C9004944D5}" destId="{0F951304-566D-418E-913D-EAD8EB7DC235}" srcOrd="8" destOrd="0" presId="urn:microsoft.com/office/officeart/2008/layout/VerticalAccentList"/>
    <dgm:cxn modelId="{FF67E137-147D-48D6-94C5-591F70695351}" type="presParOf" srcId="{F0380B33-AC57-4CA5-8D9D-B3C9004944D5}" destId="{B0C4D36D-0431-4BFC-A1FE-1B78FE382244}" srcOrd="9" destOrd="0" presId="urn:microsoft.com/office/officeart/2008/layout/VerticalAccentList"/>
    <dgm:cxn modelId="{22544FD0-2DC7-4C8A-A00B-4E31F054A219}" type="presParOf" srcId="{B0C4D36D-0431-4BFC-A1FE-1B78FE382244}" destId="{FA05A80C-3EDF-4A04-9EFD-E9E1AC8F8EC3}" srcOrd="0" destOrd="0" presId="urn:microsoft.com/office/officeart/2008/layout/VerticalAccentList"/>
    <dgm:cxn modelId="{5C3EB70D-63E4-47AA-B96C-7F9C83CFD7CC}" type="presParOf" srcId="{F0380B33-AC57-4CA5-8D9D-B3C9004944D5}" destId="{45F29C88-F4F9-4F9A-A444-3D0236BFF4F5}" srcOrd="10" destOrd="0" presId="urn:microsoft.com/office/officeart/2008/layout/VerticalAccentList"/>
    <dgm:cxn modelId="{AE1FFAB0-CF77-4BF9-8885-7FA56D926127}" type="presParOf" srcId="{45F29C88-F4F9-4F9A-A444-3D0236BFF4F5}" destId="{D4275104-27C4-482C-8C14-58C79A3C041B}" srcOrd="0" destOrd="0" presId="urn:microsoft.com/office/officeart/2008/layout/VerticalAccentList"/>
    <dgm:cxn modelId="{1D05EF9B-DB26-429F-950A-B07F29EC2145}" type="presParOf" srcId="{45F29C88-F4F9-4F9A-A444-3D0236BFF4F5}" destId="{C7E20AE3-FC69-4B43-A425-8746B6911A96}" srcOrd="1" destOrd="0" presId="urn:microsoft.com/office/officeart/2008/layout/VerticalAccentList"/>
    <dgm:cxn modelId="{6A1F52E8-FA51-4A4C-B0E9-5309140DFE3B}" type="presParOf" srcId="{45F29C88-F4F9-4F9A-A444-3D0236BFF4F5}" destId="{DC48ACE2-008C-4CA8-BBC6-C6FC300DF69C}" srcOrd="2" destOrd="0" presId="urn:microsoft.com/office/officeart/2008/layout/VerticalAccentList"/>
    <dgm:cxn modelId="{7613EE4F-6AC2-43C6-8351-2244A5AAF0DF}" type="presParOf" srcId="{45F29C88-F4F9-4F9A-A444-3D0236BFF4F5}" destId="{E2FBF66D-A389-4ACE-8BDA-DB192656B2B5}" srcOrd="3" destOrd="0" presId="urn:microsoft.com/office/officeart/2008/layout/VerticalAccentList"/>
    <dgm:cxn modelId="{5DA091D0-D0B3-4402-91BE-0F91C4ED159B}" type="presParOf" srcId="{45F29C88-F4F9-4F9A-A444-3D0236BFF4F5}" destId="{E3B1417E-4770-4462-98CD-AC60E75086A9}" srcOrd="4" destOrd="0" presId="urn:microsoft.com/office/officeart/2008/layout/VerticalAccentList"/>
    <dgm:cxn modelId="{B85625FE-99B8-431B-B502-7E17AE7CAE27}" type="presParOf" srcId="{45F29C88-F4F9-4F9A-A444-3D0236BFF4F5}" destId="{FC4512DD-FFA8-4E9B-879B-3C25D8841E0D}" srcOrd="5" destOrd="0" presId="urn:microsoft.com/office/officeart/2008/layout/VerticalAccentList"/>
    <dgm:cxn modelId="{79C45448-EDE8-4315-9E83-5B0E17D0B4C5}" type="presParOf" srcId="{45F29C88-F4F9-4F9A-A444-3D0236BFF4F5}" destId="{7B15CE57-033B-4182-85D2-E62F8F896AEA}" srcOrd="6" destOrd="0" presId="urn:microsoft.com/office/officeart/2008/layout/VerticalAccentList"/>
    <dgm:cxn modelId="{F2D2535B-2201-48B5-9949-0369216A8724}" type="presParOf" srcId="{F0380B33-AC57-4CA5-8D9D-B3C9004944D5}" destId="{32469414-0E6B-4022-884B-3787E680BD35}" srcOrd="11" destOrd="0" presId="urn:microsoft.com/office/officeart/2008/layout/VerticalAccentList"/>
    <dgm:cxn modelId="{B77BAB0F-3688-4956-A75A-9A4EA9C49B5D}" type="presParOf" srcId="{F0380B33-AC57-4CA5-8D9D-B3C9004944D5}" destId="{B8F4FBE3-BA8F-4E73-9156-2833FF4E2EAA}" srcOrd="12" destOrd="0" presId="urn:microsoft.com/office/officeart/2008/layout/VerticalAccentList"/>
    <dgm:cxn modelId="{5F16D7CC-501B-4BA9-9D8F-B46F8F83B328}" type="presParOf" srcId="{B8F4FBE3-BA8F-4E73-9156-2833FF4E2EAA}" destId="{CF83EC92-CBF3-4D0F-8BBC-132C2AD4274C}" srcOrd="0" destOrd="0" presId="urn:microsoft.com/office/officeart/2008/layout/VerticalAccentList"/>
    <dgm:cxn modelId="{FE91F558-7E1E-4CF5-AD5E-BE848119798E}" type="presParOf" srcId="{F0380B33-AC57-4CA5-8D9D-B3C9004944D5}" destId="{572DDD98-49C8-4BDE-898F-40B5EE3629CF}" srcOrd="13" destOrd="0" presId="urn:microsoft.com/office/officeart/2008/layout/VerticalAccentList"/>
    <dgm:cxn modelId="{2C894EBB-E69B-4F7B-BB66-B3B03E8602AC}" type="presParOf" srcId="{572DDD98-49C8-4BDE-898F-40B5EE3629CF}" destId="{3D0BD696-1BED-4741-8235-2BE922A56AA1}" srcOrd="0" destOrd="0" presId="urn:microsoft.com/office/officeart/2008/layout/VerticalAccentList"/>
    <dgm:cxn modelId="{20FAA105-69BA-4387-981B-0C32DF66AA39}" type="presParOf" srcId="{572DDD98-49C8-4BDE-898F-40B5EE3629CF}" destId="{0F9B30AD-63DD-4A5C-9DFC-1516A07792D1}" srcOrd="1" destOrd="0" presId="urn:microsoft.com/office/officeart/2008/layout/VerticalAccentList"/>
    <dgm:cxn modelId="{654D0F02-BFEC-449D-B357-7FC7DCE21630}" type="presParOf" srcId="{572DDD98-49C8-4BDE-898F-40B5EE3629CF}" destId="{5530C2F8-7990-4A57-AE84-F5F0D2B386CA}" srcOrd="2" destOrd="0" presId="urn:microsoft.com/office/officeart/2008/layout/VerticalAccentList"/>
    <dgm:cxn modelId="{BDCA67B3-8FA2-402B-B295-A9A287DCB4A4}" type="presParOf" srcId="{572DDD98-49C8-4BDE-898F-40B5EE3629CF}" destId="{494075C1-6F4C-4885-8EE0-D77DD7E39FEE}" srcOrd="3" destOrd="0" presId="urn:microsoft.com/office/officeart/2008/layout/VerticalAccentList"/>
    <dgm:cxn modelId="{CBDF46E9-F0C5-4098-975A-6BF1D29C501A}" type="presParOf" srcId="{572DDD98-49C8-4BDE-898F-40B5EE3629CF}" destId="{BF20E2FB-D3A4-451A-B89D-B3FEFEE56AB3}" srcOrd="4" destOrd="0" presId="urn:microsoft.com/office/officeart/2008/layout/VerticalAccentList"/>
    <dgm:cxn modelId="{7C7DC31C-C619-413E-B131-0B7AF25F83C3}" type="presParOf" srcId="{572DDD98-49C8-4BDE-898F-40B5EE3629CF}" destId="{B41B7FA5-619E-4DF7-B687-5079B73E0E2B}" srcOrd="5" destOrd="0" presId="urn:microsoft.com/office/officeart/2008/layout/VerticalAccentList"/>
    <dgm:cxn modelId="{EBDA18FF-94AD-4137-BE91-5CE357918A51}" type="presParOf" srcId="{572DDD98-49C8-4BDE-898F-40B5EE3629CF}" destId="{CDB464A7-16BD-4953-9430-6FAE44D66A74}" srcOrd="6" destOrd="0" presId="urn:microsoft.com/office/officeart/2008/layout/Vertical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6B43B36-E4D3-4082-8569-407E745BEB6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A15B355-F3D5-454C-A5A8-2D0C4FD92C2D}">
      <dgm:prSet/>
      <dgm:spPr/>
      <dgm:t>
        <a:bodyPr/>
        <a:lstStyle/>
        <a:p>
          <a:pPr>
            <a:lnSpc>
              <a:spcPct val="100000"/>
            </a:lnSpc>
          </a:pPr>
          <a:r>
            <a:rPr lang="de-DE" baseline="0" dirty="0"/>
            <a:t>5G is a platform for Broadcasters and Content Providers with features including 5G broadcast, Public Warning and many others</a:t>
          </a:r>
          <a:endParaRPr lang="en-US" dirty="0"/>
        </a:p>
      </dgm:t>
    </dgm:pt>
    <dgm:pt modelId="{5315530C-433C-4410-BD02-2CFEE1C47439}" type="parTrans" cxnId="{426C9322-E6E9-4D23-9BB2-E8C7600C717F}">
      <dgm:prSet/>
      <dgm:spPr/>
      <dgm:t>
        <a:bodyPr/>
        <a:lstStyle/>
        <a:p>
          <a:endParaRPr lang="en-US"/>
        </a:p>
      </dgm:t>
    </dgm:pt>
    <dgm:pt modelId="{B9A331DC-2639-4A02-BE11-A56583E22645}" type="sibTrans" cxnId="{426C9322-E6E9-4D23-9BB2-E8C7600C717F}">
      <dgm:prSet/>
      <dgm:spPr/>
      <dgm:t>
        <a:bodyPr/>
        <a:lstStyle/>
        <a:p>
          <a:endParaRPr lang="en-US"/>
        </a:p>
      </dgm:t>
    </dgm:pt>
    <dgm:pt modelId="{9C9CF3EC-BB43-4F85-B59F-4830E672FAD1}">
      <dgm:prSet/>
      <dgm:spPr/>
      <dgm:t>
        <a:bodyPr/>
        <a:lstStyle/>
        <a:p>
          <a:pPr>
            <a:lnSpc>
              <a:spcPct val="100000"/>
            </a:lnSpc>
          </a:pPr>
          <a:r>
            <a:rPr lang="de-DE" baseline="0" dirty="0"/>
            <a:t>3GPP Standards are </a:t>
          </a:r>
          <a:r>
            <a:rPr lang="de-DE" b="1" baseline="0" dirty="0">
              <a:solidFill>
                <a:schemeClr val="bg2"/>
              </a:solidFill>
            </a:rPr>
            <a:t>global</a:t>
          </a:r>
          <a:r>
            <a:rPr lang="de-DE" baseline="0" dirty="0"/>
            <a:t> and address billions of devices – from smart phones to many more verticals (automotive, IOT, etc.)</a:t>
          </a:r>
          <a:endParaRPr lang="en-US" dirty="0"/>
        </a:p>
      </dgm:t>
    </dgm:pt>
    <dgm:pt modelId="{264A4E62-E983-4ABA-B8C9-D199CEBF27E7}" type="parTrans" cxnId="{3CA0D27C-C2BD-4FDD-A43A-E5E6C3640EA2}">
      <dgm:prSet/>
      <dgm:spPr/>
      <dgm:t>
        <a:bodyPr/>
        <a:lstStyle/>
        <a:p>
          <a:endParaRPr lang="en-US"/>
        </a:p>
      </dgm:t>
    </dgm:pt>
    <dgm:pt modelId="{F20F8639-437E-493B-B1CE-1CCB251DCDCB}" type="sibTrans" cxnId="{3CA0D27C-C2BD-4FDD-A43A-E5E6C3640EA2}">
      <dgm:prSet/>
      <dgm:spPr/>
      <dgm:t>
        <a:bodyPr/>
        <a:lstStyle/>
        <a:p>
          <a:endParaRPr lang="en-US"/>
        </a:p>
      </dgm:t>
    </dgm:pt>
    <dgm:pt modelId="{F606214B-924F-4550-9A78-475E8AFA816F}">
      <dgm:prSet/>
      <dgm:spPr/>
      <dgm:t>
        <a:bodyPr/>
        <a:lstStyle/>
        <a:p>
          <a:pPr>
            <a:lnSpc>
              <a:spcPct val="100000"/>
            </a:lnSpc>
          </a:pPr>
          <a:r>
            <a:rPr lang="de-DE" baseline="0" dirty="0"/>
            <a:t>Qualcomm contributes, supports and drives open systems through technologies, standards and reference tools</a:t>
          </a:r>
          <a:endParaRPr lang="en-US" dirty="0"/>
        </a:p>
      </dgm:t>
    </dgm:pt>
    <dgm:pt modelId="{4BD0CAC7-A5FF-4886-A731-C11A07C3C02B}" type="parTrans" cxnId="{41900797-7F94-445A-AEED-0CEBABD74D74}">
      <dgm:prSet/>
      <dgm:spPr/>
      <dgm:t>
        <a:bodyPr/>
        <a:lstStyle/>
        <a:p>
          <a:endParaRPr lang="en-US"/>
        </a:p>
      </dgm:t>
    </dgm:pt>
    <dgm:pt modelId="{AD6825CF-BDA1-4F1C-BD17-6971A308BECC}" type="sibTrans" cxnId="{41900797-7F94-445A-AEED-0CEBABD74D74}">
      <dgm:prSet/>
      <dgm:spPr/>
      <dgm:t>
        <a:bodyPr/>
        <a:lstStyle/>
        <a:p>
          <a:endParaRPr lang="en-US"/>
        </a:p>
      </dgm:t>
    </dgm:pt>
    <dgm:pt modelId="{E6334E7C-28BD-4A0A-9FAF-91C50359C3C3}" type="pres">
      <dgm:prSet presAssocID="{16B43B36-E4D3-4082-8569-407E745BEB6D}" presName="root" presStyleCnt="0">
        <dgm:presLayoutVars>
          <dgm:dir/>
          <dgm:resizeHandles val="exact"/>
        </dgm:presLayoutVars>
      </dgm:prSet>
      <dgm:spPr/>
    </dgm:pt>
    <dgm:pt modelId="{7E2D344A-5638-47D1-9F4D-48AE0C40E81A}" type="pres">
      <dgm:prSet presAssocID="{8A15B355-F3D5-454C-A5A8-2D0C4FD92C2D}" presName="compNode" presStyleCnt="0"/>
      <dgm:spPr/>
    </dgm:pt>
    <dgm:pt modelId="{EACBDC07-598A-4C56-BAF8-8AE4837B086A}" type="pres">
      <dgm:prSet presAssocID="{8A15B355-F3D5-454C-A5A8-2D0C4FD92C2D}" presName="bgRect" presStyleLbl="bgShp" presStyleIdx="0" presStyleCnt="3"/>
      <dgm:spPr/>
    </dgm:pt>
    <dgm:pt modelId="{ADFA4A72-A277-4170-A39E-1B924B30FD2E}" type="pres">
      <dgm:prSet presAssocID="{8A15B355-F3D5-454C-A5A8-2D0C4FD92C2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levision"/>
        </a:ext>
      </dgm:extLst>
    </dgm:pt>
    <dgm:pt modelId="{F09B9A07-3B83-4050-956D-6998C5B60462}" type="pres">
      <dgm:prSet presAssocID="{8A15B355-F3D5-454C-A5A8-2D0C4FD92C2D}" presName="spaceRect" presStyleCnt="0"/>
      <dgm:spPr/>
    </dgm:pt>
    <dgm:pt modelId="{E0FD0E2C-7423-4379-A45D-77127BB0F9DF}" type="pres">
      <dgm:prSet presAssocID="{8A15B355-F3D5-454C-A5A8-2D0C4FD92C2D}" presName="parTx" presStyleLbl="revTx" presStyleIdx="0" presStyleCnt="3">
        <dgm:presLayoutVars>
          <dgm:chMax val="0"/>
          <dgm:chPref val="0"/>
        </dgm:presLayoutVars>
      </dgm:prSet>
      <dgm:spPr/>
    </dgm:pt>
    <dgm:pt modelId="{28225551-8455-40E7-BF9A-088568D87052}" type="pres">
      <dgm:prSet presAssocID="{B9A331DC-2639-4A02-BE11-A56583E22645}" presName="sibTrans" presStyleCnt="0"/>
      <dgm:spPr/>
    </dgm:pt>
    <dgm:pt modelId="{9B3F221D-0602-412E-AD47-C99CBFEDD932}" type="pres">
      <dgm:prSet presAssocID="{9C9CF3EC-BB43-4F85-B59F-4830E672FAD1}" presName="compNode" presStyleCnt="0"/>
      <dgm:spPr/>
    </dgm:pt>
    <dgm:pt modelId="{D732F6AA-A7A1-47AE-BD1F-D9F2A43CEB91}" type="pres">
      <dgm:prSet presAssocID="{9C9CF3EC-BB43-4F85-B59F-4830E672FAD1}" presName="bgRect" presStyleLbl="bgShp" presStyleIdx="1" presStyleCnt="3"/>
      <dgm:spPr/>
    </dgm:pt>
    <dgm:pt modelId="{3E1AD073-AEF7-44B4-96B1-574FF779DC64}" type="pres">
      <dgm:prSet presAssocID="{9C9CF3EC-BB43-4F85-B59F-4830E672FAD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jector screen"/>
        </a:ext>
      </dgm:extLst>
    </dgm:pt>
    <dgm:pt modelId="{08738AF4-CC2C-48AF-98B3-2F55C453A843}" type="pres">
      <dgm:prSet presAssocID="{9C9CF3EC-BB43-4F85-B59F-4830E672FAD1}" presName="spaceRect" presStyleCnt="0"/>
      <dgm:spPr/>
    </dgm:pt>
    <dgm:pt modelId="{68ACA96B-EBC2-4B6C-85BD-FBB117650934}" type="pres">
      <dgm:prSet presAssocID="{9C9CF3EC-BB43-4F85-B59F-4830E672FAD1}" presName="parTx" presStyleLbl="revTx" presStyleIdx="1" presStyleCnt="3">
        <dgm:presLayoutVars>
          <dgm:chMax val="0"/>
          <dgm:chPref val="0"/>
        </dgm:presLayoutVars>
      </dgm:prSet>
      <dgm:spPr/>
    </dgm:pt>
    <dgm:pt modelId="{BEE35EB5-26C3-4B22-9AEC-9D38191451D5}" type="pres">
      <dgm:prSet presAssocID="{F20F8639-437E-493B-B1CE-1CCB251DCDCB}" presName="sibTrans" presStyleCnt="0"/>
      <dgm:spPr/>
    </dgm:pt>
    <dgm:pt modelId="{0A7FF4C6-8908-4A99-8962-482A71018D32}" type="pres">
      <dgm:prSet presAssocID="{F606214B-924F-4550-9A78-475E8AFA816F}" presName="compNode" presStyleCnt="0"/>
      <dgm:spPr/>
    </dgm:pt>
    <dgm:pt modelId="{61E6B675-7331-423C-810C-59147D5B3826}" type="pres">
      <dgm:prSet presAssocID="{F606214B-924F-4550-9A78-475E8AFA816F}" presName="bgRect" presStyleLbl="bgShp" presStyleIdx="2" presStyleCnt="3" custLinFactNeighborX="13045" custLinFactNeighborY="10012"/>
      <dgm:spPr/>
    </dgm:pt>
    <dgm:pt modelId="{6D934A37-879F-43D7-9F01-B89735D19964}" type="pres">
      <dgm:prSet presAssocID="{F606214B-924F-4550-9A78-475E8AFA816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E08BA613-6B6F-4DE5-B08F-467E55318BE9}" type="pres">
      <dgm:prSet presAssocID="{F606214B-924F-4550-9A78-475E8AFA816F}" presName="spaceRect" presStyleCnt="0"/>
      <dgm:spPr/>
    </dgm:pt>
    <dgm:pt modelId="{97E8CF29-D3B5-44E4-8993-54AED8467FDE}" type="pres">
      <dgm:prSet presAssocID="{F606214B-924F-4550-9A78-475E8AFA816F}" presName="parTx" presStyleLbl="revTx" presStyleIdx="2" presStyleCnt="3">
        <dgm:presLayoutVars>
          <dgm:chMax val="0"/>
          <dgm:chPref val="0"/>
        </dgm:presLayoutVars>
      </dgm:prSet>
      <dgm:spPr/>
    </dgm:pt>
  </dgm:ptLst>
  <dgm:cxnLst>
    <dgm:cxn modelId="{426C9322-E6E9-4D23-9BB2-E8C7600C717F}" srcId="{16B43B36-E4D3-4082-8569-407E745BEB6D}" destId="{8A15B355-F3D5-454C-A5A8-2D0C4FD92C2D}" srcOrd="0" destOrd="0" parTransId="{5315530C-433C-4410-BD02-2CFEE1C47439}" sibTransId="{B9A331DC-2639-4A02-BE11-A56583E22645}"/>
    <dgm:cxn modelId="{6502AD34-D190-443D-B007-6AD7D7E51B1A}" type="presOf" srcId="{9C9CF3EC-BB43-4F85-B59F-4830E672FAD1}" destId="{68ACA96B-EBC2-4B6C-85BD-FBB117650934}" srcOrd="0" destOrd="0" presId="urn:microsoft.com/office/officeart/2018/2/layout/IconVerticalSolidList"/>
    <dgm:cxn modelId="{6CF98E54-C043-4AB4-A772-83DD66499C95}" type="presOf" srcId="{16B43B36-E4D3-4082-8569-407E745BEB6D}" destId="{E6334E7C-28BD-4A0A-9FAF-91C50359C3C3}" srcOrd="0" destOrd="0" presId="urn:microsoft.com/office/officeart/2018/2/layout/IconVerticalSolidList"/>
    <dgm:cxn modelId="{C9ECB47B-0586-42D9-A80B-28961D8349E6}" type="presOf" srcId="{F606214B-924F-4550-9A78-475E8AFA816F}" destId="{97E8CF29-D3B5-44E4-8993-54AED8467FDE}" srcOrd="0" destOrd="0" presId="urn:microsoft.com/office/officeart/2018/2/layout/IconVerticalSolidList"/>
    <dgm:cxn modelId="{3CA0D27C-C2BD-4FDD-A43A-E5E6C3640EA2}" srcId="{16B43B36-E4D3-4082-8569-407E745BEB6D}" destId="{9C9CF3EC-BB43-4F85-B59F-4830E672FAD1}" srcOrd="1" destOrd="0" parTransId="{264A4E62-E983-4ABA-B8C9-D199CEBF27E7}" sibTransId="{F20F8639-437E-493B-B1CE-1CCB251DCDCB}"/>
    <dgm:cxn modelId="{41900797-7F94-445A-AEED-0CEBABD74D74}" srcId="{16B43B36-E4D3-4082-8569-407E745BEB6D}" destId="{F606214B-924F-4550-9A78-475E8AFA816F}" srcOrd="2" destOrd="0" parTransId="{4BD0CAC7-A5FF-4886-A731-C11A07C3C02B}" sibTransId="{AD6825CF-BDA1-4F1C-BD17-6971A308BECC}"/>
    <dgm:cxn modelId="{278487A0-AC11-4A9B-B1C6-6EF5EF329458}" type="presOf" srcId="{8A15B355-F3D5-454C-A5A8-2D0C4FD92C2D}" destId="{E0FD0E2C-7423-4379-A45D-77127BB0F9DF}" srcOrd="0" destOrd="0" presId="urn:microsoft.com/office/officeart/2018/2/layout/IconVerticalSolidList"/>
    <dgm:cxn modelId="{0A7B36B9-8CFA-4999-B321-0A70FFBCA95F}" type="presParOf" srcId="{E6334E7C-28BD-4A0A-9FAF-91C50359C3C3}" destId="{7E2D344A-5638-47D1-9F4D-48AE0C40E81A}" srcOrd="0" destOrd="0" presId="urn:microsoft.com/office/officeart/2018/2/layout/IconVerticalSolidList"/>
    <dgm:cxn modelId="{35594A51-CEAD-4BEF-BB2C-63FBBD8445C6}" type="presParOf" srcId="{7E2D344A-5638-47D1-9F4D-48AE0C40E81A}" destId="{EACBDC07-598A-4C56-BAF8-8AE4837B086A}" srcOrd="0" destOrd="0" presId="urn:microsoft.com/office/officeart/2018/2/layout/IconVerticalSolidList"/>
    <dgm:cxn modelId="{866C464B-10AB-4689-A061-EF50D9EAA54D}" type="presParOf" srcId="{7E2D344A-5638-47D1-9F4D-48AE0C40E81A}" destId="{ADFA4A72-A277-4170-A39E-1B924B30FD2E}" srcOrd="1" destOrd="0" presId="urn:microsoft.com/office/officeart/2018/2/layout/IconVerticalSolidList"/>
    <dgm:cxn modelId="{664F424C-1B81-4A34-9168-21F153D3781C}" type="presParOf" srcId="{7E2D344A-5638-47D1-9F4D-48AE0C40E81A}" destId="{F09B9A07-3B83-4050-956D-6998C5B60462}" srcOrd="2" destOrd="0" presId="urn:microsoft.com/office/officeart/2018/2/layout/IconVerticalSolidList"/>
    <dgm:cxn modelId="{376E5BE3-121D-4BD3-8167-0FA02C2A4BD1}" type="presParOf" srcId="{7E2D344A-5638-47D1-9F4D-48AE0C40E81A}" destId="{E0FD0E2C-7423-4379-A45D-77127BB0F9DF}" srcOrd="3" destOrd="0" presId="urn:microsoft.com/office/officeart/2018/2/layout/IconVerticalSolidList"/>
    <dgm:cxn modelId="{96217C9D-4474-440C-845E-EEEDEAD568D8}" type="presParOf" srcId="{E6334E7C-28BD-4A0A-9FAF-91C50359C3C3}" destId="{28225551-8455-40E7-BF9A-088568D87052}" srcOrd="1" destOrd="0" presId="urn:microsoft.com/office/officeart/2018/2/layout/IconVerticalSolidList"/>
    <dgm:cxn modelId="{50329D0D-20FE-4A53-87A1-6D63E1A98C9F}" type="presParOf" srcId="{E6334E7C-28BD-4A0A-9FAF-91C50359C3C3}" destId="{9B3F221D-0602-412E-AD47-C99CBFEDD932}" srcOrd="2" destOrd="0" presId="urn:microsoft.com/office/officeart/2018/2/layout/IconVerticalSolidList"/>
    <dgm:cxn modelId="{D7D97A6F-6605-4020-A829-8CB520596769}" type="presParOf" srcId="{9B3F221D-0602-412E-AD47-C99CBFEDD932}" destId="{D732F6AA-A7A1-47AE-BD1F-D9F2A43CEB91}" srcOrd="0" destOrd="0" presId="urn:microsoft.com/office/officeart/2018/2/layout/IconVerticalSolidList"/>
    <dgm:cxn modelId="{911AB991-42B4-4B6C-A346-E11A1037FA06}" type="presParOf" srcId="{9B3F221D-0602-412E-AD47-C99CBFEDD932}" destId="{3E1AD073-AEF7-44B4-96B1-574FF779DC64}" srcOrd="1" destOrd="0" presId="urn:microsoft.com/office/officeart/2018/2/layout/IconVerticalSolidList"/>
    <dgm:cxn modelId="{218ABFBC-1FCF-49F1-B62C-103503F92F7B}" type="presParOf" srcId="{9B3F221D-0602-412E-AD47-C99CBFEDD932}" destId="{08738AF4-CC2C-48AF-98B3-2F55C453A843}" srcOrd="2" destOrd="0" presId="urn:microsoft.com/office/officeart/2018/2/layout/IconVerticalSolidList"/>
    <dgm:cxn modelId="{83FA0FB3-46D8-40BD-822F-1F03584F0CED}" type="presParOf" srcId="{9B3F221D-0602-412E-AD47-C99CBFEDD932}" destId="{68ACA96B-EBC2-4B6C-85BD-FBB117650934}" srcOrd="3" destOrd="0" presId="urn:microsoft.com/office/officeart/2018/2/layout/IconVerticalSolidList"/>
    <dgm:cxn modelId="{BEDAC7E0-64FE-429E-A99D-337E1803A92A}" type="presParOf" srcId="{E6334E7C-28BD-4A0A-9FAF-91C50359C3C3}" destId="{BEE35EB5-26C3-4B22-9AEC-9D38191451D5}" srcOrd="3" destOrd="0" presId="urn:microsoft.com/office/officeart/2018/2/layout/IconVerticalSolidList"/>
    <dgm:cxn modelId="{EF2D8774-D150-407B-824F-B7AF69DB8BB4}" type="presParOf" srcId="{E6334E7C-28BD-4A0A-9FAF-91C50359C3C3}" destId="{0A7FF4C6-8908-4A99-8962-482A71018D32}" srcOrd="4" destOrd="0" presId="urn:microsoft.com/office/officeart/2018/2/layout/IconVerticalSolidList"/>
    <dgm:cxn modelId="{09A7A91B-B6D6-4AAC-92A5-0CF489465F8E}" type="presParOf" srcId="{0A7FF4C6-8908-4A99-8962-482A71018D32}" destId="{61E6B675-7331-423C-810C-59147D5B3826}" srcOrd="0" destOrd="0" presId="urn:microsoft.com/office/officeart/2018/2/layout/IconVerticalSolidList"/>
    <dgm:cxn modelId="{C327BD81-5650-46C1-91FA-01A63A2D0EDE}" type="presParOf" srcId="{0A7FF4C6-8908-4A99-8962-482A71018D32}" destId="{6D934A37-879F-43D7-9F01-B89735D19964}" srcOrd="1" destOrd="0" presId="urn:microsoft.com/office/officeart/2018/2/layout/IconVerticalSolidList"/>
    <dgm:cxn modelId="{CFEACB98-553B-4AF1-AE70-C9ABB9E5E701}" type="presParOf" srcId="{0A7FF4C6-8908-4A99-8962-482A71018D32}" destId="{E08BA613-6B6F-4DE5-B08F-467E55318BE9}" srcOrd="2" destOrd="0" presId="urn:microsoft.com/office/officeart/2018/2/layout/IconVerticalSolidList"/>
    <dgm:cxn modelId="{75D5A0D0-63D3-49BD-9B47-F5A71DF9AFF7}" type="presParOf" srcId="{0A7FF4C6-8908-4A99-8962-482A71018D32}" destId="{97E8CF29-D3B5-44E4-8993-54AED8467FD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31E48A-1DCC-4854-B2F1-9B44434004DC}">
      <dsp:nvSpPr>
        <dsp:cNvPr id="0" name=""/>
        <dsp:cNvSpPr/>
      </dsp:nvSpPr>
      <dsp:spPr>
        <a:xfrm>
          <a:off x="741784" y="96681"/>
          <a:ext cx="647841" cy="64784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060474-3948-4339-B84A-D4E168D8F1F8}">
      <dsp:nvSpPr>
        <dsp:cNvPr id="0" name=""/>
        <dsp:cNvSpPr/>
      </dsp:nvSpPr>
      <dsp:spPr>
        <a:xfrm>
          <a:off x="311020" y="980548"/>
          <a:ext cx="1439648" cy="57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de-DE" sz="2500" kern="1200"/>
            <a:t>Quality</a:t>
          </a:r>
          <a:endParaRPr lang="en-US" sz="2500" kern="1200"/>
        </a:p>
      </dsp:txBody>
      <dsp:txXfrm>
        <a:off x="311020" y="980548"/>
        <a:ext cx="1439648" cy="575859"/>
      </dsp:txXfrm>
    </dsp:sp>
    <dsp:sp modelId="{3E5A1486-4058-42A1-9D9F-5A983081E275}">
      <dsp:nvSpPr>
        <dsp:cNvPr id="0" name=""/>
        <dsp:cNvSpPr/>
      </dsp:nvSpPr>
      <dsp:spPr>
        <a:xfrm>
          <a:off x="2398511" y="116647"/>
          <a:ext cx="647841" cy="64784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8AD7F80-0370-40BD-AC3B-E3FEC1804A8A}">
      <dsp:nvSpPr>
        <dsp:cNvPr id="0" name=""/>
        <dsp:cNvSpPr/>
      </dsp:nvSpPr>
      <dsp:spPr>
        <a:xfrm>
          <a:off x="2002607" y="980548"/>
          <a:ext cx="1439648" cy="57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de-DE" sz="2500" kern="1200" dirty="0"/>
            <a:t>Cost </a:t>
          </a:r>
          <a:endParaRPr lang="en-US" sz="2500" kern="1200" dirty="0"/>
        </a:p>
      </dsp:txBody>
      <dsp:txXfrm>
        <a:off x="2002607" y="980548"/>
        <a:ext cx="1439648" cy="575859"/>
      </dsp:txXfrm>
    </dsp:sp>
    <dsp:sp modelId="{ED43B295-6359-4C40-BD4B-1CD9455183A9}">
      <dsp:nvSpPr>
        <dsp:cNvPr id="0" name=""/>
        <dsp:cNvSpPr/>
      </dsp:nvSpPr>
      <dsp:spPr>
        <a:xfrm>
          <a:off x="4090098" y="116647"/>
          <a:ext cx="647841" cy="64784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0DD44E3-90F0-4D54-AC60-657FAEAAE753}">
      <dsp:nvSpPr>
        <dsp:cNvPr id="0" name=""/>
        <dsp:cNvSpPr/>
      </dsp:nvSpPr>
      <dsp:spPr>
        <a:xfrm>
          <a:off x="3694194" y="980548"/>
          <a:ext cx="1439648" cy="57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de-DE" sz="2500" kern="1200" dirty="0"/>
            <a:t>Scalability</a:t>
          </a:r>
          <a:endParaRPr lang="en-US" sz="2500" kern="1200" dirty="0"/>
        </a:p>
      </dsp:txBody>
      <dsp:txXfrm>
        <a:off x="3694194" y="980548"/>
        <a:ext cx="1439648" cy="5758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00248-8E7F-47D0-ADE0-875A5B19503E}">
      <dsp:nvSpPr>
        <dsp:cNvPr id="0" name=""/>
        <dsp:cNvSpPr/>
      </dsp:nvSpPr>
      <dsp:spPr>
        <a:xfrm>
          <a:off x="-5951882" y="-911379"/>
          <a:ext cx="7090084" cy="7090084"/>
        </a:xfrm>
        <a:prstGeom prst="blockArc">
          <a:avLst>
            <a:gd name="adj1" fmla="val 18900000"/>
            <a:gd name="adj2" fmla="val 2700000"/>
            <a:gd name="adj3" fmla="val 305"/>
          </a:avLst>
        </a:prstGeom>
        <a:noFill/>
        <a:ln w="10795"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EF26BC-7B40-49A7-9B8F-734580048F50}">
      <dsp:nvSpPr>
        <dsp:cNvPr id="0" name=""/>
        <dsp:cNvSpPr/>
      </dsp:nvSpPr>
      <dsp:spPr>
        <a:xfrm>
          <a:off x="369502" y="239452"/>
          <a:ext cx="10049869" cy="47869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dirty="0">
              <a:latin typeface="Arial"/>
            </a:rPr>
            <a:t>SIM-less reception with simplified architecture </a:t>
          </a:r>
          <a:endParaRPr lang="en-US" sz="2400" kern="1200" dirty="0"/>
        </a:p>
      </dsp:txBody>
      <dsp:txXfrm>
        <a:off x="369502" y="239452"/>
        <a:ext cx="10049869" cy="478694"/>
      </dsp:txXfrm>
    </dsp:sp>
    <dsp:sp modelId="{26836185-39F8-499A-ABAD-DE1951A4BC76}">
      <dsp:nvSpPr>
        <dsp:cNvPr id="0" name=""/>
        <dsp:cNvSpPr/>
      </dsp:nvSpPr>
      <dsp:spPr>
        <a:xfrm>
          <a:off x="70318" y="179615"/>
          <a:ext cx="598368" cy="598368"/>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B60ABF7-908F-44EB-A527-6683AA277981}">
      <dsp:nvSpPr>
        <dsp:cNvPr id="0" name=""/>
        <dsp:cNvSpPr/>
      </dsp:nvSpPr>
      <dsp:spPr>
        <a:xfrm>
          <a:off x="803003" y="957915"/>
          <a:ext cx="9616368" cy="478694"/>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a:latin typeface="Arial"/>
            </a:rPr>
            <a:t>Receive-Only Mode (ROM) &amp; </a:t>
          </a:r>
          <a:r>
            <a:rPr lang="en-US" altLang="en-US" sz="2400" kern="1200">
              <a:ln/>
              <a:latin typeface="Arial"/>
            </a:rPr>
            <a:t>Free-to-Air (FTA)</a:t>
          </a:r>
          <a:endParaRPr lang="en-US" sz="2400" kern="1200" dirty="0"/>
        </a:p>
      </dsp:txBody>
      <dsp:txXfrm>
        <a:off x="803003" y="957915"/>
        <a:ext cx="9616368" cy="478694"/>
      </dsp:txXfrm>
    </dsp:sp>
    <dsp:sp modelId="{29631583-3915-450C-918F-381562F92C37}">
      <dsp:nvSpPr>
        <dsp:cNvPr id="0" name=""/>
        <dsp:cNvSpPr/>
      </dsp:nvSpPr>
      <dsp:spPr>
        <a:xfrm>
          <a:off x="503819" y="898078"/>
          <a:ext cx="598368" cy="598368"/>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756C36-4673-46B3-B3E1-9D2554FF81EE}">
      <dsp:nvSpPr>
        <dsp:cNvPr id="0" name=""/>
        <dsp:cNvSpPr/>
      </dsp:nvSpPr>
      <dsp:spPr>
        <a:xfrm>
          <a:off x="1040560" y="1675852"/>
          <a:ext cx="9378812" cy="478694"/>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a:latin typeface="Arial"/>
            </a:rPr>
            <a:t>Different spectrum options (e.g. UHF, SDL), as well as SFN/MFN</a:t>
          </a:r>
          <a:endParaRPr lang="en-US" sz="2400" kern="1200" dirty="0"/>
        </a:p>
      </dsp:txBody>
      <dsp:txXfrm>
        <a:off x="1040560" y="1675852"/>
        <a:ext cx="9378812" cy="478694"/>
      </dsp:txXfrm>
    </dsp:sp>
    <dsp:sp modelId="{E2774E36-190F-4960-BA91-50A7DC3D1E62}">
      <dsp:nvSpPr>
        <dsp:cNvPr id="0" name=""/>
        <dsp:cNvSpPr/>
      </dsp:nvSpPr>
      <dsp:spPr>
        <a:xfrm>
          <a:off x="741375" y="1616015"/>
          <a:ext cx="598368" cy="598368"/>
        </a:xfrm>
        <a:prstGeom prst="ellipse">
          <a:avLst/>
        </a:prstGeom>
        <a:solidFill>
          <a:schemeClr val="lt1">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FE89CC-0349-4F90-AB30-A1749C57C833}">
      <dsp:nvSpPr>
        <dsp:cNvPr id="0" name=""/>
        <dsp:cNvSpPr/>
      </dsp:nvSpPr>
      <dsp:spPr>
        <a:xfrm>
          <a:off x="1116409" y="2394315"/>
          <a:ext cx="9302962" cy="478694"/>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dirty="0">
              <a:latin typeface="Arial"/>
            </a:rPr>
            <a:t>Various deployment possibilities (e.g. MNOs, BNOs)</a:t>
          </a:r>
          <a:endParaRPr lang="en-US" sz="2400" kern="1200" dirty="0"/>
        </a:p>
      </dsp:txBody>
      <dsp:txXfrm>
        <a:off x="1116409" y="2394315"/>
        <a:ext cx="9302962" cy="478694"/>
      </dsp:txXfrm>
    </dsp:sp>
    <dsp:sp modelId="{D46A05FF-F4BC-4410-8DA0-08ECE07647AC}">
      <dsp:nvSpPr>
        <dsp:cNvPr id="0" name=""/>
        <dsp:cNvSpPr/>
      </dsp:nvSpPr>
      <dsp:spPr>
        <a:xfrm>
          <a:off x="817225" y="2334478"/>
          <a:ext cx="598368" cy="598368"/>
        </a:xfrm>
        <a:prstGeom prst="ellipse">
          <a:avLst/>
        </a:prstGeom>
        <a:solidFill>
          <a:schemeClr val="lt1">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0983C4-8A0E-4205-A83A-8AB71B7D83DE}">
      <dsp:nvSpPr>
        <dsp:cNvPr id="0" name=""/>
        <dsp:cNvSpPr/>
      </dsp:nvSpPr>
      <dsp:spPr>
        <a:xfrm>
          <a:off x="1040560" y="3112778"/>
          <a:ext cx="9378812" cy="478694"/>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a:latin typeface="Arial"/>
            </a:rPr>
            <a:t>Using existing infrastructure (HPHT, MPMT and LPLT)</a:t>
          </a:r>
          <a:endParaRPr lang="en-US" sz="2400" kern="1200" dirty="0"/>
        </a:p>
      </dsp:txBody>
      <dsp:txXfrm>
        <a:off x="1040560" y="3112778"/>
        <a:ext cx="9378812" cy="478694"/>
      </dsp:txXfrm>
    </dsp:sp>
    <dsp:sp modelId="{4C098424-7B56-4E09-B3B6-F0175404274B}">
      <dsp:nvSpPr>
        <dsp:cNvPr id="0" name=""/>
        <dsp:cNvSpPr/>
      </dsp:nvSpPr>
      <dsp:spPr>
        <a:xfrm>
          <a:off x="741375" y="3052941"/>
          <a:ext cx="598368" cy="598368"/>
        </a:xfrm>
        <a:prstGeom prst="ellipse">
          <a:avLst/>
        </a:prstGeom>
        <a:solidFill>
          <a:schemeClr val="lt1">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2FCDF2-298D-483A-9803-663B4F4E5A71}">
      <dsp:nvSpPr>
        <dsp:cNvPr id="0" name=""/>
        <dsp:cNvSpPr/>
      </dsp:nvSpPr>
      <dsp:spPr>
        <a:xfrm>
          <a:off x="803003" y="3830714"/>
          <a:ext cx="9616368" cy="47869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en-US" altLang="en-US" sz="2400" kern="1200">
              <a:latin typeface="Arial"/>
            </a:rPr>
            <a:t>Highly flexible velocities (up to 250 KM/h Vs up to 300 µS)</a:t>
          </a:r>
          <a:endParaRPr lang="en-US" altLang="en-US" sz="2400" kern="1200" dirty="0">
            <a:latin typeface="Arial"/>
          </a:endParaRPr>
        </a:p>
      </dsp:txBody>
      <dsp:txXfrm>
        <a:off x="803003" y="3830714"/>
        <a:ext cx="9616368" cy="478694"/>
      </dsp:txXfrm>
    </dsp:sp>
    <dsp:sp modelId="{7836CEB8-3E80-469A-9E94-D0062B7AAE95}">
      <dsp:nvSpPr>
        <dsp:cNvPr id="0" name=""/>
        <dsp:cNvSpPr/>
      </dsp:nvSpPr>
      <dsp:spPr>
        <a:xfrm>
          <a:off x="503819" y="3770877"/>
          <a:ext cx="598368" cy="598368"/>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DE94CD9-46FC-4F55-BD2B-1A5E5E071710}">
      <dsp:nvSpPr>
        <dsp:cNvPr id="0" name=""/>
        <dsp:cNvSpPr/>
      </dsp:nvSpPr>
      <dsp:spPr>
        <a:xfrm>
          <a:off x="369502" y="4549177"/>
          <a:ext cx="10049869" cy="478694"/>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9964" tIns="60960" rIns="60960" bIns="60960" numCol="1" spcCol="1270" anchor="ctr" anchorCtr="0">
          <a:noAutofit/>
        </a:bodyPr>
        <a:lstStyle/>
        <a:p>
          <a:pPr marL="0" lvl="0" indent="0" algn="l" defTabSz="1066800">
            <a:lnSpc>
              <a:spcPct val="90000"/>
            </a:lnSpc>
            <a:spcBef>
              <a:spcPct val="0"/>
            </a:spcBef>
            <a:spcAft>
              <a:spcPct val="35000"/>
            </a:spcAft>
            <a:buSzPct val="80000"/>
            <a:buNone/>
          </a:pPr>
          <a:r>
            <a:rPr lang="de-DE" altLang="en-US" sz="2400" kern="1200" dirty="0">
              <a:latin typeface="Arial"/>
            </a:rPr>
            <a:t>Can be combined with existing 4G and 5G features (unicast, PWS)</a:t>
          </a:r>
          <a:endParaRPr lang="en-US" altLang="en-US" sz="2400" kern="1200" dirty="0">
            <a:latin typeface="Arial"/>
          </a:endParaRPr>
        </a:p>
      </dsp:txBody>
      <dsp:txXfrm>
        <a:off x="369502" y="4549177"/>
        <a:ext cx="10049869" cy="478694"/>
      </dsp:txXfrm>
    </dsp:sp>
    <dsp:sp modelId="{145488B2-B5C2-4150-96B3-13CBD449EC31}">
      <dsp:nvSpPr>
        <dsp:cNvPr id="0" name=""/>
        <dsp:cNvSpPr/>
      </dsp:nvSpPr>
      <dsp:spPr>
        <a:xfrm>
          <a:off x="70318" y="4489341"/>
          <a:ext cx="598368" cy="598368"/>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3BBA7A-21B1-4EBB-8A35-E6AAB09D1377}">
      <dsp:nvSpPr>
        <dsp:cNvPr id="0" name=""/>
        <dsp:cNvSpPr/>
      </dsp:nvSpPr>
      <dsp:spPr>
        <a:xfrm>
          <a:off x="10665517" y="1643378"/>
          <a:ext cx="1418229" cy="1418843"/>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7EC55D-4194-4166-ABBA-E42F7D113506}">
      <dsp:nvSpPr>
        <dsp:cNvPr id="0" name=""/>
        <dsp:cNvSpPr/>
      </dsp:nvSpPr>
      <dsp:spPr>
        <a:xfrm>
          <a:off x="10712114"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a:ln>
                <a:noFill/>
              </a:ln>
              <a:solidFill>
                <a:srgbClr val="0083A2"/>
              </a:solidFill>
              <a:effectLst/>
              <a:uLnTx/>
              <a:uFillTx/>
              <a:latin typeface="Arial"/>
            </a:rPr>
            <a:t>AI1.5 WRC23</a:t>
          </a:r>
          <a:endParaRPr lang="en-US" sz="1100" kern="1200" dirty="0"/>
        </a:p>
      </dsp:txBody>
      <dsp:txXfrm>
        <a:off x="10900893" y="1879893"/>
        <a:ext cx="946282" cy="945812"/>
      </dsp:txXfrm>
    </dsp:sp>
    <dsp:sp modelId="{5E43C491-AD1D-41BF-8412-A813F21A38EE}">
      <dsp:nvSpPr>
        <dsp:cNvPr id="0" name=""/>
        <dsp:cNvSpPr/>
      </dsp:nvSpPr>
      <dsp:spPr>
        <a:xfrm rot="2700000">
          <a:off x="9198162"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88BDF8-98A3-43B3-A802-F6B79B3131CE}">
      <dsp:nvSpPr>
        <dsp:cNvPr id="0" name=""/>
        <dsp:cNvSpPr/>
      </dsp:nvSpPr>
      <dsp:spPr>
        <a:xfrm>
          <a:off x="9246093"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lang="de-DE" sz="1100" kern="1200" dirty="0">
              <a:solidFill>
                <a:schemeClr val="accent3">
                  <a:lumMod val="75000"/>
                </a:schemeClr>
              </a:solidFill>
            </a:rPr>
            <a:t>Rel-18</a:t>
          </a:r>
          <a:br>
            <a:rPr lang="de-DE" sz="1100" kern="1200" dirty="0">
              <a:solidFill>
                <a:schemeClr val="accent3">
                  <a:lumMod val="75000"/>
                </a:schemeClr>
              </a:solidFill>
            </a:rPr>
          </a:br>
          <a:r>
            <a:rPr lang="en-US" sz="1100" kern="1200" dirty="0">
              <a:solidFill>
                <a:schemeClr val="accent3">
                  <a:lumMod val="75000"/>
                </a:schemeClr>
              </a:solidFill>
            </a:rPr>
            <a:t>Requirements for UHF and 6/7/8 MHz, URL Handling</a:t>
          </a:r>
        </a:p>
      </dsp:txBody>
      <dsp:txXfrm>
        <a:off x="9434872" y="1879893"/>
        <a:ext cx="946282" cy="945812"/>
      </dsp:txXfrm>
    </dsp:sp>
    <dsp:sp modelId="{F4B278F1-6C00-4AAB-835D-03F55381840B}">
      <dsp:nvSpPr>
        <dsp:cNvPr id="0" name=""/>
        <dsp:cNvSpPr/>
      </dsp:nvSpPr>
      <dsp:spPr>
        <a:xfrm rot="2700000">
          <a:off x="7732141"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8F32BF-E251-43CE-BA58-D06214E885A4}">
      <dsp:nvSpPr>
        <dsp:cNvPr id="0" name=""/>
        <dsp:cNvSpPr/>
      </dsp:nvSpPr>
      <dsp:spPr>
        <a:xfrm>
          <a:off x="7780072"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dirty="0">
              <a:ln>
                <a:noFill/>
              </a:ln>
              <a:solidFill>
                <a:srgbClr val="0083A2"/>
              </a:solidFill>
              <a:effectLst/>
              <a:uLnTx/>
              <a:uFillTx/>
              <a:latin typeface="Arial"/>
            </a:rPr>
            <a:t>Enhanced Version of ETSI TS 103 720</a:t>
          </a:r>
          <a:endParaRPr lang="en-US" sz="1100" kern="1200" dirty="0"/>
        </a:p>
      </dsp:txBody>
      <dsp:txXfrm>
        <a:off x="7968851" y="1879893"/>
        <a:ext cx="946282" cy="945812"/>
      </dsp:txXfrm>
    </dsp:sp>
    <dsp:sp modelId="{DDED353F-1552-4490-AC0D-9DEF658998E0}">
      <dsp:nvSpPr>
        <dsp:cNvPr id="0" name=""/>
        <dsp:cNvSpPr/>
      </dsp:nvSpPr>
      <dsp:spPr>
        <a:xfrm rot="2700000">
          <a:off x="6266120"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909048-32F9-4E75-886C-3F57DCB37ED2}">
      <dsp:nvSpPr>
        <dsp:cNvPr id="0" name=""/>
        <dsp:cNvSpPr/>
      </dsp:nvSpPr>
      <dsp:spPr>
        <a:xfrm>
          <a:off x="6314051"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de-DE" sz="1100" b="0" i="0" u="none" strike="noStrike" kern="1200" cap="none" spc="0" normalizeH="0" baseline="0" noProof="0" dirty="0">
              <a:ln>
                <a:noFill/>
              </a:ln>
              <a:solidFill>
                <a:srgbClr val="0083A2"/>
              </a:solidFill>
              <a:effectLst/>
              <a:uLnTx/>
              <a:uFillTx/>
              <a:latin typeface="Arial"/>
            </a:rPr>
            <a:t>Rel-17</a:t>
          </a:r>
          <a:br>
            <a:rPr kumimoji="0" lang="de-DE" sz="1100" b="0" i="0" u="none" strike="noStrike" kern="1200" cap="none" spc="0" normalizeH="0" baseline="0" noProof="0" dirty="0">
              <a:ln>
                <a:noFill/>
              </a:ln>
              <a:solidFill>
                <a:srgbClr val="0083A2"/>
              </a:solidFill>
              <a:effectLst/>
              <a:uLnTx/>
              <a:uFillTx/>
              <a:latin typeface="Arial"/>
            </a:rPr>
          </a:br>
          <a:r>
            <a:rPr kumimoji="0" lang="de-DE" sz="1100" b="0" i="0" u="none" strike="noStrike" kern="1200" cap="none" spc="0" normalizeH="0" baseline="0" noProof="0" dirty="0">
              <a:ln>
                <a:noFill/>
              </a:ln>
              <a:solidFill>
                <a:srgbClr val="0083A2"/>
              </a:solidFill>
              <a:effectLst/>
              <a:uLnTx/>
              <a:uFillTx/>
              <a:latin typeface="Arial"/>
            </a:rPr>
            <a:t>Enhanced BW= 6/7/8 MHz for UHF</a:t>
          </a:r>
          <a:endParaRPr lang="en-US" sz="1100" kern="1200" dirty="0"/>
        </a:p>
      </dsp:txBody>
      <dsp:txXfrm>
        <a:off x="6502829" y="1879893"/>
        <a:ext cx="946282" cy="945812"/>
      </dsp:txXfrm>
    </dsp:sp>
    <dsp:sp modelId="{8D2D7A9D-E955-4BB2-B5A3-9D2886F6FA6B}">
      <dsp:nvSpPr>
        <dsp:cNvPr id="0" name=""/>
        <dsp:cNvSpPr/>
      </dsp:nvSpPr>
      <dsp:spPr>
        <a:xfrm rot="2700000">
          <a:off x="4800099"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D11445-825F-49E8-866F-A295A7411F9E}">
      <dsp:nvSpPr>
        <dsp:cNvPr id="0" name=""/>
        <dsp:cNvSpPr/>
      </dsp:nvSpPr>
      <dsp:spPr>
        <a:xfrm>
          <a:off x="4848030"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de-DE" sz="1100" b="0" i="0" u="none" strike="noStrike" kern="1200" cap="none" spc="0" normalizeH="0" baseline="0" noProof="0" dirty="0">
              <a:ln>
                <a:noFill/>
              </a:ln>
              <a:solidFill>
                <a:srgbClr val="0083A2"/>
              </a:solidFill>
              <a:effectLst/>
              <a:uLnTx/>
              <a:uFillTx/>
              <a:latin typeface="Arial"/>
            </a:rPr>
            <a:t>5G BC is an EU standard (ETSI </a:t>
          </a:r>
          <a:r>
            <a:rPr kumimoji="0" lang="en-US" sz="1100" b="0" i="0" u="none" strike="noStrike" kern="1200" cap="none" spc="0" normalizeH="0" baseline="0" noProof="0" dirty="0">
              <a:ln>
                <a:noFill/>
              </a:ln>
              <a:solidFill>
                <a:srgbClr val="0083A2"/>
              </a:solidFill>
              <a:effectLst/>
              <a:uLnTx/>
              <a:uFillTx/>
              <a:latin typeface="Arial"/>
              <a:hlinkClick xmlns:r="http://schemas.openxmlformats.org/officeDocument/2006/relationships" r:id="rId1">
                <a:extLst>
                  <a:ext uri="{A12FA001-AC4F-418D-AE19-62706E023703}">
                    <ahyp:hlinkClr xmlns:ahyp="http://schemas.microsoft.com/office/drawing/2018/hyperlinkcolor" val="tx"/>
                  </a:ext>
                </a:extLst>
              </a:hlinkClick>
            </a:rPr>
            <a:t>TS 103 720</a:t>
          </a:r>
          <a:r>
            <a:rPr kumimoji="0" lang="en-US" sz="1100" b="0" i="0" u="none" strike="noStrike" kern="1200" cap="none" spc="0" normalizeH="0" baseline="0" noProof="0" dirty="0">
              <a:ln>
                <a:noFill/>
              </a:ln>
              <a:solidFill>
                <a:srgbClr val="0083A2"/>
              </a:solidFill>
              <a:effectLst/>
              <a:uLnTx/>
              <a:uFillTx/>
              <a:latin typeface="Arial"/>
            </a:rPr>
            <a:t>)</a:t>
          </a:r>
          <a:endParaRPr lang="en-US" sz="1100" kern="1200" dirty="0"/>
        </a:p>
      </dsp:txBody>
      <dsp:txXfrm>
        <a:off x="5036808" y="1879893"/>
        <a:ext cx="946282" cy="945812"/>
      </dsp:txXfrm>
    </dsp:sp>
    <dsp:sp modelId="{A0E88B4A-82D0-420B-925D-B7CBDDE07732}">
      <dsp:nvSpPr>
        <dsp:cNvPr id="0" name=""/>
        <dsp:cNvSpPr/>
      </dsp:nvSpPr>
      <dsp:spPr>
        <a:xfrm rot="2700000">
          <a:off x="3334077"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1D6B98-94C5-4AF2-A4BB-0E5E7A5D422E}">
      <dsp:nvSpPr>
        <dsp:cNvPr id="0" name=""/>
        <dsp:cNvSpPr/>
      </dsp:nvSpPr>
      <dsp:spPr>
        <a:xfrm>
          <a:off x="3382008"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dirty="0">
              <a:ln>
                <a:noFill/>
              </a:ln>
              <a:solidFill>
                <a:srgbClr val="0083A2"/>
              </a:solidFill>
              <a:effectLst/>
              <a:uLnTx/>
              <a:uFillTx/>
              <a:latin typeface="Arial"/>
            </a:rPr>
            <a:t>Rel-16</a:t>
          </a:r>
        </a:p>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dirty="0">
              <a:ln>
                <a:noFill/>
              </a:ln>
              <a:solidFill>
                <a:srgbClr val="0083A2"/>
              </a:solidFill>
              <a:effectLst/>
              <a:uLnTx/>
              <a:uFillTx/>
              <a:latin typeface="Arial"/>
              <a:sym typeface="Wingdings" panose="05000000000000000000" pitchFamily="2" charset="2"/>
            </a:rPr>
            <a:t>Rooftop</a:t>
          </a:r>
          <a:r>
            <a:rPr kumimoji="0" lang="en-US" sz="1100" b="0" i="0" u="none" strike="noStrike" kern="1200" cap="none" spc="0" normalizeH="0" baseline="0" noProof="0" dirty="0">
              <a:ln>
                <a:noFill/>
              </a:ln>
              <a:solidFill>
                <a:srgbClr val="0083A2"/>
              </a:solidFill>
              <a:effectLst/>
              <a:uLnTx/>
              <a:uFillTx/>
              <a:latin typeface="Arial"/>
            </a:rPr>
            <a:t>  Mobility up to 250 km/h</a:t>
          </a:r>
          <a:endParaRPr lang="en-US" sz="1100" kern="1200" dirty="0"/>
        </a:p>
      </dsp:txBody>
      <dsp:txXfrm>
        <a:off x="3570787" y="1879893"/>
        <a:ext cx="946282" cy="945812"/>
      </dsp:txXfrm>
    </dsp:sp>
    <dsp:sp modelId="{AADDE8E5-E4FD-4942-86DA-6E10E6C1A2F7}">
      <dsp:nvSpPr>
        <dsp:cNvPr id="0" name=""/>
        <dsp:cNvSpPr/>
      </dsp:nvSpPr>
      <dsp:spPr>
        <a:xfrm rot="2700000">
          <a:off x="1868056"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6E9D62-BBD0-463D-B544-4429B65D93E5}">
      <dsp:nvSpPr>
        <dsp:cNvPr id="0" name=""/>
        <dsp:cNvSpPr/>
      </dsp:nvSpPr>
      <dsp:spPr>
        <a:xfrm>
          <a:off x="1915987"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de-DE" sz="1100" b="0" i="0" u="none" strike="noStrike" kern="1200" cap="none" spc="0" normalizeH="0" baseline="0" noProof="0" dirty="0">
              <a:ln>
                <a:noFill/>
              </a:ln>
              <a:solidFill>
                <a:srgbClr val="0083A2"/>
              </a:solidFill>
              <a:effectLst/>
              <a:uLnTx/>
              <a:uFillTx/>
              <a:latin typeface="Arial"/>
            </a:rPr>
            <a:t>5G BC  worldwide standard </a:t>
          </a:r>
        </a:p>
        <a:p>
          <a:pPr marL="0" lvl="0" indent="0" algn="ctr" defTabSz="488950">
            <a:lnSpc>
              <a:spcPct val="90000"/>
            </a:lnSpc>
            <a:spcBef>
              <a:spcPct val="0"/>
            </a:spcBef>
            <a:spcAft>
              <a:spcPct val="35000"/>
            </a:spcAft>
            <a:buClrTx/>
            <a:buSzTx/>
            <a:buFontTx/>
            <a:buNone/>
          </a:pPr>
          <a:r>
            <a:rPr kumimoji="0" lang="de-DE" sz="1100" b="0" i="0" u="none" strike="noStrike" kern="1200" cap="none" spc="0" normalizeH="0" baseline="0" noProof="0" dirty="0">
              <a:ln>
                <a:noFill/>
              </a:ln>
              <a:solidFill>
                <a:srgbClr val="0083A2"/>
              </a:solidFill>
              <a:effectLst/>
              <a:uLnTx/>
              <a:uFillTx/>
              <a:latin typeface="Arial"/>
            </a:rPr>
            <a:t>TG6/1 and WP6A</a:t>
          </a:r>
          <a:endParaRPr lang="en-US" sz="1100" kern="1200" dirty="0"/>
        </a:p>
      </dsp:txBody>
      <dsp:txXfrm>
        <a:off x="2104766" y="1879893"/>
        <a:ext cx="946282" cy="945812"/>
      </dsp:txXfrm>
    </dsp:sp>
    <dsp:sp modelId="{896365B5-14BE-4479-B830-0B2FA3CB031B}">
      <dsp:nvSpPr>
        <dsp:cNvPr id="0" name=""/>
        <dsp:cNvSpPr/>
      </dsp:nvSpPr>
      <dsp:spPr>
        <a:xfrm rot="2700000">
          <a:off x="402035" y="1643422"/>
          <a:ext cx="1418506" cy="1418506"/>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11A34D-6873-4ADD-90D8-B783C069773F}">
      <dsp:nvSpPr>
        <dsp:cNvPr id="0" name=""/>
        <dsp:cNvSpPr/>
      </dsp:nvSpPr>
      <dsp:spPr>
        <a:xfrm>
          <a:off x="449966" y="1690681"/>
          <a:ext cx="1323839" cy="1324237"/>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dirty="0">
              <a:ln>
                <a:noFill/>
              </a:ln>
              <a:solidFill>
                <a:srgbClr val="0083A2"/>
              </a:solidFill>
              <a:effectLst/>
              <a:uLnTx/>
              <a:uFillTx/>
              <a:latin typeface="Arial"/>
            </a:rPr>
            <a:t>Rel-14</a:t>
          </a:r>
        </a:p>
        <a:p>
          <a:pPr marL="0" lvl="0" indent="0" algn="ctr" defTabSz="488950">
            <a:lnSpc>
              <a:spcPct val="90000"/>
            </a:lnSpc>
            <a:spcBef>
              <a:spcPct val="0"/>
            </a:spcBef>
            <a:spcAft>
              <a:spcPct val="35000"/>
            </a:spcAft>
            <a:buClrTx/>
            <a:buSzTx/>
            <a:buFontTx/>
            <a:buNone/>
          </a:pPr>
          <a:r>
            <a:rPr kumimoji="0" lang="en-US" sz="1100" b="0" i="0" u="none" strike="noStrike" kern="1200" cap="none" spc="0" normalizeH="0" baseline="0" noProof="0" dirty="0">
              <a:ln>
                <a:noFill/>
              </a:ln>
              <a:solidFill>
                <a:srgbClr val="0083A2"/>
              </a:solidFill>
              <a:effectLst/>
              <a:uLnTx/>
              <a:uFillTx/>
              <a:latin typeface="Arial"/>
            </a:rPr>
            <a:t>SCS1.25KHz/ CP=200µs  Mobility up to 120 km/h</a:t>
          </a:r>
          <a:endParaRPr lang="en-US" sz="1100" kern="1200" dirty="0"/>
        </a:p>
      </dsp:txBody>
      <dsp:txXfrm>
        <a:off x="638744" y="1879893"/>
        <a:ext cx="946282" cy="9458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60B35E-461D-4DC7-8346-4DE7DCB0A6CB}">
      <dsp:nvSpPr>
        <dsp:cNvPr id="0" name=""/>
        <dsp:cNvSpPr/>
      </dsp:nvSpPr>
      <dsp:spPr>
        <a:xfrm>
          <a:off x="406400" y="423641"/>
          <a:ext cx="7315200" cy="6650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b" anchorCtr="0">
          <a:noAutofit/>
        </a:bodyPr>
        <a:lstStyle/>
        <a:p>
          <a:pPr marL="0" lvl="0" indent="0" algn="l" defTabSz="1333500">
            <a:lnSpc>
              <a:spcPct val="90000"/>
            </a:lnSpc>
            <a:spcBef>
              <a:spcPct val="0"/>
            </a:spcBef>
            <a:spcAft>
              <a:spcPct val="35000"/>
            </a:spcAft>
            <a:buNone/>
          </a:pPr>
          <a:r>
            <a:rPr lang="de-DE" sz="3000" kern="1200" dirty="0"/>
            <a:t>Channel Coding and modulation schemes</a:t>
          </a:r>
          <a:endParaRPr lang="en-US" sz="3000" kern="1200" dirty="0"/>
        </a:p>
      </dsp:txBody>
      <dsp:txXfrm>
        <a:off x="406400" y="423641"/>
        <a:ext cx="7315200" cy="665018"/>
      </dsp:txXfrm>
    </dsp:sp>
    <dsp:sp modelId="{EC7D663D-D973-4A2D-AB97-4DD4FA29ADA2}">
      <dsp:nvSpPr>
        <dsp:cNvPr id="0" name=""/>
        <dsp:cNvSpPr/>
      </dsp:nvSpPr>
      <dsp:spPr>
        <a:xfrm>
          <a:off x="406400"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D613C5-8583-4DB9-9006-388485C15C0B}">
      <dsp:nvSpPr>
        <dsp:cNvPr id="0" name=""/>
        <dsp:cNvSpPr/>
      </dsp:nvSpPr>
      <dsp:spPr>
        <a:xfrm>
          <a:off x="1438655"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962AF0-8201-4F1A-ADDC-4E27390A4502}">
      <dsp:nvSpPr>
        <dsp:cNvPr id="0" name=""/>
        <dsp:cNvSpPr/>
      </dsp:nvSpPr>
      <dsp:spPr>
        <a:xfrm>
          <a:off x="2470911"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F86B1A-ABF2-4C52-8172-C42064E52FBC}">
      <dsp:nvSpPr>
        <dsp:cNvPr id="0" name=""/>
        <dsp:cNvSpPr/>
      </dsp:nvSpPr>
      <dsp:spPr>
        <a:xfrm>
          <a:off x="3503168"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4CA30C-5AFF-4343-AECD-8F1AD5E4A0D3}">
      <dsp:nvSpPr>
        <dsp:cNvPr id="0" name=""/>
        <dsp:cNvSpPr/>
      </dsp:nvSpPr>
      <dsp:spPr>
        <a:xfrm>
          <a:off x="4535423"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FAE66B-661E-4A60-A8B3-AF070D350CAC}">
      <dsp:nvSpPr>
        <dsp:cNvPr id="0" name=""/>
        <dsp:cNvSpPr/>
      </dsp:nvSpPr>
      <dsp:spPr>
        <a:xfrm>
          <a:off x="5567680"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541625-9F88-4843-82BC-6EF00452B9E9}">
      <dsp:nvSpPr>
        <dsp:cNvPr id="0" name=""/>
        <dsp:cNvSpPr/>
      </dsp:nvSpPr>
      <dsp:spPr>
        <a:xfrm>
          <a:off x="6599936" y="1088659"/>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66F2EC-6EA8-4F02-9CA0-6389DF42B76D}">
      <dsp:nvSpPr>
        <dsp:cNvPr id="0" name=""/>
        <dsp:cNvSpPr/>
      </dsp:nvSpPr>
      <dsp:spPr>
        <a:xfrm>
          <a:off x="406400" y="1359592"/>
          <a:ext cx="7315200" cy="6650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b" anchorCtr="0">
          <a:noAutofit/>
        </a:bodyPr>
        <a:lstStyle/>
        <a:p>
          <a:pPr marL="0" lvl="0" indent="0" algn="l" defTabSz="1333500">
            <a:lnSpc>
              <a:spcPct val="90000"/>
            </a:lnSpc>
            <a:spcBef>
              <a:spcPct val="0"/>
            </a:spcBef>
            <a:spcAft>
              <a:spcPct val="35000"/>
            </a:spcAft>
            <a:buNone/>
          </a:pPr>
          <a:r>
            <a:rPr lang="de-DE" sz="3000" kern="1200" dirty="0"/>
            <a:t>Time Interleaving</a:t>
          </a:r>
        </a:p>
      </dsp:txBody>
      <dsp:txXfrm>
        <a:off x="406400" y="1359592"/>
        <a:ext cx="7315200" cy="665018"/>
      </dsp:txXfrm>
    </dsp:sp>
    <dsp:sp modelId="{BFC41845-D4FB-48E1-9D38-6D40263530D2}">
      <dsp:nvSpPr>
        <dsp:cNvPr id="0" name=""/>
        <dsp:cNvSpPr/>
      </dsp:nvSpPr>
      <dsp:spPr>
        <a:xfrm>
          <a:off x="406400"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919E5C-8CF0-46D6-8DA4-C9B0A6EA5565}">
      <dsp:nvSpPr>
        <dsp:cNvPr id="0" name=""/>
        <dsp:cNvSpPr/>
      </dsp:nvSpPr>
      <dsp:spPr>
        <a:xfrm>
          <a:off x="1438655"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F28FDC-FFCD-45E1-981A-CEEF25FA4CC4}">
      <dsp:nvSpPr>
        <dsp:cNvPr id="0" name=""/>
        <dsp:cNvSpPr/>
      </dsp:nvSpPr>
      <dsp:spPr>
        <a:xfrm>
          <a:off x="2470911"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D92AAB-5A57-4CD6-814B-D69F90C11A76}">
      <dsp:nvSpPr>
        <dsp:cNvPr id="0" name=""/>
        <dsp:cNvSpPr/>
      </dsp:nvSpPr>
      <dsp:spPr>
        <a:xfrm>
          <a:off x="3503168"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9D895B-686F-4EE3-B9FB-A5F225CCFF0A}">
      <dsp:nvSpPr>
        <dsp:cNvPr id="0" name=""/>
        <dsp:cNvSpPr/>
      </dsp:nvSpPr>
      <dsp:spPr>
        <a:xfrm>
          <a:off x="4535423"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55FCFE-91E3-47A0-AD36-9F2F7E49F608}">
      <dsp:nvSpPr>
        <dsp:cNvPr id="0" name=""/>
        <dsp:cNvSpPr/>
      </dsp:nvSpPr>
      <dsp:spPr>
        <a:xfrm>
          <a:off x="5567680"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F7FCA2-02DA-4750-A830-0AAEBCC30851}">
      <dsp:nvSpPr>
        <dsp:cNvPr id="0" name=""/>
        <dsp:cNvSpPr/>
      </dsp:nvSpPr>
      <dsp:spPr>
        <a:xfrm>
          <a:off x="6599936" y="2024611"/>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33D666-E2D3-4E9A-9A58-B333CBB8E84F}">
      <dsp:nvSpPr>
        <dsp:cNvPr id="0" name=""/>
        <dsp:cNvSpPr/>
      </dsp:nvSpPr>
      <dsp:spPr>
        <a:xfrm>
          <a:off x="406400" y="2295544"/>
          <a:ext cx="7315200" cy="6650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b" anchorCtr="0">
          <a:noAutofit/>
        </a:bodyPr>
        <a:lstStyle/>
        <a:p>
          <a:pPr marL="0" lvl="0" indent="0" algn="l" defTabSz="1333500">
            <a:lnSpc>
              <a:spcPct val="90000"/>
            </a:lnSpc>
            <a:spcBef>
              <a:spcPct val="0"/>
            </a:spcBef>
            <a:spcAft>
              <a:spcPct val="35000"/>
            </a:spcAft>
            <a:buNone/>
          </a:pPr>
          <a:r>
            <a:rPr lang="de-DE" sz="3000" kern="1200"/>
            <a:t>Frequency Interleaving</a:t>
          </a:r>
          <a:endParaRPr lang="de-DE" sz="3000" kern="1200" dirty="0"/>
        </a:p>
      </dsp:txBody>
      <dsp:txXfrm>
        <a:off x="406400" y="2295544"/>
        <a:ext cx="7315200" cy="665018"/>
      </dsp:txXfrm>
    </dsp:sp>
    <dsp:sp modelId="{27836411-E682-41EA-8907-3A0B8BA4E775}">
      <dsp:nvSpPr>
        <dsp:cNvPr id="0" name=""/>
        <dsp:cNvSpPr/>
      </dsp:nvSpPr>
      <dsp:spPr>
        <a:xfrm>
          <a:off x="406400"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849D9B-4181-4DB3-B111-0C775410F9B5}">
      <dsp:nvSpPr>
        <dsp:cNvPr id="0" name=""/>
        <dsp:cNvSpPr/>
      </dsp:nvSpPr>
      <dsp:spPr>
        <a:xfrm>
          <a:off x="1438655"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6F763C-7BDA-4CBD-AE71-FDF61FFA29A2}">
      <dsp:nvSpPr>
        <dsp:cNvPr id="0" name=""/>
        <dsp:cNvSpPr/>
      </dsp:nvSpPr>
      <dsp:spPr>
        <a:xfrm>
          <a:off x="2470911"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5A9F73-3484-4DA2-9A04-7A5F1290FB8F}">
      <dsp:nvSpPr>
        <dsp:cNvPr id="0" name=""/>
        <dsp:cNvSpPr/>
      </dsp:nvSpPr>
      <dsp:spPr>
        <a:xfrm>
          <a:off x="3503168"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13C6D80-3C6A-4EA1-9983-296133B03E37}">
      <dsp:nvSpPr>
        <dsp:cNvPr id="0" name=""/>
        <dsp:cNvSpPr/>
      </dsp:nvSpPr>
      <dsp:spPr>
        <a:xfrm>
          <a:off x="4535423"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CE88BD-BC06-4935-BB51-7C0FD5AB4FC1}">
      <dsp:nvSpPr>
        <dsp:cNvPr id="0" name=""/>
        <dsp:cNvSpPr/>
      </dsp:nvSpPr>
      <dsp:spPr>
        <a:xfrm>
          <a:off x="5567680"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8532A0-8B48-4300-980D-6C211F759280}">
      <dsp:nvSpPr>
        <dsp:cNvPr id="0" name=""/>
        <dsp:cNvSpPr/>
      </dsp:nvSpPr>
      <dsp:spPr>
        <a:xfrm>
          <a:off x="6599936" y="2960562"/>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05A80C-3EDF-4A04-9EFD-E9E1AC8F8EC3}">
      <dsp:nvSpPr>
        <dsp:cNvPr id="0" name=""/>
        <dsp:cNvSpPr/>
      </dsp:nvSpPr>
      <dsp:spPr>
        <a:xfrm>
          <a:off x="406400" y="3231495"/>
          <a:ext cx="7315200" cy="6650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b" anchorCtr="0">
          <a:noAutofit/>
        </a:bodyPr>
        <a:lstStyle/>
        <a:p>
          <a:pPr marL="0" lvl="0" indent="0" algn="l" defTabSz="1333500">
            <a:lnSpc>
              <a:spcPct val="90000"/>
            </a:lnSpc>
            <a:spcBef>
              <a:spcPct val="0"/>
            </a:spcBef>
            <a:spcAft>
              <a:spcPct val="35000"/>
            </a:spcAft>
            <a:buNone/>
          </a:pPr>
          <a:r>
            <a:rPr lang="de-DE" sz="3000" kern="1200"/>
            <a:t>Antenna Configuration</a:t>
          </a:r>
          <a:endParaRPr lang="de-DE" sz="3000" kern="1200" dirty="0"/>
        </a:p>
      </dsp:txBody>
      <dsp:txXfrm>
        <a:off x="406400" y="3231495"/>
        <a:ext cx="7315200" cy="665018"/>
      </dsp:txXfrm>
    </dsp:sp>
    <dsp:sp modelId="{D4275104-27C4-482C-8C14-58C79A3C041B}">
      <dsp:nvSpPr>
        <dsp:cNvPr id="0" name=""/>
        <dsp:cNvSpPr/>
      </dsp:nvSpPr>
      <dsp:spPr>
        <a:xfrm>
          <a:off x="406400"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E20AE3-FC69-4B43-A425-8746B6911A96}">
      <dsp:nvSpPr>
        <dsp:cNvPr id="0" name=""/>
        <dsp:cNvSpPr/>
      </dsp:nvSpPr>
      <dsp:spPr>
        <a:xfrm>
          <a:off x="1438655"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48ACE2-008C-4CA8-BBC6-C6FC300DF69C}">
      <dsp:nvSpPr>
        <dsp:cNvPr id="0" name=""/>
        <dsp:cNvSpPr/>
      </dsp:nvSpPr>
      <dsp:spPr>
        <a:xfrm>
          <a:off x="2470911"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FBF66D-A389-4ACE-8BDA-DB192656B2B5}">
      <dsp:nvSpPr>
        <dsp:cNvPr id="0" name=""/>
        <dsp:cNvSpPr/>
      </dsp:nvSpPr>
      <dsp:spPr>
        <a:xfrm>
          <a:off x="3503168"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B1417E-4770-4462-98CD-AC60E75086A9}">
      <dsp:nvSpPr>
        <dsp:cNvPr id="0" name=""/>
        <dsp:cNvSpPr/>
      </dsp:nvSpPr>
      <dsp:spPr>
        <a:xfrm>
          <a:off x="4535423"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4512DD-FFA8-4E9B-879B-3C25D8841E0D}">
      <dsp:nvSpPr>
        <dsp:cNvPr id="0" name=""/>
        <dsp:cNvSpPr/>
      </dsp:nvSpPr>
      <dsp:spPr>
        <a:xfrm>
          <a:off x="5567680"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15CE57-033B-4182-85D2-E62F8F896AEA}">
      <dsp:nvSpPr>
        <dsp:cNvPr id="0" name=""/>
        <dsp:cNvSpPr/>
      </dsp:nvSpPr>
      <dsp:spPr>
        <a:xfrm>
          <a:off x="6599936" y="3896514"/>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83EC92-CBF3-4D0F-8BBC-132C2AD4274C}">
      <dsp:nvSpPr>
        <dsp:cNvPr id="0" name=""/>
        <dsp:cNvSpPr/>
      </dsp:nvSpPr>
      <dsp:spPr>
        <a:xfrm>
          <a:off x="406400" y="4167447"/>
          <a:ext cx="7315200" cy="6650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b" anchorCtr="0">
          <a:noAutofit/>
        </a:bodyPr>
        <a:lstStyle/>
        <a:p>
          <a:pPr marL="0" lvl="0" indent="0" algn="l" defTabSz="1333500">
            <a:lnSpc>
              <a:spcPct val="90000"/>
            </a:lnSpc>
            <a:spcBef>
              <a:spcPct val="0"/>
            </a:spcBef>
            <a:spcAft>
              <a:spcPct val="35000"/>
            </a:spcAft>
            <a:buNone/>
          </a:pPr>
          <a:r>
            <a:rPr lang="en-US" sz="3000" kern="1200"/>
            <a:t>Receiver requirements</a:t>
          </a:r>
          <a:endParaRPr lang="en-US" sz="3000" kern="1200" dirty="0"/>
        </a:p>
      </dsp:txBody>
      <dsp:txXfrm>
        <a:off x="406400" y="4167447"/>
        <a:ext cx="7315200" cy="665018"/>
      </dsp:txXfrm>
    </dsp:sp>
    <dsp:sp modelId="{3D0BD696-1BED-4741-8235-2BE922A56AA1}">
      <dsp:nvSpPr>
        <dsp:cNvPr id="0" name=""/>
        <dsp:cNvSpPr/>
      </dsp:nvSpPr>
      <dsp:spPr>
        <a:xfrm>
          <a:off x="406400"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9B30AD-63DD-4A5C-9DFC-1516A07792D1}">
      <dsp:nvSpPr>
        <dsp:cNvPr id="0" name=""/>
        <dsp:cNvSpPr/>
      </dsp:nvSpPr>
      <dsp:spPr>
        <a:xfrm>
          <a:off x="1438655"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30C2F8-7990-4A57-AE84-F5F0D2B386CA}">
      <dsp:nvSpPr>
        <dsp:cNvPr id="0" name=""/>
        <dsp:cNvSpPr/>
      </dsp:nvSpPr>
      <dsp:spPr>
        <a:xfrm>
          <a:off x="2470911"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4075C1-6F4C-4885-8EE0-D77DD7E39FEE}">
      <dsp:nvSpPr>
        <dsp:cNvPr id="0" name=""/>
        <dsp:cNvSpPr/>
      </dsp:nvSpPr>
      <dsp:spPr>
        <a:xfrm>
          <a:off x="3503168"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0E2FB-D3A4-451A-B89D-B3FEFEE56AB3}">
      <dsp:nvSpPr>
        <dsp:cNvPr id="0" name=""/>
        <dsp:cNvSpPr/>
      </dsp:nvSpPr>
      <dsp:spPr>
        <a:xfrm>
          <a:off x="4535423"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1B7FA5-619E-4DF7-B687-5079B73E0E2B}">
      <dsp:nvSpPr>
        <dsp:cNvPr id="0" name=""/>
        <dsp:cNvSpPr/>
      </dsp:nvSpPr>
      <dsp:spPr>
        <a:xfrm>
          <a:off x="5567680"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B464A7-16BD-4953-9430-6FAE44D66A74}">
      <dsp:nvSpPr>
        <dsp:cNvPr id="0" name=""/>
        <dsp:cNvSpPr/>
      </dsp:nvSpPr>
      <dsp:spPr>
        <a:xfrm>
          <a:off x="6599936" y="4832465"/>
          <a:ext cx="975360" cy="162560"/>
        </a:xfrm>
        <a:prstGeom prst="parallelogram">
          <a:avLst>
            <a:gd name="adj" fmla="val 14084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CBDC07-598A-4C56-BAF8-8AE4837B086A}">
      <dsp:nvSpPr>
        <dsp:cNvPr id="0" name=""/>
        <dsp:cNvSpPr/>
      </dsp:nvSpPr>
      <dsp:spPr>
        <a:xfrm>
          <a:off x="0" y="571"/>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FA4A72-A277-4170-A39E-1B924B30FD2E}">
      <dsp:nvSpPr>
        <dsp:cNvPr id="0" name=""/>
        <dsp:cNvSpPr/>
      </dsp:nvSpPr>
      <dsp:spPr>
        <a:xfrm>
          <a:off x="404536" y="301466"/>
          <a:ext cx="735520" cy="7355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0FD0E2C-7423-4379-A45D-77127BB0F9DF}">
      <dsp:nvSpPr>
        <dsp:cNvPr id="0" name=""/>
        <dsp:cNvSpPr/>
      </dsp:nvSpPr>
      <dsp:spPr>
        <a:xfrm>
          <a:off x="1544592" y="571"/>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baseline="0" dirty="0"/>
            <a:t>5G is a platform for Broadcasters and Content Providers with features including 5G broadcast, Public Warning and many others</a:t>
          </a:r>
          <a:endParaRPr lang="en-US" sz="2500" kern="1200" dirty="0"/>
        </a:p>
      </dsp:txBody>
      <dsp:txXfrm>
        <a:off x="1544592" y="571"/>
        <a:ext cx="9642519" cy="1337309"/>
      </dsp:txXfrm>
    </dsp:sp>
    <dsp:sp modelId="{D732F6AA-A7A1-47AE-BD1F-D9F2A43CEB91}">
      <dsp:nvSpPr>
        <dsp:cNvPr id="0" name=""/>
        <dsp:cNvSpPr/>
      </dsp:nvSpPr>
      <dsp:spPr>
        <a:xfrm>
          <a:off x="0" y="1672208"/>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1AD073-AEF7-44B4-96B1-574FF779DC64}">
      <dsp:nvSpPr>
        <dsp:cNvPr id="0" name=""/>
        <dsp:cNvSpPr/>
      </dsp:nvSpPr>
      <dsp:spPr>
        <a:xfrm>
          <a:off x="404536" y="1973103"/>
          <a:ext cx="735520" cy="7355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ACA96B-EBC2-4B6C-85BD-FBB117650934}">
      <dsp:nvSpPr>
        <dsp:cNvPr id="0" name=""/>
        <dsp:cNvSpPr/>
      </dsp:nvSpPr>
      <dsp:spPr>
        <a:xfrm>
          <a:off x="1544592" y="1672208"/>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baseline="0" dirty="0"/>
            <a:t>3GPP Standards are </a:t>
          </a:r>
          <a:r>
            <a:rPr lang="de-DE" sz="2500" b="1" kern="1200" baseline="0" dirty="0">
              <a:solidFill>
                <a:schemeClr val="bg2"/>
              </a:solidFill>
            </a:rPr>
            <a:t>global</a:t>
          </a:r>
          <a:r>
            <a:rPr lang="de-DE" sz="2500" kern="1200" baseline="0" dirty="0"/>
            <a:t> and address billions of devices – from smart phones to many more verticals (automotive, IOT, etc.)</a:t>
          </a:r>
          <a:endParaRPr lang="en-US" sz="2500" kern="1200" dirty="0"/>
        </a:p>
      </dsp:txBody>
      <dsp:txXfrm>
        <a:off x="1544592" y="1672208"/>
        <a:ext cx="9642519" cy="1337309"/>
      </dsp:txXfrm>
    </dsp:sp>
    <dsp:sp modelId="{61E6B675-7331-423C-810C-59147D5B3826}">
      <dsp:nvSpPr>
        <dsp:cNvPr id="0" name=""/>
        <dsp:cNvSpPr/>
      </dsp:nvSpPr>
      <dsp:spPr>
        <a:xfrm>
          <a:off x="0" y="3344417"/>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934A37-879F-43D7-9F01-B89735D19964}">
      <dsp:nvSpPr>
        <dsp:cNvPr id="0" name=""/>
        <dsp:cNvSpPr/>
      </dsp:nvSpPr>
      <dsp:spPr>
        <a:xfrm>
          <a:off x="404536" y="3644740"/>
          <a:ext cx="735520" cy="7355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7E8CF29-D3B5-44E4-8993-54AED8467FDE}">
      <dsp:nvSpPr>
        <dsp:cNvPr id="0" name=""/>
        <dsp:cNvSpPr/>
      </dsp:nvSpPr>
      <dsp:spPr>
        <a:xfrm>
          <a:off x="1544592" y="3343845"/>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baseline="0" dirty="0"/>
            <a:t>Qualcomm contributes, supports and drives open systems through technologies, standards and reference tools</a:t>
          </a:r>
          <a:endParaRPr lang="en-US" sz="2500" kern="1200" dirty="0"/>
        </a:p>
      </dsp:txBody>
      <dsp:txXfrm>
        <a:off x="1544592" y="3343845"/>
        <a:ext cx="9642519" cy="1337309"/>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8.224"/>
    </inkml:context>
    <inkml:brush xml:id="br0">
      <inkml:brushProperty name="width" value="0.02" units="cm"/>
      <inkml:brushProperty name="height" value="0.02" units="cm"/>
    </inkml:brush>
  </inkml:definitions>
  <inkml:trace contextRef="#ctx0" brushRef="#br0">40954 27798 13713 0 0,'-12'12'7037'0'0,"12"-12"-5673"0"0,0 0-1364 0 0,-12 0-500 0 0,12 0 52 0 0,0 0-392 0 0,0 0-1448 0 0,12 0-3713 0 0,-12 0-2524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9.213"/>
    </inkml:context>
    <inkml:brush xml:id="br0">
      <inkml:brushProperty name="width" value="0.02" units="cm"/>
      <inkml:brushProperty name="height" value="0.02" units="cm"/>
    </inkml:brush>
  </inkml:definitions>
  <inkml:trace contextRef="#ctx0" brushRef="#br0">40974 27429 5961 0 0,'-12'0'6496'0'0,"12"0"-4572"0"0,0 0-1128 0 0,-13 0-608 0 0,13 0-188 0 0,0 0-88 0 0,0 0-380 0 0,0 0-1028 0 0,0 0-1068 0 0,0 0-556 0 0,0 0-973 0 0,13 0 182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8.224"/>
    </inkml:context>
    <inkml:brush xml:id="br0">
      <inkml:brushProperty name="width" value="0.02" units="cm"/>
      <inkml:brushProperty name="height" value="0.02" units="cm"/>
    </inkml:brush>
  </inkml:definitions>
  <inkml:trace contextRef="#ctx0" brushRef="#br0">40954 27798 13713 0 0,'-12'12'7037'0'0,"12"-12"-5673"0"0,0 0-1364 0 0,-12 0-500 0 0,12 0 52 0 0,0 0-392 0 0,0 0-1448 0 0,12 0-3713 0 0,-12 0-2524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9.213"/>
    </inkml:context>
    <inkml:brush xml:id="br0">
      <inkml:brushProperty name="width" value="0.02" units="cm"/>
      <inkml:brushProperty name="height" value="0.02" units="cm"/>
    </inkml:brush>
  </inkml:definitions>
  <inkml:trace contextRef="#ctx0" brushRef="#br0">40974 27429 5961 0 0,'-12'0'6496'0'0,"12"0"-4572"0"0,0 0-1128 0 0,-13 0-608 0 0,13 0-188 0 0,0 0-88 0 0,0 0-380 0 0,0 0-1028 0 0,0 0-1068 0 0,0 0-556 0 0,0 0-973 0 0,13 0 1821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BB0B3-964C-4CDE-9D3D-0BF955B8C425}" type="slidenum">
              <a:rPr kumimoji="0" lang="en-US"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88615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t>Qualcomm Technologies, Inc.</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72DE84-53E6-4A15-B2E3-13D2185F4527}" type="slidenum">
              <a:rPr kumimoji="0" lang="en-US"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3915627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de-DE"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3847625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t>Qualcomm Technologies, Inc.</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72DE84-53E6-4A15-B2E3-13D2185F4527}" type="slidenum">
              <a:rPr kumimoji="0" lang="en-US"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2647459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66</a:t>
            </a:fld>
            <a:endParaRPr lang="de-DE"/>
          </a:p>
        </p:txBody>
      </p:sp>
    </p:spTree>
    <p:extLst>
      <p:ext uri="{BB962C8B-B14F-4D97-AF65-F5344CB8AC3E}">
        <p14:creationId xmlns:p14="http://schemas.microsoft.com/office/powerpoint/2010/main" val="1656405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BB0B3-964C-4CDE-9D3D-0BF955B8C425}" type="slidenum">
              <a:rPr kumimoji="0" lang="en-US"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45830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srgbClr val="0E2C3A"/>
              </a:solidFill>
              <a:effectLst/>
              <a:uLnTx/>
              <a:uFillTx/>
              <a:latin typeface="Microsoft Sans Serif"/>
              <a:ea typeface="+mn-ea"/>
              <a:cs typeface="+mn-cs"/>
            </a:endParaRPr>
          </a:p>
        </p:txBody>
      </p:sp>
    </p:spTree>
    <p:extLst>
      <p:ext uri="{BB962C8B-B14F-4D97-AF65-F5344CB8AC3E}">
        <p14:creationId xmlns:p14="http://schemas.microsoft.com/office/powerpoint/2010/main" val="1172328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75E7E4-6857-4F03-A780-9887AA86825E}" type="slidenum">
              <a:rPr lang="de-DE" smtClean="0"/>
              <a:t>7</a:t>
            </a:fld>
            <a:endParaRPr lang="de-DE"/>
          </a:p>
        </p:txBody>
      </p:sp>
    </p:spTree>
    <p:extLst>
      <p:ext uri="{BB962C8B-B14F-4D97-AF65-F5344CB8AC3E}">
        <p14:creationId xmlns:p14="http://schemas.microsoft.com/office/powerpoint/2010/main" val="42128304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9</a:t>
            </a:fld>
            <a:endParaRPr lang="de-DE"/>
          </a:p>
        </p:txBody>
      </p:sp>
    </p:spTree>
    <p:extLst>
      <p:ext uri="{BB962C8B-B14F-4D97-AF65-F5344CB8AC3E}">
        <p14:creationId xmlns:p14="http://schemas.microsoft.com/office/powerpoint/2010/main" val="1661376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1200" b="0" i="0" u="none" strike="noStrike" kern="1200" cap="none" spc="0" normalizeH="0" baseline="0" noProof="0" smtClean="0">
                <a:ln>
                  <a:noFill/>
                </a:ln>
                <a:solidFill>
                  <a:srgbClr val="0E2C3A"/>
                </a:solidFill>
                <a:effectLst/>
                <a:uLnTx/>
                <a:uFillTx/>
                <a:latin typeface="Qualcomm Next" pitchFamily="50"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srgbClr val="0E2C3A"/>
              </a:solidFill>
              <a:effectLst/>
              <a:uLnTx/>
              <a:uFillTx/>
              <a:latin typeface="Qualcomm Next" pitchFamily="50" charset="0"/>
              <a:ea typeface="+mn-ea"/>
              <a:cs typeface="Microsoft Sans Serif" panose="020B0604020202020204" pitchFamily="34" charset="0"/>
            </a:endParaRPr>
          </a:p>
        </p:txBody>
      </p:sp>
    </p:spTree>
    <p:extLst>
      <p:ext uri="{BB962C8B-B14F-4D97-AF65-F5344CB8AC3E}">
        <p14:creationId xmlns:p14="http://schemas.microsoft.com/office/powerpoint/2010/main" val="346917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t>Qualcomm Technologies, Inc.</a:t>
            </a:r>
            <a:endParaRPr kumimoji="0" lang="en-US" sz="800" b="0" i="0" u="none" strike="noStrike" kern="1200" cap="none" spc="0" normalizeH="0" baseline="0" noProof="0" dirty="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72DE84-53E6-4A15-B2E3-13D2185F4527}" type="slidenum">
              <a:rPr kumimoji="0" lang="en-US"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2274242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t>Qualcomm Technologies, Inc.</a:t>
            </a:r>
            <a:endParaRPr kumimoji="0" lang="en-US" sz="800" b="0" i="0" u="none" strike="noStrike" kern="1200" cap="none" spc="0" normalizeH="0" baseline="0" noProof="0" dirty="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72DE84-53E6-4A15-B2E3-13D2185F4527}" type="slidenum">
              <a:rPr kumimoji="0" lang="en-US" sz="800" b="0" i="0" u="none" strike="noStrike" kern="1200" cap="none" spc="0" normalizeH="0" baseline="0" noProof="0" smtClean="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000000">
                  <a:lumMod val="50000"/>
                  <a:lumOff val="50000"/>
                </a:srgb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1340562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7</a:t>
            </a:fld>
            <a:endParaRPr lang="en-US"/>
          </a:p>
        </p:txBody>
      </p:sp>
    </p:spTree>
    <p:extLst>
      <p:ext uri="{BB962C8B-B14F-4D97-AF65-F5344CB8AC3E}">
        <p14:creationId xmlns:p14="http://schemas.microsoft.com/office/powerpoint/2010/main" val="2333546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5.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5.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5.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15.xml"/><Relationship Id="rId5" Type="http://schemas.openxmlformats.org/officeDocument/2006/relationships/image" Target="../media/image21.svg"/><Relationship Id="rId4" Type="http://schemas.openxmlformats.org/officeDocument/2006/relationships/image" Target="../media/image18.png"/></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15.xml"/><Relationship Id="rId5" Type="http://schemas.openxmlformats.org/officeDocument/2006/relationships/image" Target="../media/image21.svg"/><Relationship Id="rId4" Type="http://schemas.openxmlformats.org/officeDocument/2006/relationships/image" Target="../media/image18.png"/></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1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2.svg"/></Relationships>
</file>

<file path=ppt/slideLayouts/_rels/slideLayout12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1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2.svg"/></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6.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6.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6.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3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6.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3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16.xml"/><Relationship Id="rId5" Type="http://schemas.openxmlformats.org/officeDocument/2006/relationships/image" Target="../media/image21.svg"/><Relationship Id="rId4" Type="http://schemas.openxmlformats.org/officeDocument/2006/relationships/image" Target="../media/image18.png"/></Relationships>
</file>

<file path=ppt/slideLayouts/_rels/slideLayout13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Master" Target="../slideMasters/slideMaster16.xml"/><Relationship Id="rId5" Type="http://schemas.openxmlformats.org/officeDocument/2006/relationships/image" Target="../media/image21.svg"/><Relationship Id="rId4" Type="http://schemas.openxmlformats.org/officeDocument/2006/relationships/image" Target="../media/image18.png"/></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6.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6.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4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16.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2.svg"/></Relationships>
</file>

<file path=ppt/slideLayouts/_rels/slideLayout14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16.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2.svg"/></Relationships>
</file>

<file path=ppt/slideLayouts/_rels/slideLayout14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Master" Target="../slideMasters/slideMaster1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0.svg"/></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3.xml"/><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customXml" Target="../ink/ink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9192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98283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0970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13175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1186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29246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50044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9858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9333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endParaRPr lang="en-US" dirty="0"/>
          </a:p>
        </p:txBody>
      </p:sp>
    </p:spTree>
    <p:extLst>
      <p:ext uri="{BB962C8B-B14F-4D97-AF65-F5344CB8AC3E}">
        <p14:creationId xmlns:p14="http://schemas.microsoft.com/office/powerpoint/2010/main" val="187147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6670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344872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6607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endParaRPr lang="en-US" dirty="0"/>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3904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27097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9795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endParaRPr lang="en-US" dirty="0"/>
          </a:p>
        </p:txBody>
      </p:sp>
    </p:spTree>
    <p:extLst>
      <p:ext uri="{BB962C8B-B14F-4D97-AF65-F5344CB8AC3E}">
        <p14:creationId xmlns:p14="http://schemas.microsoft.com/office/powerpoint/2010/main" val="178493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030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0747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endParaRPr lang="en-US" dirty="0"/>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213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endParaRPr lang="en-US" dirty="0"/>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6345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endParaRPr lang="en-US" dirty="0"/>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6910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07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endParaRPr lang="en-US" dirty="0"/>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84222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45362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632543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63456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63609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361891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19117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3307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139400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dirty="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2433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1455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dirty="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dirty="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1530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dirty="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4575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dirty="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endParaRPr lang="en-US" dirty="0"/>
          </a:p>
        </p:txBody>
      </p:sp>
    </p:spTree>
    <p:extLst>
      <p:ext uri="{BB962C8B-B14F-4D97-AF65-F5344CB8AC3E}">
        <p14:creationId xmlns:p14="http://schemas.microsoft.com/office/powerpoint/2010/main" val="49876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dirty="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10484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dirty="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41736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21891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5690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36835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dirty="0">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95927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16413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942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6656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1.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23091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2.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78375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7321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chemeClr val="tx2"/>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7814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8131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dirty="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dirty="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9199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7.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2266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userDrawn="1">
  <p:cSld name="Light Blue_Blank">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t>IBC 2023</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28518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IBC 2023</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325824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366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0.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Tree>
    <p:extLst>
      <p:ext uri="{BB962C8B-B14F-4D97-AF65-F5344CB8AC3E}">
        <p14:creationId xmlns:p14="http://schemas.microsoft.com/office/powerpoint/2010/main" val="312572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051.xml><?xml version="1.0" encoding="utf-8"?>
<p:sldLayout xmlns:a="http://schemas.openxmlformats.org/drawingml/2006/main" xmlns:r="http://schemas.openxmlformats.org/officeDocument/2006/relationships" xmlns:p="http://schemas.openxmlformats.org/presentationml/2006/main" userDrawn="1">
  <p:cSld name="Shelf Midnight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58711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2.xml><?xml version="1.0" encoding="utf-8"?>
<p:sldLayout xmlns:a="http://schemas.openxmlformats.org/drawingml/2006/main" xmlns:r="http://schemas.openxmlformats.org/officeDocument/2006/relationships" xmlns:p="http://schemas.openxmlformats.org/presentationml/2006/main" showMasterSp="0">
  <p:cSld name="Abschnitts-&#10;überschrift">
    <p:spTree>
      <p:nvGrpSpPr>
        <p:cNvPr id="1" name=""/>
        <p:cNvGrpSpPr/>
        <p:nvPr/>
      </p:nvGrpSpPr>
      <p:grpSpPr>
        <a:xfrm>
          <a:off x="0" y="0"/>
          <a:ext cx="0" cy="0"/>
          <a:chOff x="0" y="0"/>
          <a:chExt cx="0" cy="0"/>
        </a:xfrm>
      </p:grpSpPr>
      <p:sp>
        <p:nvSpPr>
          <p:cNvPr id="5" name="Bildplatzhalter 1">
            <a:extLst>
              <a:ext uri="{FF2B5EF4-FFF2-40B4-BE49-F238E27FC236}">
                <a16:creationId xmlns:a16="http://schemas.microsoft.com/office/drawing/2014/main" id="{3A8C094D-2D0E-47CC-A990-E35B829AB4AA}"/>
              </a:ext>
            </a:extLst>
          </p:cNvPr>
          <p:cNvSpPr>
            <a:spLocks noGrp="1"/>
          </p:cNvSpPr>
          <p:nvPr>
            <p:ph type="pic" sz="quarter" idx="2" hasCustomPrompt="1"/>
          </p:nvPr>
        </p:nvSpPr>
        <p:spPr>
          <a:xfrm>
            <a:off x="0" y="0"/>
            <a:ext cx="12192000" cy="6858000"/>
          </a:xfrm>
        </p:spPr>
        <p:txBody>
          <a:bodyPr anchor="t"/>
          <a:lstStyle>
            <a:lvl1pPr marL="0" indent="0" algn="ctr">
              <a:buNone/>
              <a:defRPr/>
            </a:lvl1pPr>
          </a:lstStyle>
          <a:p>
            <a:br>
              <a:rPr lang="de-DE" dirty="0"/>
            </a:br>
            <a:br>
              <a:rPr lang="de-DE" dirty="0"/>
            </a:br>
            <a:br>
              <a:rPr lang="de-DE" dirty="0"/>
            </a:br>
            <a:br>
              <a:rPr lang="de-DE" dirty="0"/>
            </a:br>
            <a:br>
              <a:rPr lang="de-DE" dirty="0"/>
            </a:br>
            <a:r>
              <a:rPr lang="de-DE" dirty="0"/>
              <a:t>Bild durch Klicken auf das Symbol hinzufügen</a:t>
            </a:r>
            <a:br>
              <a:rPr lang="de-DE" dirty="0"/>
            </a:br>
            <a:r>
              <a:rPr lang="de-DE" dirty="0"/>
              <a:t>Bitte folgenden Sie der Verknüpfung in Ihrem Bilderverzeichnis,</a:t>
            </a:r>
            <a:br>
              <a:rPr lang="de-DE" dirty="0"/>
            </a:br>
            <a:r>
              <a:rPr lang="de-DE" dirty="0"/>
              <a:t>nutzen Sie nur lizenzierte Bilder</a:t>
            </a:r>
          </a:p>
        </p:txBody>
      </p:sp>
      <p:sp>
        <p:nvSpPr>
          <p:cNvPr id="7" name="Titel 1"/>
          <p:cNvSpPr>
            <a:spLocks noGrp="1" noMove="1" noResize="1"/>
          </p:cNvSpPr>
          <p:nvPr>
            <p:ph type="title" hasCustomPrompt="1"/>
          </p:nvPr>
        </p:nvSpPr>
        <p:spPr>
          <a:xfrm>
            <a:off x="480000" y="4704000"/>
            <a:ext cx="11328000" cy="1972766"/>
          </a:xfrm>
          <a:blipFill>
            <a:blip r:embed="rId2"/>
            <a:stretch>
              <a:fillRect/>
            </a:stretch>
          </a:blipFill>
        </p:spPr>
        <p:txBody>
          <a:bodyPr lIns="144000" tIns="360000" rIns="144000" bIns="288000" anchor="t"/>
          <a:lstStyle>
            <a:lvl1pPr>
              <a:defRPr>
                <a:solidFill>
                  <a:schemeClr val="bg1"/>
                </a:solidFill>
              </a:defRPr>
            </a:lvl1pPr>
          </a:lstStyle>
          <a:p>
            <a:r>
              <a:rPr lang="de-DE" dirty="0"/>
              <a:t>Zwischentitel (27 pt, max. 2-zeilig)</a:t>
            </a:r>
            <a:br>
              <a:rPr lang="de-DE" dirty="0"/>
            </a:br>
            <a:r>
              <a:rPr lang="de-DE" dirty="0"/>
              <a:t>- Ändern Sie die Größe des Platzhaltes NICHT! -</a:t>
            </a:r>
            <a:br>
              <a:rPr lang="de-DE" dirty="0"/>
            </a:br>
            <a:endParaRPr lang="de-DE" dirty="0"/>
          </a:p>
        </p:txBody>
      </p:sp>
      <p:sp>
        <p:nvSpPr>
          <p:cNvPr id="20" name="Marktsegment 1">
            <a:extLst>
              <a:ext uri="{FF2B5EF4-FFF2-40B4-BE49-F238E27FC236}">
                <a16:creationId xmlns:a16="http://schemas.microsoft.com/office/drawing/2014/main" id="{3DC57BFA-5ECC-427D-BB61-A54DE82484AA}"/>
              </a:ext>
            </a:extLst>
          </p:cNvPr>
          <p:cNvSpPr>
            <a:spLocks noGrp="1"/>
          </p:cNvSpPr>
          <p:nvPr>
            <p:ph type="body" sz="quarter" idx="9" hasCustomPrompt="1"/>
          </p:nvPr>
        </p:nvSpPr>
        <p:spPr>
          <a:xfrm>
            <a:off x="480000" y="4872000"/>
            <a:ext cx="4224000" cy="273600"/>
          </a:xfrm>
        </p:spPr>
        <p:txBody>
          <a:bodyPr wrap="none" lIns="144000">
            <a:noAutofit/>
          </a:bodyPr>
          <a:lstStyle>
            <a:lvl1pPr marL="0" indent="0">
              <a:buNone/>
              <a:defRPr sz="1733" spc="107" baseline="0">
                <a:solidFill>
                  <a:schemeClr val="tx2"/>
                </a:solidFill>
                <a:latin typeface="+mj-lt"/>
              </a:defRPr>
            </a:lvl1pPr>
            <a:lvl2pPr marL="0" indent="0">
              <a:buNone/>
              <a:defRPr>
                <a:solidFill>
                  <a:schemeClr val="tx2"/>
                </a:solidFill>
              </a:defRPr>
            </a:lvl2pPr>
            <a:lvl3pPr marL="0" indent="0">
              <a:buNone/>
              <a:defRPr>
                <a:solidFill>
                  <a:schemeClr val="tx2"/>
                </a:solidFill>
              </a:defRPr>
            </a:lvl3pPr>
            <a:lvl4pPr marL="0" indent="0">
              <a:buNone/>
              <a:defRPr>
                <a:solidFill>
                  <a:schemeClr val="tx2"/>
                </a:solidFill>
              </a:defRPr>
            </a:lvl4pPr>
            <a:lvl5pPr marL="0" indent="0">
              <a:buNone/>
              <a:defRPr>
                <a:solidFill>
                  <a:schemeClr val="tx2"/>
                </a:solidFill>
              </a:defRPr>
            </a:lvl5pPr>
          </a:lstStyle>
          <a:p>
            <a:pPr lvl="0"/>
            <a:r>
              <a:rPr lang="de-DE" dirty="0"/>
              <a:t>Text 13 pt, z.B. Marktsegmentbezeichnung</a:t>
            </a:r>
          </a:p>
        </p:txBody>
      </p:sp>
    </p:spTree>
    <p:extLst>
      <p:ext uri="{BB962C8B-B14F-4D97-AF65-F5344CB8AC3E}">
        <p14:creationId xmlns:p14="http://schemas.microsoft.com/office/powerpoint/2010/main" val="336581255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nn-NO"/>
              <a:t>IBC 2023</a:t>
            </a:r>
            <a:endParaRPr lang="en-US"/>
          </a:p>
        </p:txBody>
      </p:sp>
    </p:spTree>
    <p:extLst>
      <p:ext uri="{BB962C8B-B14F-4D97-AF65-F5344CB8AC3E}">
        <p14:creationId xmlns:p14="http://schemas.microsoft.com/office/powerpoint/2010/main" val="188368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79904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1487330"/>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endParaRPr lang="en-US" dirty="0"/>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0811970"/>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Off-White_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dirty="0">
              <a:ln>
                <a:noFill/>
              </a:ln>
              <a:solidFill>
                <a:srgbClr val="4A5A75">
                  <a:lumMod val="60000"/>
                  <a:lumOff val="40000"/>
                </a:srgbClr>
              </a:solidFill>
              <a:effectLst/>
              <a:uLnTx/>
              <a:uFillTx/>
              <a:latin typeface="Microsoft Sans Serif"/>
              <a:ea typeface="+mn-ea"/>
              <a:cs typeface="+mn-cs"/>
            </a:endParaRPr>
          </a:p>
        </p:txBody>
      </p:sp>
      <p:sp>
        <p:nvSpPr>
          <p:cNvPr id="5" name="Title 3">
            <a:extLst>
              <a:ext uri="{FF2B5EF4-FFF2-40B4-BE49-F238E27FC236}">
                <a16:creationId xmlns:a16="http://schemas.microsoft.com/office/drawing/2014/main" id="{4B5845B0-2784-4142-BE67-A2438DF860FB}"/>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18888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262466" y="1073889"/>
            <a:ext cx="11773799" cy="5130063"/>
          </a:xfrm>
          <a:prstGeom prst="rect">
            <a:avLst/>
          </a:prstGeom>
        </p:spPr>
        <p:txBody>
          <a:bodyPr>
            <a:normAutofit/>
          </a:bodyPr>
          <a:lstStyle>
            <a:lvl1pPr marL="342891" indent="-342891">
              <a:buClr>
                <a:srgbClr val="00A0D2"/>
              </a:buClr>
              <a:buFont typeface="Wingdings" panose="05000000000000000000" pitchFamily="2" charset="2"/>
              <a:buChar char="§"/>
              <a:defRPr sz="2667">
                <a:latin typeface="Poppins ExtraLight" panose="00000300000000000000" pitchFamily="2" charset="0"/>
                <a:cs typeface="Poppins ExtraLight" panose="00000300000000000000" pitchFamily="2" charset="0"/>
              </a:defRPr>
            </a:lvl1pPr>
            <a:lvl2pPr marL="685783" indent="-182875">
              <a:buClr>
                <a:srgbClr val="00A0D2"/>
              </a:buClr>
              <a:buFont typeface="Wingdings" panose="05000000000000000000" pitchFamily="2" charset="2"/>
              <a:buChar char="§"/>
              <a:defRPr sz="2667">
                <a:latin typeface="Poppins ExtraLight" panose="00000300000000000000" pitchFamily="2" charset="0"/>
                <a:cs typeface="Poppins ExtraLight" panose="00000300000000000000" pitchFamily="2" charset="0"/>
              </a:defRPr>
            </a:lvl2pPr>
            <a:lvl3pPr marL="1142971" indent="-182875">
              <a:buClr>
                <a:srgbClr val="00A0D2"/>
              </a:buClr>
              <a:buFont typeface="Wingdings" panose="05000000000000000000" pitchFamily="2" charset="2"/>
              <a:buChar char="§"/>
              <a:defRPr sz="2133">
                <a:latin typeface="Poppins ExtraLight" panose="00000300000000000000" pitchFamily="2" charset="0"/>
                <a:cs typeface="Poppins ExtraLight" panose="00000300000000000000" pitchFamily="2" charset="0"/>
              </a:defRPr>
            </a:lvl3pPr>
            <a:lvl4pPr marL="1600160" indent="-182875">
              <a:buClr>
                <a:srgbClr val="00A0D2"/>
              </a:buClr>
              <a:buFont typeface="Wingdings" panose="05000000000000000000" pitchFamily="2" charset="2"/>
              <a:buChar char="§"/>
              <a:defRPr sz="1867">
                <a:latin typeface="Poppins ExtraLight" panose="00000300000000000000" pitchFamily="2" charset="0"/>
                <a:cs typeface="Poppins ExtraLight" panose="00000300000000000000" pitchFamily="2" charset="0"/>
              </a:defRPr>
            </a:lvl4pPr>
            <a:lvl5pPr marL="2057349" indent="-182875">
              <a:buClr>
                <a:srgbClr val="00A0D2"/>
              </a:buClr>
              <a:buFont typeface="Wingdings" panose="05000000000000000000" pitchFamily="2" charset="2"/>
              <a:buChar char="§"/>
              <a:defRPr sz="1867">
                <a:latin typeface="Poppins ExtraLight" panose="00000300000000000000" pitchFamily="2" charset="0"/>
                <a:cs typeface="Poppins ExtraLight" panose="00000300000000000000" pitchFamily="2"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6" name="Rectángulo 20">
            <a:extLst>
              <a:ext uri="{FF2B5EF4-FFF2-40B4-BE49-F238E27FC236}">
                <a16:creationId xmlns:a16="http://schemas.microsoft.com/office/drawing/2014/main" id="{F72431F0-D87A-41CB-B47A-8071671A5AEB}"/>
              </a:ext>
            </a:extLst>
          </p:cNvPr>
          <p:cNvSpPr/>
          <p:nvPr userDrawn="1"/>
        </p:nvSpPr>
        <p:spPr>
          <a:xfrm>
            <a:off x="-104502" y="-66675"/>
            <a:ext cx="12357463" cy="863597"/>
          </a:xfrm>
          <a:prstGeom prst="rect">
            <a:avLst/>
          </a:prstGeom>
          <a:solidFill>
            <a:srgbClr val="32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600" dirty="0">
              <a:solidFill>
                <a:schemeClr val="bg1"/>
              </a:solidFill>
              <a:latin typeface="Poppins SemiBold" panose="02000000000000000000" pitchFamily="2" charset="0"/>
              <a:cs typeface="Poppins SemiBold" panose="02000000000000000000" pitchFamily="2" charset="0"/>
            </a:endParaRPr>
          </a:p>
        </p:txBody>
      </p:sp>
      <p:sp>
        <p:nvSpPr>
          <p:cNvPr id="7" name="Título 6">
            <a:extLst>
              <a:ext uri="{FF2B5EF4-FFF2-40B4-BE49-F238E27FC236}">
                <a16:creationId xmlns:a16="http://schemas.microsoft.com/office/drawing/2014/main" id="{BCBB4516-8298-41C2-999F-B6E0453EBB2D}"/>
              </a:ext>
            </a:extLst>
          </p:cNvPr>
          <p:cNvSpPr>
            <a:spLocks noGrp="1"/>
          </p:cNvSpPr>
          <p:nvPr>
            <p:ph type="title" hasCustomPrompt="1"/>
          </p:nvPr>
        </p:nvSpPr>
        <p:spPr>
          <a:xfrm>
            <a:off x="1" y="89695"/>
            <a:ext cx="12152345" cy="630228"/>
          </a:xfrm>
          <a:prstGeom prst="rect">
            <a:avLst/>
          </a:prstGeom>
        </p:spPr>
        <p:txBody>
          <a:bodyPr tIns="72000" bIns="0" anchor="ctr"/>
          <a:lstStyle>
            <a:lvl1pPr>
              <a:lnSpc>
                <a:spcPct val="100000"/>
              </a:lnSpc>
              <a:defRPr sz="3733">
                <a:solidFill>
                  <a:schemeClr val="bg1"/>
                </a:solidFill>
                <a:latin typeface="Poppins SemiBold" panose="02000000000000000000" pitchFamily="2" charset="0"/>
                <a:cs typeface="Poppins SemiBold" panose="02000000000000000000" pitchFamily="2" charset="0"/>
              </a:defRPr>
            </a:lvl1pPr>
          </a:lstStyle>
          <a:p>
            <a:r>
              <a:rPr lang="es-ES" dirty="0" err="1"/>
              <a:t>Title</a:t>
            </a:r>
            <a:endParaRPr lang="en-GB" dirty="0"/>
          </a:p>
        </p:txBody>
      </p:sp>
      <p:sp>
        <p:nvSpPr>
          <p:cNvPr id="8"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0621419" y="6356350"/>
            <a:ext cx="1530927" cy="365125"/>
          </a:xfrm>
          <a:prstGeom prst="rect">
            <a:avLst/>
          </a:prstGeom>
        </p:spPr>
        <p:txBody>
          <a:bodyPr vert="horz" lIns="91440" tIns="45720" rIns="91440" bIns="45720" rtlCol="0" anchor="ctr"/>
          <a:lstStyle>
            <a:lvl1pPr>
              <a:defRPr lang="fr-CH" smtClean="0"/>
            </a:lvl1pPr>
          </a:lstStyle>
          <a:p>
            <a:fld id="{4FAB73BC-B049-4115-A692-8D63A059BFB8}" type="slidenum">
              <a:rPr lang="fr-CH" smtClean="0"/>
              <a:pPr/>
              <a:t>‹#›</a:t>
            </a:fld>
            <a:endParaRPr lang="fr-CH" dirty="0"/>
          </a:p>
        </p:txBody>
      </p:sp>
      <p:sp>
        <p:nvSpPr>
          <p:cNvPr id="13" name="Date Placeholder 3">
            <a:extLst>
              <a:ext uri="{FF2B5EF4-FFF2-40B4-BE49-F238E27FC236}">
                <a16:creationId xmlns:a16="http://schemas.microsoft.com/office/drawing/2014/main" id="{9621FF13-64DA-4B2F-860F-E18B685B650D}"/>
              </a:ext>
            </a:extLst>
          </p:cNvPr>
          <p:cNvSpPr>
            <a:spLocks noGrp="1"/>
          </p:cNvSpPr>
          <p:nvPr>
            <p:ph type="dt" sz="half" idx="2"/>
          </p:nvPr>
        </p:nvSpPr>
        <p:spPr>
          <a:xfrm>
            <a:off x="541305" y="6288088"/>
            <a:ext cx="2629591" cy="483643"/>
          </a:xfrm>
          <a:prstGeom prst="rect">
            <a:avLst/>
          </a:prstGeom>
        </p:spPr>
        <p:txBody>
          <a:bodyPr lIns="0" tIns="0" rIns="0" bIns="0" anchor="b"/>
          <a:lstStyle>
            <a:lvl1pPr>
              <a:defRPr lang="en-US" smtClean="0"/>
            </a:lvl1pPr>
          </a:lstStyle>
          <a:p>
            <a:endParaRPr lang="en-US" dirty="0"/>
          </a:p>
        </p:txBody>
      </p:sp>
    </p:spTree>
    <p:extLst>
      <p:ext uri="{BB962C8B-B14F-4D97-AF65-F5344CB8AC3E}">
        <p14:creationId xmlns:p14="http://schemas.microsoft.com/office/powerpoint/2010/main" val="757821032"/>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21D4CAA0-2216-ABCC-C7FD-3D7D863F53B7}"/>
              </a:ext>
            </a:extLst>
          </p:cNvPr>
          <p:cNvSpPr>
            <a:spLocks noGrp="1"/>
          </p:cNvSpPr>
          <p:nvPr>
            <p:ph type="sldNum" sz="quarter" idx="4"/>
          </p:nvPr>
        </p:nvSpPr>
        <p:spPr>
          <a:xfrm>
            <a:off x="10621419" y="6356350"/>
            <a:ext cx="1530927" cy="365125"/>
          </a:xfrm>
          <a:prstGeom prst="rect">
            <a:avLst/>
          </a:prstGeom>
        </p:spPr>
        <p:txBody>
          <a:bodyPr vert="horz" lIns="91440" tIns="45720" rIns="91440" bIns="45720" rtlCol="0" anchor="ctr"/>
          <a:lstStyle>
            <a:lvl1pPr>
              <a:defRPr lang="fr-CH" smtClean="0"/>
            </a:lvl1pPr>
          </a:lstStyle>
          <a:p>
            <a:fld id="{4FAB73BC-B049-4115-A692-8D63A059BFB8}" type="slidenum">
              <a:rPr lang="fr-CH" smtClean="0"/>
              <a:pPr/>
              <a:t>‹#›</a:t>
            </a:fld>
            <a:endParaRPr lang="fr-CH"/>
          </a:p>
        </p:txBody>
      </p:sp>
      <p:pic>
        <p:nvPicPr>
          <p:cNvPr id="2" name="Picture 1" descr="Logo&#10;&#10;Description automatically generated">
            <a:extLst>
              <a:ext uri="{FF2B5EF4-FFF2-40B4-BE49-F238E27FC236}">
                <a16:creationId xmlns:a16="http://schemas.microsoft.com/office/drawing/2014/main" id="{569FEDE6-B811-72E8-F8AA-17561D3CF48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656" y="6288089"/>
            <a:ext cx="501649" cy="501649"/>
          </a:xfrm>
          <a:prstGeom prst="rect">
            <a:avLst/>
          </a:prstGeom>
        </p:spPr>
      </p:pic>
      <p:sp>
        <p:nvSpPr>
          <p:cNvPr id="3" name="Date Placeholder 3">
            <a:extLst>
              <a:ext uri="{FF2B5EF4-FFF2-40B4-BE49-F238E27FC236}">
                <a16:creationId xmlns:a16="http://schemas.microsoft.com/office/drawing/2014/main" id="{EF453CCA-B46E-13A2-009A-C0D80AB2C585}"/>
              </a:ext>
            </a:extLst>
          </p:cNvPr>
          <p:cNvSpPr>
            <a:spLocks noGrp="1"/>
          </p:cNvSpPr>
          <p:nvPr>
            <p:ph type="dt" sz="half" idx="2"/>
          </p:nvPr>
        </p:nvSpPr>
        <p:spPr>
          <a:xfrm>
            <a:off x="541305" y="6288088"/>
            <a:ext cx="2629591" cy="483643"/>
          </a:xfrm>
          <a:prstGeom prst="rect">
            <a:avLst/>
          </a:prstGeom>
        </p:spPr>
        <p:txBody>
          <a:bodyPr lIns="0" tIns="0" rIns="0" bIns="0" anchor="b"/>
          <a:lstStyle>
            <a:lvl1pPr>
              <a:defRPr lang="en-US" sz="1100" smtClean="0">
                <a:solidFill>
                  <a:srgbClr val="324158"/>
                </a:solidFill>
                <a:latin typeface="Poppins ExtraLight" panose="00000300000000000000" pitchFamily="2" charset="0"/>
                <a:cs typeface="Poppins ExtraLight" panose="00000300000000000000" pitchFamily="2" charset="0"/>
              </a:defRPr>
            </a:lvl1pPr>
          </a:lstStyle>
          <a:p>
            <a:endParaRPr lang="en-US"/>
          </a:p>
        </p:txBody>
      </p:sp>
    </p:spTree>
    <p:extLst>
      <p:ext uri="{BB962C8B-B14F-4D97-AF65-F5344CB8AC3E}">
        <p14:creationId xmlns:p14="http://schemas.microsoft.com/office/powerpoint/2010/main" val="1799554105"/>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0" name="TextBox 9">
            <a:extLst>
              <a:ext uri="{FF2B5EF4-FFF2-40B4-BE49-F238E27FC236}">
                <a16:creationId xmlns:a16="http://schemas.microsoft.com/office/drawing/2014/main" id="{13EDBCEA-3011-7246-B482-3F2BC945635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43002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933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9" name="TextBox 8">
            <a:extLst>
              <a:ext uri="{FF2B5EF4-FFF2-40B4-BE49-F238E27FC236}">
                <a16:creationId xmlns:a16="http://schemas.microsoft.com/office/drawing/2014/main" id="{AD73AE66-D2D6-2F4A-B881-C8B70F38B6E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347317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1.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9" name="TextBox 8">
            <a:extLst>
              <a:ext uri="{FF2B5EF4-FFF2-40B4-BE49-F238E27FC236}">
                <a16:creationId xmlns:a16="http://schemas.microsoft.com/office/drawing/2014/main" id="{73E3A743-A15B-FB4C-BEF7-099512A606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13895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0" name="TextBox 9">
            <a:extLst>
              <a:ext uri="{FF2B5EF4-FFF2-40B4-BE49-F238E27FC236}">
                <a16:creationId xmlns:a16="http://schemas.microsoft.com/office/drawing/2014/main" id="{8B2608F0-95ED-EF42-8399-6A838020E81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55132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3.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58ACBF89-AA8C-6A42-B617-C39E6FA2922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15027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4.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9EE37F25-07F0-8945-9DD7-E2E3142A766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77841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5.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0E65990-6D95-1492-F960-A7AAF2C48D7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0683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6.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D790478-0EE6-604E-9546-008EA9A005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9384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7.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rgbClr val="214ACD"/>
                </a:solidFill>
                <a:effectLst>
                  <a:innerShdw blurRad="38100" dist="25400" dir="8100000">
                    <a:prstClr val="black">
                      <a:alpha val="50000"/>
                    </a:prstClr>
                  </a:innerShdw>
                </a:effectLst>
              </a:rPr>
              <a:t>Agenda</a:t>
            </a:r>
          </a:p>
        </p:txBody>
      </p:sp>
      <p:sp>
        <p:nvSpPr>
          <p:cNvPr id="10" name="TextBox 9">
            <a:extLst>
              <a:ext uri="{FF2B5EF4-FFF2-40B4-BE49-F238E27FC236}">
                <a16:creationId xmlns:a16="http://schemas.microsoft.com/office/drawing/2014/main" id="{70776204-764E-2844-9DCD-91A3C29BB96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83327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8.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07BEC940-B4ED-DC49-9299-BDA70EB23F9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6820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9.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208D36FA-EC4D-7D4A-B095-AC92E8A959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26159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arge Circle Blu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flip="none" rotWithShape="1">
              <a:gsLst>
                <a:gs pos="45000">
                  <a:schemeClr val="accent2"/>
                </a:gs>
                <a:gs pos="100000">
                  <a:srgbClr val="93B2FF"/>
                </a:gs>
              </a:gsLst>
              <a:lin ang="18900000" scaled="1"/>
              <a:tileRect/>
            </a:gradFill>
            <a:ln w="25400" cap="flat" cmpd="sng" algn="ctr">
              <a:noFill/>
              <a:prstDash val="solid"/>
            </a:ln>
            <a:effectLst>
              <a:innerShdw blurRad="127000" dist="114300">
                <a:srgbClr val="3253DC">
                  <a:lumMod val="50000"/>
                  <a:alpha val="32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46000">
                  <a:schemeClr val="accent1"/>
                </a:gs>
                <a:gs pos="100000">
                  <a:srgbClr val="3B5ADD"/>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C884FCB-8EBD-450E-B245-5B651363F3E7}"/>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975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3399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1982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92903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9112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541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6572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975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28712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360922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endParaRPr lang="en-US" dirty="0"/>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58220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Circle Light Blu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solidFill>
              <a:schemeClr val="accent2">
                <a:lumMod val="60000"/>
                <a:lumOff val="40000"/>
              </a:schemeClr>
            </a:solidFill>
            <a:ln w="25400" cap="flat" cmpd="sng" algn="ctr">
              <a:noFill/>
              <a:prstDash val="solid"/>
            </a:ln>
            <a:effectLst>
              <a:innerShdw blurRad="127000" dist="114300">
                <a:srgbClr val="3253DC">
                  <a:lumMod val="50000"/>
                  <a:alpha val="32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C884FCB-8EBD-450E-B245-5B651363F3E7}"/>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17597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238546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275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359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r>
              <a:rPr lang="en-US"/>
              <a:t>IBC 2023</a:t>
            </a:r>
            <a:endParaRPr lang="en-US" dirty="0"/>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endParaRPr lang="en-US" dirty="0"/>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9608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25470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628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9" name="TextBox 8">
            <a:extLst>
              <a:ext uri="{FF2B5EF4-FFF2-40B4-BE49-F238E27FC236}">
                <a16:creationId xmlns:a16="http://schemas.microsoft.com/office/drawing/2014/main" id="{998A71DB-976E-A24A-96E2-B18CF91A65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31510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
        <p:nvSpPr>
          <p:cNvPr id="10" name="TextBox 9">
            <a:extLst>
              <a:ext uri="{FF2B5EF4-FFF2-40B4-BE49-F238E27FC236}">
                <a16:creationId xmlns:a16="http://schemas.microsoft.com/office/drawing/2014/main" id="{80801655-BB5D-8D42-BF35-5552419A184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0224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675B83E-0BE5-D244-AA83-CABD189E8C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8520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E1348D7E-2C52-0648-B459-2BB160BEC8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20000"/>
                    <a:lumOff val="8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2936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Circle Tea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rgbClr val="A6D9E2"/>
                </a:gs>
                <a:gs pos="50000">
                  <a:schemeClr val="accent4"/>
                </a:gs>
              </a:gsLst>
              <a:lin ang="18900000" scaled="0"/>
            </a:gradFill>
            <a:ln w="25400" cap="flat" cmpd="sng" algn="ctr">
              <a:noFill/>
              <a:prstDash val="solid"/>
            </a:ln>
            <a:effectLst>
              <a:innerShdw blurRad="127000" dist="114300">
                <a:schemeClr val="accent3">
                  <a:lumMod val="50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47B3C5"/>
                </a:gs>
                <a:gs pos="15000">
                  <a:schemeClr val="accent3"/>
                </a:gs>
              </a:gsLst>
              <a:lin ang="18900000" scaled="0"/>
            </a:gra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C6D7166-8C98-4FFE-BA06-DA94B77BCA0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34347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3">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1684853D-5F0A-494C-9888-7AAEF3B1B6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3">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2125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D9A81EAB-DE44-ED41-8D8F-2A4169FC143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5822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72C27C62-1DFD-8E4E-8A14-4A72529B937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6736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881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675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19264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66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44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03870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918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arge Circle Nicke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chemeClr val="accent6">
                    <a:lumMod val="40000"/>
                    <a:lumOff val="60000"/>
                  </a:schemeClr>
                </a:gs>
                <a:gs pos="50000">
                  <a:srgbClr val="D4DAE4"/>
                </a:gs>
              </a:gsLst>
              <a:lin ang="18900000" scaled="0"/>
            </a:gradFill>
            <a:ln w="25400" cap="flat" cmpd="sng" algn="ctr">
              <a:noFill/>
              <a:prstDash val="solid"/>
            </a:ln>
            <a:effectLst>
              <a:innerShdw blurRad="127000" dist="114300">
                <a:schemeClr val="accent5">
                  <a:lumMod val="50000"/>
                  <a:alpha val="2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chemeClr val="accent6"/>
                </a:gs>
                <a:gs pos="15000">
                  <a:srgbClr val="96A4BC"/>
                </a:gs>
              </a:gsLst>
              <a:lin ang="18900000" scaled="0"/>
            </a:gradFill>
            <a:ln w="25400" cap="flat" cmpd="sng" algn="ctr">
              <a:noFill/>
              <a:prstDash val="solid"/>
            </a:ln>
            <a:effectLst>
              <a:innerShdw blurRad="127000" dist="114300">
                <a:schemeClr val="accent5">
                  <a:lumMod val="50000"/>
                  <a:alpha val="3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F76AFBF2-F8DD-426B-A157-AE9F1808CDA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71635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0673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57859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28736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3.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09D6CCF0-57C4-384B-B6F4-DBD59EA7DA3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025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2967F99B-809C-A140-B160-DAEC57DB6B6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839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5.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endParaRPr lang="en-US" dirty="0"/>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DC89C629-A9B6-E647-8093-A390B13275C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13322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6.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extBox 4">
            <a:extLst>
              <a:ext uri="{FF2B5EF4-FFF2-40B4-BE49-F238E27FC236}">
                <a16:creationId xmlns:a16="http://schemas.microsoft.com/office/drawing/2014/main" id="{01F4AD81-1574-E14F-8F0D-32C28C3162C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4963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3AF58CE-3469-E745-820A-134FF84006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050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8E411577-17FB-C649-9670-726F4CAE6C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solidFill>
              </a:rPr>
              <a:t>Confidential – Qualcomm Technologies, Inc. and/or its affiliated companies – May Contain Trade Secrets</a:t>
            </a:r>
          </a:p>
        </p:txBody>
      </p:sp>
    </p:spTree>
    <p:extLst>
      <p:ext uri="{BB962C8B-B14F-4D97-AF65-F5344CB8AC3E}">
        <p14:creationId xmlns:p14="http://schemas.microsoft.com/office/powerpoint/2010/main" val="33547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E80D881-AF3F-E040-ACE4-6B37EF43041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5549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arge Circle Gun Meta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rgbClr val="94A2BA"/>
                </a:gs>
                <a:gs pos="43000">
                  <a:schemeClr val="accent5">
                    <a:lumMod val="60000"/>
                    <a:lumOff val="40000"/>
                  </a:schemeClr>
                </a:gs>
              </a:gsLst>
              <a:lin ang="18900000" scaled="0"/>
            </a:gradFill>
            <a:ln w="25400" cap="flat" cmpd="sng" algn="ctr">
              <a:noFill/>
              <a:prstDash val="solid"/>
            </a:ln>
            <a:effectLst>
              <a:innerShdw blurRad="127000" dist="114300">
                <a:schemeClr val="accent5">
                  <a:lumMod val="75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556685"/>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82A53891-4068-4349-BF0E-1A9718713E5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28279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FDF54461-5151-C04D-8440-C6989E1AC50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7155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787F20BE-385D-1546-8719-238B0EDC7B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6925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endParaRPr lang="en-US" dirty="0"/>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C2B1A7AF-F3D5-A247-8FE4-3EEB17DF0D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4818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endParaRPr lang="en-US" dirty="0"/>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2CB94F15-8CAD-6B46-AB34-F89C3C2278B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1780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endParaRPr lang="en-US" dirty="0"/>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8" name="TextBox 7">
            <a:extLst>
              <a:ext uri="{FF2B5EF4-FFF2-40B4-BE49-F238E27FC236}">
                <a16:creationId xmlns:a16="http://schemas.microsoft.com/office/drawing/2014/main" id="{C49EAFA4-AEE1-6C46-B6E5-72CA3FA3C5C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1186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endParaRPr lang="en-US" dirty="0"/>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8" name="TextBox 7">
            <a:extLst>
              <a:ext uri="{FF2B5EF4-FFF2-40B4-BE49-F238E27FC236}">
                <a16:creationId xmlns:a16="http://schemas.microsoft.com/office/drawing/2014/main" id="{1956C6D9-5D4F-7341-B4D7-17E4101058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7672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6.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4" name="TextBox 13">
            <a:extLst>
              <a:ext uri="{FF2B5EF4-FFF2-40B4-BE49-F238E27FC236}">
                <a16:creationId xmlns:a16="http://schemas.microsoft.com/office/drawing/2014/main" id="{A3010EDA-BD94-443C-AE7B-15DA27CDA5F4}"/>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189278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7.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5" name="TextBox 14">
            <a:extLst>
              <a:ext uri="{FF2B5EF4-FFF2-40B4-BE49-F238E27FC236}">
                <a16:creationId xmlns:a16="http://schemas.microsoft.com/office/drawing/2014/main" id="{6A103163-FD6E-454C-AE45-8AD32972CE49}"/>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3832946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8.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endParaRPr lang="en-US" dirty="0"/>
          </a:p>
        </p:txBody>
      </p:sp>
      <p:sp>
        <p:nvSpPr>
          <p:cNvPr id="14" name="TextBox 13">
            <a:extLst>
              <a:ext uri="{FF2B5EF4-FFF2-40B4-BE49-F238E27FC236}">
                <a16:creationId xmlns:a16="http://schemas.microsoft.com/office/drawing/2014/main" id="{D4CB5266-98D8-4025-A040-1787B6793DF2}"/>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2">
                    <a:lumMod val="40000"/>
                    <a:lumOff val="60000"/>
                  </a:schemeClr>
                </a:solidFill>
              </a:rPr>
              <a:t>Confidential – Qualcomm Technologies, Inc.</a:t>
            </a:r>
            <a:br>
              <a:rPr lang="en-US" dirty="0">
                <a:solidFill>
                  <a:schemeClr val="accent2">
                    <a:lumMod val="40000"/>
                    <a:lumOff val="60000"/>
                  </a:schemeClr>
                </a:solidFill>
              </a:rPr>
            </a:br>
            <a:r>
              <a:rPr lang="en-US" dirty="0">
                <a:solidFill>
                  <a:schemeClr val="accent2">
                    <a:lumMod val="40000"/>
                    <a:lumOff val="60000"/>
                  </a:schemeClr>
                </a:solidFill>
              </a:rPr>
              <a:t>and/or its affiliated companies – May Contain Trade Secrets</a:t>
            </a:r>
          </a:p>
        </p:txBody>
      </p:sp>
    </p:spTree>
    <p:extLst>
      <p:ext uri="{BB962C8B-B14F-4D97-AF65-F5344CB8AC3E}">
        <p14:creationId xmlns:p14="http://schemas.microsoft.com/office/powerpoint/2010/main" val="207745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9.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IBC 2023</a:t>
            </a:r>
            <a:endParaRPr lang="en-US" dirty="0"/>
          </a:p>
        </p:txBody>
      </p:sp>
      <p:sp>
        <p:nvSpPr>
          <p:cNvPr id="16" name="TextBox 15">
            <a:extLst>
              <a:ext uri="{FF2B5EF4-FFF2-40B4-BE49-F238E27FC236}">
                <a16:creationId xmlns:a16="http://schemas.microsoft.com/office/drawing/2014/main" id="{B4633CCB-0D5C-4030-9B97-6F7EFE02C69F}"/>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40000"/>
                    <a:lumOff val="60000"/>
                  </a:schemeClr>
                </a:solidFill>
              </a:rPr>
              <a:t>Confidential – Qualcomm Technologies, Inc.</a:t>
            </a:r>
            <a:br>
              <a:rPr lang="en-US" dirty="0">
                <a:solidFill>
                  <a:schemeClr val="accent6">
                    <a:lumMod val="40000"/>
                    <a:lumOff val="60000"/>
                  </a:schemeClr>
                </a:solidFill>
              </a:rPr>
            </a:br>
            <a:r>
              <a:rPr lang="en-US" dirty="0">
                <a:solidFill>
                  <a:schemeClr val="accent6">
                    <a:lumMod val="40000"/>
                    <a:lumOff val="60000"/>
                  </a:schemeClr>
                </a:solidFill>
              </a:rPr>
              <a:t>and/or its affiliated companies – May Contain Trade Secrets</a:t>
            </a:r>
          </a:p>
        </p:txBody>
      </p:sp>
    </p:spTree>
    <p:extLst>
      <p:ext uri="{BB962C8B-B14F-4D97-AF65-F5344CB8AC3E}">
        <p14:creationId xmlns:p14="http://schemas.microsoft.com/office/powerpoint/2010/main" val="314157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arge Circle Midnigh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0">
                  <a:schemeClr val="accent5"/>
                </a:gs>
                <a:gs pos="100000">
                  <a:srgbClr val="556685"/>
                </a:gs>
              </a:gsLst>
              <a:lin ang="18900000" scaled="0"/>
            </a:gradFill>
            <a:ln w="25400" cap="flat" cmpd="sng" algn="ctr">
              <a:noFill/>
              <a:prstDash val="solid"/>
            </a:ln>
            <a:effectLst>
              <a:innerShdw blurRad="127000" dist="114300">
                <a:schemeClr val="accent5">
                  <a:lumMod val="50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08B8994-7421-490A-9036-9F53B54CBF1A}"/>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94674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0.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4" name="TextBox 13">
            <a:extLst>
              <a:ext uri="{FF2B5EF4-FFF2-40B4-BE49-F238E27FC236}">
                <a16:creationId xmlns:a16="http://schemas.microsoft.com/office/drawing/2014/main" id="{812B847A-F98E-4732-BDC9-A85DC2ED67AA}"/>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88351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328032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7373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endParaRPr lang="en-US" dirty="0"/>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27147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3289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23465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93773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6322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6950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3789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407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31321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1.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E113887F-F1F6-4687-8811-699E1BCA13F4}"/>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1197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2.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DE11D47D-1BE2-4595-9A02-FCAD5EB91EB3}"/>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7996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3.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68EACA4D-43F0-4FE1-BA26-E107C4AA8BA7}"/>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069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4.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8" name="TextBox 17">
            <a:extLst>
              <a:ext uri="{FF2B5EF4-FFF2-40B4-BE49-F238E27FC236}">
                <a16:creationId xmlns:a16="http://schemas.microsoft.com/office/drawing/2014/main" id="{F5FB867F-175C-F748-B316-10276DFF6346}"/>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0368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5.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50F57A78-9BA0-4F58-B7F7-7758910F55B1}"/>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440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6.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2B5700CA-9E56-0709-F89D-C4E99A267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98239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7.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8" name="TextBox 7">
            <a:extLst>
              <a:ext uri="{FF2B5EF4-FFF2-40B4-BE49-F238E27FC236}">
                <a16:creationId xmlns:a16="http://schemas.microsoft.com/office/drawing/2014/main" id="{76FF450D-4022-72EA-97D4-4C2A7D1CEA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75873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extBox 5">
            <a:extLst>
              <a:ext uri="{FF2B5EF4-FFF2-40B4-BE49-F238E27FC236}">
                <a16:creationId xmlns:a16="http://schemas.microsoft.com/office/drawing/2014/main" id="{A61116F4-BD7A-EC36-6183-633ACC7CF3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73944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9.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B2FAD12-681E-7873-D4F9-CF2B54ECBD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919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2280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0.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53C9B4C-AE7E-43E6-8F17-29900FA9155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71845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1.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151D5F09-2CE5-A8D8-9997-166E3D321FB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0708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2.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9F791B87-171D-B840-B21D-BA358261FE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8114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3.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A021DA7D-2853-DA40-A8E7-3023F80F1BD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60196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4.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21B99F37-6FCD-294A-A33C-5CBA2E7B978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6702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5.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11DC50CB-427A-2049-BC78-11BFEDC94C1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1851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6.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203911EB-8270-F61E-B42D-4149558B2B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7291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7.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991A2DA2-4881-0041-B3D1-865CD82059A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0155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8.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7" name="TextBox 6">
            <a:extLst>
              <a:ext uri="{FF2B5EF4-FFF2-40B4-BE49-F238E27FC236}">
                <a16:creationId xmlns:a16="http://schemas.microsoft.com/office/drawing/2014/main" id="{A4785F6F-9012-B34D-9137-F9A437AD947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8590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9.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760A6F2D-E69A-9E46-8950-23F4CE87931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928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75280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6CCCA2F2-B9AA-3E47-8215-C015C839EA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6143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1.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20CE67DB-173F-A847-BB03-5CCE0B67BA18}"/>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42769655-B7D3-BF0A-8736-695F37B9AE92}"/>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295515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2.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9B7E8119-D08E-A04E-A14D-872716D70D93}"/>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29" name="TextBox 28">
            <a:extLst>
              <a:ext uri="{FF2B5EF4-FFF2-40B4-BE49-F238E27FC236}">
                <a16:creationId xmlns:a16="http://schemas.microsoft.com/office/drawing/2014/main" id="{4D300438-7B29-1238-1D3D-C9E7568113E8}"/>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30" name="TextBox 29">
            <a:extLst>
              <a:ext uri="{FF2B5EF4-FFF2-40B4-BE49-F238E27FC236}">
                <a16:creationId xmlns:a16="http://schemas.microsoft.com/office/drawing/2014/main" id="{C6814108-5BD7-ADD6-1E27-D5BC017E51DE}"/>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41149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D75122FF-3E10-2A4C-925A-B860E64E0D5A}"/>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
        <p:nvSpPr>
          <p:cNvPr id="22" name="TextBox 21">
            <a:extLst>
              <a:ext uri="{FF2B5EF4-FFF2-40B4-BE49-F238E27FC236}">
                <a16:creationId xmlns:a16="http://schemas.microsoft.com/office/drawing/2014/main" id="{59EA7A12-3AC1-314C-39FF-9314B2E77000}"/>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23" name="TextBox 22">
            <a:extLst>
              <a:ext uri="{FF2B5EF4-FFF2-40B4-BE49-F238E27FC236}">
                <a16:creationId xmlns:a16="http://schemas.microsoft.com/office/drawing/2014/main" id="{C9715419-C911-9D37-1CD2-77C18B26F503}"/>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415314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BE5D3E93-63CE-5040-80CD-074D41AE79DD}"/>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724175FF-4C47-0EC0-D29A-B6372469C71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29" name="TextBox 28">
            <a:extLst>
              <a:ext uri="{FF2B5EF4-FFF2-40B4-BE49-F238E27FC236}">
                <a16:creationId xmlns:a16="http://schemas.microsoft.com/office/drawing/2014/main" id="{C0AFA2A3-A65F-766C-B1CC-72DDBF306D11}"/>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177104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u</a:t>
            </a:r>
          </a:p>
        </p:txBody>
      </p:sp>
      <p:sp>
        <p:nvSpPr>
          <p:cNvPr id="18" name="TextBox 17">
            <a:extLst>
              <a:ext uri="{FF2B5EF4-FFF2-40B4-BE49-F238E27FC236}">
                <a16:creationId xmlns:a16="http://schemas.microsoft.com/office/drawing/2014/main" id="{2A980C16-EC75-CB40-AB7F-F5BBCD203B3E}"/>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6" name="TextBox 45">
            <a:extLst>
              <a:ext uri="{FF2B5EF4-FFF2-40B4-BE49-F238E27FC236}">
                <a16:creationId xmlns:a16="http://schemas.microsoft.com/office/drawing/2014/main" id="{744BC0EA-4693-AA8C-378F-81E7B0BE23DE}"/>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47" name="TextBox 46">
            <a:extLst>
              <a:ext uri="{FF2B5EF4-FFF2-40B4-BE49-F238E27FC236}">
                <a16:creationId xmlns:a16="http://schemas.microsoft.com/office/drawing/2014/main" id="{5646B856-483C-1B34-B426-2FC7C9A12E1C}"/>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spTree>
    <p:extLst>
      <p:ext uri="{BB962C8B-B14F-4D97-AF65-F5344CB8AC3E}">
        <p14:creationId xmlns:p14="http://schemas.microsoft.com/office/powerpoint/2010/main" val="36959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userDrawn="1">
  <p:cSld name="SD 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9" name="Text Placeholder 48">
            <a:extLst>
              <a:ext uri="{FF2B5EF4-FFF2-40B4-BE49-F238E27FC236}">
                <a16:creationId xmlns:a16="http://schemas.microsoft.com/office/drawing/2014/main" id="{7FFBC827-F060-4124-9E77-70A3670A8E66}"/>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0" name="Footer Placeholder 2">
            <a:extLst>
              <a:ext uri="{FF2B5EF4-FFF2-40B4-BE49-F238E27FC236}">
                <a16:creationId xmlns:a16="http://schemas.microsoft.com/office/drawing/2014/main" id="{11394C91-0ECD-4A2E-A5C6-77B0EFFDD1F0}"/>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endParaRPr lang="en-US" dirty="0"/>
          </a:p>
        </p:txBody>
      </p:sp>
      <p:sp>
        <p:nvSpPr>
          <p:cNvPr id="14" name="TextBox 13">
            <a:extLst>
              <a:ext uri="{FF2B5EF4-FFF2-40B4-BE49-F238E27FC236}">
                <a16:creationId xmlns:a16="http://schemas.microsoft.com/office/drawing/2014/main" id="{00A0D3CC-ABF9-394D-9BFB-0D9BEE41E3C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2" name="Text Placeholder 7">
            <a:extLst>
              <a:ext uri="{FF2B5EF4-FFF2-40B4-BE49-F238E27FC236}">
                <a16:creationId xmlns:a16="http://schemas.microsoft.com/office/drawing/2014/main" id="{22B4B7F2-9257-E9BC-4E85-37019D2FECD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5" name="Title 2">
            <a:extLst>
              <a:ext uri="{FF2B5EF4-FFF2-40B4-BE49-F238E27FC236}">
                <a16:creationId xmlns:a16="http://schemas.microsoft.com/office/drawing/2014/main" id="{78FF28B7-017F-B3EE-EB3A-CD76353626B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17979B82-C39F-98CA-AA4A-EE4EA62DC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3" name="Text Placeholder 5">
            <a:extLst>
              <a:ext uri="{FF2B5EF4-FFF2-40B4-BE49-F238E27FC236}">
                <a16:creationId xmlns:a16="http://schemas.microsoft.com/office/drawing/2014/main" id="{63C8CC7D-D393-2065-7AF4-980CFE94B2F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4" name="Text Placeholder 7">
            <a:extLst>
              <a:ext uri="{FF2B5EF4-FFF2-40B4-BE49-F238E27FC236}">
                <a16:creationId xmlns:a16="http://schemas.microsoft.com/office/drawing/2014/main" id="{7199A3E9-BF97-138B-93A2-95BE682304E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18652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SD Title Re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B2BBF7-2804-471D-B156-C43D3BE2AE94}"/>
              </a:ext>
            </a:extLst>
          </p:cNvPr>
          <p:cNvGrpSpPr/>
          <p:nvPr userDrawn="1"/>
        </p:nvGrpSpPr>
        <p:grpSpPr>
          <a:xfrm>
            <a:off x="6553200" y="-2853800"/>
            <a:ext cx="12192000" cy="12223054"/>
            <a:chOff x="2118610" y="-558521"/>
            <a:chExt cx="7954780" cy="7975042"/>
          </a:xfrm>
        </p:grpSpPr>
        <p:sp>
          <p:nvSpPr>
            <p:cNvPr id="9" name="Freeform 21">
              <a:extLst>
                <a:ext uri="{FF2B5EF4-FFF2-40B4-BE49-F238E27FC236}">
                  <a16:creationId xmlns:a16="http://schemas.microsoft.com/office/drawing/2014/main" id="{47560505-2EFD-4F5F-8152-2936FDB34462}"/>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DCA622B7-C125-476C-9874-54D3CC640EBB}"/>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291979CC-F981-4686-9D45-BB9AE15D97B3}"/>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FABF63AC-C929-40F9-9844-0A21AE3749E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2647A1B-6237-4C19-BE76-B28E84D67F5D}"/>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6988F201-2BAB-47D5-B487-071113E79661}"/>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bg1"/>
                </a:solidFill>
                <a:latin typeface="+mn-lt"/>
                <a:ea typeface="+mn-ea"/>
                <a:cs typeface="+mn-cs"/>
              </a:defRPr>
            </a:lvl1pPr>
          </a:lstStyle>
          <a:p>
            <a:pPr>
              <a:defRPr/>
            </a:pPr>
            <a:r>
              <a:rPr lang="en-US"/>
              <a:t>IBC 2023</a:t>
            </a:r>
            <a:endParaRPr lang="en-US" dirty="0"/>
          </a:p>
        </p:txBody>
      </p:sp>
      <p:sp>
        <p:nvSpPr>
          <p:cNvPr id="20" name="TextBox 19">
            <a:extLst>
              <a:ext uri="{FF2B5EF4-FFF2-40B4-BE49-F238E27FC236}">
                <a16:creationId xmlns:a16="http://schemas.microsoft.com/office/drawing/2014/main" id="{6A843309-E0A1-5247-9312-CC4E16618A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30E485AF-557B-29F2-ADB1-D899FE0EDB5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3" name="Title 2">
            <a:extLst>
              <a:ext uri="{FF2B5EF4-FFF2-40B4-BE49-F238E27FC236}">
                <a16:creationId xmlns:a16="http://schemas.microsoft.com/office/drawing/2014/main" id="{D97AA817-7754-311C-CCE1-0724407542E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24" name="Picture 23">
            <a:extLst>
              <a:ext uri="{FF2B5EF4-FFF2-40B4-BE49-F238E27FC236}">
                <a16:creationId xmlns:a16="http://schemas.microsoft.com/office/drawing/2014/main" id="{3F5F6F96-5CC0-BE5B-65FE-75C6F87E57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6" name="Text Placeholder 5">
            <a:extLst>
              <a:ext uri="{FF2B5EF4-FFF2-40B4-BE49-F238E27FC236}">
                <a16:creationId xmlns:a16="http://schemas.microsoft.com/office/drawing/2014/main" id="{F90869F0-7594-737E-73B6-F9EDF99972D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7">
            <a:extLst>
              <a:ext uri="{FF2B5EF4-FFF2-40B4-BE49-F238E27FC236}">
                <a16:creationId xmlns:a16="http://schemas.microsoft.com/office/drawing/2014/main" id="{F3CEFD0B-12F7-A937-291D-4972CE50177F}"/>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98341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8.xml><?xml version="1.0" encoding="utf-8"?>
<p:sldLayout xmlns:a="http://schemas.openxmlformats.org/drawingml/2006/main" xmlns:r="http://schemas.openxmlformats.org/officeDocument/2006/relationships" xmlns:p="http://schemas.openxmlformats.org/presentationml/2006/main" showMasterSp="0" preserve="1" userDrawn="1">
  <p:cSld name="SD Title White">
    <p:bg>
      <p:bgPr>
        <a:solidFill>
          <a:srgbClr val="FFFFFF"/>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79E5F42-542A-481A-AC09-43F6241BD74A}"/>
              </a:ext>
            </a:extLst>
          </p:cNvPr>
          <p:cNvGrpSpPr/>
          <p:nvPr userDrawn="1"/>
        </p:nvGrpSpPr>
        <p:grpSpPr>
          <a:xfrm>
            <a:off x="6553200" y="-2852928"/>
            <a:ext cx="12192000" cy="12223054"/>
            <a:chOff x="2118610" y="-558521"/>
            <a:chExt cx="7954780" cy="7975042"/>
          </a:xfrm>
        </p:grpSpPr>
        <p:sp>
          <p:nvSpPr>
            <p:cNvPr id="23" name="Freeform 21">
              <a:extLst>
                <a:ext uri="{FF2B5EF4-FFF2-40B4-BE49-F238E27FC236}">
                  <a16:creationId xmlns:a16="http://schemas.microsoft.com/office/drawing/2014/main" id="{5A869BCF-7F87-4BF7-AB41-1FA0DFF2DA48}"/>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05C30C20-6C83-4102-A838-D56643B62C9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5" name="Freeform 23">
              <a:extLst>
                <a:ext uri="{FF2B5EF4-FFF2-40B4-BE49-F238E27FC236}">
                  <a16:creationId xmlns:a16="http://schemas.microsoft.com/office/drawing/2014/main" id="{7311AEAC-0F28-4615-A4A3-954D691DA36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6" name="Freeform 23">
              <a:extLst>
                <a:ext uri="{FF2B5EF4-FFF2-40B4-BE49-F238E27FC236}">
                  <a16:creationId xmlns:a16="http://schemas.microsoft.com/office/drawing/2014/main" id="{1EE6416D-7043-4B54-A1C5-AF321C854B0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86E6721A-8AAF-4279-A3B0-7499E60759EC}"/>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dirty="0"/>
          </a:p>
        </p:txBody>
      </p:sp>
      <p:sp>
        <p:nvSpPr>
          <p:cNvPr id="15" name="Footer Placeholder 2">
            <a:extLst>
              <a:ext uri="{FF2B5EF4-FFF2-40B4-BE49-F238E27FC236}">
                <a16:creationId xmlns:a16="http://schemas.microsoft.com/office/drawing/2014/main" id="{39154FE7-5393-43D1-8407-23E99F94624A}"/>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accent5">
                    <a:lumMod val="60000"/>
                    <a:lumOff val="40000"/>
                  </a:schemeClr>
                </a:solidFill>
                <a:latin typeface="+mn-lt"/>
                <a:ea typeface="+mn-ea"/>
                <a:cs typeface="+mn-cs"/>
              </a:defRPr>
            </a:lvl1pPr>
          </a:lstStyle>
          <a:p>
            <a:pPr>
              <a:defRPr/>
            </a:pPr>
            <a:r>
              <a:rPr lang="en-US"/>
              <a:t>IBC 2023</a:t>
            </a:r>
            <a:endParaRPr lang="en-US" dirty="0"/>
          </a:p>
        </p:txBody>
      </p:sp>
      <p:sp>
        <p:nvSpPr>
          <p:cNvPr id="18" name="TextBox 17">
            <a:extLst>
              <a:ext uri="{FF2B5EF4-FFF2-40B4-BE49-F238E27FC236}">
                <a16:creationId xmlns:a16="http://schemas.microsoft.com/office/drawing/2014/main" id="{AA578684-7771-014A-A136-F6303FE2F8D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31" name="Text Placeholder 7">
            <a:extLst>
              <a:ext uri="{FF2B5EF4-FFF2-40B4-BE49-F238E27FC236}">
                <a16:creationId xmlns:a16="http://schemas.microsoft.com/office/drawing/2014/main" id="{8809CAF7-2C64-531C-21AA-5FD1048CC6F9}"/>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33" name="Title 2">
            <a:extLst>
              <a:ext uri="{FF2B5EF4-FFF2-40B4-BE49-F238E27FC236}">
                <a16:creationId xmlns:a16="http://schemas.microsoft.com/office/drawing/2014/main" id="{FF1BC470-5233-7C79-4F94-9A01CCCACA3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7" name="Text Placeholder 5">
            <a:extLst>
              <a:ext uri="{FF2B5EF4-FFF2-40B4-BE49-F238E27FC236}">
                <a16:creationId xmlns:a16="http://schemas.microsoft.com/office/drawing/2014/main" id="{85E29496-F18A-4DFC-5DC7-2C3355D470DD}"/>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9" name="Text Placeholder 7">
            <a:extLst>
              <a:ext uri="{FF2B5EF4-FFF2-40B4-BE49-F238E27FC236}">
                <a16:creationId xmlns:a16="http://schemas.microsoft.com/office/drawing/2014/main" id="{AD5B0B12-CD25-F45C-107C-20214F0A69C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cxnSp>
        <p:nvCxnSpPr>
          <p:cNvPr id="4" name="Straight Connector 3">
            <a:extLst>
              <a:ext uri="{FF2B5EF4-FFF2-40B4-BE49-F238E27FC236}">
                <a16:creationId xmlns:a16="http://schemas.microsoft.com/office/drawing/2014/main" id="{EC4E2419-B480-369E-A69A-F2A56281C498}"/>
              </a:ext>
            </a:extLst>
          </p:cNvPr>
          <p:cNvCxnSpPr>
            <a:cxnSpLocks/>
          </p:cNvCxnSpPr>
          <p:nvPr userDrawn="1"/>
        </p:nvCxnSpPr>
        <p:spPr>
          <a:xfrm>
            <a:off x="12192000" y="-103695"/>
            <a:ext cx="0" cy="7117237"/>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B1AF563-719C-F10B-D1AD-21E4DB854C5C}"/>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139948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9.xml><?xml version="1.0" encoding="utf-8"?>
<p:sldLayout xmlns:a="http://schemas.openxmlformats.org/drawingml/2006/main" xmlns:r="http://schemas.openxmlformats.org/officeDocument/2006/relationships" xmlns:p="http://schemas.openxmlformats.org/presentationml/2006/main" showMasterSp="0" preserve="1" userDrawn="1">
  <p:cSld name="SD 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accent6">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dirty="0"/>
          </a:p>
        </p:txBody>
      </p:sp>
      <p:sp>
        <p:nvSpPr>
          <p:cNvPr id="16" name="Footer Placeholder 2">
            <a:extLst>
              <a:ext uri="{FF2B5EF4-FFF2-40B4-BE49-F238E27FC236}">
                <a16:creationId xmlns:a16="http://schemas.microsoft.com/office/drawing/2014/main" id="{C63E2F76-C79D-4679-8E21-AE8185311956}"/>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pPr>
              <a:defRPr/>
            </a:pPr>
            <a:r>
              <a:rPr lang="en-US"/>
              <a:t>IBC 2023</a:t>
            </a:r>
            <a:endParaRPr lang="en-US" dirty="0"/>
          </a:p>
        </p:txBody>
      </p:sp>
      <p:sp>
        <p:nvSpPr>
          <p:cNvPr id="20" name="TextBox 19">
            <a:extLst>
              <a:ext uri="{FF2B5EF4-FFF2-40B4-BE49-F238E27FC236}">
                <a16:creationId xmlns:a16="http://schemas.microsoft.com/office/drawing/2014/main" id="{5BA4EC28-CF88-3F4E-8728-73E0896B7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7" name="Text Placeholder 7">
            <a:extLst>
              <a:ext uri="{FF2B5EF4-FFF2-40B4-BE49-F238E27FC236}">
                <a16:creationId xmlns:a16="http://schemas.microsoft.com/office/drawing/2014/main" id="{D55E74EB-6224-4F7F-D951-BDFBB141E1D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F24B98AB-B36A-8633-1D45-18914CE2B98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8" name="Text Placeholder 5">
            <a:extLst>
              <a:ext uri="{FF2B5EF4-FFF2-40B4-BE49-F238E27FC236}">
                <a16:creationId xmlns:a16="http://schemas.microsoft.com/office/drawing/2014/main" id="{7CDA7BE4-68B7-D9E1-BACF-378D2F8CCD23}"/>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9" name="Text Placeholder 7">
            <a:extLst>
              <a:ext uri="{FF2B5EF4-FFF2-40B4-BE49-F238E27FC236}">
                <a16:creationId xmlns:a16="http://schemas.microsoft.com/office/drawing/2014/main" id="{B1CF0B89-699E-ED28-F437-240A73E8D4B5}"/>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pic>
        <p:nvPicPr>
          <p:cNvPr id="21" name="Picture 20">
            <a:extLst>
              <a:ext uri="{FF2B5EF4-FFF2-40B4-BE49-F238E27FC236}">
                <a16:creationId xmlns:a16="http://schemas.microsoft.com/office/drawing/2014/main" id="{E18F6676-0191-CED1-4FEE-CB9C82CDD077}"/>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309882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8478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0.xml><?xml version="1.0" encoding="utf-8"?>
<p:sldLayout xmlns:a="http://schemas.openxmlformats.org/drawingml/2006/main" xmlns:r="http://schemas.openxmlformats.org/officeDocument/2006/relationships" xmlns:p="http://schemas.openxmlformats.org/presentationml/2006/main" showMasterSp="0" preserve="1" userDrawn="1">
  <p:cSld name="SD Title Gunmetal">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A63057AE-C887-4D0E-8019-7DAD9E9382DF}"/>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endParaRPr lang="en-US" dirty="0"/>
          </a:p>
        </p:txBody>
      </p:sp>
      <p:sp>
        <p:nvSpPr>
          <p:cNvPr id="20" name="TextBox 19">
            <a:extLst>
              <a:ext uri="{FF2B5EF4-FFF2-40B4-BE49-F238E27FC236}">
                <a16:creationId xmlns:a16="http://schemas.microsoft.com/office/drawing/2014/main" id="{9984F95E-5B15-0A43-BF2C-D4BD1E2149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1686CFED-6B7A-ABE5-FFE2-2F98EB36C92D}"/>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6A4AD927-A104-7585-FBB2-355DDFC4E9F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6B1AADF3-7E95-FC72-419F-A542DFE8C5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19" name="Text Placeholder 5">
            <a:extLst>
              <a:ext uri="{FF2B5EF4-FFF2-40B4-BE49-F238E27FC236}">
                <a16:creationId xmlns:a16="http://schemas.microsoft.com/office/drawing/2014/main" id="{3FBC4CE4-0F6E-59F8-9114-E021C27B9949}"/>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1" name="Text Placeholder 7">
            <a:extLst>
              <a:ext uri="{FF2B5EF4-FFF2-40B4-BE49-F238E27FC236}">
                <a16:creationId xmlns:a16="http://schemas.microsoft.com/office/drawing/2014/main" id="{3F49D4FA-FE36-D3AB-A4C5-0024F131BFE2}"/>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39639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1.xml><?xml version="1.0" encoding="utf-8"?>
<p:sldLayout xmlns:a="http://schemas.openxmlformats.org/drawingml/2006/main" xmlns:r="http://schemas.openxmlformats.org/officeDocument/2006/relationships" xmlns:p="http://schemas.openxmlformats.org/presentationml/2006/main" showMasterSp="0" preserve="1" userDrawn="1">
  <p:cSld name="SD Title Midnight">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0A697E7-8EE0-42AD-85FC-7243FF44AFBC}"/>
              </a:ext>
            </a:extLst>
          </p:cNvPr>
          <p:cNvGrpSpPr/>
          <p:nvPr userDrawn="1"/>
        </p:nvGrpSpPr>
        <p:grpSpPr>
          <a:xfrm>
            <a:off x="6553200" y="-2852928"/>
            <a:ext cx="12192000" cy="12223054"/>
            <a:chOff x="2118610" y="-558521"/>
            <a:chExt cx="7954780" cy="7975042"/>
          </a:xfrm>
          <a:effectLst>
            <a:outerShdw blurRad="741743" dist="38100" dir="8100000" algn="tr" rotWithShape="0">
              <a:prstClr val="black">
                <a:alpha val="50550"/>
              </a:prstClr>
            </a:outerShdw>
          </a:effectLst>
        </p:grpSpPr>
        <p:sp>
          <p:nvSpPr>
            <p:cNvPr id="10" name="Freeform 21">
              <a:extLst>
                <a:ext uri="{FF2B5EF4-FFF2-40B4-BE49-F238E27FC236}">
                  <a16:creationId xmlns:a16="http://schemas.microsoft.com/office/drawing/2014/main" id="{6CB1826F-DC2F-42C7-91D1-FEC2A509FFC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1" name="Freeform 22">
              <a:extLst>
                <a:ext uri="{FF2B5EF4-FFF2-40B4-BE49-F238E27FC236}">
                  <a16:creationId xmlns:a16="http://schemas.microsoft.com/office/drawing/2014/main" id="{DDB1A6C9-78D5-48FB-990B-E7734DBB56C7}"/>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92139"/>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02FF7922-0161-4F8A-9A1D-7B958B3A5A2D}"/>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7D521DCB-6825-41A5-B175-75919D297C02}"/>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30" name="Text Placeholder 48">
            <a:extLst>
              <a:ext uri="{FF2B5EF4-FFF2-40B4-BE49-F238E27FC236}">
                <a16:creationId xmlns:a16="http://schemas.microsoft.com/office/drawing/2014/main" id="{4F8C16DE-5A81-4F2F-A856-146C2753C729}"/>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944A1A71-C28C-4511-9F63-4A3C1F0CCD22}"/>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endParaRPr lang="en-US" dirty="0"/>
          </a:p>
        </p:txBody>
      </p:sp>
      <p:sp>
        <p:nvSpPr>
          <p:cNvPr id="20" name="TextBox 19">
            <a:extLst>
              <a:ext uri="{FF2B5EF4-FFF2-40B4-BE49-F238E27FC236}">
                <a16:creationId xmlns:a16="http://schemas.microsoft.com/office/drawing/2014/main" id="{D84357B0-A3CD-6045-8BDB-9045570C678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F149CF9A-FDF7-3A71-4048-CA3A015E3C6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9A2509F8-6F19-2B6F-A314-F1D5494BB362}"/>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9" name="Picture 18">
            <a:extLst>
              <a:ext uri="{FF2B5EF4-FFF2-40B4-BE49-F238E27FC236}">
                <a16:creationId xmlns:a16="http://schemas.microsoft.com/office/drawing/2014/main" id="{609EEA51-FF18-8B06-DED7-C8EC5E87D3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1" name="Text Placeholder 5">
            <a:extLst>
              <a:ext uri="{FF2B5EF4-FFF2-40B4-BE49-F238E27FC236}">
                <a16:creationId xmlns:a16="http://schemas.microsoft.com/office/drawing/2014/main" id="{B03A068B-130F-5EFE-0075-595323A9AF6A}"/>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2" name="Text Placeholder 7">
            <a:extLst>
              <a:ext uri="{FF2B5EF4-FFF2-40B4-BE49-F238E27FC236}">
                <a16:creationId xmlns:a16="http://schemas.microsoft.com/office/drawing/2014/main" id="{268613E5-36A8-75D1-46BC-66773839FC47}"/>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25896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2.xml><?xml version="1.0" encoding="utf-8"?>
<p:sldLayout xmlns:a="http://schemas.openxmlformats.org/drawingml/2006/main" xmlns:r="http://schemas.openxmlformats.org/officeDocument/2006/relationships" xmlns:p="http://schemas.openxmlformats.org/presentationml/2006/main" showMasterSp="0" preserve="1" userDrawn="1">
  <p:cSld name="SD Agenda Big Re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D1111F"/>
                </a:solidFill>
                <a:effectLst>
                  <a:innerShdw blurRad="38100" dist="25400" dir="8100000">
                    <a:srgbClr val="180204">
                      <a:alpha val="49804"/>
                    </a:srgbClr>
                  </a:innerShdw>
                </a:effectLst>
              </a:rPr>
              <a:t>Agenda</a:t>
            </a:r>
          </a:p>
        </p:txBody>
      </p:sp>
      <p:sp>
        <p:nvSpPr>
          <p:cNvPr id="7" name="Text Placeholder 2">
            <a:extLst>
              <a:ext uri="{FF2B5EF4-FFF2-40B4-BE49-F238E27FC236}">
                <a16:creationId xmlns:a16="http://schemas.microsoft.com/office/drawing/2014/main" id="{C3F56594-1474-F14B-A41D-F43DD6BD51D0}"/>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737F365F-7EEE-AA45-8532-53CE290F304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13797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3.xml><?xml version="1.0" encoding="utf-8"?>
<p:sldLayout xmlns:a="http://schemas.openxmlformats.org/drawingml/2006/main" xmlns:r="http://schemas.openxmlformats.org/officeDocument/2006/relationships" xmlns:p="http://schemas.openxmlformats.org/presentationml/2006/main" showMasterSp="0" preserve="1" userDrawn="1">
  <p:cSld name="SD Agenda Big White">
    <p:bg>
      <p:bgPr>
        <a:solidFill>
          <a:srgbClr val="FFFFFF"/>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20000"/>
                    <a:lumOff val="8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6B3B9127-D8AF-E548-8A0E-E6141B702B75}"/>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B421317D-AD5C-6F5F-F6A6-3BDC6388892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4483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4.xml><?xml version="1.0" encoding="utf-8"?>
<p:sldLayout xmlns:a="http://schemas.openxmlformats.org/drawingml/2006/main" xmlns:r="http://schemas.openxmlformats.org/officeDocument/2006/relationships" xmlns:p="http://schemas.openxmlformats.org/presentationml/2006/main" showMasterSp="0" preserve="1" userDrawn="1">
  <p:cSld name="SD Agenda Big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72CF8E38-04A3-A34E-B57D-0814CF3DE5C6}"/>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CCDE8135-DEA4-D944-85A4-19C6AF52940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21005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5.xml><?xml version="1.0" encoding="utf-8"?>
<p:sldLayout xmlns:a="http://schemas.openxmlformats.org/drawingml/2006/main" xmlns:r="http://schemas.openxmlformats.org/officeDocument/2006/relationships" xmlns:p="http://schemas.openxmlformats.org/presentationml/2006/main" showMasterSp="0" preserve="1" userDrawn="1">
  <p:cSld name="SD Agenda Big Gunmetal">
    <p:bg>
      <p:bgPr>
        <a:solidFill>
          <a:schemeClr val="accent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C6A978-F95A-43B4-91EE-66A1EFC2CDD7}"/>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C805FA2C-F21B-EE4F-A31C-ECD531B1E244}"/>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ECFEECC4-DC29-1941-A6E0-5ACEFD341DF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638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6.xml><?xml version="1.0" encoding="utf-8"?>
<p:sldLayout xmlns:a="http://schemas.openxmlformats.org/drawingml/2006/main" xmlns:r="http://schemas.openxmlformats.org/officeDocument/2006/relationships" xmlns:p="http://schemas.openxmlformats.org/presentationml/2006/main" showMasterSp="0" preserve="1" userDrawn="1">
  <p:cSld name="SD Agenda Big Midnight">
    <p:bg>
      <p:bgPr>
        <a:solidFill>
          <a:schemeClr val="tx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B815781-8802-814C-ABFE-690425339A6D}"/>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5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495E9130-3F7C-1B46-B3AF-1C700B3C6EED}"/>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779F154B-536A-D226-DF30-F2C6EA881FA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1493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SD Agenda Red">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A080BE5C-026A-824A-9F24-7CDA1BA227FB}"/>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53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SD Agenda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82B492E3-40DB-A744-A544-A637244B80F7}"/>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SD Agenda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BD146A33-9805-4C48-A6F6-875CFC7CEED8}"/>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005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2709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SD Agenda Gun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5" name="Title 2">
            <a:extLst>
              <a:ext uri="{FF2B5EF4-FFF2-40B4-BE49-F238E27FC236}">
                <a16:creationId xmlns:a16="http://schemas.microsoft.com/office/drawing/2014/main" id="{B25BB882-FF84-4997-A4A9-C537179AE82A}"/>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BD2FAD59-06FA-664F-B2AC-846E9295BADA}"/>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497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SD Agenda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28AA9EC-32E1-43B6-A637-836E83AC4266}"/>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43B8DC1D-A596-0743-91CF-4035BACF78CF}"/>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37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S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endParaRPr lang="en-US" dirty="0"/>
          </a:p>
        </p:txBody>
      </p:sp>
    </p:spTree>
    <p:extLst>
      <p:ext uri="{BB962C8B-B14F-4D97-AF65-F5344CB8AC3E}">
        <p14:creationId xmlns:p14="http://schemas.microsoft.com/office/powerpoint/2010/main" val="184296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SD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91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SD 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888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SD 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2102062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SD 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057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SD 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893677"/>
            <a:ext cx="2608263" cy="952155"/>
          </a:xfrm>
        </p:spPr>
        <p:txBody>
          <a:bodyPr/>
          <a:lstStyle/>
          <a:p>
            <a:r>
              <a:rPr lang="en-US"/>
              <a:t>Click to edit Master title style</a:t>
            </a:r>
          </a:p>
        </p:txBody>
      </p:sp>
      <p:sp>
        <p:nvSpPr>
          <p:cNvPr id="5" name="Subtitle">
            <a:extLst>
              <a:ext uri="{FF2B5EF4-FFF2-40B4-BE49-F238E27FC236}">
                <a16:creationId xmlns:a16="http://schemas.microsoft.com/office/drawing/2014/main" id="{8694D2CA-57FD-5A41-B5C7-1F8CECC66195}"/>
              </a:ext>
            </a:extLst>
          </p:cNvPr>
          <p:cNvSpPr>
            <a:spLocks noGrp="1"/>
          </p:cNvSpPr>
          <p:nvPr>
            <p:ph type="subTitle" idx="1" hasCustomPrompt="1"/>
          </p:nvPr>
        </p:nvSpPr>
        <p:spPr>
          <a:xfrm>
            <a:off x="494189" y="3904316"/>
            <a:ext cx="2608522" cy="1589409"/>
          </a:xfrm>
          <a:prstGeom prst="rect">
            <a:avLst/>
          </a:prstGeom>
        </p:spPr>
        <p:txBody>
          <a:bodyPr wrap="square">
            <a:spAutoFit/>
          </a:bodyPr>
          <a:lstStyle>
            <a:lvl1pPr marL="285750" indent="-285750" algn="l" defTabSz="914400" rtl="0" eaLnBrk="1" latinLnBrk="0" hangingPunct="1">
              <a:lnSpc>
                <a:spcPct val="96000"/>
              </a:lnSpc>
              <a:spcBef>
                <a:spcPts val="900"/>
              </a:spcBef>
              <a:buClr>
                <a:schemeClr val="tx2"/>
              </a:buClr>
              <a:buFont typeface="Arial" panose="020B0604020202020204" pitchFamily="34" charset="0"/>
              <a:buChar char="•"/>
              <a:defRPr lang="en-US" sz="1600" kern="1200" baseline="0" dirty="0">
                <a:solidFill>
                  <a:schemeClr val="tx2"/>
                </a:solidFill>
                <a:latin typeface="+mn-lt"/>
                <a:ea typeface="+mn-ea"/>
                <a:cs typeface="+mn-cs"/>
              </a:defRPr>
            </a:lvl1pPr>
            <a:lvl2pPr marL="301625" indent="-301625" algn="l">
              <a:buClr>
                <a:schemeClr val="tx2"/>
              </a:buClr>
              <a:buFont typeface="Arial" panose="020B0604020202020204" pitchFamily="34" charset="0"/>
              <a:buChar char="•"/>
              <a:tabLst>
                <a:tab pos="2003425" algn="l"/>
              </a:tabLst>
              <a:defRPr sz="1400"/>
            </a:lvl2pPr>
            <a:lvl3pPr marL="571500" indent="-269875" algn="l">
              <a:buClr>
                <a:schemeClr val="tx2"/>
              </a:buClr>
              <a:buFont typeface="Arial" panose="020B0604020202020204" pitchFamily="34" charset="0"/>
              <a:buChar char="•"/>
              <a:tabLst/>
              <a:defRPr sz="1800"/>
            </a:lvl3pPr>
            <a:lvl4pPr marL="571500" indent="-269875" algn="l">
              <a:buClr>
                <a:schemeClr val="tx2"/>
              </a:buClr>
              <a:buFont typeface="Arial" panose="020B0604020202020204" pitchFamily="34" charset="0"/>
              <a:buChar char="•"/>
              <a:tabLst/>
              <a:defRPr sz="1400"/>
            </a:lvl4pPr>
            <a:lvl5pPr marL="850900" indent="-279400" algn="l">
              <a:spcBef>
                <a:spcPts val="75"/>
              </a:spcBef>
              <a:spcAft>
                <a:spcPts val="75"/>
              </a:spcAft>
              <a:buFont typeface="Arial" panose="020B0604020202020204" pitchFamily="34" charset="0"/>
              <a:buChar char="•"/>
              <a:tabLst/>
              <a:defRPr sz="1400" b="0"/>
            </a:lvl5pPr>
            <a:lvl6pPr marL="800100" indent="-800100" algn="l">
              <a:buFont typeface="Arial" panose="020B0604020202020204" pitchFamily="34" charset="0"/>
              <a:buChar char="•"/>
              <a:tabLst/>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267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SD Title and Content">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6390C4F-C50D-4EA4-B36C-FD3A6D8926A2}"/>
              </a:ext>
            </a:extLst>
          </p:cNvPr>
          <p:cNvSpPr>
            <a:spLocks noGrp="1"/>
          </p:cNvSpPr>
          <p:nvPr>
            <p:ph sz="quarter" idx="16"/>
          </p:nvPr>
        </p:nvSpPr>
        <p:spPr>
          <a:xfrm>
            <a:off x="494188" y="1719072"/>
            <a:ext cx="11202511"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pPr>
              <a:defRPr/>
            </a:pPr>
            <a:r>
              <a:rPr lang="en-US"/>
              <a:t>IBC 2023</a:t>
            </a:r>
            <a:endParaRPr lang="en-US" dirty="0"/>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40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SD 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2123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57115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SD 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4251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1.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Red">
    <p:bg>
      <p:bgPr>
        <a:solidFill>
          <a:schemeClr val="bg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3A8CC-E70D-4655-9738-607E9AB570D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IBC 2023</a:t>
            </a:r>
            <a:endParaRPr lang="en-US" dirty="0"/>
          </a:p>
        </p:txBody>
      </p:sp>
      <p:sp>
        <p:nvSpPr>
          <p:cNvPr id="5" name="Title 3">
            <a:extLst>
              <a:ext uri="{FF2B5EF4-FFF2-40B4-BE49-F238E27FC236}">
                <a16:creationId xmlns:a16="http://schemas.microsoft.com/office/drawing/2014/main" id="{8BAE2EEE-D744-4DCE-AA4D-329EBB37E8D0}"/>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851BFC7F-08CD-484C-AEAC-FDDD29DB914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53270F94-B0D0-418A-A0DA-8F392DF00CE2}"/>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7" name="TextBox 6">
            <a:extLst>
              <a:ext uri="{FF2B5EF4-FFF2-40B4-BE49-F238E27FC236}">
                <a16:creationId xmlns:a16="http://schemas.microsoft.com/office/drawing/2014/main" id="{8C7A4937-F361-A84D-BBA4-930690AF585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125757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SD Title and Subtitle White">
    <p:bg>
      <p:bgPr>
        <a:solidFill>
          <a:srgbClr val="FAFBFC"/>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5680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SD Title and Sub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endParaRPr lang="en-US" dirty="0"/>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395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4.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Gunmetal">
    <p:bg>
      <p:bgPr>
        <a:solidFill>
          <a:schemeClr val="accent5"/>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AD80C37-2083-4D37-BD1B-FD58CA4160C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itle 3">
            <a:extLst>
              <a:ext uri="{FF2B5EF4-FFF2-40B4-BE49-F238E27FC236}">
                <a16:creationId xmlns:a16="http://schemas.microsoft.com/office/drawing/2014/main" id="{C8663155-F71F-4E37-929E-734AA04A2137}"/>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1AA9D118-B949-48F9-8441-498DC3CA5E9F}"/>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F335D76E-32AD-4DEE-90A0-93ECEF4B0F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9" name="TextBox 8">
            <a:extLst>
              <a:ext uri="{FF2B5EF4-FFF2-40B4-BE49-F238E27FC236}">
                <a16:creationId xmlns:a16="http://schemas.microsoft.com/office/drawing/2014/main" id="{AD838838-BE57-E34A-ABF5-2C0070416E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5817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5.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Midnight">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26824E5-24D4-439C-96E3-DE800C32FF7C}"/>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itle 3">
            <a:extLst>
              <a:ext uri="{FF2B5EF4-FFF2-40B4-BE49-F238E27FC236}">
                <a16:creationId xmlns:a16="http://schemas.microsoft.com/office/drawing/2014/main" id="{0321B3C6-CCC0-410B-99D2-AF5F9DBD6269}"/>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7338B18C-2B89-4572-910C-EA1F43F15ABD}"/>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B5780F14-570B-4BDF-BDF0-3FE3F89E0B5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7" name="TextBox 6">
            <a:extLst>
              <a:ext uri="{FF2B5EF4-FFF2-40B4-BE49-F238E27FC236}">
                <a16:creationId xmlns:a16="http://schemas.microsoft.com/office/drawing/2014/main" id="{BB07E57D-E08F-644F-934B-0835F92FB4B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6952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reserve="1" userDrawn="1">
  <p:cSld name="SD Blank Fireball Red">
    <p:bg>
      <p:bgPr>
        <a:solidFill>
          <a:srgbClr val="CD111E"/>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437"/>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94ED5EAF-78DC-43F8-94C6-0A3E845563B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E89D24C-C3C5-0B41-A42D-29F52EE22F9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2" name="Text Placeholder 2">
            <a:extLst>
              <a:ext uri="{FF2B5EF4-FFF2-40B4-BE49-F238E27FC236}">
                <a16:creationId xmlns:a16="http://schemas.microsoft.com/office/drawing/2014/main" id="{C464D679-1580-4DBB-A11D-DC62EB97446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3" name="Text Placeholder 47">
            <a:extLst>
              <a:ext uri="{FF2B5EF4-FFF2-40B4-BE49-F238E27FC236}">
                <a16:creationId xmlns:a16="http://schemas.microsoft.com/office/drawing/2014/main" id="{158A983D-A462-49A3-A422-64FAFD233B9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11574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7.xml><?xml version="1.0" encoding="utf-8"?>
<p:sldLayout xmlns:a="http://schemas.openxmlformats.org/drawingml/2006/main" xmlns:r="http://schemas.openxmlformats.org/officeDocument/2006/relationships" xmlns:p="http://schemas.openxmlformats.org/presentationml/2006/main" showMasterSp="0" preserve="1" userDrawn="1">
  <p:cSld name="SD Blank Fireball Whit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1F2F5"/>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24C35F18-0A18-4D40-939E-C1AFCB85CE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4BE19A9C-A507-B142-B455-AA5933A548D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5630368C-0CDF-411A-A191-49E899612FFC}"/>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B94E9817-6E08-43A2-B39F-47890833372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00891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SD Blank Fireball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B61F5CC4-20B6-4766-B066-5E1E7E75F489}"/>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Enter a quote or big statement here</a:t>
            </a:r>
          </a:p>
        </p:txBody>
      </p:sp>
      <p:sp>
        <p:nvSpPr>
          <p:cNvPr id="10" name="TextBox 9">
            <a:extLst>
              <a:ext uri="{FF2B5EF4-FFF2-40B4-BE49-F238E27FC236}">
                <a16:creationId xmlns:a16="http://schemas.microsoft.com/office/drawing/2014/main" id="{C725D2C4-F421-3647-8C79-00B1B8E506D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6F743B7C-8E05-4E60-8E43-6BB66F02C14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260ECEE4-BC8D-4E89-980A-7DBC39D89E7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680388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9.xml><?xml version="1.0" encoding="utf-8"?>
<p:sldLayout xmlns:a="http://schemas.openxmlformats.org/drawingml/2006/main" xmlns:r="http://schemas.openxmlformats.org/officeDocument/2006/relationships" xmlns:p="http://schemas.openxmlformats.org/presentationml/2006/main" showMasterSp="0" preserve="1" userDrawn="1">
  <p:cSld name="SD Blank Fireball Gunmetal">
    <p:bg>
      <p:bgPr>
        <a:solidFill>
          <a:srgbClr val="3D4A6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D4A6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C0E12">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C0E12">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0964E06C-5CDC-4DD2-949B-419EC57E3AAB}"/>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A74494B-FB0A-7644-BDB3-59749D99E3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F88459E5-FD06-4889-9EE1-4D29E262FC0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B30E4199-8597-44AB-B6EC-4497BD09E8D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43713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71038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0.xml><?xml version="1.0" encoding="utf-8"?>
<p:sldLayout xmlns:a="http://schemas.openxmlformats.org/drawingml/2006/main" xmlns:r="http://schemas.openxmlformats.org/officeDocument/2006/relationships" xmlns:p="http://schemas.openxmlformats.org/presentationml/2006/main" showMasterSp="0" preserve="1" userDrawn="1">
  <p:cSld name="SD Blank Fireball Midnight">
    <p:bg>
      <p:bgPr>
        <a:solidFill>
          <a:srgbClr val="081D3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071B2F"/>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A233C"/>
            </a:solidFill>
            <a:ln>
              <a:noFill/>
            </a:ln>
            <a:effectLst>
              <a:outerShdw blurRad="304800" dist="304800" dir="8100000" algn="tr" rotWithShape="0">
                <a:srgbClr val="050D13">
                  <a:alpha val="35000"/>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8C2CAAF-CDDA-4C4A-89EC-D1913727AD1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F53FCEE-0955-084E-8D70-8129C635A40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14B69B5A-BF88-4025-B43F-F44CE934321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34BF50B9-4029-41B5-9009-27DD98516CC4}"/>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363075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1.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A00C3292-75D1-4DA8-82E9-9A4CB6D8CFC8}"/>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EDDDDD52-8A68-4B86-A9C6-F0B2044B4DE6}"/>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2" name="TextBox 11">
            <a:extLst>
              <a:ext uri="{FF2B5EF4-FFF2-40B4-BE49-F238E27FC236}">
                <a16:creationId xmlns:a16="http://schemas.microsoft.com/office/drawing/2014/main" id="{EA7A73CF-3EA7-E444-8AC7-9CA650E8702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2F67DEC8-5B82-45EB-9E1C-1797E01FC933}"/>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8" name="Text Placeholder 47">
            <a:extLst>
              <a:ext uri="{FF2B5EF4-FFF2-40B4-BE49-F238E27FC236}">
                <a16:creationId xmlns:a16="http://schemas.microsoft.com/office/drawing/2014/main" id="{CED15783-97E6-4593-B718-789CCD8E42A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305452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2.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White">
    <p:bg>
      <p:bgPr>
        <a:solidFill>
          <a:srgbClr val="FFFFFF"/>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chemeClr val="bg1"/>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AFBFC"/>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64807E53-98A7-46DD-A808-B562A7449FC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DAAB8A5D-AC60-C84A-A928-281A9137C12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16B8C3E4-9F3D-4C8D-A8D1-1D949A9D31E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7" name="Text Placeholder 47">
            <a:extLst>
              <a:ext uri="{FF2B5EF4-FFF2-40B4-BE49-F238E27FC236}">
                <a16:creationId xmlns:a16="http://schemas.microsoft.com/office/drawing/2014/main" id="{3F709CA9-7ECB-4967-B989-FFF289471B0B}"/>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408403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0" name="Text Placeholder 2">
            <a:extLst>
              <a:ext uri="{FF2B5EF4-FFF2-40B4-BE49-F238E27FC236}">
                <a16:creationId xmlns:a16="http://schemas.microsoft.com/office/drawing/2014/main" id="{1B2798E6-6971-4C62-B298-8434FE93935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92ED7BC6-7327-5148-BD05-DC8203396E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1D37783B-92BD-45E0-A8C1-A8EEF709C22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8" name="Text Placeholder 47">
            <a:extLst>
              <a:ext uri="{FF2B5EF4-FFF2-40B4-BE49-F238E27FC236}">
                <a16:creationId xmlns:a16="http://schemas.microsoft.com/office/drawing/2014/main" id="{7DD45AE6-5FFF-448D-8664-D0A2D942143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17375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4.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Gunmetal">
    <p:bg>
      <p:bgPr>
        <a:solidFill>
          <a:schemeClr val="accent5"/>
        </a:solidFill>
        <a:effectLst/>
      </p:bgPr>
    </p:bg>
    <p:spTree>
      <p:nvGrpSpPr>
        <p:cNvPr id="1" name=""/>
        <p:cNvGrpSpPr/>
        <p:nvPr/>
      </p:nvGrpSpPr>
      <p:grpSpPr>
        <a:xfrm>
          <a:off x="0" y="0"/>
          <a:ext cx="0" cy="0"/>
          <a:chOff x="0" y="0"/>
          <a:chExt cx="0" cy="0"/>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F4D6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E5F7A"/>
          </a:solidFill>
          <a:ln>
            <a:noFill/>
          </a:ln>
          <a:effectLst>
            <a:outerShdw blurRad="304800" dist="304800" dir="8100000" algn="tr" rotWithShape="0">
              <a:srgbClr val="0A0C10">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90B0F">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80A0C">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sp>
        <p:nvSpPr>
          <p:cNvPr id="10" name="Text Placeholder 2">
            <a:extLst>
              <a:ext uri="{FF2B5EF4-FFF2-40B4-BE49-F238E27FC236}">
                <a16:creationId xmlns:a16="http://schemas.microsoft.com/office/drawing/2014/main" id="{11733D67-8F17-48E5-8721-648A321CB61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9" name="TextBox 8">
            <a:extLst>
              <a:ext uri="{FF2B5EF4-FFF2-40B4-BE49-F238E27FC236}">
                <a16:creationId xmlns:a16="http://schemas.microsoft.com/office/drawing/2014/main" id="{2C995166-EB53-2842-BADE-906F0C8250D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56E69B2D-39C4-485E-868E-0BCAED86F1F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7" name="Text Placeholder 47">
            <a:extLst>
              <a:ext uri="{FF2B5EF4-FFF2-40B4-BE49-F238E27FC236}">
                <a16:creationId xmlns:a16="http://schemas.microsoft.com/office/drawing/2014/main" id="{BA50C9A3-5C39-479C-A785-3A1A86CD75E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96057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5.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Midnight">
    <p:bg>
      <p:bgPr>
        <a:solidFill>
          <a:schemeClr val="tx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5DDF63-EA9F-4B09-AD38-3CF158117D3F}"/>
              </a:ext>
            </a:extLst>
          </p:cNvPr>
          <p:cNvGrpSpPr/>
          <p:nvPr userDrawn="1"/>
        </p:nvGrpSpPr>
        <p:grpSpPr>
          <a:xfrm>
            <a:off x="2118610" y="-558521"/>
            <a:ext cx="7954780" cy="7975042"/>
            <a:chOff x="2801769" y="126378"/>
            <a:chExt cx="6588462" cy="6605244"/>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801769" y="126378"/>
              <a:ext cx="6588462" cy="6589988"/>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801769" y="126378"/>
              <a:ext cx="4950118" cy="6605243"/>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D2C4B"/>
            </a:solidFill>
            <a:ln>
              <a:noFill/>
            </a:ln>
            <a:effectLst>
              <a:outerShdw blurRad="304800" dist="304800" dir="10800000" algn="r" rotWithShape="0">
                <a:srgbClr val="02080E">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0D2C4B"/>
            </a:solidFill>
            <a:ln>
              <a:noFill/>
            </a:ln>
            <a:effectLst>
              <a:innerShdw blurRad="304800" dist="304800" dir="18900000">
                <a:srgbClr val="050D13">
                  <a:alpha val="50000"/>
                </a:srgbClr>
              </a:innerShdw>
            </a:effectLst>
          </p:spPr>
          <p:txBody>
            <a:bodyPr vert="horz" wrap="square" lIns="91440" tIns="45720" rIns="91440" bIns="45720" numCol="1" anchor="t" anchorCtr="0" compatLnSpc="1">
              <a:prstTxWarp prst="textNoShape">
                <a:avLst/>
              </a:prstTxWarp>
            </a:bodyPr>
            <a:lstStyle/>
            <a:p>
              <a:endParaRPr lang="en-US"/>
            </a:p>
          </p:txBody>
        </p:sp>
      </p:grpSp>
      <p:sp>
        <p:nvSpPr>
          <p:cNvPr id="10" name="Text Placeholder 2">
            <a:extLst>
              <a:ext uri="{FF2B5EF4-FFF2-40B4-BE49-F238E27FC236}">
                <a16:creationId xmlns:a16="http://schemas.microsoft.com/office/drawing/2014/main" id="{82BF70D1-2372-4B77-B2A2-31833C33D018}"/>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C5058962-74F8-A743-AD5E-27A4A90189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5" name="Text Placeholder 2">
            <a:extLst>
              <a:ext uri="{FF2B5EF4-FFF2-40B4-BE49-F238E27FC236}">
                <a16:creationId xmlns:a16="http://schemas.microsoft.com/office/drawing/2014/main" id="{BE8555D9-AA6D-4C69-9ACF-93F32F5DB89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6" name="Text Placeholder 47">
            <a:extLst>
              <a:ext uri="{FF2B5EF4-FFF2-40B4-BE49-F238E27FC236}">
                <a16:creationId xmlns:a16="http://schemas.microsoft.com/office/drawing/2014/main" id="{550A8FB1-A866-4D28-BA93-A8493FF075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328137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SD Shelf Red">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bg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42BA5A4B-EF02-4E2D-8046-A008C6824853}"/>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5C7CD035-E3AE-094C-9116-E763D4650A7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30646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SD 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03CF40E9-DEAF-493C-B475-895B049DB0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CF84B7E2-7102-7249-878F-AE7424E637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0759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SD 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1C775F73-24E3-4EFE-81CC-0A42D0DB058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11923F10-D7DD-9C42-B84B-BC4F192B70B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6905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SD 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5C13B54D-96FE-401E-9628-2EE14ED88006}"/>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C4DA8D7E-8B55-4949-9258-214A3F2732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8801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26789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SD 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EAB4FB2F-9AB9-432F-93E7-DA8BC9D85FA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FE1FE39-599B-8149-8E95-00D55D065F7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9496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SD Fifty Fifty Red">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endParaRPr lang="en-US" dirty="0"/>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69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SD 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896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SD 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560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SD 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EB6F6D38-8378-8946-AE37-D76813BE4ED1}"/>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D808691C-4519-914E-8F02-AF2542CE6739}"/>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38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SD 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3390" y="-159655"/>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endParaRPr lang="en-US" dirty="0"/>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CE187649-C2CF-3048-88B5-038E7AE26350}"/>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82F18929-5BBB-5E40-B967-9F715090FFDF}"/>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309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SD_Cutaway 1/3 Right Red">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36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SD_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047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SD_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88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SD_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6509945B-0089-450C-B2CD-0E4FBC97B735}"/>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0EB14AB7-C8B4-422F-A4E4-26D7174B5D2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101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63528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SD_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70BE114-8BEC-41B2-BDBA-3BB922CC597F}"/>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5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1.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Footer Placeholder 2">
            <a:extLst>
              <a:ext uri="{FF2B5EF4-FFF2-40B4-BE49-F238E27FC236}">
                <a16:creationId xmlns:a16="http://schemas.microsoft.com/office/drawing/2014/main" id="{3D22F37A-B6B9-9C47-B70D-23AE6BE4CB0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9" name="TextBox 8">
            <a:extLst>
              <a:ext uri="{FF2B5EF4-FFF2-40B4-BE49-F238E27FC236}">
                <a16:creationId xmlns:a16="http://schemas.microsoft.com/office/drawing/2014/main" id="{C6B6FB58-AA0E-DC15-AACC-6F08F21FD31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4354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2.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endParaRPr lang="en-US" dirty="0"/>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688A1DC-6E2A-57AD-266E-351F71C2D9E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946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3.xml><?xml version="1.0" encoding="utf-8"?>
<p:sldLayout xmlns:a="http://schemas.openxmlformats.org/drawingml/2006/main" xmlns:r="http://schemas.openxmlformats.org/officeDocument/2006/relationships" xmlns:p="http://schemas.openxmlformats.org/presentationml/2006/main" showMasterSp="0" preserve="1" userDrawn="1">
  <p:cSld name="SD_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endParaRPr lang="en-US" dirty="0"/>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02FB666D-3907-0AF7-AF5D-C7344D39F1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1429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4.xml><?xml version="1.0" encoding="utf-8"?>
<p:sldLayout xmlns:a="http://schemas.openxmlformats.org/drawingml/2006/main" xmlns:r="http://schemas.openxmlformats.org/officeDocument/2006/relationships" xmlns:p="http://schemas.openxmlformats.org/presentationml/2006/main" showMasterSp="0" preserve="1" userDrawn="1">
  <p:cSld name="SD_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endParaRPr lang="en-US" dirty="0"/>
          </a:p>
        </p:txBody>
      </p:sp>
      <p:sp>
        <p:nvSpPr>
          <p:cNvPr id="5" name="TextBox 4">
            <a:extLst>
              <a:ext uri="{FF2B5EF4-FFF2-40B4-BE49-F238E27FC236}">
                <a16:creationId xmlns:a16="http://schemas.microsoft.com/office/drawing/2014/main" id="{69EC8DBE-004F-FE4A-8441-FB8D26CB02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7114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SD 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6E88897A-387B-264D-9522-9C3B1FF1F3A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47169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SD 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BD3313CA-8613-B249-821B-0584EDEB883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301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SD 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D2B00E6-D523-6C40-8C3C-EA1A6C03A58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8900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SD 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5E00948D-7B2D-714B-8E6D-4A37ADA6CC9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91356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SD 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DE5A83F-9153-3C44-8957-2EC27B94572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6457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53627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SD Showcase Circl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A86694-1ECC-42EC-BE07-600F1C0BC6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858"/>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endParaRPr lang="en-US" dirty="0"/>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9A18C914-9D69-0546-A1C6-6F41BB990E49}"/>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39C70112-9A84-A446-8F7F-6CF61C9967B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7774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SD Showcase Squar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510F42-9E8C-443B-8354-231F3450AD6C}"/>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endParaRPr lang="en-US" dirty="0"/>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5" name="Picture Placeholder 5">
            <a:extLst>
              <a:ext uri="{FF2B5EF4-FFF2-40B4-BE49-F238E27FC236}">
                <a16:creationId xmlns:a16="http://schemas.microsoft.com/office/drawing/2014/main" id="{30B38128-2D95-E941-B2BF-A15CAAB123C0}"/>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6097F0B3-929E-A344-8B69-23BC6D52B50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3109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SD Showcase Circl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647107-E37C-47BD-B11C-44982B708CDD}"/>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endParaRPr lang="en-US" dirty="0"/>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86C5B809-3E12-0A40-A02B-B0EE8552A096}"/>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9" name="TextBox 8">
            <a:extLst>
              <a:ext uri="{FF2B5EF4-FFF2-40B4-BE49-F238E27FC236}">
                <a16:creationId xmlns:a16="http://schemas.microsoft.com/office/drawing/2014/main" id="{CD189F20-8729-2444-981C-23DCC2E2BBB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8198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SD Showcase Squar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8CA6EA-4EC4-42A8-B386-C241EF115F9A}"/>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endParaRPr lang="en-US" dirty="0"/>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68CF800F-AA02-1B49-B224-9A06208DF3B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9" name="TextBox 8">
            <a:extLst>
              <a:ext uri="{FF2B5EF4-FFF2-40B4-BE49-F238E27FC236}">
                <a16:creationId xmlns:a16="http://schemas.microsoft.com/office/drawing/2014/main" id="{19FE6D94-B327-084F-BDAB-3298CA78BE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3255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4.xml><?xml version="1.0" encoding="utf-8"?>
<p:sldLayout xmlns:a="http://schemas.openxmlformats.org/drawingml/2006/main" xmlns:r="http://schemas.openxmlformats.org/officeDocument/2006/relationships" xmlns:p="http://schemas.openxmlformats.org/presentationml/2006/main" showMasterSp="0" preserve="1" userDrawn="1">
  <p:cSld name="SD_Image Left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75DD4A-EECC-C547-8F7C-C486D588CEFC}"/>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C316BB8-9221-4CF5-A3AC-97DB385C7210}"/>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r>
              <a:rPr lang="en-US"/>
              <a:t>IBC 2023</a:t>
            </a:r>
            <a:endParaRPr lang="en-US" dirty="0"/>
          </a:p>
        </p:txBody>
      </p:sp>
      <p:sp>
        <p:nvSpPr>
          <p:cNvPr id="11" name="TextBox 10">
            <a:extLst>
              <a:ext uri="{FF2B5EF4-FFF2-40B4-BE49-F238E27FC236}">
                <a16:creationId xmlns:a16="http://schemas.microsoft.com/office/drawing/2014/main" id="{B9D51157-61E2-4FBA-93B6-79B4052F1A17}"/>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BE6B4DBC-D544-C040-A8B4-3C5F9841AC80}"/>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9789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5.xml><?xml version="1.0" encoding="utf-8"?>
<p:sldLayout xmlns:a="http://schemas.openxmlformats.org/drawingml/2006/main" xmlns:r="http://schemas.openxmlformats.org/officeDocument/2006/relationships" xmlns:p="http://schemas.openxmlformats.org/presentationml/2006/main" showMasterSp="0" preserve="1" userDrawn="1">
  <p:cSld name="SD_Image Left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DE128B-1DB8-554E-8F04-4D9ED492F91E}"/>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0A0B53BA-FA9B-40BF-9ADE-676B5C4BE42A}"/>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B2BB9067-ED8A-4D94-9B00-8410EEA9CFEB}"/>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4C60EE0F-8B28-E747-AB44-F8BE2D093FDC}"/>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4437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6.xml><?xml version="1.0" encoding="utf-8"?>
<p:sldLayout xmlns:a="http://schemas.openxmlformats.org/drawingml/2006/main" xmlns:r="http://schemas.openxmlformats.org/officeDocument/2006/relationships" xmlns:p="http://schemas.openxmlformats.org/presentationml/2006/main" showMasterSp="0" preserve="1" userDrawn="1">
  <p:cSld name="SD_Image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931E04-3D83-0A42-B203-58F7D87856D9}"/>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812EEBE7-6B5F-4C1C-9CF1-59A95FAC8066}"/>
              </a:ext>
            </a:extLst>
          </p:cNvPr>
          <p:cNvSpPr>
            <a:spLocks noGrp="1"/>
          </p:cNvSpPr>
          <p:nvPr>
            <p:ph type="ftr" sz="quarter" idx="16"/>
          </p:nvPr>
        </p:nvSpPr>
        <p:spPr>
          <a:xfrm>
            <a:off x="8103394" y="6089904"/>
            <a:ext cx="357422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C4C9C04D-8F5D-42CA-8F1F-DE23A6DD948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76C493A7-E235-4249-944C-8CC5F6857D03}"/>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6528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7.xml><?xml version="1.0" encoding="utf-8"?>
<p:sldLayout xmlns:a="http://schemas.openxmlformats.org/drawingml/2006/main" xmlns:r="http://schemas.openxmlformats.org/officeDocument/2006/relationships" xmlns:p="http://schemas.openxmlformats.org/presentationml/2006/main" showMasterSp="0" preserve="1" userDrawn="1">
  <p:cSld name="SD_Image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774562-B6FE-C54A-A445-E945FBC13204}"/>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B2EE45F7-538F-4FC9-ADF8-A824AC4DAF1B}"/>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90905DD8-9532-4B5B-8D68-64EE4A78F59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3" name="TextBox 12">
            <a:extLst>
              <a:ext uri="{FF2B5EF4-FFF2-40B4-BE49-F238E27FC236}">
                <a16:creationId xmlns:a16="http://schemas.microsoft.com/office/drawing/2014/main" id="{BBB2E7B5-124A-3D42-9E7D-712CCC9B139F}"/>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897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preserve="1" userDrawn="1">
  <p:cSld name="SD_Image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BDE2E1-92E6-7343-A97E-8F2BD34E3496}"/>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F9FDB7F-4DC9-4EA1-9ED7-C137E1F9B8DF}"/>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9F7F8BFB-AEE8-498D-9E43-0D01F53CA53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2" name="TextBox 11">
            <a:extLst>
              <a:ext uri="{FF2B5EF4-FFF2-40B4-BE49-F238E27FC236}">
                <a16:creationId xmlns:a16="http://schemas.microsoft.com/office/drawing/2014/main" id="{15673EF2-F010-6A45-B5DE-07FD51C42857}"/>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2223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preserve="1" userDrawn="1">
  <p:cSld name="SD_Image Right 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89CA83A-45CB-F251-159E-F280BAB204B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9734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2663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0.xml><?xml version="1.0" encoding="utf-8"?>
<p:sldLayout xmlns:a="http://schemas.openxmlformats.org/drawingml/2006/main" xmlns:r="http://schemas.openxmlformats.org/officeDocument/2006/relationships" xmlns:p="http://schemas.openxmlformats.org/presentationml/2006/main" showMasterSp="0" preserve="1" userDrawn="1">
  <p:cSld name="SD_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B9F45113-68D9-B2FC-F747-BE9A8646A04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0687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1.xml><?xml version="1.0" encoding="utf-8"?>
<p:sldLayout xmlns:a="http://schemas.openxmlformats.org/drawingml/2006/main" xmlns:r="http://schemas.openxmlformats.org/officeDocument/2006/relationships" xmlns:p="http://schemas.openxmlformats.org/presentationml/2006/main" showMasterSp="0" preserve="1" userDrawn="1">
  <p:cSld name="SD_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IBC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17D643E7-2A99-2F12-C4D2-7ACAA412F5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16084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2.xml><?xml version="1.0" encoding="utf-8"?>
<p:sldLayout xmlns:a="http://schemas.openxmlformats.org/drawingml/2006/main" xmlns:r="http://schemas.openxmlformats.org/officeDocument/2006/relationships" xmlns:p="http://schemas.openxmlformats.org/presentationml/2006/main" showMasterSp="0" preserve="1" userDrawn="1">
  <p:cSld name="SD_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FC8033F-2F88-6505-E202-4B8D75B2149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5135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3.xml><?xml version="1.0" encoding="utf-8"?>
<p:sldLayout xmlns:a="http://schemas.openxmlformats.org/drawingml/2006/main" xmlns:r="http://schemas.openxmlformats.org/officeDocument/2006/relationships" xmlns:p="http://schemas.openxmlformats.org/presentationml/2006/main" showMasterSp="0" preserve="1" userDrawn="1">
  <p:cSld name="SD_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7D76EA51-5C9D-DC12-4F45-AA693CB163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603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SD_Cutaway 1/4 Left Red">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51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SD_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05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SD_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0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SD_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D68A6C0B-0BF9-4A22-B90D-608F5EE4090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5F2E0DD2-6F9C-4113-8407-BCBE8A4B1CA9}"/>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Tree>
    <p:extLst>
      <p:ext uri="{BB962C8B-B14F-4D97-AF65-F5344CB8AC3E}">
        <p14:creationId xmlns:p14="http://schemas.microsoft.com/office/powerpoint/2010/main" val="406971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SD_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6086602B-AA9B-4FB3-83AD-F5FB2BC551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50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preserve="1" userDrawn="1">
  <p:cSld name="SD_Large Circle Red 2">
    <p:bg>
      <p:bgPr>
        <a:solidFill>
          <a:schemeClr val="bg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1111F"/>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872"/>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IBC 2023</a:t>
            </a:r>
            <a:endParaRPr lang="en-US" dirty="0"/>
          </a:p>
        </p:txBody>
      </p:sp>
      <p:sp>
        <p:nvSpPr>
          <p:cNvPr id="20" name="Title 2">
            <a:extLst>
              <a:ext uri="{FF2B5EF4-FFF2-40B4-BE49-F238E27FC236}">
                <a16:creationId xmlns:a16="http://schemas.microsoft.com/office/drawing/2014/main" id="{93599206-992C-D847-B719-FBA798CA5DBF}"/>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21" name="Subtitle">
            <a:extLst>
              <a:ext uri="{FF2B5EF4-FFF2-40B4-BE49-F238E27FC236}">
                <a16:creationId xmlns:a16="http://schemas.microsoft.com/office/drawing/2014/main" id="{2A9AEF52-D7A8-C64F-814D-4E9298CD62D9}"/>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Content Placeholder 4">
            <a:extLst>
              <a:ext uri="{FF2B5EF4-FFF2-40B4-BE49-F238E27FC236}">
                <a16:creationId xmlns:a16="http://schemas.microsoft.com/office/drawing/2014/main" id="{0129E7C8-AC10-8847-915D-92B5501FC00F}"/>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9">
            <a:extLst>
              <a:ext uri="{FF2B5EF4-FFF2-40B4-BE49-F238E27FC236}">
                <a16:creationId xmlns:a16="http://schemas.microsoft.com/office/drawing/2014/main" id="{038D6095-BEBE-BB4F-96AD-F9747306CB0A}"/>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51666D16-72E8-4EFF-8DCE-432DA7CA2C3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bg1"/>
                </a:solidFill>
              </a:rPr>
              <a:t>Confidential – Qualcomm Technologies, Inc.</a:t>
            </a:r>
            <a:br>
              <a:rPr lang="en-US" dirty="0">
                <a:solidFill>
                  <a:schemeClr val="bg1"/>
                </a:solidFill>
              </a:rPr>
            </a:br>
            <a:r>
              <a:rPr lang="en-US" dirty="0">
                <a:solidFill>
                  <a:schemeClr val="bg1"/>
                </a:solidFill>
              </a:rPr>
              <a:t>and/or its affiliated companies – May Contain Trade Secrets</a:t>
            </a:r>
          </a:p>
        </p:txBody>
      </p:sp>
    </p:spTree>
    <p:extLst>
      <p:ext uri="{BB962C8B-B14F-4D97-AF65-F5344CB8AC3E}">
        <p14:creationId xmlns:p14="http://schemas.microsoft.com/office/powerpoint/2010/main" val="140426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5768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0.xml><?xml version="1.0" encoding="utf-8"?>
<p:sldLayout xmlns:a="http://schemas.openxmlformats.org/drawingml/2006/main" xmlns:r="http://schemas.openxmlformats.org/officeDocument/2006/relationships" xmlns:p="http://schemas.openxmlformats.org/presentationml/2006/main" showMasterSp="0" preserve="1" userDrawn="1">
  <p:cSld name="SD_Large Circle White 2">
    <p:bg>
      <p:bgPr>
        <a:solidFill>
          <a:schemeClr val="bg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EAEDF2"/>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endParaRPr lang="en-US" dirty="0"/>
          </a:p>
        </p:txBody>
      </p:sp>
      <p:sp>
        <p:nvSpPr>
          <p:cNvPr id="16" name="Title 2">
            <a:extLst>
              <a:ext uri="{FF2B5EF4-FFF2-40B4-BE49-F238E27FC236}">
                <a16:creationId xmlns:a16="http://schemas.microsoft.com/office/drawing/2014/main" id="{215FF207-7D54-4440-A7D5-DC52EC3959F1}"/>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7" name="Subtitle">
            <a:extLst>
              <a:ext uri="{FF2B5EF4-FFF2-40B4-BE49-F238E27FC236}">
                <a16:creationId xmlns:a16="http://schemas.microsoft.com/office/drawing/2014/main" id="{F1478138-6A62-7B4B-BACB-244F3E95682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8" name="Content Placeholder 4">
            <a:extLst>
              <a:ext uri="{FF2B5EF4-FFF2-40B4-BE49-F238E27FC236}">
                <a16:creationId xmlns:a16="http://schemas.microsoft.com/office/drawing/2014/main" id="{E60FE8FC-8E72-2842-906A-77D42E2B258F}"/>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C214789A-742D-3A44-93B4-05AE6682ED4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6DE0EA69-353A-4377-9420-BAD85996AF96}"/>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219566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preserve="1" userDrawn="1">
  <p:cSld name="SD_Large Circl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3DAE5"/>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IBC 2023</a:t>
            </a:r>
            <a:endParaRPr lang="en-US" dirty="0"/>
          </a:p>
        </p:txBody>
      </p:sp>
      <p:sp>
        <p:nvSpPr>
          <p:cNvPr id="13" name="Title 2">
            <a:extLst>
              <a:ext uri="{FF2B5EF4-FFF2-40B4-BE49-F238E27FC236}">
                <a16:creationId xmlns:a16="http://schemas.microsoft.com/office/drawing/2014/main" id="{A88E3116-BFC5-1841-9418-761CF03241DC}"/>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8A2C3CB4-6003-1C42-A155-F977A899CED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2BD9774F-06C2-FC47-8791-39A0CF387E4C}"/>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A3B88A5A-3F4A-4142-8EC3-A5DE5D094E5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16F9DABE-F471-456C-A562-07765D13BFBA}"/>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404253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2.xml><?xml version="1.0" encoding="utf-8"?>
<p:sldLayout xmlns:a="http://schemas.openxmlformats.org/drawingml/2006/main" xmlns:r="http://schemas.openxmlformats.org/officeDocument/2006/relationships" xmlns:p="http://schemas.openxmlformats.org/presentationml/2006/main" showMasterSp="0" preserve="1" userDrawn="1">
  <p:cSld name="SD_Large Circle Gun Metal 2">
    <p:bg>
      <p:bgPr>
        <a:solidFill>
          <a:schemeClr val="accent5"/>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rgbClr val="44536C"/>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endParaRPr lang="en-US" dirty="0"/>
          </a:p>
        </p:txBody>
      </p:sp>
      <p:sp>
        <p:nvSpPr>
          <p:cNvPr id="13" name="Title 2">
            <a:extLst>
              <a:ext uri="{FF2B5EF4-FFF2-40B4-BE49-F238E27FC236}">
                <a16:creationId xmlns:a16="http://schemas.microsoft.com/office/drawing/2014/main" id="{B36D15F6-7DE5-6443-9613-C4B2FBC1F848}"/>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CBEB3E5-81CA-814D-ADF5-BF5AC22CC9CB}"/>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19189C48-4D09-6448-9A16-6C4D04527AD6}"/>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E11DFE3E-54AF-B840-B32E-6EC908B58E66}"/>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F38CC6BF-4FF8-4D6D-B41B-0D91B3088BFF}"/>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217087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3.xml><?xml version="1.0" encoding="utf-8"?>
<p:sldLayout xmlns:a="http://schemas.openxmlformats.org/drawingml/2006/main" xmlns:r="http://schemas.openxmlformats.org/officeDocument/2006/relationships" xmlns:p="http://schemas.openxmlformats.org/presentationml/2006/main" showMasterSp="0" preserve="1" userDrawn="1">
  <p:cSld name="SD_Large Circle Midnight 2">
    <p:bg>
      <p:bgPr>
        <a:solidFill>
          <a:schemeClr val="tx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rgbClr val="092139"/>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endParaRPr lang="en-US" dirty="0"/>
          </a:p>
        </p:txBody>
      </p:sp>
      <p:sp>
        <p:nvSpPr>
          <p:cNvPr id="9" name="Title 2">
            <a:extLst>
              <a:ext uri="{FF2B5EF4-FFF2-40B4-BE49-F238E27FC236}">
                <a16:creationId xmlns:a16="http://schemas.microsoft.com/office/drawing/2014/main" id="{B1282066-7F06-B246-AE8C-29172F144371}"/>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D1151056-DC79-0A42-B719-F2F0C08292CA}"/>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376E5248-EDE9-3046-BAE5-2B5039AC66FE}"/>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9">
            <a:extLst>
              <a:ext uri="{FF2B5EF4-FFF2-40B4-BE49-F238E27FC236}">
                <a16:creationId xmlns:a16="http://schemas.microsoft.com/office/drawing/2014/main" id="{7DC32646-24CD-1143-9669-355185C160ED}"/>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DFF20135-2D08-9A4B-9DB4-5704D9E0021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10132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4.xml><?xml version="1.0" encoding="utf-8"?>
<p:sldLayout xmlns:a="http://schemas.openxmlformats.org/drawingml/2006/main" xmlns:r="http://schemas.openxmlformats.org/officeDocument/2006/relationships" xmlns:p="http://schemas.openxmlformats.org/presentationml/2006/main" showMasterSp="0" preserve="1" userDrawn="1">
  <p:cSld name="SD_Segue Re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5EF27F35-676D-13EE-DD32-95FDC16E81B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22166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5.xml><?xml version="1.0" encoding="utf-8"?>
<p:sldLayout xmlns:a="http://schemas.openxmlformats.org/drawingml/2006/main" xmlns:r="http://schemas.openxmlformats.org/officeDocument/2006/relationships" xmlns:p="http://schemas.openxmlformats.org/presentationml/2006/main" showMasterSp="0" preserve="1" userDrawn="1">
  <p:cSld name="SD_Segue White">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DA20019A-5B50-D36B-64ED-1FEF35AA270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1930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6.xml><?xml version="1.0" encoding="utf-8"?>
<p:sldLayout xmlns:a="http://schemas.openxmlformats.org/drawingml/2006/main" xmlns:r="http://schemas.openxmlformats.org/officeDocument/2006/relationships" xmlns:p="http://schemas.openxmlformats.org/presentationml/2006/main" showMasterSp="0" preserve="1" userDrawn="1">
  <p:cSld name="SD_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33EE2393-F1DD-8F90-C1C5-310FD4F821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3044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7.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04D8947B-492A-C7A3-31F2-92001AD8CF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7769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8.xml><?xml version="1.0" encoding="utf-8"?>
<p:sldLayout xmlns:a="http://schemas.openxmlformats.org/drawingml/2006/main" xmlns:r="http://schemas.openxmlformats.org/officeDocument/2006/relationships" xmlns:p="http://schemas.openxmlformats.org/presentationml/2006/main" showMasterSp="0" preserve="1" userDrawn="1">
  <p:cSld name="SD_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67A699D8-81A9-495D-7F4A-DCB6A20D4B2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06705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9.xml><?xml version="1.0" encoding="utf-8"?>
<p:sldLayout xmlns:a="http://schemas.openxmlformats.org/drawingml/2006/main" xmlns:r="http://schemas.openxmlformats.org/officeDocument/2006/relationships" xmlns:p="http://schemas.openxmlformats.org/presentationml/2006/main" showMasterSp="0" preserve="1" userDrawn="1">
  <p:cSld name="SD_Segue Red 2">
    <p:bg>
      <p:bgPr>
        <a:solidFill>
          <a:schemeClr val="bg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1111F"/>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364F97B-57A1-B049-A5E0-7D6B2527B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54444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0229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0.xml><?xml version="1.0" encoding="utf-8"?>
<p:sldLayout xmlns:a="http://schemas.openxmlformats.org/drawingml/2006/main" xmlns:r="http://schemas.openxmlformats.org/officeDocument/2006/relationships" xmlns:p="http://schemas.openxmlformats.org/presentationml/2006/main" showMasterSp="0" preserve="1" userDrawn="1">
  <p:cSld name="SD_Segue White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EFF1F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FD42B6F1-9BF6-6EE5-EDD5-46AE2E8E53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4773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1.xml><?xml version="1.0" encoding="utf-8"?>
<p:sldLayout xmlns:a="http://schemas.openxmlformats.org/drawingml/2006/main" xmlns:r="http://schemas.openxmlformats.org/officeDocument/2006/relationships" xmlns:p="http://schemas.openxmlformats.org/presentationml/2006/main" showMasterSp="0" preserve="1" userDrawn="1">
  <p:cSld name="SD_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6A6DA815-E1E7-8546-96C6-984328A681C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7917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2.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73923CA3-7C0F-744C-902A-1EF88F94632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0168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3.xml><?xml version="1.0" encoding="utf-8"?>
<p:sldLayout xmlns:a="http://schemas.openxmlformats.org/drawingml/2006/main" xmlns:r="http://schemas.openxmlformats.org/officeDocument/2006/relationships" xmlns:p="http://schemas.openxmlformats.org/presentationml/2006/main" showMasterSp="0" preserve="1" userDrawn="1">
  <p:cSld name="SD_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D03B7E6D-4046-9744-8D9C-C93F42A774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3367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4.xml><?xml version="1.0" encoding="utf-8"?>
<p:sldLayout xmlns:a="http://schemas.openxmlformats.org/drawingml/2006/main" xmlns:r="http://schemas.openxmlformats.org/officeDocument/2006/relationships" xmlns:p="http://schemas.openxmlformats.org/presentationml/2006/main" showMasterSp="0" preserve="1" userDrawn="1">
  <p:cSld name="SD Segue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08C4B33-F8CC-4197-B915-DA991CD5E6C6}"/>
              </a:ext>
            </a:extLst>
          </p:cNvPr>
          <p:cNvGrpSpPr/>
          <p:nvPr userDrawn="1"/>
        </p:nvGrpSpPr>
        <p:grpSpPr>
          <a:xfrm>
            <a:off x="5264150" y="1085955"/>
            <a:ext cx="8686026" cy="8686800"/>
            <a:chOff x="2118610" y="-558521"/>
            <a:chExt cx="7954780" cy="7975042"/>
          </a:xfrm>
        </p:grpSpPr>
        <p:sp>
          <p:nvSpPr>
            <p:cNvPr id="12" name="Freeform 21">
              <a:extLst>
                <a:ext uri="{FF2B5EF4-FFF2-40B4-BE49-F238E27FC236}">
                  <a16:creationId xmlns:a16="http://schemas.microsoft.com/office/drawing/2014/main" id="{FCE1034B-B952-482E-B5BD-3D74DC622EF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3" name="Freeform 22">
              <a:extLst>
                <a:ext uri="{FF2B5EF4-FFF2-40B4-BE49-F238E27FC236}">
                  <a16:creationId xmlns:a16="http://schemas.microsoft.com/office/drawing/2014/main" id="{F511B2A5-5879-4724-8EA8-B068501A7C49}"/>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4" name="Freeform 23">
              <a:extLst>
                <a:ext uri="{FF2B5EF4-FFF2-40B4-BE49-F238E27FC236}">
                  <a16:creationId xmlns:a16="http://schemas.microsoft.com/office/drawing/2014/main" id="{8ABE833E-11B6-41D0-A3EA-C51CF277F921}"/>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E9A408BA-944B-41C4-83D5-BB3A7D38327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7" name="Subtitle">
            <a:extLst>
              <a:ext uri="{FF2B5EF4-FFF2-40B4-BE49-F238E27FC236}">
                <a16:creationId xmlns:a16="http://schemas.microsoft.com/office/drawing/2014/main" id="{95FCDFC9-7609-4879-BB7A-41D84D84FDF0}"/>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a:extLst>
              <a:ext uri="{FF2B5EF4-FFF2-40B4-BE49-F238E27FC236}">
                <a16:creationId xmlns:a16="http://schemas.microsoft.com/office/drawing/2014/main" id="{AB7FE436-ECEE-446A-82A4-FD95FAB4768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659929F3-1218-7545-89B5-A760ED49531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30906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5.xml><?xml version="1.0" encoding="utf-8"?>
<p:sldLayout xmlns:a="http://schemas.openxmlformats.org/drawingml/2006/main" xmlns:r="http://schemas.openxmlformats.org/officeDocument/2006/relationships" xmlns:p="http://schemas.openxmlformats.org/presentationml/2006/main" showMasterSp="0" preserve="1" userDrawn="1">
  <p:cSld name="SD Segue White">
    <p:bg>
      <p:bgPr>
        <a:solidFill>
          <a:srgbClr val="FFFFFF"/>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A8A1B41-DD86-4CC6-BB23-4639A3825C7E}"/>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EB5AB6E0-2FFC-40AE-8A71-DCBE6B384E21}"/>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E681A099-F31B-4476-B9E6-42DAD17198C8}"/>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5F07C53E-FAF6-4844-BB37-35D97BAF4BB8}"/>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9B7103C-EFE9-41A7-8616-4AD2DAB11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1"/>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744352BA-9C23-1C42-B3D8-30FF4BF0D4E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69975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6.xml><?xml version="1.0" encoding="utf-8"?>
<p:sldLayout xmlns:a="http://schemas.openxmlformats.org/drawingml/2006/main" xmlns:r="http://schemas.openxmlformats.org/officeDocument/2006/relationships" xmlns:p="http://schemas.openxmlformats.org/presentationml/2006/main" showMasterSp="0" preserve="1" userDrawn="1">
  <p:cSld name="SD Segu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3995637-D09E-4C2D-A6A8-AF45BAD58465}"/>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B7A66708-ADEC-4638-A33A-46DCF451B424}"/>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C329A767-5738-486D-BBF0-00850276E5AD}"/>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8DDC509B-6BC5-4B06-8116-E88999EBD245}"/>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C56DEE9-71A7-4C5B-90D6-DC58833209D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B0237052-9941-6F43-9B15-2B71743E443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5169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7.xml><?xml version="1.0" encoding="utf-8"?>
<p:sldLayout xmlns:a="http://schemas.openxmlformats.org/drawingml/2006/main" xmlns:r="http://schemas.openxmlformats.org/officeDocument/2006/relationships" xmlns:p="http://schemas.openxmlformats.org/presentationml/2006/main" showMasterSp="0" preserve="1" userDrawn="1">
  <p:cSld name="SD Segue Gunmetal">
    <p:bg>
      <p:bgPr>
        <a:solidFill>
          <a:schemeClr val="accent5"/>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F7FB884-98FF-49F3-BC97-59F225D25E12}"/>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D1729F58-5BA1-4640-B7B9-E94D565AE2E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DD0D4E0D-57F1-4154-B50F-74535C36D50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F617D"/>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DB9B5929-7301-48A9-B841-0BE61CA7A8CA}"/>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16F91B29-9007-4D8A-8C02-55645583D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667FC2DA-5B00-4EA7-952E-317316DAA878}"/>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41F7F217-0194-4AD6-8E1C-386E2E132F49}"/>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2EBF3BA2-2875-3949-83C5-76692BC354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8071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8.xml><?xml version="1.0" encoding="utf-8"?>
<p:sldLayout xmlns:a="http://schemas.openxmlformats.org/drawingml/2006/main" xmlns:r="http://schemas.openxmlformats.org/officeDocument/2006/relationships" xmlns:p="http://schemas.openxmlformats.org/presentationml/2006/main" showMasterSp="0" preserve="1" userDrawn="1">
  <p:cSld name="SD Segue Midnight">
    <p:bg>
      <p:bgPr>
        <a:solidFill>
          <a:schemeClr val="tx2"/>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48F3DEE-F59E-4FD9-BD86-03F5F40D7A2E}"/>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7041D8A3-B9AF-4F2D-AA73-3D2AF4DFDBCE}"/>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C4FF451B-9E7B-4956-8927-3F6D18114FF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B2845"/>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4AD20902-EBB9-4879-BBE8-7873C117122F}"/>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D3D03E25-E54F-4D62-B7B5-CBE3507B8488}"/>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B395992B-C0C1-46B0-B7C8-830159C0C506}"/>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AE0053FF-8E38-4E49-A437-9A4B96C84C5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0B95D78-DDB9-844A-9CFA-6A22FDD90B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311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9.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Red">
    <p:bg>
      <p:bgPr>
        <a:gradFill>
          <a:gsLst>
            <a:gs pos="4000">
              <a:srgbClr val="E71324"/>
            </a:gs>
            <a:gs pos="35000">
              <a:srgbClr val="D91323"/>
            </a:gs>
            <a:gs pos="100000">
              <a:srgbClr val="C10B1A"/>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573ABA57-7B0F-43F2-941C-D1BCE46689A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7000B909-6C3C-8B43-BC80-F7EF1B464E4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5EE95F5-5179-43BC-9DD2-80F8782000E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1FABDB6A-D52B-4DE9-8DAD-88E3352866F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2224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2419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0.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0D061AF6-2D27-4DFB-9E70-8CDFD058F0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 Placeholder 2">
            <a:extLst>
              <a:ext uri="{FF2B5EF4-FFF2-40B4-BE49-F238E27FC236}">
                <a16:creationId xmlns:a16="http://schemas.microsoft.com/office/drawing/2014/main" id="{9EDB003F-E656-4E18-BDBB-152AEB3E5757}"/>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8" name="Text Placeholder 47">
            <a:extLst>
              <a:ext uri="{FF2B5EF4-FFF2-40B4-BE49-F238E27FC236}">
                <a16:creationId xmlns:a16="http://schemas.microsoft.com/office/drawing/2014/main" id="{8C7691D9-F78A-4A80-B9A6-F365D28D825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6" name="TextBox 5">
            <a:extLst>
              <a:ext uri="{FF2B5EF4-FFF2-40B4-BE49-F238E27FC236}">
                <a16:creationId xmlns:a16="http://schemas.microsoft.com/office/drawing/2014/main" id="{147A281D-2BFD-8BF7-702A-88B785236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3429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1.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984EDA3-B44F-4674-BEB3-8C74287BAF93}"/>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696D14D0-7E77-B546-AE82-A3C8CBD47F0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90007351-1444-4ACF-8C42-1EB26B3A6F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0" name="Text Placeholder 47">
            <a:extLst>
              <a:ext uri="{FF2B5EF4-FFF2-40B4-BE49-F238E27FC236}">
                <a16:creationId xmlns:a16="http://schemas.microsoft.com/office/drawing/2014/main" id="{4DCBE15A-FE6C-4FC2-9DF8-7E7AB8404005}"/>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70160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2.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40F1B7A-8A94-40B5-B3CB-3D0D52C87C9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3FF1B48E-7335-1E4A-A06A-C56F904A90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2F58234-108D-4115-84F1-20F6F647099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0" name="Text Placeholder 47">
            <a:extLst>
              <a:ext uri="{FF2B5EF4-FFF2-40B4-BE49-F238E27FC236}">
                <a16:creationId xmlns:a16="http://schemas.microsoft.com/office/drawing/2014/main" id="{15A49285-70CB-4F70-B08A-1615E6DCF20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82547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3.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5" name="TextBox 4">
            <a:extLst>
              <a:ext uri="{FF2B5EF4-FFF2-40B4-BE49-F238E27FC236}">
                <a16:creationId xmlns:a16="http://schemas.microsoft.com/office/drawing/2014/main" id="{64627586-85E3-E04B-8F2D-2F49C5A575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47597F80-3233-4A24-B364-D3CE4D2E0D6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92029BF2-073D-4907-B717-01C49791F9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21690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4.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Red Tex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Enter a quote or big statement here</a:t>
            </a:r>
          </a:p>
        </p:txBody>
      </p:sp>
      <p:sp>
        <p:nvSpPr>
          <p:cNvPr id="5" name="TextBox 4">
            <a:extLst>
              <a:ext uri="{FF2B5EF4-FFF2-40B4-BE49-F238E27FC236}">
                <a16:creationId xmlns:a16="http://schemas.microsoft.com/office/drawing/2014/main" id="{29F80990-6F8C-3748-88B9-6C6BCF266B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6A27B7E2-5374-46BF-874E-25F309D457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17E27798-673A-444E-A3F7-F8B33EC1906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51019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5.xml><?xml version="1.0" encoding="utf-8"?>
<p:sldLayout xmlns:a="http://schemas.openxmlformats.org/drawingml/2006/main" xmlns:r="http://schemas.openxmlformats.org/officeDocument/2006/relationships" xmlns:p="http://schemas.openxmlformats.org/presentationml/2006/main" showMasterSp="0" preserve="1" userDrawn="1">
  <p:cSld name="SD Thank You Red">
    <p:bg>
      <p:bgPr>
        <a:solidFill>
          <a:schemeClr val="bg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D41220"/>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3241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7" name="TextBox 16">
            <a:extLst>
              <a:ext uri="{FF2B5EF4-FFF2-40B4-BE49-F238E27FC236}">
                <a16:creationId xmlns:a16="http://schemas.microsoft.com/office/drawing/2014/main" id="{F0995CCD-1161-A943-A67A-BEEDC634FB49}"/>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9111E"/>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9111E"/>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9111E"/>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9111E"/>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9111E"/>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95B79772-CAC0-EC40-A00B-F83093249A1A}"/>
              </a:ext>
            </a:extLst>
          </p:cNvPr>
          <p:cNvSpPr txBox="1"/>
          <p:nvPr userDrawn="1"/>
        </p:nvSpPr>
        <p:spPr>
          <a:xfrm>
            <a:off x="745275"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20" name="TextBox 19">
            <a:extLst>
              <a:ext uri="{FF2B5EF4-FFF2-40B4-BE49-F238E27FC236}">
                <a16:creationId xmlns:a16="http://schemas.microsoft.com/office/drawing/2014/main" id="{AA6B7D0B-0D2E-95C4-54F6-67F4481BA594}"/>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097E1413-3066-9CBC-019E-ABF2282E4834}"/>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6" name="Group 15">
            <a:extLst>
              <a:ext uri="{FF2B5EF4-FFF2-40B4-BE49-F238E27FC236}">
                <a16:creationId xmlns:a16="http://schemas.microsoft.com/office/drawing/2014/main" id="{EEDBF8F0-B7ED-590C-7416-FC57D4AE0403}"/>
              </a:ext>
            </a:extLst>
          </p:cNvPr>
          <p:cNvGrpSpPr/>
          <p:nvPr userDrawn="1"/>
        </p:nvGrpSpPr>
        <p:grpSpPr>
          <a:xfrm>
            <a:off x="1673310" y="5680514"/>
            <a:ext cx="883045" cy="161966"/>
            <a:chOff x="7906823" y="3619162"/>
            <a:chExt cx="883045" cy="161966"/>
          </a:xfrm>
        </p:grpSpPr>
        <p:sp>
          <p:nvSpPr>
            <p:cNvPr id="18" name="Freeform 12">
              <a:extLst>
                <a:ext uri="{FF2B5EF4-FFF2-40B4-BE49-F238E27FC236}">
                  <a16:creationId xmlns:a16="http://schemas.microsoft.com/office/drawing/2014/main" id="{5339DBA6-4436-35F8-6458-51D976548B43}"/>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8CED0221-91B0-9F8B-12BC-AB1F51D18FB7}"/>
                </a:ext>
              </a:extLst>
            </p:cNvPr>
            <p:cNvGrpSpPr>
              <a:grpSpLocks noChangeAspect="1"/>
            </p:cNvGrpSpPr>
            <p:nvPr/>
          </p:nvGrpSpPr>
          <p:grpSpPr bwMode="gray">
            <a:xfrm>
              <a:off x="8147208" y="3631565"/>
              <a:ext cx="138792" cy="137160"/>
              <a:chOff x="3331" y="1656"/>
              <a:chExt cx="1020" cy="1008"/>
            </a:xfrm>
            <a:solidFill>
              <a:schemeClr val="bg1"/>
            </a:solidFill>
          </p:grpSpPr>
          <p:sp>
            <p:nvSpPr>
              <p:cNvPr id="25" name="Freeform 6">
                <a:extLst>
                  <a:ext uri="{FF2B5EF4-FFF2-40B4-BE49-F238E27FC236}">
                    <a16:creationId xmlns:a16="http://schemas.microsoft.com/office/drawing/2014/main" id="{BCA829DF-853B-EB6C-28D9-00E3337DE072}"/>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6" name="Freeform 7">
                <a:extLst>
                  <a:ext uri="{FF2B5EF4-FFF2-40B4-BE49-F238E27FC236}">
                    <a16:creationId xmlns:a16="http://schemas.microsoft.com/office/drawing/2014/main" id="{8DAC9D6B-FD72-B27B-BA8D-F5EB518B5C8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E35F2244-7462-D33F-31FD-185CFCD5C66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1991C727-8EF3-B323-1327-98E3279A99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3957545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6.xml><?xml version="1.0" encoding="utf-8"?>
<p:sldLayout xmlns:a="http://schemas.openxmlformats.org/drawingml/2006/main" xmlns:r="http://schemas.openxmlformats.org/officeDocument/2006/relationships" xmlns:p="http://schemas.openxmlformats.org/presentationml/2006/main" showMasterSp="0" preserve="1" userDrawn="1">
  <p:cSld name="SD Thank You White">
    <p:bg>
      <p:bgPr>
        <a:solidFill>
          <a:srgbClr val="FFFFFF"/>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bg1"/>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35593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snapdragon.com &amp; snapdragoninsiders.com</a:t>
            </a:r>
          </a:p>
        </p:txBody>
      </p:sp>
      <p:sp>
        <p:nvSpPr>
          <p:cNvPr id="26" name="TextBox 25">
            <a:extLst>
              <a:ext uri="{FF2B5EF4-FFF2-40B4-BE49-F238E27FC236}">
                <a16:creationId xmlns:a16="http://schemas.microsoft.com/office/drawing/2014/main" id="{9E80EF5E-5AD8-4C4F-8447-CFEB663B5E20}"/>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41B591FD-7815-DB45-95D6-A01BA3CC5361}"/>
              </a:ext>
            </a:extLst>
          </p:cNvPr>
          <p:cNvSpPr txBox="1"/>
          <p:nvPr userDrawn="1"/>
        </p:nvSpPr>
        <p:spPr>
          <a:xfrm>
            <a:off x="74089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BC0B640B-5629-8237-CEE1-DBD7B05ED5DF}"/>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166478F6-2F60-6B11-D4FA-BB3AE90D2C2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3E315087-CE08-1290-C75D-4EE03AD25FA5}"/>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8" name="Group 17">
            <a:extLst>
              <a:ext uri="{FF2B5EF4-FFF2-40B4-BE49-F238E27FC236}">
                <a16:creationId xmlns:a16="http://schemas.microsoft.com/office/drawing/2014/main" id="{0A28ACFB-1767-8558-133E-CF8F4517B1E2}"/>
              </a:ext>
            </a:extLst>
          </p:cNvPr>
          <p:cNvGrpSpPr/>
          <p:nvPr userDrawn="1"/>
        </p:nvGrpSpPr>
        <p:grpSpPr>
          <a:xfrm>
            <a:off x="1673310" y="5680514"/>
            <a:ext cx="883045" cy="161966"/>
            <a:chOff x="7906823" y="3619162"/>
            <a:chExt cx="883045" cy="161966"/>
          </a:xfrm>
          <a:solidFill>
            <a:schemeClr val="tx2"/>
          </a:solidFill>
        </p:grpSpPr>
        <p:sp>
          <p:nvSpPr>
            <p:cNvPr id="19" name="Freeform 12">
              <a:extLst>
                <a:ext uri="{FF2B5EF4-FFF2-40B4-BE49-F238E27FC236}">
                  <a16:creationId xmlns:a16="http://schemas.microsoft.com/office/drawing/2014/main" id="{E88FDBDE-81A9-2B82-E565-BF1030A462AA}"/>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0" name="Group 5">
              <a:extLst>
                <a:ext uri="{FF2B5EF4-FFF2-40B4-BE49-F238E27FC236}">
                  <a16:creationId xmlns:a16="http://schemas.microsoft.com/office/drawing/2014/main" id="{8EDB353E-78D6-2D53-7EB5-D1717266CC07}"/>
                </a:ext>
              </a:extLst>
            </p:cNvPr>
            <p:cNvGrpSpPr>
              <a:grpSpLocks noChangeAspect="1"/>
            </p:cNvGrpSpPr>
            <p:nvPr/>
          </p:nvGrpSpPr>
          <p:grpSpPr bwMode="gray">
            <a:xfrm>
              <a:off x="8147208" y="3631565"/>
              <a:ext cx="138792" cy="137160"/>
              <a:chOff x="3331" y="1656"/>
              <a:chExt cx="1020" cy="1008"/>
            </a:xfrm>
            <a:grpFill/>
          </p:grpSpPr>
          <p:sp>
            <p:nvSpPr>
              <p:cNvPr id="23" name="Freeform 6">
                <a:extLst>
                  <a:ext uri="{FF2B5EF4-FFF2-40B4-BE49-F238E27FC236}">
                    <a16:creationId xmlns:a16="http://schemas.microsoft.com/office/drawing/2014/main" id="{90AA4090-A6FF-1DAB-E494-4B9A8884EE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973D1104-63EC-99F0-2204-88DA4159F473}"/>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1" name="Graphic 20">
              <a:extLst>
                <a:ext uri="{FF2B5EF4-FFF2-40B4-BE49-F238E27FC236}">
                  <a16:creationId xmlns:a16="http://schemas.microsoft.com/office/drawing/2014/main" id="{90F8BFE5-03A5-A328-C156-0B3F22519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2" name="Graphic 21">
              <a:extLst>
                <a:ext uri="{FF2B5EF4-FFF2-40B4-BE49-F238E27FC236}">
                  <a16:creationId xmlns:a16="http://schemas.microsoft.com/office/drawing/2014/main" id="{5F4413BE-6AC2-E4D6-13E8-EE6A21C40B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76377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7.xml><?xml version="1.0" encoding="utf-8"?>
<p:sldLayout xmlns:a="http://schemas.openxmlformats.org/drawingml/2006/main" xmlns:r="http://schemas.openxmlformats.org/officeDocument/2006/relationships" xmlns:p="http://schemas.openxmlformats.org/presentationml/2006/main" showMasterSp="0" preserve="1" userDrawn="1">
  <p:cSld name="SD 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F169C4E2-C712-43C2-81F7-333C1C705928}"/>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96000"/>
              </a:lnSpc>
              <a:spcBef>
                <a:spcPts val="0"/>
              </a:spcBef>
              <a:spcAft>
                <a:spcPts val="0"/>
              </a:spcAft>
              <a:buClrTx/>
              <a:buSzTx/>
              <a:buFontTx/>
              <a:buNone/>
              <a:tabLst/>
            </a:pPr>
            <a:endParaRPr kumimoji="0" lang="en-US" b="0" i="0" u="none" strike="noStrike" cap="none" spc="0" normalizeH="0" baseline="0" err="1">
              <a:ln>
                <a:noFill/>
              </a:ln>
              <a:solidFill>
                <a:srgbClr val="0B2742"/>
              </a:solidFill>
              <a:effectLst/>
              <a:uLnTx/>
              <a:uFillTx/>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7B0A0F38-A166-4E1D-966C-05E6318A1E66}"/>
              </a:ext>
            </a:extLst>
          </p:cNvPr>
          <p:cNvSpPr txBox="1"/>
          <p:nvPr userDrawn="1"/>
        </p:nvSpPr>
        <p:spPr bwMode="gray">
          <a:xfrm>
            <a:off x="847768" y="5687930"/>
            <a:ext cx="34638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snapdragon.com &amp; snapdragoninsiders.com</a:t>
            </a:r>
          </a:p>
        </p:txBody>
      </p:sp>
      <p:sp>
        <p:nvSpPr>
          <p:cNvPr id="18" name="TextBox 17">
            <a:extLst>
              <a:ext uri="{FF2B5EF4-FFF2-40B4-BE49-F238E27FC236}">
                <a16:creationId xmlns:a16="http://schemas.microsoft.com/office/drawing/2014/main" id="{84B01FB6-EA3D-8A4A-9948-A84C6941E09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C86D7F3F-CCFD-B846-B232-FD8ABABC9DAC}"/>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5F90AE63-0A99-B44F-0E1A-C883CC031E82}"/>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7ED0814D-95E2-2D83-AFD9-6EC125F0F0B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pic>
        <p:nvPicPr>
          <p:cNvPr id="28" name="Picture 27">
            <a:extLst>
              <a:ext uri="{FF2B5EF4-FFF2-40B4-BE49-F238E27FC236}">
                <a16:creationId xmlns:a16="http://schemas.microsoft.com/office/drawing/2014/main" id="{E5B7EB14-87A7-11E3-4F1E-1E8381F0F6EF}"/>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0F27D979-BE65-06FD-023E-F7A3C642A0E0}"/>
              </a:ext>
            </a:extLst>
          </p:cNvPr>
          <p:cNvGrpSpPr/>
          <p:nvPr userDrawn="1"/>
        </p:nvGrpSpPr>
        <p:grpSpPr>
          <a:xfrm>
            <a:off x="1673310" y="5680514"/>
            <a:ext cx="883045" cy="161966"/>
            <a:chOff x="7906823" y="3619162"/>
            <a:chExt cx="883045" cy="161966"/>
          </a:xfrm>
          <a:solidFill>
            <a:schemeClr val="tx2"/>
          </a:solidFill>
        </p:grpSpPr>
        <p:sp>
          <p:nvSpPr>
            <p:cNvPr id="29" name="Freeform 12">
              <a:extLst>
                <a:ext uri="{FF2B5EF4-FFF2-40B4-BE49-F238E27FC236}">
                  <a16:creationId xmlns:a16="http://schemas.microsoft.com/office/drawing/2014/main" id="{C163B9EC-D897-5F9F-302B-0558F7936C18}"/>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0" name="Group 5">
              <a:extLst>
                <a:ext uri="{FF2B5EF4-FFF2-40B4-BE49-F238E27FC236}">
                  <a16:creationId xmlns:a16="http://schemas.microsoft.com/office/drawing/2014/main" id="{A5782D74-4A6A-02A0-3DAA-A41EB7223AA4}"/>
                </a:ext>
              </a:extLst>
            </p:cNvPr>
            <p:cNvGrpSpPr>
              <a:grpSpLocks noChangeAspect="1"/>
            </p:cNvGrpSpPr>
            <p:nvPr/>
          </p:nvGrpSpPr>
          <p:grpSpPr bwMode="gray">
            <a:xfrm>
              <a:off x="8147208" y="3631565"/>
              <a:ext cx="138792" cy="137160"/>
              <a:chOff x="3331" y="1656"/>
              <a:chExt cx="1020" cy="1008"/>
            </a:xfrm>
            <a:grpFill/>
          </p:grpSpPr>
          <p:sp>
            <p:nvSpPr>
              <p:cNvPr id="33" name="Freeform 6">
                <a:extLst>
                  <a:ext uri="{FF2B5EF4-FFF2-40B4-BE49-F238E27FC236}">
                    <a16:creationId xmlns:a16="http://schemas.microsoft.com/office/drawing/2014/main" id="{6978AF0B-03AE-DBE3-8CF7-D7BC42516B78}"/>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58C79AB4-458B-039B-14C2-5C572AECFD9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1" name="Graphic 30">
              <a:extLst>
                <a:ext uri="{FF2B5EF4-FFF2-40B4-BE49-F238E27FC236}">
                  <a16:creationId xmlns:a16="http://schemas.microsoft.com/office/drawing/2014/main" id="{E6985FE9-3B55-32D4-DF37-ED6019EB5C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2" name="Graphic 31">
              <a:extLst>
                <a:ext uri="{FF2B5EF4-FFF2-40B4-BE49-F238E27FC236}">
                  <a16:creationId xmlns:a16="http://schemas.microsoft.com/office/drawing/2014/main" id="{28547C7B-FA91-CCDC-834E-0488679F4E4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48290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8.xml><?xml version="1.0" encoding="utf-8"?>
<p:sldLayout xmlns:a="http://schemas.openxmlformats.org/drawingml/2006/main" xmlns:r="http://schemas.openxmlformats.org/officeDocument/2006/relationships" xmlns:p="http://schemas.openxmlformats.org/presentationml/2006/main" showMasterSp="0" preserve="1" userDrawn="1">
  <p:cSld name="SD 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7" y="5687930"/>
            <a:ext cx="332735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C9F9697D-5F59-614B-BC89-2CD5217CBA57}"/>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u</a:t>
            </a:r>
          </a:p>
        </p:txBody>
      </p:sp>
      <p:sp>
        <p:nvSpPr>
          <p:cNvPr id="25" name="TextBox 24">
            <a:extLst>
              <a:ext uri="{FF2B5EF4-FFF2-40B4-BE49-F238E27FC236}">
                <a16:creationId xmlns:a16="http://schemas.microsoft.com/office/drawing/2014/main" id="{7AF01AB1-AA01-154B-8F42-8AF7B1BFB94F}"/>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7283F846-2DA6-4813-0F48-B2333D518C80}"/>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9CA9E428-2BB3-6DCE-7F59-320F777DB0E9}"/>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DFE0751D-9153-C8C6-C2ED-D7BF2532ABB2}"/>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9" name="Group 18">
            <a:extLst>
              <a:ext uri="{FF2B5EF4-FFF2-40B4-BE49-F238E27FC236}">
                <a16:creationId xmlns:a16="http://schemas.microsoft.com/office/drawing/2014/main" id="{8FE969D9-7157-36FE-CF65-33E551BE3900}"/>
              </a:ext>
            </a:extLst>
          </p:cNvPr>
          <p:cNvGrpSpPr/>
          <p:nvPr userDrawn="1"/>
        </p:nvGrpSpPr>
        <p:grpSpPr>
          <a:xfrm>
            <a:off x="1673310" y="5680514"/>
            <a:ext cx="883045" cy="161966"/>
            <a:chOff x="7906823" y="3619162"/>
            <a:chExt cx="883045" cy="161966"/>
          </a:xfrm>
        </p:grpSpPr>
        <p:sp>
          <p:nvSpPr>
            <p:cNvPr id="20" name="Freeform 12">
              <a:extLst>
                <a:ext uri="{FF2B5EF4-FFF2-40B4-BE49-F238E27FC236}">
                  <a16:creationId xmlns:a16="http://schemas.microsoft.com/office/drawing/2014/main" id="{BBC80F60-F568-0B31-EAA1-4F378517F5E9}"/>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40AF7CF7-57EE-E106-4454-AB60F08097D8}"/>
                </a:ext>
              </a:extLst>
            </p:cNvPr>
            <p:cNvGrpSpPr>
              <a:grpSpLocks noChangeAspect="1"/>
            </p:cNvGrpSpPr>
            <p:nvPr/>
          </p:nvGrpSpPr>
          <p:grpSpPr bwMode="gray">
            <a:xfrm>
              <a:off x="8147208" y="3631565"/>
              <a:ext cx="138792" cy="137160"/>
              <a:chOff x="3331" y="1656"/>
              <a:chExt cx="1020" cy="1008"/>
            </a:xfrm>
            <a:solidFill>
              <a:schemeClr val="bg1"/>
            </a:solidFill>
          </p:grpSpPr>
          <p:sp>
            <p:nvSpPr>
              <p:cNvPr id="28" name="Freeform 6">
                <a:extLst>
                  <a:ext uri="{FF2B5EF4-FFF2-40B4-BE49-F238E27FC236}">
                    <a16:creationId xmlns:a16="http://schemas.microsoft.com/office/drawing/2014/main" id="{CD1B5FC6-C922-EF71-078B-9ABA8C5DD3B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0AA5E281-185F-E9ED-4F46-B94C425FF2A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5CE00529-A4FA-8A31-D759-541F4EE6F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4585B54E-8D9E-ACBD-0D12-EE21A0294D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670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9.xml><?xml version="1.0" encoding="utf-8"?>
<p:sldLayout xmlns:a="http://schemas.openxmlformats.org/drawingml/2006/main" xmlns:r="http://schemas.openxmlformats.org/officeDocument/2006/relationships" xmlns:p="http://schemas.openxmlformats.org/presentationml/2006/main" showMasterSp="0" preserve="1" userDrawn="1">
  <p:cSld name="SD 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7" y="5687930"/>
            <a:ext cx="338450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88F96979-71AD-F74C-9C4A-10AFBEB8E8A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DBF1D5AB-98DB-0A49-A61A-49AE41A978C7}"/>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C75D312A-BAC6-F69D-9F7D-B713A98EFEA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CDA8361D-B4AE-7DDA-48B6-D2FEFE66AD4E}"/>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494AB793-75DE-5E86-A56E-CA01A7C0D557}"/>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D0842190-8CAB-FD82-628A-C1942D3A3410}"/>
              </a:ext>
            </a:extLst>
          </p:cNvPr>
          <p:cNvGrpSpPr/>
          <p:nvPr userDrawn="1"/>
        </p:nvGrpSpPr>
        <p:grpSpPr>
          <a:xfrm>
            <a:off x="1673310" y="5680514"/>
            <a:ext cx="883045" cy="161966"/>
            <a:chOff x="7906823" y="3619162"/>
            <a:chExt cx="883045" cy="161966"/>
          </a:xfrm>
        </p:grpSpPr>
        <p:sp>
          <p:nvSpPr>
            <p:cNvPr id="28" name="Freeform 12">
              <a:extLst>
                <a:ext uri="{FF2B5EF4-FFF2-40B4-BE49-F238E27FC236}">
                  <a16:creationId xmlns:a16="http://schemas.microsoft.com/office/drawing/2014/main" id="{19B21F0A-F994-5C2D-F873-B45653E36C61}"/>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9" name="Group 5">
              <a:extLst>
                <a:ext uri="{FF2B5EF4-FFF2-40B4-BE49-F238E27FC236}">
                  <a16:creationId xmlns:a16="http://schemas.microsoft.com/office/drawing/2014/main" id="{D77282F0-3CD1-3E1B-22D9-D5EFCB20D40B}"/>
                </a:ext>
              </a:extLst>
            </p:cNvPr>
            <p:cNvGrpSpPr>
              <a:grpSpLocks noChangeAspect="1"/>
            </p:cNvGrpSpPr>
            <p:nvPr/>
          </p:nvGrpSpPr>
          <p:grpSpPr bwMode="gray">
            <a:xfrm>
              <a:off x="8147208" y="3631565"/>
              <a:ext cx="138792" cy="137160"/>
              <a:chOff x="3331" y="1656"/>
              <a:chExt cx="1020" cy="1008"/>
            </a:xfrm>
            <a:solidFill>
              <a:schemeClr val="bg1"/>
            </a:solidFill>
          </p:grpSpPr>
          <p:sp>
            <p:nvSpPr>
              <p:cNvPr id="32" name="Freeform 6">
                <a:extLst>
                  <a:ext uri="{FF2B5EF4-FFF2-40B4-BE49-F238E27FC236}">
                    <a16:creationId xmlns:a16="http://schemas.microsoft.com/office/drawing/2014/main" id="{C9239764-E65B-45BF-9512-143E99AEE1C6}"/>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3" name="Freeform 7">
                <a:extLst>
                  <a:ext uri="{FF2B5EF4-FFF2-40B4-BE49-F238E27FC236}">
                    <a16:creationId xmlns:a16="http://schemas.microsoft.com/office/drawing/2014/main" id="{48609ABF-3C53-81B1-8760-86856FCDBF14}"/>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0" name="Graphic 29">
              <a:extLst>
                <a:ext uri="{FF2B5EF4-FFF2-40B4-BE49-F238E27FC236}">
                  <a16:creationId xmlns:a16="http://schemas.microsoft.com/office/drawing/2014/main" id="{D2BF707D-59DB-19D8-8631-18041ADDC3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1" name="Graphic 30">
              <a:extLst>
                <a:ext uri="{FF2B5EF4-FFF2-40B4-BE49-F238E27FC236}">
                  <a16:creationId xmlns:a16="http://schemas.microsoft.com/office/drawing/2014/main" id="{0AD6C70E-BC0B-B9C1-FE36-1D75F33CF8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205247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4726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0" name="TextBox 9">
            <a:extLst>
              <a:ext uri="{FF2B5EF4-FFF2-40B4-BE49-F238E27FC236}">
                <a16:creationId xmlns:a16="http://schemas.microsoft.com/office/drawing/2014/main" id="{13EDBCEA-3011-7246-B482-3F2BC945635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231448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9" name="TextBox 8">
            <a:extLst>
              <a:ext uri="{FF2B5EF4-FFF2-40B4-BE49-F238E27FC236}">
                <a16:creationId xmlns:a16="http://schemas.microsoft.com/office/drawing/2014/main" id="{AD73AE66-D2D6-2F4A-B881-C8B70F38B6E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256000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9" name="TextBox 8">
            <a:extLst>
              <a:ext uri="{FF2B5EF4-FFF2-40B4-BE49-F238E27FC236}">
                <a16:creationId xmlns:a16="http://schemas.microsoft.com/office/drawing/2014/main" id="{73E3A743-A15B-FB4C-BEF7-099512A606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55422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8B2608F0-95ED-EF42-8399-6A838020E81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407817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4.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58ACBF89-AA8C-6A42-B617-C39E6FA2922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231453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5.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9EE37F25-07F0-8945-9DD7-E2E3142A766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354958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6.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0E65990-6D95-1492-F960-A7AAF2C48D7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2605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7.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D790478-0EE6-604E-9546-008EA9A005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2829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8.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214ACD"/>
                </a:solidFill>
                <a:effectLst>
                  <a:innerShdw blurRad="38100" dist="25400" dir="8100000">
                    <a:prstClr val="black">
                      <a:alpha val="50000"/>
                    </a:prstClr>
                  </a:innerShdw>
                </a:effectLst>
              </a:rPr>
              <a:t>Agenda</a:t>
            </a:r>
          </a:p>
        </p:txBody>
      </p:sp>
      <p:sp>
        <p:nvSpPr>
          <p:cNvPr id="10" name="TextBox 9">
            <a:extLst>
              <a:ext uri="{FF2B5EF4-FFF2-40B4-BE49-F238E27FC236}">
                <a16:creationId xmlns:a16="http://schemas.microsoft.com/office/drawing/2014/main" id="{70776204-764E-2844-9DCD-91A3C29BB96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4801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9.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07BEC940-B4ED-DC49-9299-BDA70EB23F9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2392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1291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0.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208D36FA-EC4D-7D4A-B095-AC92E8A959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77801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16389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8817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58211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07872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08599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62663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1168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61919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07252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0060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19762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72411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573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0258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r>
              <a:rPr lang="en-US"/>
              <a:t>IBC 2023</a:t>
            </a:r>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8273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9236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58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9" name="TextBox 8">
            <a:extLst>
              <a:ext uri="{FF2B5EF4-FFF2-40B4-BE49-F238E27FC236}">
                <a16:creationId xmlns:a16="http://schemas.microsoft.com/office/drawing/2014/main" id="{998A71DB-976E-A24A-96E2-B18CF91A65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2125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
        <p:nvSpPr>
          <p:cNvPr id="10" name="TextBox 9">
            <a:extLst>
              <a:ext uri="{FF2B5EF4-FFF2-40B4-BE49-F238E27FC236}">
                <a16:creationId xmlns:a16="http://schemas.microsoft.com/office/drawing/2014/main" id="{80801655-BB5D-8D42-BF35-5552419A184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7295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675B83E-0BE5-D244-AA83-CABD189E8C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3349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97912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E1348D7E-2C52-0648-B459-2BB160BEC8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20000"/>
                    <a:lumOff val="8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63062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1684853D-5F0A-494C-9888-7AAEF3B1B6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3">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0983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D9A81EAB-DE44-ED41-8D8F-2A4169FC143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896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72C27C62-1DFD-8E4E-8A14-4A72529B937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8278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985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861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4804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08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78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82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105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6981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247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5945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32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4.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09D6CCF0-57C4-384B-B6F4-DBD59EA7DA3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5938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5.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2967F99B-809C-A140-B160-DAEC57DB6B6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19327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6.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DC89C629-A9B6-E647-8093-A390B13275C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3944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7.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extBox 4">
            <a:extLst>
              <a:ext uri="{FF2B5EF4-FFF2-40B4-BE49-F238E27FC236}">
                <a16:creationId xmlns:a16="http://schemas.microsoft.com/office/drawing/2014/main" id="{01F4AD81-1574-E14F-8F0D-32C28C3162C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9079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3AF58CE-3469-E745-820A-134FF84006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5105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8E411577-17FB-C649-9670-726F4CAE6C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solidFill>
              </a:rPr>
              <a:t>Confidential – Qualcomm Technologies, Inc. and/or its affiliated companies – May Contain Trade Secrets</a:t>
            </a:r>
          </a:p>
        </p:txBody>
      </p:sp>
    </p:spTree>
    <p:extLst>
      <p:ext uri="{BB962C8B-B14F-4D97-AF65-F5344CB8AC3E}">
        <p14:creationId xmlns:p14="http://schemas.microsoft.com/office/powerpoint/2010/main" val="245213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62013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E80D881-AF3F-E040-ACE4-6B37EF43041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2370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FDF54461-5151-C04D-8440-C6989E1AC50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0821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787F20BE-385D-1546-8719-238B0EDC7B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7770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
        <p:nvSpPr>
          <p:cNvPr id="7" name="TextBox 6">
            <a:extLst>
              <a:ext uri="{FF2B5EF4-FFF2-40B4-BE49-F238E27FC236}">
                <a16:creationId xmlns:a16="http://schemas.microsoft.com/office/drawing/2014/main" id="{C2B1A7AF-F3D5-A247-8FE4-3EEB17DF0D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7728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
        <p:nvSpPr>
          <p:cNvPr id="7" name="TextBox 6">
            <a:extLst>
              <a:ext uri="{FF2B5EF4-FFF2-40B4-BE49-F238E27FC236}">
                <a16:creationId xmlns:a16="http://schemas.microsoft.com/office/drawing/2014/main" id="{2CB94F15-8CAD-6B46-AB34-F89C3C2278B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6168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
        <p:nvSpPr>
          <p:cNvPr id="8" name="TextBox 7">
            <a:extLst>
              <a:ext uri="{FF2B5EF4-FFF2-40B4-BE49-F238E27FC236}">
                <a16:creationId xmlns:a16="http://schemas.microsoft.com/office/drawing/2014/main" id="{C49EAFA4-AEE1-6C46-B6E5-72CA3FA3C5C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3873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
        <p:nvSpPr>
          <p:cNvPr id="8" name="TextBox 7">
            <a:extLst>
              <a:ext uri="{FF2B5EF4-FFF2-40B4-BE49-F238E27FC236}">
                <a16:creationId xmlns:a16="http://schemas.microsoft.com/office/drawing/2014/main" id="{1956C6D9-5D4F-7341-B4D7-17E4101058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9602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7.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4" name="TextBox 13">
            <a:extLst>
              <a:ext uri="{FF2B5EF4-FFF2-40B4-BE49-F238E27FC236}">
                <a16:creationId xmlns:a16="http://schemas.microsoft.com/office/drawing/2014/main" id="{A3010EDA-BD94-443C-AE7B-15DA27CDA5F4}"/>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a:t>
            </a:r>
            <a:br>
              <a:rPr lang="en-US">
                <a:solidFill>
                  <a:schemeClr val="accent6">
                    <a:lumMod val="75000"/>
                  </a:schemeClr>
                </a:solidFill>
              </a:rPr>
            </a:br>
            <a:r>
              <a:rPr lang="en-US">
                <a:solidFill>
                  <a:schemeClr val="accent6">
                    <a:lumMod val="75000"/>
                  </a:schemeClr>
                </a:solidFill>
              </a:rPr>
              <a:t>and/or its affiliated companies – May Contain Trade Secrets</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417648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8.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5" name="TextBox 14">
            <a:extLst>
              <a:ext uri="{FF2B5EF4-FFF2-40B4-BE49-F238E27FC236}">
                <a16:creationId xmlns:a16="http://schemas.microsoft.com/office/drawing/2014/main" id="{6A103163-FD6E-454C-AE45-8AD32972CE49}"/>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a:t>
            </a:r>
            <a:br>
              <a:rPr lang="en-US">
                <a:solidFill>
                  <a:schemeClr val="accent6">
                    <a:lumMod val="75000"/>
                  </a:schemeClr>
                </a:solidFill>
              </a:rPr>
            </a:br>
            <a:r>
              <a:rPr lang="en-US">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396391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9.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4" name="TextBox 13">
            <a:extLst>
              <a:ext uri="{FF2B5EF4-FFF2-40B4-BE49-F238E27FC236}">
                <a16:creationId xmlns:a16="http://schemas.microsoft.com/office/drawing/2014/main" id="{D4CB5266-98D8-4025-A040-1787B6793DF2}"/>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2">
                    <a:lumMod val="40000"/>
                    <a:lumOff val="60000"/>
                  </a:schemeClr>
                </a:solidFill>
              </a:rPr>
              <a:t>Confidential – Qualcomm Technologies, Inc.</a:t>
            </a:r>
            <a:br>
              <a:rPr lang="en-US">
                <a:solidFill>
                  <a:schemeClr val="accent2">
                    <a:lumMod val="40000"/>
                    <a:lumOff val="60000"/>
                  </a:schemeClr>
                </a:solidFill>
              </a:rPr>
            </a:br>
            <a:r>
              <a:rPr lang="en-US">
                <a:solidFill>
                  <a:schemeClr val="accent2">
                    <a:lumMod val="40000"/>
                    <a:lumOff val="60000"/>
                  </a:schemeClr>
                </a:solidFill>
              </a:rPr>
              <a:t>and/or its affiliated companies – May Contain Trade Secrets</a:t>
            </a:r>
          </a:p>
        </p:txBody>
      </p:sp>
    </p:spTree>
    <p:extLst>
      <p:ext uri="{BB962C8B-B14F-4D97-AF65-F5344CB8AC3E}">
        <p14:creationId xmlns:p14="http://schemas.microsoft.com/office/powerpoint/2010/main" val="180838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95740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0.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IBC 2023</a:t>
            </a:r>
          </a:p>
        </p:txBody>
      </p:sp>
      <p:sp>
        <p:nvSpPr>
          <p:cNvPr id="16" name="TextBox 15">
            <a:extLst>
              <a:ext uri="{FF2B5EF4-FFF2-40B4-BE49-F238E27FC236}">
                <a16:creationId xmlns:a16="http://schemas.microsoft.com/office/drawing/2014/main" id="{B4633CCB-0D5C-4030-9B97-6F7EFE02C69F}"/>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40000"/>
                    <a:lumOff val="60000"/>
                  </a:schemeClr>
                </a:solidFill>
              </a:rPr>
              <a:t>Confidential – Qualcomm Technologies, Inc.</a:t>
            </a:r>
            <a:br>
              <a:rPr lang="en-US">
                <a:solidFill>
                  <a:schemeClr val="accent6">
                    <a:lumMod val="40000"/>
                    <a:lumOff val="60000"/>
                  </a:schemeClr>
                </a:solidFill>
              </a:rPr>
            </a:br>
            <a:r>
              <a:rPr lang="en-US">
                <a:solidFill>
                  <a:schemeClr val="accent6">
                    <a:lumMod val="40000"/>
                    <a:lumOff val="60000"/>
                  </a:schemeClr>
                </a:solidFill>
              </a:rPr>
              <a:t>and/or its affiliated companies – May Contain Trade Secrets</a:t>
            </a:r>
          </a:p>
        </p:txBody>
      </p:sp>
    </p:spTree>
    <p:extLst>
      <p:ext uri="{BB962C8B-B14F-4D97-AF65-F5344CB8AC3E}">
        <p14:creationId xmlns:p14="http://schemas.microsoft.com/office/powerpoint/2010/main" val="4019146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1.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4" name="TextBox 13">
            <a:extLst>
              <a:ext uri="{FF2B5EF4-FFF2-40B4-BE49-F238E27FC236}">
                <a16:creationId xmlns:a16="http://schemas.microsoft.com/office/drawing/2014/main" id="{812B847A-F98E-4732-BDC9-A85DC2ED67AA}"/>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a:t>
            </a:r>
            <a:br>
              <a:rPr lang="en-US">
                <a:solidFill>
                  <a:schemeClr val="accent5">
                    <a:lumMod val="40000"/>
                    <a:lumOff val="60000"/>
                  </a:schemeClr>
                </a:solidFill>
              </a:rPr>
            </a:br>
            <a:r>
              <a:rPr lang="en-US">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26590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381971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32031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608355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499486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0051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13170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26786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423102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39636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35450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93557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2.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E113887F-F1F6-4687-8811-699E1BCA13F4}"/>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1931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3.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DE11D47D-1BE2-4595-9A02-FCAD5EB91EB3}"/>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8957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4.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68EACA4D-43F0-4FE1-BA26-E107C4AA8BA7}"/>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8713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5.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8" name="TextBox 17">
            <a:extLst>
              <a:ext uri="{FF2B5EF4-FFF2-40B4-BE49-F238E27FC236}">
                <a16:creationId xmlns:a16="http://schemas.microsoft.com/office/drawing/2014/main" id="{F5FB867F-175C-F748-B316-10276DFF6346}"/>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6900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6.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50F57A78-9BA0-4F58-B7F7-7758910F55B1}"/>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2627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7.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0" name="TextBox 9">
            <a:extLst>
              <a:ext uri="{FF2B5EF4-FFF2-40B4-BE49-F238E27FC236}">
                <a16:creationId xmlns:a16="http://schemas.microsoft.com/office/drawing/2014/main" id="{2B5700CA-9E56-0709-F89D-C4E99A267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2634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8.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76FF450D-4022-72EA-97D4-4C2A7D1CEA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5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9.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A61116F4-BD7A-EC36-6183-633ACC7CF3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1428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5125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0.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B2FAD12-681E-7873-D4F9-CF2B54ECBD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0010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1.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53C9B4C-AE7E-43E6-8F17-29900FA9155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0328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2.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151D5F09-2CE5-A8D8-9997-166E3D321FB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516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3.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9F791B87-171D-B840-B21D-BA358261FE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4726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4.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A021DA7D-2853-DA40-A8E7-3023F80F1BD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7410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5.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21B99F37-6FCD-294A-A33C-5CBA2E7B978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87131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6.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11DC50CB-427A-2049-BC78-11BFEDC94C1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7011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7.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
        <p:nvSpPr>
          <p:cNvPr id="6" name="TextBox 5">
            <a:extLst>
              <a:ext uri="{FF2B5EF4-FFF2-40B4-BE49-F238E27FC236}">
                <a16:creationId xmlns:a16="http://schemas.microsoft.com/office/drawing/2014/main" id="{203911EB-8270-F61E-B42D-4149558B2B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1995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8.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
        <p:nvSpPr>
          <p:cNvPr id="6" name="TextBox 5">
            <a:extLst>
              <a:ext uri="{FF2B5EF4-FFF2-40B4-BE49-F238E27FC236}">
                <a16:creationId xmlns:a16="http://schemas.microsoft.com/office/drawing/2014/main" id="{991A2DA2-4881-0041-B3D1-865CD82059A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63415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
        <p:nvSpPr>
          <p:cNvPr id="7" name="TextBox 6">
            <a:extLst>
              <a:ext uri="{FF2B5EF4-FFF2-40B4-BE49-F238E27FC236}">
                <a16:creationId xmlns:a16="http://schemas.microsoft.com/office/drawing/2014/main" id="{A4785F6F-9012-B34D-9137-F9A437AD947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7221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97341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0.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
        <p:nvSpPr>
          <p:cNvPr id="6" name="TextBox 5">
            <a:extLst>
              <a:ext uri="{FF2B5EF4-FFF2-40B4-BE49-F238E27FC236}">
                <a16:creationId xmlns:a16="http://schemas.microsoft.com/office/drawing/2014/main" id="{760A6F2D-E69A-9E46-8950-23F4CE87931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7854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1.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Enter a quote or big statement here</a:t>
            </a:r>
          </a:p>
        </p:txBody>
      </p:sp>
      <p:sp>
        <p:nvSpPr>
          <p:cNvPr id="6" name="TextBox 5">
            <a:extLst>
              <a:ext uri="{FF2B5EF4-FFF2-40B4-BE49-F238E27FC236}">
                <a16:creationId xmlns:a16="http://schemas.microsoft.com/office/drawing/2014/main" id="{6CCCA2F2-B9AA-3E47-8215-C015C839EA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6269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2.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l Rights Reserved.</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20CE67DB-173F-A847-BB03-5CCE0B67BA18}"/>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42769655-B7D3-BF0A-8736-695F37B9AE92}"/>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ing our QCT semiconductor business.</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317168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9B7E8119-D08E-A04E-A14D-872716D70D93}"/>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29" name="TextBox 28">
            <a:extLst>
              <a:ext uri="{FF2B5EF4-FFF2-40B4-BE49-F238E27FC236}">
                <a16:creationId xmlns:a16="http://schemas.microsoft.com/office/drawing/2014/main" id="{4D300438-7B29-1238-1D3D-C9E7568113E8}"/>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l Rights Reserved.</a:t>
            </a:r>
          </a:p>
        </p:txBody>
      </p:sp>
      <p:sp>
        <p:nvSpPr>
          <p:cNvPr id="30" name="TextBox 29">
            <a:extLst>
              <a:ext uri="{FF2B5EF4-FFF2-40B4-BE49-F238E27FC236}">
                <a16:creationId xmlns:a16="http://schemas.microsoft.com/office/drawing/2014/main" id="{C6814108-5BD7-ADD6-1E27-D5BC017E51DE}"/>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ing our QCT semiconductor business.</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321765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4.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1F46C3"/>
                </a:solidFill>
                <a:effectLst>
                  <a:innerShdw blurRad="25400" dist="12700" dir="13500000">
                    <a:prstClr val="black">
                      <a:alpha val="50000"/>
                    </a:prstClr>
                  </a:innerShdw>
                </a:effectLst>
                <a:uLnTx/>
                <a:uFillTx/>
              </a:rPr>
              <a:t>u</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322249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5.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BE5D3E93-63CE-5040-80CD-074D41AE79DD}"/>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724175FF-4C47-0EC0-D29A-B6372469C71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l Rights Reserved.</a:t>
            </a:r>
          </a:p>
        </p:txBody>
      </p:sp>
      <p:sp>
        <p:nvSpPr>
          <p:cNvPr id="29" name="TextBox 28">
            <a:extLst>
              <a:ext uri="{FF2B5EF4-FFF2-40B4-BE49-F238E27FC236}">
                <a16:creationId xmlns:a16="http://schemas.microsoft.com/office/drawing/2014/main" id="{C0AFA2A3-A65F-766C-B1CC-72DDBF306D11}"/>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ing our QCT semiconductor business.</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344119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sp>
        <p:nvSpPr>
          <p:cNvPr id="18" name="TextBox 17">
            <a:extLst>
              <a:ext uri="{FF2B5EF4-FFF2-40B4-BE49-F238E27FC236}">
                <a16:creationId xmlns:a16="http://schemas.microsoft.com/office/drawing/2014/main" id="{2A980C16-EC75-CB40-AB7F-F5BBCD203B3E}"/>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6" name="TextBox 45">
            <a:extLst>
              <a:ext uri="{FF2B5EF4-FFF2-40B4-BE49-F238E27FC236}">
                <a16:creationId xmlns:a16="http://schemas.microsoft.com/office/drawing/2014/main" id="{744BC0EA-4693-AA8C-378F-81E7B0BE23DE}"/>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l Rights Reserved.</a:t>
            </a:r>
          </a:p>
        </p:txBody>
      </p:sp>
      <p:sp>
        <p:nvSpPr>
          <p:cNvPr id="47" name="TextBox 46">
            <a:extLst>
              <a:ext uri="{FF2B5EF4-FFF2-40B4-BE49-F238E27FC236}">
                <a16:creationId xmlns:a16="http://schemas.microsoft.com/office/drawing/2014/main" id="{5646B856-483C-1B34-B426-2FC7C9A12E1C}"/>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ing our QCT semiconductor business.</a:t>
            </a:r>
          </a:p>
        </p:txBody>
      </p:sp>
    </p:spTree>
    <p:extLst>
      <p:ext uri="{BB962C8B-B14F-4D97-AF65-F5344CB8AC3E}">
        <p14:creationId xmlns:p14="http://schemas.microsoft.com/office/powerpoint/2010/main" val="315801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preserve="1" userDrawn="1">
  <p:cSld name="SD 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9" name="Text Placeholder 48">
            <a:extLst>
              <a:ext uri="{FF2B5EF4-FFF2-40B4-BE49-F238E27FC236}">
                <a16:creationId xmlns:a16="http://schemas.microsoft.com/office/drawing/2014/main" id="{7FFBC827-F060-4124-9E77-70A3670A8E66}"/>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p:txBody>
      </p:sp>
      <p:sp>
        <p:nvSpPr>
          <p:cNvPr id="10" name="Footer Placeholder 2">
            <a:extLst>
              <a:ext uri="{FF2B5EF4-FFF2-40B4-BE49-F238E27FC236}">
                <a16:creationId xmlns:a16="http://schemas.microsoft.com/office/drawing/2014/main" id="{11394C91-0ECD-4A2E-A5C6-77B0EFFDD1F0}"/>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p>
        </p:txBody>
      </p:sp>
      <p:sp>
        <p:nvSpPr>
          <p:cNvPr id="14" name="TextBox 13">
            <a:extLst>
              <a:ext uri="{FF2B5EF4-FFF2-40B4-BE49-F238E27FC236}">
                <a16:creationId xmlns:a16="http://schemas.microsoft.com/office/drawing/2014/main" id="{00A0D3CC-ABF9-394D-9BFB-0D9BEE41E3C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2" name="Text Placeholder 7">
            <a:extLst>
              <a:ext uri="{FF2B5EF4-FFF2-40B4-BE49-F238E27FC236}">
                <a16:creationId xmlns:a16="http://schemas.microsoft.com/office/drawing/2014/main" id="{22B4B7F2-9257-E9BC-4E85-37019D2FECD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15" name="Title 2">
            <a:extLst>
              <a:ext uri="{FF2B5EF4-FFF2-40B4-BE49-F238E27FC236}">
                <a16:creationId xmlns:a16="http://schemas.microsoft.com/office/drawing/2014/main" id="{78FF28B7-017F-B3EE-EB3A-CD76353626B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pic>
        <p:nvPicPr>
          <p:cNvPr id="18" name="Picture 17">
            <a:extLst>
              <a:ext uri="{FF2B5EF4-FFF2-40B4-BE49-F238E27FC236}">
                <a16:creationId xmlns:a16="http://schemas.microsoft.com/office/drawing/2014/main" id="{17979B82-C39F-98CA-AA4A-EE4EA62DC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3" name="Text Placeholder 5">
            <a:extLst>
              <a:ext uri="{FF2B5EF4-FFF2-40B4-BE49-F238E27FC236}">
                <a16:creationId xmlns:a16="http://schemas.microsoft.com/office/drawing/2014/main" id="{63C8CC7D-D393-2065-7AF4-980CFE94B2F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4" name="Text Placeholder 7">
            <a:extLst>
              <a:ext uri="{FF2B5EF4-FFF2-40B4-BE49-F238E27FC236}">
                <a16:creationId xmlns:a16="http://schemas.microsoft.com/office/drawing/2014/main" id="{7199A3E9-BF97-138B-93A2-95BE682304E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235299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SD Title Re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B2BBF7-2804-471D-B156-C43D3BE2AE94}"/>
              </a:ext>
            </a:extLst>
          </p:cNvPr>
          <p:cNvGrpSpPr/>
          <p:nvPr userDrawn="1"/>
        </p:nvGrpSpPr>
        <p:grpSpPr>
          <a:xfrm>
            <a:off x="6553200" y="-2853800"/>
            <a:ext cx="12192000" cy="12223054"/>
            <a:chOff x="2118610" y="-558521"/>
            <a:chExt cx="7954780" cy="7975042"/>
          </a:xfrm>
        </p:grpSpPr>
        <p:sp>
          <p:nvSpPr>
            <p:cNvPr id="9" name="Freeform 21">
              <a:extLst>
                <a:ext uri="{FF2B5EF4-FFF2-40B4-BE49-F238E27FC236}">
                  <a16:creationId xmlns:a16="http://schemas.microsoft.com/office/drawing/2014/main" id="{47560505-2EFD-4F5F-8152-2936FDB34462}"/>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DCA622B7-C125-476C-9874-54D3CC640EBB}"/>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291979CC-F981-4686-9D45-BB9AE15D97B3}"/>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FABF63AC-C929-40F9-9844-0A21AE3749E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2647A1B-6237-4C19-BE76-B28E84D67F5D}"/>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p:txBody>
      </p:sp>
      <p:sp>
        <p:nvSpPr>
          <p:cNvPr id="17" name="Footer Placeholder 2">
            <a:extLst>
              <a:ext uri="{FF2B5EF4-FFF2-40B4-BE49-F238E27FC236}">
                <a16:creationId xmlns:a16="http://schemas.microsoft.com/office/drawing/2014/main" id="{6988F201-2BAB-47D5-B487-071113E79661}"/>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bg1"/>
                </a:solidFill>
                <a:latin typeface="+mn-lt"/>
                <a:ea typeface="+mn-ea"/>
                <a:cs typeface="+mn-cs"/>
              </a:defRPr>
            </a:lvl1pPr>
          </a:lstStyle>
          <a:p>
            <a:pPr>
              <a:defRPr/>
            </a:pPr>
            <a:r>
              <a:rPr lang="en-US"/>
              <a:t>IBC 2023</a:t>
            </a:r>
          </a:p>
        </p:txBody>
      </p:sp>
      <p:sp>
        <p:nvSpPr>
          <p:cNvPr id="20" name="TextBox 19">
            <a:extLst>
              <a:ext uri="{FF2B5EF4-FFF2-40B4-BE49-F238E27FC236}">
                <a16:creationId xmlns:a16="http://schemas.microsoft.com/office/drawing/2014/main" id="{6A843309-E0A1-5247-9312-CC4E16618A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30E485AF-557B-29F2-ADB1-D899FE0EDB5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23" name="Title 2">
            <a:extLst>
              <a:ext uri="{FF2B5EF4-FFF2-40B4-BE49-F238E27FC236}">
                <a16:creationId xmlns:a16="http://schemas.microsoft.com/office/drawing/2014/main" id="{D97AA817-7754-311C-CCE1-0724407542E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pic>
        <p:nvPicPr>
          <p:cNvPr id="24" name="Picture 23">
            <a:extLst>
              <a:ext uri="{FF2B5EF4-FFF2-40B4-BE49-F238E27FC236}">
                <a16:creationId xmlns:a16="http://schemas.microsoft.com/office/drawing/2014/main" id="{3F5F6F96-5CC0-BE5B-65FE-75C6F87E57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6" name="Text Placeholder 5">
            <a:extLst>
              <a:ext uri="{FF2B5EF4-FFF2-40B4-BE49-F238E27FC236}">
                <a16:creationId xmlns:a16="http://schemas.microsoft.com/office/drawing/2014/main" id="{F90869F0-7594-737E-73B6-F9EDF99972D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7" name="Text Placeholder 7">
            <a:extLst>
              <a:ext uri="{FF2B5EF4-FFF2-40B4-BE49-F238E27FC236}">
                <a16:creationId xmlns:a16="http://schemas.microsoft.com/office/drawing/2014/main" id="{F3CEFD0B-12F7-A937-291D-4972CE50177F}"/>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346223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69.xml><?xml version="1.0" encoding="utf-8"?>
<p:sldLayout xmlns:a="http://schemas.openxmlformats.org/drawingml/2006/main" xmlns:r="http://schemas.openxmlformats.org/officeDocument/2006/relationships" xmlns:p="http://schemas.openxmlformats.org/presentationml/2006/main" showMasterSp="0" preserve="1" userDrawn="1">
  <p:cSld name="SD Title White">
    <p:bg>
      <p:bgPr>
        <a:solidFill>
          <a:srgbClr val="FFFFFF"/>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79E5F42-542A-481A-AC09-43F6241BD74A}"/>
              </a:ext>
            </a:extLst>
          </p:cNvPr>
          <p:cNvGrpSpPr/>
          <p:nvPr userDrawn="1"/>
        </p:nvGrpSpPr>
        <p:grpSpPr>
          <a:xfrm>
            <a:off x="6553200" y="-2852928"/>
            <a:ext cx="12192000" cy="12223054"/>
            <a:chOff x="2118610" y="-558521"/>
            <a:chExt cx="7954780" cy="7975042"/>
          </a:xfrm>
        </p:grpSpPr>
        <p:sp>
          <p:nvSpPr>
            <p:cNvPr id="23" name="Freeform 21">
              <a:extLst>
                <a:ext uri="{FF2B5EF4-FFF2-40B4-BE49-F238E27FC236}">
                  <a16:creationId xmlns:a16="http://schemas.microsoft.com/office/drawing/2014/main" id="{5A869BCF-7F87-4BF7-AB41-1FA0DFF2DA48}"/>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05C30C20-6C83-4102-A838-D56643B62C9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5" name="Freeform 23">
              <a:extLst>
                <a:ext uri="{FF2B5EF4-FFF2-40B4-BE49-F238E27FC236}">
                  <a16:creationId xmlns:a16="http://schemas.microsoft.com/office/drawing/2014/main" id="{7311AEAC-0F28-4615-A4A3-954D691DA36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6" name="Freeform 23">
              <a:extLst>
                <a:ext uri="{FF2B5EF4-FFF2-40B4-BE49-F238E27FC236}">
                  <a16:creationId xmlns:a16="http://schemas.microsoft.com/office/drawing/2014/main" id="{1EE6416D-7043-4B54-A1C5-AF321C854B0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86E6721A-8AAF-4279-A3B0-7499E60759EC}"/>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a:p>
        </p:txBody>
      </p:sp>
      <p:sp>
        <p:nvSpPr>
          <p:cNvPr id="15" name="Footer Placeholder 2">
            <a:extLst>
              <a:ext uri="{FF2B5EF4-FFF2-40B4-BE49-F238E27FC236}">
                <a16:creationId xmlns:a16="http://schemas.microsoft.com/office/drawing/2014/main" id="{39154FE7-5393-43D1-8407-23E99F94624A}"/>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accent5">
                    <a:lumMod val="60000"/>
                    <a:lumOff val="40000"/>
                  </a:schemeClr>
                </a:solidFill>
                <a:latin typeface="+mn-lt"/>
                <a:ea typeface="+mn-ea"/>
                <a:cs typeface="+mn-cs"/>
              </a:defRPr>
            </a:lvl1pPr>
          </a:lstStyle>
          <a:p>
            <a:pPr>
              <a:defRPr/>
            </a:pPr>
            <a:r>
              <a:rPr lang="en-US"/>
              <a:t>IBC 2023</a:t>
            </a:r>
          </a:p>
        </p:txBody>
      </p:sp>
      <p:sp>
        <p:nvSpPr>
          <p:cNvPr id="18" name="TextBox 17">
            <a:extLst>
              <a:ext uri="{FF2B5EF4-FFF2-40B4-BE49-F238E27FC236}">
                <a16:creationId xmlns:a16="http://schemas.microsoft.com/office/drawing/2014/main" id="{AA578684-7771-014A-A136-F6303FE2F8D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31" name="Text Placeholder 7">
            <a:extLst>
              <a:ext uri="{FF2B5EF4-FFF2-40B4-BE49-F238E27FC236}">
                <a16:creationId xmlns:a16="http://schemas.microsoft.com/office/drawing/2014/main" id="{8809CAF7-2C64-531C-21AA-5FD1048CC6F9}"/>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33" name="Title 2">
            <a:extLst>
              <a:ext uri="{FF2B5EF4-FFF2-40B4-BE49-F238E27FC236}">
                <a16:creationId xmlns:a16="http://schemas.microsoft.com/office/drawing/2014/main" id="{FF1BC470-5233-7C79-4F94-9A01CCCACA3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7" name="Text Placeholder 5">
            <a:extLst>
              <a:ext uri="{FF2B5EF4-FFF2-40B4-BE49-F238E27FC236}">
                <a16:creationId xmlns:a16="http://schemas.microsoft.com/office/drawing/2014/main" id="{85E29496-F18A-4DFC-5DC7-2C3355D470DD}"/>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9" name="Text Placeholder 7">
            <a:extLst>
              <a:ext uri="{FF2B5EF4-FFF2-40B4-BE49-F238E27FC236}">
                <a16:creationId xmlns:a16="http://schemas.microsoft.com/office/drawing/2014/main" id="{AD5B0B12-CD25-F45C-107C-20214F0A69C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cxnSp>
        <p:nvCxnSpPr>
          <p:cNvPr id="4" name="Straight Connector 3">
            <a:extLst>
              <a:ext uri="{FF2B5EF4-FFF2-40B4-BE49-F238E27FC236}">
                <a16:creationId xmlns:a16="http://schemas.microsoft.com/office/drawing/2014/main" id="{EC4E2419-B480-369E-A69A-F2A56281C498}"/>
              </a:ext>
            </a:extLst>
          </p:cNvPr>
          <p:cNvCxnSpPr>
            <a:cxnSpLocks/>
          </p:cNvCxnSpPr>
          <p:nvPr userDrawn="1"/>
        </p:nvCxnSpPr>
        <p:spPr>
          <a:xfrm>
            <a:off x="12192000" y="-103695"/>
            <a:ext cx="0" cy="7117237"/>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B1AF563-719C-F10B-D1AD-21E4DB854C5C}"/>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336618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Box 9">
            <a:extLst>
              <a:ext uri="{FF2B5EF4-FFF2-40B4-BE49-F238E27FC236}">
                <a16:creationId xmlns:a16="http://schemas.microsoft.com/office/drawing/2014/main" id="{A7E7268D-F4C2-4E13-9E9A-422BC2B2E31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11" name="Footer Placeholder 2">
            <a:extLst>
              <a:ext uri="{FF2B5EF4-FFF2-40B4-BE49-F238E27FC236}">
                <a16:creationId xmlns:a16="http://schemas.microsoft.com/office/drawing/2014/main" id="{A93824BB-9EB4-4BBD-BFDC-B827A0D9BA7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r>
              <a:rPr lang="en-US"/>
              <a:t>IBC 2023</a:t>
            </a:r>
          </a:p>
        </p:txBody>
      </p:sp>
    </p:spTree>
    <p:extLst>
      <p:ext uri="{BB962C8B-B14F-4D97-AF65-F5344CB8AC3E}">
        <p14:creationId xmlns:p14="http://schemas.microsoft.com/office/powerpoint/2010/main" val="377541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0.xml><?xml version="1.0" encoding="utf-8"?>
<p:sldLayout xmlns:a="http://schemas.openxmlformats.org/drawingml/2006/main" xmlns:r="http://schemas.openxmlformats.org/officeDocument/2006/relationships" xmlns:p="http://schemas.openxmlformats.org/presentationml/2006/main" showMasterSp="0" preserve="1" userDrawn="1">
  <p:cSld name="SD 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accent6">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a:p>
        </p:txBody>
      </p:sp>
      <p:sp>
        <p:nvSpPr>
          <p:cNvPr id="16" name="Footer Placeholder 2">
            <a:extLst>
              <a:ext uri="{FF2B5EF4-FFF2-40B4-BE49-F238E27FC236}">
                <a16:creationId xmlns:a16="http://schemas.microsoft.com/office/drawing/2014/main" id="{C63E2F76-C79D-4679-8E21-AE8185311956}"/>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pPr>
              <a:defRPr/>
            </a:pPr>
            <a:r>
              <a:rPr lang="en-US"/>
              <a:t>IBC 2023</a:t>
            </a:r>
          </a:p>
        </p:txBody>
      </p:sp>
      <p:sp>
        <p:nvSpPr>
          <p:cNvPr id="20" name="TextBox 19">
            <a:extLst>
              <a:ext uri="{FF2B5EF4-FFF2-40B4-BE49-F238E27FC236}">
                <a16:creationId xmlns:a16="http://schemas.microsoft.com/office/drawing/2014/main" id="{5BA4EC28-CF88-3F4E-8728-73E0896B7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7" name="Text Placeholder 7">
            <a:extLst>
              <a:ext uri="{FF2B5EF4-FFF2-40B4-BE49-F238E27FC236}">
                <a16:creationId xmlns:a16="http://schemas.microsoft.com/office/drawing/2014/main" id="{D55E74EB-6224-4F7F-D951-BDFBB141E1D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26" name="Title 2">
            <a:extLst>
              <a:ext uri="{FF2B5EF4-FFF2-40B4-BE49-F238E27FC236}">
                <a16:creationId xmlns:a16="http://schemas.microsoft.com/office/drawing/2014/main" id="{F24B98AB-B36A-8633-1D45-18914CE2B98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18" name="Text Placeholder 5">
            <a:extLst>
              <a:ext uri="{FF2B5EF4-FFF2-40B4-BE49-F238E27FC236}">
                <a16:creationId xmlns:a16="http://schemas.microsoft.com/office/drawing/2014/main" id="{7CDA7BE4-68B7-D9E1-BACF-378D2F8CCD23}"/>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9" name="Text Placeholder 7">
            <a:extLst>
              <a:ext uri="{FF2B5EF4-FFF2-40B4-BE49-F238E27FC236}">
                <a16:creationId xmlns:a16="http://schemas.microsoft.com/office/drawing/2014/main" id="{B1CF0B89-699E-ED28-F437-240A73E8D4B5}"/>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pic>
        <p:nvPicPr>
          <p:cNvPr id="21" name="Picture 20">
            <a:extLst>
              <a:ext uri="{FF2B5EF4-FFF2-40B4-BE49-F238E27FC236}">
                <a16:creationId xmlns:a16="http://schemas.microsoft.com/office/drawing/2014/main" id="{E18F6676-0191-CED1-4FEE-CB9C82CDD077}"/>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225913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1.xml><?xml version="1.0" encoding="utf-8"?>
<p:sldLayout xmlns:a="http://schemas.openxmlformats.org/drawingml/2006/main" xmlns:r="http://schemas.openxmlformats.org/officeDocument/2006/relationships" xmlns:p="http://schemas.openxmlformats.org/presentationml/2006/main" showMasterSp="0" preserve="1" userDrawn="1">
  <p:cSld name="SD Title Gunmetal">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p:txBody>
      </p:sp>
      <p:sp>
        <p:nvSpPr>
          <p:cNvPr id="17" name="Footer Placeholder 2">
            <a:extLst>
              <a:ext uri="{FF2B5EF4-FFF2-40B4-BE49-F238E27FC236}">
                <a16:creationId xmlns:a16="http://schemas.microsoft.com/office/drawing/2014/main" id="{A63057AE-C887-4D0E-8019-7DAD9E9382DF}"/>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p>
        </p:txBody>
      </p:sp>
      <p:sp>
        <p:nvSpPr>
          <p:cNvPr id="20" name="TextBox 19">
            <a:extLst>
              <a:ext uri="{FF2B5EF4-FFF2-40B4-BE49-F238E27FC236}">
                <a16:creationId xmlns:a16="http://schemas.microsoft.com/office/drawing/2014/main" id="{9984F95E-5B15-0A43-BF2C-D4BD1E2149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1686CFED-6B7A-ABE5-FFE2-2F98EB36C92D}"/>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26" name="Title 2">
            <a:extLst>
              <a:ext uri="{FF2B5EF4-FFF2-40B4-BE49-F238E27FC236}">
                <a16:creationId xmlns:a16="http://schemas.microsoft.com/office/drawing/2014/main" id="{6A4AD927-A104-7585-FBB2-355DDFC4E9F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pic>
        <p:nvPicPr>
          <p:cNvPr id="18" name="Picture 17">
            <a:extLst>
              <a:ext uri="{FF2B5EF4-FFF2-40B4-BE49-F238E27FC236}">
                <a16:creationId xmlns:a16="http://schemas.microsoft.com/office/drawing/2014/main" id="{6B1AADF3-7E95-FC72-419F-A542DFE8C5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19" name="Text Placeholder 5">
            <a:extLst>
              <a:ext uri="{FF2B5EF4-FFF2-40B4-BE49-F238E27FC236}">
                <a16:creationId xmlns:a16="http://schemas.microsoft.com/office/drawing/2014/main" id="{3FBC4CE4-0F6E-59F8-9114-E021C27B9949}"/>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1" name="Text Placeholder 7">
            <a:extLst>
              <a:ext uri="{FF2B5EF4-FFF2-40B4-BE49-F238E27FC236}">
                <a16:creationId xmlns:a16="http://schemas.microsoft.com/office/drawing/2014/main" id="{3F49D4FA-FE36-D3AB-A4C5-0024F131BFE2}"/>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232539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2.xml><?xml version="1.0" encoding="utf-8"?>
<p:sldLayout xmlns:a="http://schemas.openxmlformats.org/drawingml/2006/main" xmlns:r="http://schemas.openxmlformats.org/officeDocument/2006/relationships" xmlns:p="http://schemas.openxmlformats.org/presentationml/2006/main" showMasterSp="0" preserve="1" userDrawn="1">
  <p:cSld name="SD Title Midnight">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0A697E7-8EE0-42AD-85FC-7243FF44AFBC}"/>
              </a:ext>
            </a:extLst>
          </p:cNvPr>
          <p:cNvGrpSpPr/>
          <p:nvPr userDrawn="1"/>
        </p:nvGrpSpPr>
        <p:grpSpPr>
          <a:xfrm>
            <a:off x="6553200" y="-2852928"/>
            <a:ext cx="12192000" cy="12223054"/>
            <a:chOff x="2118610" y="-558521"/>
            <a:chExt cx="7954780" cy="7975042"/>
          </a:xfrm>
          <a:effectLst>
            <a:outerShdw blurRad="741743" dist="38100" dir="8100000" algn="tr" rotWithShape="0">
              <a:prstClr val="black">
                <a:alpha val="50550"/>
              </a:prstClr>
            </a:outerShdw>
          </a:effectLst>
        </p:grpSpPr>
        <p:sp>
          <p:nvSpPr>
            <p:cNvPr id="10" name="Freeform 21">
              <a:extLst>
                <a:ext uri="{FF2B5EF4-FFF2-40B4-BE49-F238E27FC236}">
                  <a16:creationId xmlns:a16="http://schemas.microsoft.com/office/drawing/2014/main" id="{6CB1826F-DC2F-42C7-91D1-FEC2A509FFC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1" name="Freeform 22">
              <a:extLst>
                <a:ext uri="{FF2B5EF4-FFF2-40B4-BE49-F238E27FC236}">
                  <a16:creationId xmlns:a16="http://schemas.microsoft.com/office/drawing/2014/main" id="{DDB1A6C9-78D5-48FB-990B-E7734DBB56C7}"/>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92139"/>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02FF7922-0161-4F8A-9A1D-7B958B3A5A2D}"/>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7D521DCB-6825-41A5-B175-75919D297C02}"/>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30" name="Text Placeholder 48">
            <a:extLst>
              <a:ext uri="{FF2B5EF4-FFF2-40B4-BE49-F238E27FC236}">
                <a16:creationId xmlns:a16="http://schemas.microsoft.com/office/drawing/2014/main" id="{4F8C16DE-5A81-4F2F-A856-146C2753C729}"/>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snapdragon</a:t>
            </a:r>
          </a:p>
        </p:txBody>
      </p:sp>
      <p:sp>
        <p:nvSpPr>
          <p:cNvPr id="17" name="Footer Placeholder 2">
            <a:extLst>
              <a:ext uri="{FF2B5EF4-FFF2-40B4-BE49-F238E27FC236}">
                <a16:creationId xmlns:a16="http://schemas.microsoft.com/office/drawing/2014/main" id="{944A1A71-C28C-4511-9F63-4A3C1F0CCD22}"/>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p>
        </p:txBody>
      </p:sp>
      <p:sp>
        <p:nvSpPr>
          <p:cNvPr id="20" name="TextBox 19">
            <a:extLst>
              <a:ext uri="{FF2B5EF4-FFF2-40B4-BE49-F238E27FC236}">
                <a16:creationId xmlns:a16="http://schemas.microsoft.com/office/drawing/2014/main" id="{D84357B0-A3CD-6045-8BDB-9045570C678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F149CF9A-FDF7-3A71-4048-CA3A015E3C6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 Employing entity</a:t>
            </a:r>
          </a:p>
          <a:p>
            <a:pPr lvl="1"/>
            <a:endParaRPr lang="en-US"/>
          </a:p>
        </p:txBody>
      </p:sp>
      <p:sp>
        <p:nvSpPr>
          <p:cNvPr id="26" name="Title 2">
            <a:extLst>
              <a:ext uri="{FF2B5EF4-FFF2-40B4-BE49-F238E27FC236}">
                <a16:creationId xmlns:a16="http://schemas.microsoft.com/office/drawing/2014/main" id="{9A2509F8-6F19-2B6F-A314-F1D5494BB362}"/>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609EEA51-FF18-8B06-DED7-C8EC5E87D3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1" name="Text Placeholder 5">
            <a:extLst>
              <a:ext uri="{FF2B5EF4-FFF2-40B4-BE49-F238E27FC236}">
                <a16:creationId xmlns:a16="http://schemas.microsoft.com/office/drawing/2014/main" id="{B03A068B-130F-5EFE-0075-595323A9AF6A}"/>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2" name="Text Placeholder 7">
            <a:extLst>
              <a:ext uri="{FF2B5EF4-FFF2-40B4-BE49-F238E27FC236}">
                <a16:creationId xmlns:a16="http://schemas.microsoft.com/office/drawing/2014/main" id="{268613E5-36A8-75D1-46BC-66773839FC47}"/>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Tree>
    <p:extLst>
      <p:ext uri="{BB962C8B-B14F-4D97-AF65-F5344CB8AC3E}">
        <p14:creationId xmlns:p14="http://schemas.microsoft.com/office/powerpoint/2010/main" val="14550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3.xml><?xml version="1.0" encoding="utf-8"?>
<p:sldLayout xmlns:a="http://schemas.openxmlformats.org/drawingml/2006/main" xmlns:r="http://schemas.openxmlformats.org/officeDocument/2006/relationships" xmlns:p="http://schemas.openxmlformats.org/presentationml/2006/main" showMasterSp="0" preserve="1" userDrawn="1">
  <p:cSld name="SD Agenda Big Re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D1111F"/>
                </a:solidFill>
                <a:effectLst>
                  <a:innerShdw blurRad="38100" dist="25400" dir="8100000">
                    <a:srgbClr val="180204">
                      <a:alpha val="49804"/>
                    </a:srgbClr>
                  </a:innerShdw>
                </a:effectLst>
              </a:rPr>
              <a:t>Agenda</a:t>
            </a:r>
          </a:p>
        </p:txBody>
      </p:sp>
      <p:sp>
        <p:nvSpPr>
          <p:cNvPr id="7" name="Text Placeholder 2">
            <a:extLst>
              <a:ext uri="{FF2B5EF4-FFF2-40B4-BE49-F238E27FC236}">
                <a16:creationId xmlns:a16="http://schemas.microsoft.com/office/drawing/2014/main" id="{C3F56594-1474-F14B-A41D-F43DD6BD51D0}"/>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737F365F-7EEE-AA45-8532-53CE290F304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51997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4.xml><?xml version="1.0" encoding="utf-8"?>
<p:sldLayout xmlns:a="http://schemas.openxmlformats.org/drawingml/2006/main" xmlns:r="http://schemas.openxmlformats.org/officeDocument/2006/relationships" xmlns:p="http://schemas.openxmlformats.org/presentationml/2006/main" showMasterSp="0" preserve="1" userDrawn="1">
  <p:cSld name="SD Agenda Big White">
    <p:bg>
      <p:bgPr>
        <a:solidFill>
          <a:srgbClr val="FFFFFF"/>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20000"/>
                    <a:lumOff val="8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6B3B9127-D8AF-E548-8A0E-E6141B702B75}"/>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B421317D-AD5C-6F5F-F6A6-3BDC6388892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71105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5.xml><?xml version="1.0" encoding="utf-8"?>
<p:sldLayout xmlns:a="http://schemas.openxmlformats.org/drawingml/2006/main" xmlns:r="http://schemas.openxmlformats.org/officeDocument/2006/relationships" xmlns:p="http://schemas.openxmlformats.org/presentationml/2006/main" showMasterSp="0" preserve="1" userDrawn="1">
  <p:cSld name="SD Agenda Big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72CF8E38-04A3-A34E-B57D-0814CF3DE5C6}"/>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CDE8135-DEA4-D944-85A4-19C6AF52940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2393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6.xml><?xml version="1.0" encoding="utf-8"?>
<p:sldLayout xmlns:a="http://schemas.openxmlformats.org/drawingml/2006/main" xmlns:r="http://schemas.openxmlformats.org/officeDocument/2006/relationships" xmlns:p="http://schemas.openxmlformats.org/presentationml/2006/main" showMasterSp="0" preserve="1" userDrawn="1">
  <p:cSld name="SD Agenda Big Gunmetal">
    <p:bg>
      <p:bgPr>
        <a:solidFill>
          <a:schemeClr val="accent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C6A978-F95A-43B4-91EE-66A1EFC2CDD7}"/>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C805FA2C-F21B-EE4F-A31C-ECD531B1E244}"/>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ECFEECC4-DC29-1941-A6E0-5ACEFD341DF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4913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7.xml><?xml version="1.0" encoding="utf-8"?>
<p:sldLayout xmlns:a="http://schemas.openxmlformats.org/drawingml/2006/main" xmlns:r="http://schemas.openxmlformats.org/officeDocument/2006/relationships" xmlns:p="http://schemas.openxmlformats.org/presentationml/2006/main" showMasterSp="0" preserve="1" userDrawn="1">
  <p:cSld name="SD Agenda Big Midnight">
    <p:bg>
      <p:bgPr>
        <a:solidFill>
          <a:schemeClr val="tx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B815781-8802-814C-ABFE-690425339A6D}"/>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5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495E9130-3F7C-1B46-B3AF-1C700B3C6EED}"/>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779F154B-536A-D226-DF30-F2C6EA881FA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5804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SD Agenda Red">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A080BE5C-026A-824A-9F24-7CDA1BA227FB}"/>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84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SD Agenda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82B492E3-40DB-A744-A544-A637244B80F7}"/>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48449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SD Agenda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BD146A33-9805-4C48-A6F6-875CFC7CEED8}"/>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27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SD Agenda Gun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5" name="Title 2">
            <a:extLst>
              <a:ext uri="{FF2B5EF4-FFF2-40B4-BE49-F238E27FC236}">
                <a16:creationId xmlns:a16="http://schemas.microsoft.com/office/drawing/2014/main" id="{B25BB882-FF84-4997-A4A9-C537179AE82A}"/>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BD2FAD59-06FA-664F-B2AC-846E9295BADA}"/>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193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SD Agenda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28AA9EC-32E1-43B6-A637-836E83AC4266}"/>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43B8DC1D-A596-0743-91CF-4035BACF78CF}"/>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62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S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p>
        </p:txBody>
      </p:sp>
    </p:spTree>
    <p:extLst>
      <p:ext uri="{BB962C8B-B14F-4D97-AF65-F5344CB8AC3E}">
        <p14:creationId xmlns:p14="http://schemas.microsoft.com/office/powerpoint/2010/main" val="218871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SD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38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SD 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9355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SD 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97798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SD 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20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SD 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893677"/>
            <a:ext cx="2608263" cy="952155"/>
          </a:xfrm>
        </p:spPr>
        <p:txBody>
          <a:bodyPr/>
          <a:lstStyle/>
          <a:p>
            <a:r>
              <a:rPr lang="en-US"/>
              <a:t>Click to edit Master title style</a:t>
            </a:r>
          </a:p>
        </p:txBody>
      </p:sp>
      <p:sp>
        <p:nvSpPr>
          <p:cNvPr id="5" name="Subtitle">
            <a:extLst>
              <a:ext uri="{FF2B5EF4-FFF2-40B4-BE49-F238E27FC236}">
                <a16:creationId xmlns:a16="http://schemas.microsoft.com/office/drawing/2014/main" id="{8694D2CA-57FD-5A41-B5C7-1F8CECC66195}"/>
              </a:ext>
            </a:extLst>
          </p:cNvPr>
          <p:cNvSpPr>
            <a:spLocks noGrp="1"/>
          </p:cNvSpPr>
          <p:nvPr>
            <p:ph type="subTitle" idx="1" hasCustomPrompt="1"/>
          </p:nvPr>
        </p:nvSpPr>
        <p:spPr>
          <a:xfrm>
            <a:off x="494189" y="3904316"/>
            <a:ext cx="2608522" cy="1589409"/>
          </a:xfrm>
          <a:prstGeom prst="rect">
            <a:avLst/>
          </a:prstGeom>
        </p:spPr>
        <p:txBody>
          <a:bodyPr wrap="square">
            <a:spAutoFit/>
          </a:bodyPr>
          <a:lstStyle>
            <a:lvl1pPr marL="285750" indent="-285750" algn="l" defTabSz="914400" rtl="0" eaLnBrk="1" latinLnBrk="0" hangingPunct="1">
              <a:lnSpc>
                <a:spcPct val="96000"/>
              </a:lnSpc>
              <a:spcBef>
                <a:spcPts val="900"/>
              </a:spcBef>
              <a:buClr>
                <a:schemeClr val="tx2"/>
              </a:buClr>
              <a:buFont typeface="Arial" panose="020B0604020202020204" pitchFamily="34" charset="0"/>
              <a:buChar char="•"/>
              <a:defRPr lang="en-US" sz="1600" kern="1200" baseline="0" dirty="0">
                <a:solidFill>
                  <a:schemeClr val="tx2"/>
                </a:solidFill>
                <a:latin typeface="+mn-lt"/>
                <a:ea typeface="+mn-ea"/>
                <a:cs typeface="+mn-cs"/>
              </a:defRPr>
            </a:lvl1pPr>
            <a:lvl2pPr marL="301625" indent="-301625" algn="l">
              <a:buClr>
                <a:schemeClr val="tx2"/>
              </a:buClr>
              <a:buFont typeface="Arial" panose="020B0604020202020204" pitchFamily="34" charset="0"/>
              <a:buChar char="•"/>
              <a:tabLst>
                <a:tab pos="2003425" algn="l"/>
              </a:tabLst>
              <a:defRPr sz="1400"/>
            </a:lvl2pPr>
            <a:lvl3pPr marL="571500" indent="-269875" algn="l">
              <a:buClr>
                <a:schemeClr val="tx2"/>
              </a:buClr>
              <a:buFont typeface="Arial" panose="020B0604020202020204" pitchFamily="34" charset="0"/>
              <a:buChar char="•"/>
              <a:tabLst/>
              <a:defRPr sz="1800"/>
            </a:lvl3pPr>
            <a:lvl4pPr marL="571500" indent="-269875" algn="l">
              <a:buClr>
                <a:schemeClr val="tx2"/>
              </a:buClr>
              <a:buFont typeface="Arial" panose="020B0604020202020204" pitchFamily="34" charset="0"/>
              <a:buChar char="•"/>
              <a:tabLst/>
              <a:defRPr sz="1400"/>
            </a:lvl4pPr>
            <a:lvl5pPr marL="850900" indent="-279400" algn="l">
              <a:spcBef>
                <a:spcPts val="75"/>
              </a:spcBef>
              <a:spcAft>
                <a:spcPts val="75"/>
              </a:spcAft>
              <a:buFont typeface="Arial" panose="020B0604020202020204" pitchFamily="34" charset="0"/>
              <a:buChar char="•"/>
              <a:tabLst/>
              <a:defRPr sz="1400" b="0"/>
            </a:lvl5pPr>
            <a:lvl6pPr marL="800100" indent="-800100" algn="l">
              <a:buFont typeface="Arial" panose="020B0604020202020204" pitchFamily="34" charset="0"/>
              <a:buChar char="•"/>
              <a:tabLst/>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47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SD Title and Content">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6390C4F-C50D-4EA4-B36C-FD3A6D8926A2}"/>
              </a:ext>
            </a:extLst>
          </p:cNvPr>
          <p:cNvSpPr>
            <a:spLocks noGrp="1"/>
          </p:cNvSpPr>
          <p:nvPr>
            <p:ph sz="quarter" idx="16"/>
          </p:nvPr>
        </p:nvSpPr>
        <p:spPr>
          <a:xfrm>
            <a:off x="494188" y="1719072"/>
            <a:ext cx="11202511"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pPr>
              <a:defRPr/>
            </a:pPr>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7992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helf Blue_Title, Subtitle top">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4" name="Title 3">
            <a:extLst>
              <a:ext uri="{FF2B5EF4-FFF2-40B4-BE49-F238E27FC236}">
                <a16:creationId xmlns:a16="http://schemas.microsoft.com/office/drawing/2014/main" id="{981D0AE3-B7CC-4A96-AB28-F50411D20B2E}"/>
              </a:ext>
            </a:extLst>
          </p:cNvPr>
          <p:cNvSpPr>
            <a:spLocks noGrp="1"/>
          </p:cNvSpPr>
          <p:nvPr>
            <p:ph type="title"/>
          </p:nvPr>
        </p:nvSpPr>
        <p:spPr/>
        <p:txBody>
          <a:bodyPr/>
          <a:lstStyle/>
          <a:p>
            <a:r>
              <a:rPr lang="en-US"/>
              <a:t>Click to edit Master title style</a:t>
            </a:r>
          </a:p>
        </p:txBody>
      </p:sp>
      <p:sp>
        <p:nvSpPr>
          <p:cNvPr id="9" name="Subtitle">
            <a:extLst>
              <a:ext uri="{FF2B5EF4-FFF2-40B4-BE49-F238E27FC236}">
                <a16:creationId xmlns:a16="http://schemas.microsoft.com/office/drawing/2014/main" id="{C1D6D245-452D-47E7-B38E-5EC428FE12FD}"/>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714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SD 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1724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SD 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480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2.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Red">
    <p:bg>
      <p:bgPr>
        <a:solidFill>
          <a:schemeClr val="bg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3A8CC-E70D-4655-9738-607E9AB570D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IBC 2023</a:t>
            </a:r>
          </a:p>
        </p:txBody>
      </p:sp>
      <p:sp>
        <p:nvSpPr>
          <p:cNvPr id="5" name="Title 3">
            <a:extLst>
              <a:ext uri="{FF2B5EF4-FFF2-40B4-BE49-F238E27FC236}">
                <a16:creationId xmlns:a16="http://schemas.microsoft.com/office/drawing/2014/main" id="{8BAE2EEE-D744-4DCE-AA4D-329EBB37E8D0}"/>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851BFC7F-08CD-484C-AEAC-FDDD29DB914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53270F94-B0D0-418A-A0DA-8F392DF00CE2}"/>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7" name="TextBox 6">
            <a:extLst>
              <a:ext uri="{FF2B5EF4-FFF2-40B4-BE49-F238E27FC236}">
                <a16:creationId xmlns:a16="http://schemas.microsoft.com/office/drawing/2014/main" id="{8C7A4937-F361-A84D-BBA4-930690AF585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82764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SD Title and Subtitle White">
    <p:bg>
      <p:bgPr>
        <a:solidFill>
          <a:srgbClr val="FAFBFC"/>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6395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SD Title and Sub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9038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5.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Gunmetal">
    <p:bg>
      <p:bgPr>
        <a:solidFill>
          <a:schemeClr val="accent5"/>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AD80C37-2083-4D37-BD1B-FD58CA4160C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itle 3">
            <a:extLst>
              <a:ext uri="{FF2B5EF4-FFF2-40B4-BE49-F238E27FC236}">
                <a16:creationId xmlns:a16="http://schemas.microsoft.com/office/drawing/2014/main" id="{C8663155-F71F-4E37-929E-734AA04A2137}"/>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1AA9D118-B949-48F9-8441-498DC3CA5E9F}"/>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F335D76E-32AD-4DEE-90A0-93ECEF4B0F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9" name="TextBox 8">
            <a:extLst>
              <a:ext uri="{FF2B5EF4-FFF2-40B4-BE49-F238E27FC236}">
                <a16:creationId xmlns:a16="http://schemas.microsoft.com/office/drawing/2014/main" id="{AD838838-BE57-E34A-ABF5-2C0070416E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7710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Midnight">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26824E5-24D4-439C-96E3-DE800C32FF7C}"/>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itle 3">
            <a:extLst>
              <a:ext uri="{FF2B5EF4-FFF2-40B4-BE49-F238E27FC236}">
                <a16:creationId xmlns:a16="http://schemas.microsoft.com/office/drawing/2014/main" id="{0321B3C6-CCC0-410B-99D2-AF5F9DBD6269}"/>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7338B18C-2B89-4572-910C-EA1F43F15ABD}"/>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B5780F14-570B-4BDF-BDF0-3FE3F89E0B5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7" name="TextBox 6">
            <a:extLst>
              <a:ext uri="{FF2B5EF4-FFF2-40B4-BE49-F238E27FC236}">
                <a16:creationId xmlns:a16="http://schemas.microsoft.com/office/drawing/2014/main" id="{BB07E57D-E08F-644F-934B-0835F92FB4B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4994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preserve="1" userDrawn="1">
  <p:cSld name="SD Blank Fireball Red">
    <p:bg>
      <p:bgPr>
        <a:solidFill>
          <a:srgbClr val="CD111E"/>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437"/>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94ED5EAF-78DC-43F8-94C6-0A3E845563B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E89D24C-C3C5-0B41-A42D-29F52EE22F9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
        <p:nvSpPr>
          <p:cNvPr id="12" name="Text Placeholder 2">
            <a:extLst>
              <a:ext uri="{FF2B5EF4-FFF2-40B4-BE49-F238E27FC236}">
                <a16:creationId xmlns:a16="http://schemas.microsoft.com/office/drawing/2014/main" id="{C464D679-1580-4DBB-A11D-DC62EB97446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3" name="Text Placeholder 47">
            <a:extLst>
              <a:ext uri="{FF2B5EF4-FFF2-40B4-BE49-F238E27FC236}">
                <a16:creationId xmlns:a16="http://schemas.microsoft.com/office/drawing/2014/main" id="{158A983D-A462-49A3-A422-64FAFD233B9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4738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8.xml><?xml version="1.0" encoding="utf-8"?>
<p:sldLayout xmlns:a="http://schemas.openxmlformats.org/drawingml/2006/main" xmlns:r="http://schemas.openxmlformats.org/officeDocument/2006/relationships" xmlns:p="http://schemas.openxmlformats.org/presentationml/2006/main" showMasterSp="0" preserve="1" userDrawn="1">
  <p:cSld name="SD Blank Fireball Whit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1F2F5"/>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24C35F18-0A18-4D40-939E-C1AFCB85CE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4BE19A9C-A507-B142-B455-AA5933A548D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5630368C-0CDF-411A-A191-49E899612FFC}"/>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5" name="Text Placeholder 47">
            <a:extLst>
              <a:ext uri="{FF2B5EF4-FFF2-40B4-BE49-F238E27FC236}">
                <a16:creationId xmlns:a16="http://schemas.microsoft.com/office/drawing/2014/main" id="{B94E9817-6E08-43A2-B39F-47890833372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223507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SD Blank Fireball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B61F5CC4-20B6-4766-B066-5E1E7E75F489}"/>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C725D2C4-F421-3647-8C79-00B1B8E506D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6F743B7C-8E05-4E60-8E43-6BB66F02C14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5" name="Text Placeholder 47">
            <a:extLst>
              <a:ext uri="{FF2B5EF4-FFF2-40B4-BE49-F238E27FC236}">
                <a16:creationId xmlns:a16="http://schemas.microsoft.com/office/drawing/2014/main" id="{260ECEE4-BC8D-4E89-980A-7DBC39D89E7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104229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8332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SD Blank Fireball Gunmetal">
    <p:bg>
      <p:bgPr>
        <a:solidFill>
          <a:srgbClr val="3D4A6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D4A6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C0E12">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C0E12">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0964E06C-5CDC-4DD2-949B-419EC57E3AAB}"/>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A74494B-FB0A-7644-BDB3-59749D99E3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F88459E5-FD06-4889-9EE1-4D29E262FC0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5" name="Text Placeholder 47">
            <a:extLst>
              <a:ext uri="{FF2B5EF4-FFF2-40B4-BE49-F238E27FC236}">
                <a16:creationId xmlns:a16="http://schemas.microsoft.com/office/drawing/2014/main" id="{B30E4199-8597-44AB-B6EC-4497BD09E8D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426745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userDrawn="1">
  <p:cSld name="SD Blank Fireball Midnight">
    <p:bg>
      <p:bgPr>
        <a:solidFill>
          <a:srgbClr val="081D3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071B2F"/>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A233C"/>
            </a:solidFill>
            <a:ln>
              <a:noFill/>
            </a:ln>
            <a:effectLst>
              <a:outerShdw blurRad="304800" dist="304800" dir="8100000" algn="tr" rotWithShape="0">
                <a:srgbClr val="050D13">
                  <a:alpha val="35000"/>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8C2CAAF-CDDA-4C4A-89EC-D1913727AD1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F53FCEE-0955-084E-8D70-8129C635A40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14B69B5A-BF88-4025-B43F-F44CE934321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5" name="Text Placeholder 47">
            <a:extLst>
              <a:ext uri="{FF2B5EF4-FFF2-40B4-BE49-F238E27FC236}">
                <a16:creationId xmlns:a16="http://schemas.microsoft.com/office/drawing/2014/main" id="{34BF50B9-4029-41B5-9009-27DD98516CC4}"/>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417417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2.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A00C3292-75D1-4DA8-82E9-9A4CB6D8CFC8}"/>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EDDDDD52-8A68-4B86-A9C6-F0B2044B4DE6}"/>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2" name="TextBox 11">
            <a:extLst>
              <a:ext uri="{FF2B5EF4-FFF2-40B4-BE49-F238E27FC236}">
                <a16:creationId xmlns:a16="http://schemas.microsoft.com/office/drawing/2014/main" id="{EA7A73CF-3EA7-E444-8AC7-9CA650E8702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2F67DEC8-5B82-45EB-9E1C-1797E01FC933}"/>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8" name="Text Placeholder 47">
            <a:extLst>
              <a:ext uri="{FF2B5EF4-FFF2-40B4-BE49-F238E27FC236}">
                <a16:creationId xmlns:a16="http://schemas.microsoft.com/office/drawing/2014/main" id="{CED15783-97E6-4593-B718-789CCD8E42A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2394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3.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White">
    <p:bg>
      <p:bgPr>
        <a:solidFill>
          <a:srgbClr val="FFFFFF"/>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chemeClr val="bg1"/>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AFBFC"/>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64807E53-98A7-46DD-A808-B562A7449FC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DAAB8A5D-AC60-C84A-A928-281A9137C12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16B8C3E4-9F3D-4C8D-A8D1-1D949A9D31E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7" name="Text Placeholder 47">
            <a:extLst>
              <a:ext uri="{FF2B5EF4-FFF2-40B4-BE49-F238E27FC236}">
                <a16:creationId xmlns:a16="http://schemas.microsoft.com/office/drawing/2014/main" id="{3F709CA9-7ECB-4967-B989-FFF289471B0B}"/>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61769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4.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0" name="Text Placeholder 2">
            <a:extLst>
              <a:ext uri="{FF2B5EF4-FFF2-40B4-BE49-F238E27FC236}">
                <a16:creationId xmlns:a16="http://schemas.microsoft.com/office/drawing/2014/main" id="{1B2798E6-6971-4C62-B298-8434FE93935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92ED7BC6-7327-5148-BD05-DC8203396E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1D37783B-92BD-45E0-A8C1-A8EEF709C22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8" name="Text Placeholder 47">
            <a:extLst>
              <a:ext uri="{FF2B5EF4-FFF2-40B4-BE49-F238E27FC236}">
                <a16:creationId xmlns:a16="http://schemas.microsoft.com/office/drawing/2014/main" id="{7DD45AE6-5FFF-448D-8664-D0A2D942143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188906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5.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Gunmetal">
    <p:bg>
      <p:bgPr>
        <a:solidFill>
          <a:schemeClr val="accent5"/>
        </a:solidFill>
        <a:effectLst/>
      </p:bgPr>
    </p:bg>
    <p:spTree>
      <p:nvGrpSpPr>
        <p:cNvPr id="1" name=""/>
        <p:cNvGrpSpPr/>
        <p:nvPr/>
      </p:nvGrpSpPr>
      <p:grpSpPr>
        <a:xfrm>
          <a:off x="0" y="0"/>
          <a:ext cx="0" cy="0"/>
          <a:chOff x="0" y="0"/>
          <a:chExt cx="0" cy="0"/>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F4D6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E5F7A"/>
          </a:solidFill>
          <a:ln>
            <a:noFill/>
          </a:ln>
          <a:effectLst>
            <a:outerShdw blurRad="304800" dist="304800" dir="8100000" algn="tr" rotWithShape="0">
              <a:srgbClr val="0A0C10">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90B0F">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80A0C">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sp>
        <p:nvSpPr>
          <p:cNvPr id="10" name="Text Placeholder 2">
            <a:extLst>
              <a:ext uri="{FF2B5EF4-FFF2-40B4-BE49-F238E27FC236}">
                <a16:creationId xmlns:a16="http://schemas.microsoft.com/office/drawing/2014/main" id="{11733D67-8F17-48E5-8721-648A321CB61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9" name="TextBox 8">
            <a:extLst>
              <a:ext uri="{FF2B5EF4-FFF2-40B4-BE49-F238E27FC236}">
                <a16:creationId xmlns:a16="http://schemas.microsoft.com/office/drawing/2014/main" id="{2C995166-EB53-2842-BADE-906F0C8250D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56E69B2D-39C4-485E-868E-0BCAED86F1F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7" name="Text Placeholder 47">
            <a:extLst>
              <a:ext uri="{FF2B5EF4-FFF2-40B4-BE49-F238E27FC236}">
                <a16:creationId xmlns:a16="http://schemas.microsoft.com/office/drawing/2014/main" id="{BA50C9A3-5C39-479C-A785-3A1A86CD75E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93596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6.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Midnight">
    <p:bg>
      <p:bgPr>
        <a:solidFill>
          <a:schemeClr val="tx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5DDF63-EA9F-4B09-AD38-3CF158117D3F}"/>
              </a:ext>
            </a:extLst>
          </p:cNvPr>
          <p:cNvGrpSpPr/>
          <p:nvPr userDrawn="1"/>
        </p:nvGrpSpPr>
        <p:grpSpPr>
          <a:xfrm>
            <a:off x="2118610" y="-558521"/>
            <a:ext cx="7954780" cy="7975042"/>
            <a:chOff x="2801769" y="126378"/>
            <a:chExt cx="6588462" cy="6605244"/>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801769" y="126378"/>
              <a:ext cx="6588462" cy="6589988"/>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801769" y="126378"/>
              <a:ext cx="4950118" cy="6605243"/>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D2C4B"/>
            </a:solidFill>
            <a:ln>
              <a:noFill/>
            </a:ln>
            <a:effectLst>
              <a:outerShdw blurRad="304800" dist="304800" dir="10800000" algn="r" rotWithShape="0">
                <a:srgbClr val="02080E">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0D2C4B"/>
            </a:solidFill>
            <a:ln>
              <a:noFill/>
            </a:ln>
            <a:effectLst>
              <a:innerShdw blurRad="304800" dist="304800" dir="18900000">
                <a:srgbClr val="050D13">
                  <a:alpha val="50000"/>
                </a:srgbClr>
              </a:innerShdw>
            </a:effectLst>
          </p:spPr>
          <p:txBody>
            <a:bodyPr vert="horz" wrap="square" lIns="91440" tIns="45720" rIns="91440" bIns="45720" numCol="1" anchor="t" anchorCtr="0" compatLnSpc="1">
              <a:prstTxWarp prst="textNoShape">
                <a:avLst/>
              </a:prstTxWarp>
            </a:bodyPr>
            <a:lstStyle/>
            <a:p>
              <a:endParaRPr lang="en-US"/>
            </a:p>
          </p:txBody>
        </p:sp>
      </p:grpSp>
      <p:sp>
        <p:nvSpPr>
          <p:cNvPr id="10" name="Text Placeholder 2">
            <a:extLst>
              <a:ext uri="{FF2B5EF4-FFF2-40B4-BE49-F238E27FC236}">
                <a16:creationId xmlns:a16="http://schemas.microsoft.com/office/drawing/2014/main" id="{82BF70D1-2372-4B77-B2A2-31833C33D018}"/>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C5058962-74F8-A743-AD5E-27A4A90189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5" name="Text Placeholder 2">
            <a:extLst>
              <a:ext uri="{FF2B5EF4-FFF2-40B4-BE49-F238E27FC236}">
                <a16:creationId xmlns:a16="http://schemas.microsoft.com/office/drawing/2014/main" id="{BE8555D9-AA6D-4C69-9ACF-93F32F5DB89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6" name="Text Placeholder 47">
            <a:extLst>
              <a:ext uri="{FF2B5EF4-FFF2-40B4-BE49-F238E27FC236}">
                <a16:creationId xmlns:a16="http://schemas.microsoft.com/office/drawing/2014/main" id="{550A8FB1-A866-4D28-BA93-A8493FF075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40967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SD Shelf Red">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bg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42BA5A4B-EF02-4E2D-8046-A008C6824853}"/>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5C7CD035-E3AE-094C-9116-E763D4650A7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97702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SD 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03CF40E9-DEAF-493C-B475-895B049DB0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CF84B7E2-7102-7249-878F-AE7424E637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03811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SD 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1C775F73-24E3-4EFE-81CC-0A42D0DB058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11923F10-D7DD-9C42-B84B-BC4F192B70B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7817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129079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SD 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5C13B54D-96FE-401E-9628-2EE14ED88006}"/>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C4DA8D7E-8B55-4949-9258-214A3F2732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2589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SD 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IBC 2023</a:t>
            </a: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EAB4FB2F-9AB9-432F-93E7-DA8BC9D85FA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FE1FE39-599B-8149-8E95-00D55D065F7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6159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SD Fifty Fifty Red">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22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SD 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519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SD 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048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SD 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EB6F6D38-8378-8946-AE37-D76813BE4ED1}"/>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D808691C-4519-914E-8F02-AF2542CE6739}"/>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67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SD 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3390" y="-159655"/>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CE187649-C2CF-3048-88B5-038E7AE26350}"/>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82F18929-5BBB-5E40-B967-9F715090FFDF}"/>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73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userDrawn="1">
  <p:cSld name="SD_Cutaway 1/3 Right Red">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09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userDrawn="1">
  <p:cSld name="SD_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68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userDrawn="1">
  <p:cSld name="SD_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69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56148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userDrawn="1">
  <p:cSld name="SD_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6509945B-0089-450C-B2CD-0E4FBC97B735}"/>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0EB14AB7-C8B4-422F-A4E4-26D7174B5D2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5441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userDrawn="1">
  <p:cSld name="SD_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70BE114-8BEC-41B2-BDBA-3BB922CC597F}"/>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929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2.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Footer Placeholder 2">
            <a:extLst>
              <a:ext uri="{FF2B5EF4-FFF2-40B4-BE49-F238E27FC236}">
                <a16:creationId xmlns:a16="http://schemas.microsoft.com/office/drawing/2014/main" id="{3D22F37A-B6B9-9C47-B70D-23AE6BE4CB0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9" name="TextBox 8">
            <a:extLst>
              <a:ext uri="{FF2B5EF4-FFF2-40B4-BE49-F238E27FC236}">
                <a16:creationId xmlns:a16="http://schemas.microsoft.com/office/drawing/2014/main" id="{C6B6FB58-AA0E-DC15-AACC-6F08F21FD31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2119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3.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688A1DC-6E2A-57AD-266E-351F71C2D9E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4165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4.xml><?xml version="1.0" encoding="utf-8"?>
<p:sldLayout xmlns:a="http://schemas.openxmlformats.org/drawingml/2006/main" xmlns:r="http://schemas.openxmlformats.org/officeDocument/2006/relationships" xmlns:p="http://schemas.openxmlformats.org/presentationml/2006/main" showMasterSp="0" preserve="1" userDrawn="1">
  <p:cSld name="SD_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02FB666D-3907-0AF7-AF5D-C7344D39F1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8938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5.xml><?xml version="1.0" encoding="utf-8"?>
<p:sldLayout xmlns:a="http://schemas.openxmlformats.org/drawingml/2006/main" xmlns:r="http://schemas.openxmlformats.org/officeDocument/2006/relationships" xmlns:p="http://schemas.openxmlformats.org/presentationml/2006/main" showMasterSp="0" preserve="1" userDrawn="1">
  <p:cSld name="SD_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IBC 2023</a:t>
            </a:r>
          </a:p>
        </p:txBody>
      </p:sp>
      <p:sp>
        <p:nvSpPr>
          <p:cNvPr id="5" name="TextBox 4">
            <a:extLst>
              <a:ext uri="{FF2B5EF4-FFF2-40B4-BE49-F238E27FC236}">
                <a16:creationId xmlns:a16="http://schemas.microsoft.com/office/drawing/2014/main" id="{69EC8DBE-004F-FE4A-8441-FB8D26CB02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75634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userDrawn="1">
  <p:cSld name="SD 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6E88897A-387B-264D-9522-9C3B1FF1F3A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58604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userDrawn="1">
  <p:cSld name="SD 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BD3313CA-8613-B249-821B-0584EDEB883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6880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userDrawn="1">
  <p:cSld name="SD 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D2B00E6-D523-6C40-8C3C-EA1A6C03A58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3381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userDrawn="1">
  <p:cSld name="SD 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5E00948D-7B2D-714B-8E6D-4A37ADA6CC9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7635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30952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userDrawn="1">
  <p:cSld name="SD 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IBC 2023</a:t>
            </a:r>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DE5A83F-9153-3C44-8957-2EC27B94572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6530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SD Showcase Circl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A86694-1ECC-42EC-BE07-600F1C0BC6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858"/>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9A18C914-9D69-0546-A1C6-6F41BB990E49}"/>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
        <p:nvSpPr>
          <p:cNvPr id="7" name="TextBox 6">
            <a:extLst>
              <a:ext uri="{FF2B5EF4-FFF2-40B4-BE49-F238E27FC236}">
                <a16:creationId xmlns:a16="http://schemas.microsoft.com/office/drawing/2014/main" id="{39C70112-9A84-A446-8F7F-6CF61C9967B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2562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SD Showcase Squar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510F42-9E8C-443B-8354-231F3450AD6C}"/>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IBC 2023</a:t>
            </a:r>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5" name="Picture Placeholder 5">
            <a:extLst>
              <a:ext uri="{FF2B5EF4-FFF2-40B4-BE49-F238E27FC236}">
                <a16:creationId xmlns:a16="http://schemas.microsoft.com/office/drawing/2014/main" id="{30B38128-2D95-E941-B2BF-A15CAAB123C0}"/>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a:t>Drop in showcase</a:t>
            </a:r>
            <a:br>
              <a:rPr lang="en-US"/>
            </a:br>
            <a:r>
              <a:rPr lang="en-US"/>
              <a:t>object here</a:t>
            </a:r>
          </a:p>
        </p:txBody>
      </p:sp>
      <p:sp>
        <p:nvSpPr>
          <p:cNvPr id="7" name="TextBox 6">
            <a:extLst>
              <a:ext uri="{FF2B5EF4-FFF2-40B4-BE49-F238E27FC236}">
                <a16:creationId xmlns:a16="http://schemas.microsoft.com/office/drawing/2014/main" id="{6097F0B3-929E-A344-8B69-23BC6D52B50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4779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SD Showcase Circl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647107-E37C-47BD-B11C-44982B708CDD}"/>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86C5B809-3E12-0A40-A02B-B0EE8552A096}"/>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
        <p:nvSpPr>
          <p:cNvPr id="9" name="TextBox 8">
            <a:extLst>
              <a:ext uri="{FF2B5EF4-FFF2-40B4-BE49-F238E27FC236}">
                <a16:creationId xmlns:a16="http://schemas.microsoft.com/office/drawing/2014/main" id="{CD189F20-8729-2444-981C-23DCC2E2BBB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6917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SD Showcase Squar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8CA6EA-4EC4-42A8-B386-C241EF115F9A}"/>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IBC 2023</a:t>
            </a:r>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a:t>Click to edit Master title style</a:t>
            </a:r>
          </a:p>
        </p:txBody>
      </p:sp>
      <p:sp>
        <p:nvSpPr>
          <p:cNvPr id="6" name="Picture Placeholder 5">
            <a:extLst>
              <a:ext uri="{FF2B5EF4-FFF2-40B4-BE49-F238E27FC236}">
                <a16:creationId xmlns:a16="http://schemas.microsoft.com/office/drawing/2014/main" id="{68CF800F-AA02-1B49-B224-9A06208DF3B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a:t>Drop in showcase</a:t>
            </a:r>
            <a:br>
              <a:rPr lang="en-US"/>
            </a:br>
            <a:r>
              <a:rPr lang="en-US"/>
              <a:t>object here</a:t>
            </a:r>
          </a:p>
        </p:txBody>
      </p:sp>
      <p:sp>
        <p:nvSpPr>
          <p:cNvPr id="9" name="TextBox 8">
            <a:extLst>
              <a:ext uri="{FF2B5EF4-FFF2-40B4-BE49-F238E27FC236}">
                <a16:creationId xmlns:a16="http://schemas.microsoft.com/office/drawing/2014/main" id="{19FE6D94-B327-084F-BDAB-3298CA78BE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7058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5.xml><?xml version="1.0" encoding="utf-8"?>
<p:sldLayout xmlns:a="http://schemas.openxmlformats.org/drawingml/2006/main" xmlns:r="http://schemas.openxmlformats.org/officeDocument/2006/relationships" xmlns:p="http://schemas.openxmlformats.org/presentationml/2006/main" showMasterSp="0" preserve="1" userDrawn="1">
  <p:cSld name="SD_Image Left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75DD4A-EECC-C547-8F7C-C486D588CEFC}"/>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C316BB8-9221-4CF5-A3AC-97DB385C7210}"/>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r>
              <a:rPr lang="en-US"/>
              <a:t>IBC 2023</a:t>
            </a:r>
          </a:p>
        </p:txBody>
      </p:sp>
      <p:sp>
        <p:nvSpPr>
          <p:cNvPr id="11" name="TextBox 10">
            <a:extLst>
              <a:ext uri="{FF2B5EF4-FFF2-40B4-BE49-F238E27FC236}">
                <a16:creationId xmlns:a16="http://schemas.microsoft.com/office/drawing/2014/main" id="{B9D51157-61E2-4FBA-93B6-79B4052F1A17}"/>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BE6B4DBC-D544-C040-A8B4-3C5F9841AC80}"/>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26909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6.xml><?xml version="1.0" encoding="utf-8"?>
<p:sldLayout xmlns:a="http://schemas.openxmlformats.org/drawingml/2006/main" xmlns:r="http://schemas.openxmlformats.org/officeDocument/2006/relationships" xmlns:p="http://schemas.openxmlformats.org/presentationml/2006/main" showMasterSp="0" preserve="1" userDrawn="1">
  <p:cSld name="SD_Image Left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DE128B-1DB8-554E-8F04-4D9ED492F91E}"/>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0A0B53BA-FA9B-40BF-9ADE-676B5C4BE42A}"/>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B2BB9067-ED8A-4D94-9B00-8410EEA9CFEB}"/>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4C60EE0F-8B28-E747-AB44-F8BE2D093FDC}"/>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4886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7.xml><?xml version="1.0" encoding="utf-8"?>
<p:sldLayout xmlns:a="http://schemas.openxmlformats.org/drawingml/2006/main" xmlns:r="http://schemas.openxmlformats.org/officeDocument/2006/relationships" xmlns:p="http://schemas.openxmlformats.org/presentationml/2006/main" showMasterSp="0" preserve="1" userDrawn="1">
  <p:cSld name="SD_Image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931E04-3D83-0A42-B203-58F7D87856D9}"/>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812EEBE7-6B5F-4C1C-9CF1-59A95FAC8066}"/>
              </a:ext>
            </a:extLst>
          </p:cNvPr>
          <p:cNvSpPr>
            <a:spLocks noGrp="1"/>
          </p:cNvSpPr>
          <p:nvPr>
            <p:ph type="ftr" sz="quarter" idx="16"/>
          </p:nvPr>
        </p:nvSpPr>
        <p:spPr>
          <a:xfrm>
            <a:off x="8103394" y="6089904"/>
            <a:ext cx="357422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IBC 2023</a:t>
            </a:r>
          </a:p>
        </p:txBody>
      </p:sp>
      <p:sp>
        <p:nvSpPr>
          <p:cNvPr id="11" name="TextBox 10">
            <a:extLst>
              <a:ext uri="{FF2B5EF4-FFF2-40B4-BE49-F238E27FC236}">
                <a16:creationId xmlns:a16="http://schemas.microsoft.com/office/drawing/2014/main" id="{C4C9C04D-8F5D-42CA-8F1F-DE23A6DD948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76C493A7-E235-4249-944C-8CC5F6857D03}"/>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9027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8.xml><?xml version="1.0" encoding="utf-8"?>
<p:sldLayout xmlns:a="http://schemas.openxmlformats.org/drawingml/2006/main" xmlns:r="http://schemas.openxmlformats.org/officeDocument/2006/relationships" xmlns:p="http://schemas.openxmlformats.org/presentationml/2006/main" showMasterSp="0" preserve="1" userDrawn="1">
  <p:cSld name="SD_Image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774562-B6FE-C54A-A445-E945FBC13204}"/>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B2EE45F7-538F-4FC9-ADF8-A824AC4DAF1B}"/>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90905DD8-9532-4B5B-8D68-64EE4A78F59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3" name="TextBox 12">
            <a:extLst>
              <a:ext uri="{FF2B5EF4-FFF2-40B4-BE49-F238E27FC236}">
                <a16:creationId xmlns:a16="http://schemas.microsoft.com/office/drawing/2014/main" id="{BBB2E7B5-124A-3D42-9E7D-712CCC9B139F}"/>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9571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9.xml><?xml version="1.0" encoding="utf-8"?>
<p:sldLayout xmlns:a="http://schemas.openxmlformats.org/drawingml/2006/main" xmlns:r="http://schemas.openxmlformats.org/officeDocument/2006/relationships" xmlns:p="http://schemas.openxmlformats.org/presentationml/2006/main" showMasterSp="0" preserve="1" userDrawn="1">
  <p:cSld name="SD_Image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BDE2E1-92E6-7343-A97E-8F2BD34E3496}"/>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F9FDB7F-4DC9-4EA1-9ED7-C137E1F9B8DF}"/>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9F7F8BFB-AEE8-498D-9E43-0D01F53CA53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2" name="TextBox 11">
            <a:extLst>
              <a:ext uri="{FF2B5EF4-FFF2-40B4-BE49-F238E27FC236}">
                <a16:creationId xmlns:a16="http://schemas.microsoft.com/office/drawing/2014/main" id="{15673EF2-F010-6A45-B5DE-07FD51C42857}"/>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9828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6690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preserve="1" userDrawn="1">
  <p:cSld name="SD_Image Right 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89CA83A-45CB-F251-159E-F280BAB204B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2702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preserve="1" userDrawn="1">
  <p:cSld name="SD_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B9F45113-68D9-B2FC-F747-BE9A8646A04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8913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preserve="1" userDrawn="1">
  <p:cSld name="SD_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17D643E7-2A99-2F12-C4D2-7ACAA412F5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5057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preserve="1" userDrawn="1">
  <p:cSld name="SD_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FC8033F-2F88-6505-E202-4B8D75B2149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5535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4.xml><?xml version="1.0" encoding="utf-8"?>
<p:sldLayout xmlns:a="http://schemas.openxmlformats.org/drawingml/2006/main" xmlns:r="http://schemas.openxmlformats.org/officeDocument/2006/relationships" xmlns:p="http://schemas.openxmlformats.org/presentationml/2006/main" showMasterSp="0" preserve="1" userDrawn="1">
  <p:cSld name="SD_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7D76EA51-5C9D-DC12-4F45-AA693CB163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53516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userDrawn="1">
  <p:cSld name="SD_Cutaway 1/4 Left Red">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userDrawn="1">
  <p:cSld name="SD_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39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userDrawn="1">
  <p:cSld name="SD_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43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userDrawn="1">
  <p:cSld name="SD_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D68A6C0B-0BF9-4A22-B90D-608F5EE4090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5F2E0DD2-6F9C-4113-8407-BCBE8A4B1CA9}"/>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Tree>
    <p:extLst>
      <p:ext uri="{BB962C8B-B14F-4D97-AF65-F5344CB8AC3E}">
        <p14:creationId xmlns:p14="http://schemas.microsoft.com/office/powerpoint/2010/main" val="245624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userDrawn="1">
  <p:cSld name="SD_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6086602B-AA9B-4FB3-83AD-F5FB2BC551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56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279026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50.xml><?xml version="1.0" encoding="utf-8"?>
<p:sldLayout xmlns:a="http://schemas.openxmlformats.org/drawingml/2006/main" xmlns:r="http://schemas.openxmlformats.org/officeDocument/2006/relationships" xmlns:p="http://schemas.openxmlformats.org/presentationml/2006/main" showMasterSp="0" preserve="1" userDrawn="1">
  <p:cSld name="SD_Large Circle Red 2">
    <p:bg>
      <p:bgPr>
        <a:solidFill>
          <a:schemeClr val="bg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1111F"/>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872"/>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IBC 2023</a:t>
            </a:r>
          </a:p>
        </p:txBody>
      </p:sp>
      <p:sp>
        <p:nvSpPr>
          <p:cNvPr id="20" name="Title 2">
            <a:extLst>
              <a:ext uri="{FF2B5EF4-FFF2-40B4-BE49-F238E27FC236}">
                <a16:creationId xmlns:a16="http://schemas.microsoft.com/office/drawing/2014/main" id="{93599206-992C-D847-B719-FBA798CA5DBF}"/>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21" name="Subtitle">
            <a:extLst>
              <a:ext uri="{FF2B5EF4-FFF2-40B4-BE49-F238E27FC236}">
                <a16:creationId xmlns:a16="http://schemas.microsoft.com/office/drawing/2014/main" id="{2A9AEF52-D7A8-C64F-814D-4E9298CD62D9}"/>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Content Placeholder 4">
            <a:extLst>
              <a:ext uri="{FF2B5EF4-FFF2-40B4-BE49-F238E27FC236}">
                <a16:creationId xmlns:a16="http://schemas.microsoft.com/office/drawing/2014/main" id="{0129E7C8-AC10-8847-915D-92B5501FC00F}"/>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9">
            <a:extLst>
              <a:ext uri="{FF2B5EF4-FFF2-40B4-BE49-F238E27FC236}">
                <a16:creationId xmlns:a16="http://schemas.microsoft.com/office/drawing/2014/main" id="{038D6095-BEBE-BB4F-96AD-F9747306CB0A}"/>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51666D16-72E8-4EFF-8DCE-432DA7CA2C3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bg1"/>
                </a:solidFill>
              </a:rPr>
              <a:t>Confidential – Qualcomm Technologies, Inc.</a:t>
            </a:r>
            <a:br>
              <a:rPr lang="en-US">
                <a:solidFill>
                  <a:schemeClr val="bg1"/>
                </a:solidFill>
              </a:rPr>
            </a:br>
            <a:r>
              <a:rPr lang="en-US">
                <a:solidFill>
                  <a:schemeClr val="bg1"/>
                </a:solidFill>
              </a:rPr>
              <a:t>and/or its affiliated companies – May Contain Trade Secrets</a:t>
            </a:r>
          </a:p>
        </p:txBody>
      </p:sp>
    </p:spTree>
    <p:extLst>
      <p:ext uri="{BB962C8B-B14F-4D97-AF65-F5344CB8AC3E}">
        <p14:creationId xmlns:p14="http://schemas.microsoft.com/office/powerpoint/2010/main" val="96296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1.xml><?xml version="1.0" encoding="utf-8"?>
<p:sldLayout xmlns:a="http://schemas.openxmlformats.org/drawingml/2006/main" xmlns:r="http://schemas.openxmlformats.org/officeDocument/2006/relationships" xmlns:p="http://schemas.openxmlformats.org/presentationml/2006/main" showMasterSp="0" preserve="1" userDrawn="1">
  <p:cSld name="SD_Large Circle White 2">
    <p:bg>
      <p:bgPr>
        <a:solidFill>
          <a:schemeClr val="bg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EAEDF2"/>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IBC 2023</a:t>
            </a:r>
          </a:p>
        </p:txBody>
      </p:sp>
      <p:sp>
        <p:nvSpPr>
          <p:cNvPr id="16" name="Title 2">
            <a:extLst>
              <a:ext uri="{FF2B5EF4-FFF2-40B4-BE49-F238E27FC236}">
                <a16:creationId xmlns:a16="http://schemas.microsoft.com/office/drawing/2014/main" id="{215FF207-7D54-4440-A7D5-DC52EC3959F1}"/>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7" name="Subtitle">
            <a:extLst>
              <a:ext uri="{FF2B5EF4-FFF2-40B4-BE49-F238E27FC236}">
                <a16:creationId xmlns:a16="http://schemas.microsoft.com/office/drawing/2014/main" id="{F1478138-6A62-7B4B-BACB-244F3E95682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Content Placeholder 4">
            <a:extLst>
              <a:ext uri="{FF2B5EF4-FFF2-40B4-BE49-F238E27FC236}">
                <a16:creationId xmlns:a16="http://schemas.microsoft.com/office/drawing/2014/main" id="{E60FE8FC-8E72-2842-906A-77D42E2B258F}"/>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9">
            <a:extLst>
              <a:ext uri="{FF2B5EF4-FFF2-40B4-BE49-F238E27FC236}">
                <a16:creationId xmlns:a16="http://schemas.microsoft.com/office/drawing/2014/main" id="{C214789A-742D-3A44-93B4-05AE6682ED4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6DE0EA69-353A-4377-9420-BAD85996AF96}"/>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a:t>
            </a:r>
            <a:br>
              <a:rPr lang="en-US">
                <a:solidFill>
                  <a:schemeClr val="accent6">
                    <a:lumMod val="75000"/>
                  </a:schemeClr>
                </a:solidFill>
              </a:rPr>
            </a:br>
            <a:r>
              <a:rPr lang="en-US">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391605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2.xml><?xml version="1.0" encoding="utf-8"?>
<p:sldLayout xmlns:a="http://schemas.openxmlformats.org/drawingml/2006/main" xmlns:r="http://schemas.openxmlformats.org/officeDocument/2006/relationships" xmlns:p="http://schemas.openxmlformats.org/presentationml/2006/main" showMasterSp="0" preserve="1" userDrawn="1">
  <p:cSld name="SD_Large Circl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3DAE5"/>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IBC 2023</a:t>
            </a:r>
          </a:p>
        </p:txBody>
      </p:sp>
      <p:sp>
        <p:nvSpPr>
          <p:cNvPr id="13" name="Title 2">
            <a:extLst>
              <a:ext uri="{FF2B5EF4-FFF2-40B4-BE49-F238E27FC236}">
                <a16:creationId xmlns:a16="http://schemas.microsoft.com/office/drawing/2014/main" id="{A88E3116-BFC5-1841-9418-761CF03241DC}"/>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8A2C3CB4-6003-1C42-A155-F977A899CED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2BD9774F-06C2-FC47-8791-39A0CF387E4C}"/>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9">
            <a:extLst>
              <a:ext uri="{FF2B5EF4-FFF2-40B4-BE49-F238E27FC236}">
                <a16:creationId xmlns:a16="http://schemas.microsoft.com/office/drawing/2014/main" id="{A3B88A5A-3F4A-4142-8EC3-A5DE5D094E5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16F9DABE-F471-456C-A562-07765D13BFBA}"/>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6">
                    <a:lumMod val="75000"/>
                  </a:schemeClr>
                </a:solidFill>
              </a:rPr>
              <a:t>Confidential – Qualcomm Technologies, Inc.</a:t>
            </a:r>
            <a:br>
              <a:rPr lang="en-US">
                <a:solidFill>
                  <a:schemeClr val="accent6">
                    <a:lumMod val="75000"/>
                  </a:schemeClr>
                </a:solidFill>
              </a:rPr>
            </a:br>
            <a:r>
              <a:rPr lang="en-US">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296608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3.xml><?xml version="1.0" encoding="utf-8"?>
<p:sldLayout xmlns:a="http://schemas.openxmlformats.org/drawingml/2006/main" xmlns:r="http://schemas.openxmlformats.org/officeDocument/2006/relationships" xmlns:p="http://schemas.openxmlformats.org/presentationml/2006/main" showMasterSp="0" preserve="1" userDrawn="1">
  <p:cSld name="SD_Large Circle Gun Metal 2">
    <p:bg>
      <p:bgPr>
        <a:solidFill>
          <a:schemeClr val="accent5"/>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rgbClr val="44536C"/>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p>
        </p:txBody>
      </p:sp>
      <p:sp>
        <p:nvSpPr>
          <p:cNvPr id="13" name="Title 2">
            <a:extLst>
              <a:ext uri="{FF2B5EF4-FFF2-40B4-BE49-F238E27FC236}">
                <a16:creationId xmlns:a16="http://schemas.microsoft.com/office/drawing/2014/main" id="{B36D15F6-7DE5-6443-9613-C4B2FBC1F848}"/>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CBEB3E5-81CA-814D-ADF5-BF5AC22CC9CB}"/>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19189C48-4D09-6448-9A16-6C4D04527AD6}"/>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9">
            <a:extLst>
              <a:ext uri="{FF2B5EF4-FFF2-40B4-BE49-F238E27FC236}">
                <a16:creationId xmlns:a16="http://schemas.microsoft.com/office/drawing/2014/main" id="{E11DFE3E-54AF-B840-B32E-6EC908B58E66}"/>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F38CC6BF-4FF8-4D6D-B41B-0D91B3088BFF}"/>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a:t>
            </a:r>
            <a:br>
              <a:rPr lang="en-US">
                <a:solidFill>
                  <a:schemeClr val="accent5">
                    <a:lumMod val="40000"/>
                    <a:lumOff val="60000"/>
                  </a:schemeClr>
                </a:solidFill>
              </a:rPr>
            </a:br>
            <a:r>
              <a:rPr lang="en-US">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82947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4.xml><?xml version="1.0" encoding="utf-8"?>
<p:sldLayout xmlns:a="http://schemas.openxmlformats.org/drawingml/2006/main" xmlns:r="http://schemas.openxmlformats.org/officeDocument/2006/relationships" xmlns:p="http://schemas.openxmlformats.org/presentationml/2006/main" showMasterSp="0" preserve="1" userDrawn="1">
  <p:cSld name="SD_Large Circle Midnight 2">
    <p:bg>
      <p:bgPr>
        <a:solidFill>
          <a:schemeClr val="tx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rgbClr val="092139"/>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IBC 2023</a:t>
            </a:r>
          </a:p>
        </p:txBody>
      </p:sp>
      <p:sp>
        <p:nvSpPr>
          <p:cNvPr id="9" name="Title 2">
            <a:extLst>
              <a:ext uri="{FF2B5EF4-FFF2-40B4-BE49-F238E27FC236}">
                <a16:creationId xmlns:a16="http://schemas.microsoft.com/office/drawing/2014/main" id="{B1282066-7F06-B246-AE8C-29172F144371}"/>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D1151056-DC79-0A42-B719-F2F0C08292CA}"/>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Content Placeholder 4">
            <a:extLst>
              <a:ext uri="{FF2B5EF4-FFF2-40B4-BE49-F238E27FC236}">
                <a16:creationId xmlns:a16="http://schemas.microsoft.com/office/drawing/2014/main" id="{376E5248-EDE9-3046-BAE5-2B5039AC66FE}"/>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9">
            <a:extLst>
              <a:ext uri="{FF2B5EF4-FFF2-40B4-BE49-F238E27FC236}">
                <a16:creationId xmlns:a16="http://schemas.microsoft.com/office/drawing/2014/main" id="{7DC32646-24CD-1143-9669-355185C160ED}"/>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DFF20135-2D08-9A4B-9DB4-5704D9E0021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a:solidFill>
                  <a:schemeClr val="accent5">
                    <a:lumMod val="40000"/>
                    <a:lumOff val="60000"/>
                  </a:schemeClr>
                </a:solidFill>
              </a:rPr>
              <a:t>Confidential – Qualcomm Technologies, Inc.</a:t>
            </a:r>
            <a:br>
              <a:rPr lang="en-US">
                <a:solidFill>
                  <a:schemeClr val="accent5">
                    <a:lumMod val="40000"/>
                    <a:lumOff val="60000"/>
                  </a:schemeClr>
                </a:solidFill>
              </a:rPr>
            </a:br>
            <a:r>
              <a:rPr lang="en-US">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3885988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5.xml><?xml version="1.0" encoding="utf-8"?>
<p:sldLayout xmlns:a="http://schemas.openxmlformats.org/drawingml/2006/main" xmlns:r="http://schemas.openxmlformats.org/officeDocument/2006/relationships" xmlns:p="http://schemas.openxmlformats.org/presentationml/2006/main" showMasterSp="0" preserve="1" userDrawn="1">
  <p:cSld name="SD_Segue Re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5EF27F35-676D-13EE-DD32-95FDC16E81B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4543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6.xml><?xml version="1.0" encoding="utf-8"?>
<p:sldLayout xmlns:a="http://schemas.openxmlformats.org/drawingml/2006/main" xmlns:r="http://schemas.openxmlformats.org/officeDocument/2006/relationships" xmlns:p="http://schemas.openxmlformats.org/presentationml/2006/main" showMasterSp="0" preserve="1" userDrawn="1">
  <p:cSld name="SD_Segue White">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DA20019A-5B50-D36B-64ED-1FEF35AA270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6189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7.xml><?xml version="1.0" encoding="utf-8"?>
<p:sldLayout xmlns:a="http://schemas.openxmlformats.org/drawingml/2006/main" xmlns:r="http://schemas.openxmlformats.org/officeDocument/2006/relationships" xmlns:p="http://schemas.openxmlformats.org/presentationml/2006/main" showMasterSp="0" preserve="1" userDrawn="1">
  <p:cSld name="SD_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33EE2393-F1DD-8F90-C1C5-310FD4F821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9766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8.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04D8947B-492A-C7A3-31F2-92001AD8CF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6061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9.xml><?xml version="1.0" encoding="utf-8"?>
<p:sldLayout xmlns:a="http://schemas.openxmlformats.org/drawingml/2006/main" xmlns:r="http://schemas.openxmlformats.org/officeDocument/2006/relationships" xmlns:p="http://schemas.openxmlformats.org/presentationml/2006/main" showMasterSp="0" preserve="1" userDrawn="1">
  <p:cSld name="SD_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67A699D8-81A9-495D-7F4A-DCB6A20D4B2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5593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27726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0.xml><?xml version="1.0" encoding="utf-8"?>
<p:sldLayout xmlns:a="http://schemas.openxmlformats.org/drawingml/2006/main" xmlns:r="http://schemas.openxmlformats.org/officeDocument/2006/relationships" xmlns:p="http://schemas.openxmlformats.org/presentationml/2006/main" showMasterSp="0" preserve="1" userDrawn="1">
  <p:cSld name="SD_Segue Red 2">
    <p:bg>
      <p:bgPr>
        <a:solidFill>
          <a:schemeClr val="bg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1111F"/>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364F97B-57A1-B049-A5E0-7D6B2527B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178900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1.xml><?xml version="1.0" encoding="utf-8"?>
<p:sldLayout xmlns:a="http://schemas.openxmlformats.org/drawingml/2006/main" xmlns:r="http://schemas.openxmlformats.org/officeDocument/2006/relationships" xmlns:p="http://schemas.openxmlformats.org/presentationml/2006/main" showMasterSp="0" preserve="1" userDrawn="1">
  <p:cSld name="SD_Segue White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EFF1F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FD42B6F1-9BF6-6EE5-EDD5-46AE2E8E53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5156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2.xml><?xml version="1.0" encoding="utf-8"?>
<p:sldLayout xmlns:a="http://schemas.openxmlformats.org/drawingml/2006/main" xmlns:r="http://schemas.openxmlformats.org/officeDocument/2006/relationships" xmlns:p="http://schemas.openxmlformats.org/presentationml/2006/main" showMasterSp="0" preserve="1" userDrawn="1">
  <p:cSld name="SD_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6A6DA815-E1E7-8546-96C6-984328A681C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5000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3.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73923CA3-7C0F-744C-902A-1EF88F94632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5485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4.xml><?xml version="1.0" encoding="utf-8"?>
<p:sldLayout xmlns:a="http://schemas.openxmlformats.org/drawingml/2006/main" xmlns:r="http://schemas.openxmlformats.org/officeDocument/2006/relationships" xmlns:p="http://schemas.openxmlformats.org/presentationml/2006/main" showMasterSp="0" preserve="1" userDrawn="1">
  <p:cSld name="SD_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D03B7E6D-4046-9744-8D9C-C93F42A774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4604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5.xml><?xml version="1.0" encoding="utf-8"?>
<p:sldLayout xmlns:a="http://schemas.openxmlformats.org/drawingml/2006/main" xmlns:r="http://schemas.openxmlformats.org/officeDocument/2006/relationships" xmlns:p="http://schemas.openxmlformats.org/presentationml/2006/main" showMasterSp="0" preserve="1" userDrawn="1">
  <p:cSld name="SD Segue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08C4B33-F8CC-4197-B915-DA991CD5E6C6}"/>
              </a:ext>
            </a:extLst>
          </p:cNvPr>
          <p:cNvGrpSpPr/>
          <p:nvPr userDrawn="1"/>
        </p:nvGrpSpPr>
        <p:grpSpPr>
          <a:xfrm>
            <a:off x="5264150" y="1085955"/>
            <a:ext cx="8686026" cy="8686800"/>
            <a:chOff x="2118610" y="-558521"/>
            <a:chExt cx="7954780" cy="7975042"/>
          </a:xfrm>
        </p:grpSpPr>
        <p:sp>
          <p:nvSpPr>
            <p:cNvPr id="12" name="Freeform 21">
              <a:extLst>
                <a:ext uri="{FF2B5EF4-FFF2-40B4-BE49-F238E27FC236}">
                  <a16:creationId xmlns:a16="http://schemas.microsoft.com/office/drawing/2014/main" id="{FCE1034B-B952-482E-B5BD-3D74DC622EF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3" name="Freeform 22">
              <a:extLst>
                <a:ext uri="{FF2B5EF4-FFF2-40B4-BE49-F238E27FC236}">
                  <a16:creationId xmlns:a16="http://schemas.microsoft.com/office/drawing/2014/main" id="{F511B2A5-5879-4724-8EA8-B068501A7C49}"/>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4" name="Freeform 23">
              <a:extLst>
                <a:ext uri="{FF2B5EF4-FFF2-40B4-BE49-F238E27FC236}">
                  <a16:creationId xmlns:a16="http://schemas.microsoft.com/office/drawing/2014/main" id="{8ABE833E-11B6-41D0-A3EA-C51CF277F921}"/>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E9A408BA-944B-41C4-83D5-BB3A7D38327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7" name="Subtitle">
            <a:extLst>
              <a:ext uri="{FF2B5EF4-FFF2-40B4-BE49-F238E27FC236}">
                <a16:creationId xmlns:a16="http://schemas.microsoft.com/office/drawing/2014/main" id="{95FCDFC9-7609-4879-BB7A-41D84D84FDF0}"/>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a:extLst>
              <a:ext uri="{FF2B5EF4-FFF2-40B4-BE49-F238E27FC236}">
                <a16:creationId xmlns:a16="http://schemas.microsoft.com/office/drawing/2014/main" id="{AB7FE436-ECEE-446A-82A4-FD95FAB4768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659929F3-1218-7545-89B5-A760ED49531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22386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6.xml><?xml version="1.0" encoding="utf-8"?>
<p:sldLayout xmlns:a="http://schemas.openxmlformats.org/drawingml/2006/main" xmlns:r="http://schemas.openxmlformats.org/officeDocument/2006/relationships" xmlns:p="http://schemas.openxmlformats.org/presentationml/2006/main" showMasterSp="0" preserve="1" userDrawn="1">
  <p:cSld name="SD Segue White">
    <p:bg>
      <p:bgPr>
        <a:solidFill>
          <a:srgbClr val="FFFFFF"/>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A8A1B41-DD86-4CC6-BB23-4639A3825C7E}"/>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EB5AB6E0-2FFC-40AE-8A71-DCBE6B384E21}"/>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E681A099-F31B-4476-B9E6-42DAD17198C8}"/>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5F07C53E-FAF6-4844-BB37-35D97BAF4BB8}"/>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9B7103C-EFE9-41A7-8616-4AD2DAB11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1"/>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744352BA-9C23-1C42-B3D8-30FF4BF0D4E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68043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7.xml><?xml version="1.0" encoding="utf-8"?>
<p:sldLayout xmlns:a="http://schemas.openxmlformats.org/drawingml/2006/main" xmlns:r="http://schemas.openxmlformats.org/officeDocument/2006/relationships" xmlns:p="http://schemas.openxmlformats.org/presentationml/2006/main" showMasterSp="0" preserve="1" userDrawn="1">
  <p:cSld name="SD Segu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3995637-D09E-4C2D-A6A8-AF45BAD58465}"/>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B7A66708-ADEC-4638-A33A-46DCF451B424}"/>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C329A767-5738-486D-BBF0-00850276E5AD}"/>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8DDC509B-6BC5-4B06-8116-E88999EBD245}"/>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C56DEE9-71A7-4C5B-90D6-DC58833209D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B0237052-9941-6F43-9B15-2B71743E443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0980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8.xml><?xml version="1.0" encoding="utf-8"?>
<p:sldLayout xmlns:a="http://schemas.openxmlformats.org/drawingml/2006/main" xmlns:r="http://schemas.openxmlformats.org/officeDocument/2006/relationships" xmlns:p="http://schemas.openxmlformats.org/presentationml/2006/main" showMasterSp="0" preserve="1" userDrawn="1">
  <p:cSld name="SD Segue Gunmetal">
    <p:bg>
      <p:bgPr>
        <a:solidFill>
          <a:schemeClr val="accent5"/>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F7FB884-98FF-49F3-BC97-59F225D25E12}"/>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D1729F58-5BA1-4640-B7B9-E94D565AE2E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DD0D4E0D-57F1-4154-B50F-74535C36D50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F617D"/>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DB9B5929-7301-48A9-B841-0BE61CA7A8CA}"/>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16F91B29-9007-4D8A-8C02-55645583D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667FC2DA-5B00-4EA7-952E-317316DAA878}"/>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41F7F217-0194-4AD6-8E1C-386E2E132F49}"/>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2EBF3BA2-2875-3949-83C5-76692BC354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4408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9.xml><?xml version="1.0" encoding="utf-8"?>
<p:sldLayout xmlns:a="http://schemas.openxmlformats.org/drawingml/2006/main" xmlns:r="http://schemas.openxmlformats.org/officeDocument/2006/relationships" xmlns:p="http://schemas.openxmlformats.org/presentationml/2006/main" showMasterSp="0" preserve="1" userDrawn="1">
  <p:cSld name="SD Segue Midnight">
    <p:bg>
      <p:bgPr>
        <a:solidFill>
          <a:schemeClr val="tx2"/>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48F3DEE-F59E-4FD9-BD86-03F5F40D7A2E}"/>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7041D8A3-B9AF-4F2D-AA73-3D2AF4DFDBCE}"/>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C4FF451B-9E7B-4956-8927-3F6D18114FF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B2845"/>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4AD20902-EBB9-4879-BBE8-7873C117122F}"/>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D3D03E25-E54F-4D62-B7B5-CBE3507B8488}"/>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B395992B-C0C1-46B0-B7C8-830159C0C506}"/>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AE0053FF-8E38-4E49-A437-9A4B96C84C5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0B95D78-DDB9-844A-9CFA-6A22FDD90B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51716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82672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70.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Red">
    <p:bg>
      <p:bgPr>
        <a:gradFill>
          <a:gsLst>
            <a:gs pos="4000">
              <a:srgbClr val="E71324"/>
            </a:gs>
            <a:gs pos="35000">
              <a:srgbClr val="D91323"/>
            </a:gs>
            <a:gs pos="100000">
              <a:srgbClr val="C10B1A"/>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573ABA57-7B0F-43F2-941C-D1BCE46689A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7000B909-6C3C-8B43-BC80-F7EF1B464E4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5EE95F5-5179-43BC-9DD2-80F8782000E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1" name="Text Placeholder 47">
            <a:extLst>
              <a:ext uri="{FF2B5EF4-FFF2-40B4-BE49-F238E27FC236}">
                <a16:creationId xmlns:a16="http://schemas.microsoft.com/office/drawing/2014/main" id="{1FABDB6A-D52B-4DE9-8DAD-88E3352866F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75937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1.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0D061AF6-2D27-4DFB-9E70-8CDFD058F0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 Placeholder 2">
            <a:extLst>
              <a:ext uri="{FF2B5EF4-FFF2-40B4-BE49-F238E27FC236}">
                <a16:creationId xmlns:a16="http://schemas.microsoft.com/office/drawing/2014/main" id="{9EDB003F-E656-4E18-BDBB-152AEB3E5757}"/>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8" name="Text Placeholder 47">
            <a:extLst>
              <a:ext uri="{FF2B5EF4-FFF2-40B4-BE49-F238E27FC236}">
                <a16:creationId xmlns:a16="http://schemas.microsoft.com/office/drawing/2014/main" id="{8C7691D9-F78A-4A80-B9A6-F365D28D825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6" name="TextBox 5">
            <a:extLst>
              <a:ext uri="{FF2B5EF4-FFF2-40B4-BE49-F238E27FC236}">
                <a16:creationId xmlns:a16="http://schemas.microsoft.com/office/drawing/2014/main" id="{147A281D-2BFD-8BF7-702A-88B785236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2662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2.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984EDA3-B44F-4674-BEB3-8C74287BAF93}"/>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696D14D0-7E77-B546-AE82-A3C8CBD47F0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90007351-1444-4ACF-8C42-1EB26B3A6F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0" name="Text Placeholder 47">
            <a:extLst>
              <a:ext uri="{FF2B5EF4-FFF2-40B4-BE49-F238E27FC236}">
                <a16:creationId xmlns:a16="http://schemas.microsoft.com/office/drawing/2014/main" id="{4DCBE15A-FE6C-4FC2-9DF8-7E7AB8404005}"/>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252262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3.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40F1B7A-8A94-40B5-B3CB-3D0D52C87C9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3FF1B48E-7335-1E4A-A06A-C56F904A90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2F58234-108D-4115-84F1-20F6F647099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0" name="Text Placeholder 47">
            <a:extLst>
              <a:ext uri="{FF2B5EF4-FFF2-40B4-BE49-F238E27FC236}">
                <a16:creationId xmlns:a16="http://schemas.microsoft.com/office/drawing/2014/main" id="{15A49285-70CB-4F70-B08A-1615E6DCF20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79698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4.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5" name="TextBox 4">
            <a:extLst>
              <a:ext uri="{FF2B5EF4-FFF2-40B4-BE49-F238E27FC236}">
                <a16:creationId xmlns:a16="http://schemas.microsoft.com/office/drawing/2014/main" id="{64627586-85E3-E04B-8F2D-2F49C5A575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47597F80-3233-4A24-B364-D3CE4D2E0D6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1" name="Text Placeholder 47">
            <a:extLst>
              <a:ext uri="{FF2B5EF4-FFF2-40B4-BE49-F238E27FC236}">
                <a16:creationId xmlns:a16="http://schemas.microsoft.com/office/drawing/2014/main" id="{92029BF2-073D-4907-B717-01C49791F9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372644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5.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Red Tex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5" name="TextBox 4">
            <a:extLst>
              <a:ext uri="{FF2B5EF4-FFF2-40B4-BE49-F238E27FC236}">
                <a16:creationId xmlns:a16="http://schemas.microsoft.com/office/drawing/2014/main" id="{29F80990-6F8C-3748-88B9-6C6BCF266B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6A27B7E2-5374-46BF-874E-25F309D457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Quote attribution</a:t>
            </a:r>
          </a:p>
        </p:txBody>
      </p:sp>
      <p:sp>
        <p:nvSpPr>
          <p:cNvPr id="11" name="Text Placeholder 47">
            <a:extLst>
              <a:ext uri="{FF2B5EF4-FFF2-40B4-BE49-F238E27FC236}">
                <a16:creationId xmlns:a16="http://schemas.microsoft.com/office/drawing/2014/main" id="{17E27798-673A-444E-A3F7-F8B33EC1906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Tree>
    <p:extLst>
      <p:ext uri="{BB962C8B-B14F-4D97-AF65-F5344CB8AC3E}">
        <p14:creationId xmlns:p14="http://schemas.microsoft.com/office/powerpoint/2010/main" val="273803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6.xml><?xml version="1.0" encoding="utf-8"?>
<p:sldLayout xmlns:a="http://schemas.openxmlformats.org/drawingml/2006/main" xmlns:r="http://schemas.openxmlformats.org/officeDocument/2006/relationships" xmlns:p="http://schemas.openxmlformats.org/presentationml/2006/main" showMasterSp="0" preserve="1" userDrawn="1">
  <p:cSld name="SD Thank You Red">
    <p:bg>
      <p:bgPr>
        <a:solidFill>
          <a:schemeClr val="bg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D41220"/>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3241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snapdragon.com &amp; snapdragoninsiders.com</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l Rights Reserved.</a:t>
            </a:r>
          </a:p>
        </p:txBody>
      </p:sp>
      <p:sp>
        <p:nvSpPr>
          <p:cNvPr id="17" name="TextBox 16">
            <a:extLst>
              <a:ext uri="{FF2B5EF4-FFF2-40B4-BE49-F238E27FC236}">
                <a16:creationId xmlns:a16="http://schemas.microsoft.com/office/drawing/2014/main" id="{F0995CCD-1161-A943-A67A-BEEDC634FB49}"/>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9111E"/>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9111E"/>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9111E"/>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9111E"/>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9111E"/>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9111E"/>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9111E"/>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9111E"/>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95B79772-CAC0-EC40-A00B-F83093249A1A}"/>
              </a:ext>
            </a:extLst>
          </p:cNvPr>
          <p:cNvSpPr txBox="1"/>
          <p:nvPr userDrawn="1"/>
        </p:nvSpPr>
        <p:spPr>
          <a:xfrm>
            <a:off x="745275"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bg1"/>
                </a:solidFill>
              </a:rPr>
              <a:t>Confidential – Qualcomm Technologies, Inc. and/or its affiliated companies – May Contain Trade Secrets</a:t>
            </a:r>
          </a:p>
        </p:txBody>
      </p:sp>
      <p:sp>
        <p:nvSpPr>
          <p:cNvPr id="20" name="TextBox 19">
            <a:extLst>
              <a:ext uri="{FF2B5EF4-FFF2-40B4-BE49-F238E27FC236}">
                <a16:creationId xmlns:a16="http://schemas.microsoft.com/office/drawing/2014/main" id="{AA6B7D0B-0D2E-95C4-54F6-67F4481BA594}"/>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097E1413-3066-9CBC-019E-ABF2282E4834}"/>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6" name="Group 15">
            <a:extLst>
              <a:ext uri="{FF2B5EF4-FFF2-40B4-BE49-F238E27FC236}">
                <a16:creationId xmlns:a16="http://schemas.microsoft.com/office/drawing/2014/main" id="{EEDBF8F0-B7ED-590C-7416-FC57D4AE0403}"/>
              </a:ext>
            </a:extLst>
          </p:cNvPr>
          <p:cNvGrpSpPr/>
          <p:nvPr userDrawn="1"/>
        </p:nvGrpSpPr>
        <p:grpSpPr>
          <a:xfrm>
            <a:off x="1673310" y="5680514"/>
            <a:ext cx="883045" cy="161966"/>
            <a:chOff x="7906823" y="3619162"/>
            <a:chExt cx="883045" cy="161966"/>
          </a:xfrm>
        </p:grpSpPr>
        <p:sp>
          <p:nvSpPr>
            <p:cNvPr id="18" name="Freeform 12">
              <a:extLst>
                <a:ext uri="{FF2B5EF4-FFF2-40B4-BE49-F238E27FC236}">
                  <a16:creationId xmlns:a16="http://schemas.microsoft.com/office/drawing/2014/main" id="{5339DBA6-4436-35F8-6458-51D976548B43}"/>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8CED0221-91B0-9F8B-12BC-AB1F51D18FB7}"/>
                </a:ext>
              </a:extLst>
            </p:cNvPr>
            <p:cNvGrpSpPr>
              <a:grpSpLocks noChangeAspect="1"/>
            </p:cNvGrpSpPr>
            <p:nvPr/>
          </p:nvGrpSpPr>
          <p:grpSpPr bwMode="gray">
            <a:xfrm>
              <a:off x="8147208" y="3631565"/>
              <a:ext cx="138792" cy="137160"/>
              <a:chOff x="3331" y="1656"/>
              <a:chExt cx="1020" cy="1008"/>
            </a:xfrm>
            <a:solidFill>
              <a:schemeClr val="bg1"/>
            </a:solidFill>
          </p:grpSpPr>
          <p:sp>
            <p:nvSpPr>
              <p:cNvPr id="25" name="Freeform 6">
                <a:extLst>
                  <a:ext uri="{FF2B5EF4-FFF2-40B4-BE49-F238E27FC236}">
                    <a16:creationId xmlns:a16="http://schemas.microsoft.com/office/drawing/2014/main" id="{BCA829DF-853B-EB6C-28D9-00E3337DE072}"/>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6" name="Freeform 7">
                <a:extLst>
                  <a:ext uri="{FF2B5EF4-FFF2-40B4-BE49-F238E27FC236}">
                    <a16:creationId xmlns:a16="http://schemas.microsoft.com/office/drawing/2014/main" id="{8DAC9D6B-FD72-B27B-BA8D-F5EB518B5C8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E35F2244-7462-D33F-31FD-185CFCD5C66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1991C727-8EF3-B323-1327-98E3279A99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318334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7.xml><?xml version="1.0" encoding="utf-8"?>
<p:sldLayout xmlns:a="http://schemas.openxmlformats.org/drawingml/2006/main" xmlns:r="http://schemas.openxmlformats.org/officeDocument/2006/relationships" xmlns:p="http://schemas.openxmlformats.org/presentationml/2006/main" showMasterSp="0" preserve="1" userDrawn="1">
  <p:cSld name="SD Thank You White">
    <p:bg>
      <p:bgPr>
        <a:solidFill>
          <a:srgbClr val="FFFFFF"/>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bg1"/>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35593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snapdragon.com &amp; snapdragoninsiders.com</a:t>
            </a:r>
          </a:p>
        </p:txBody>
      </p:sp>
      <p:sp>
        <p:nvSpPr>
          <p:cNvPr id="26" name="TextBox 25">
            <a:extLst>
              <a:ext uri="{FF2B5EF4-FFF2-40B4-BE49-F238E27FC236}">
                <a16:creationId xmlns:a16="http://schemas.microsoft.com/office/drawing/2014/main" id="{9E80EF5E-5AD8-4C4F-8447-CFEB663B5E20}"/>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20000"/>
                    <a:lumOff val="8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20000"/>
                    <a:lumOff val="8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20000"/>
                    <a:lumOff val="8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20000"/>
                    <a:lumOff val="8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20000"/>
                    <a:lumOff val="8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20000"/>
                    <a:lumOff val="8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20000"/>
                    <a:lumOff val="8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20000"/>
                    <a:lumOff val="80000"/>
                  </a:schemeClr>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41B591FD-7815-DB45-95D6-A01BA3CC5361}"/>
              </a:ext>
            </a:extLst>
          </p:cNvPr>
          <p:cNvSpPr txBox="1"/>
          <p:nvPr userDrawn="1"/>
        </p:nvSpPr>
        <p:spPr>
          <a:xfrm>
            <a:off x="74089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BC0B640B-5629-8237-CEE1-DBD7B05ED5DF}"/>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166478F6-2F60-6B11-D4FA-BB3AE90D2C2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3E315087-CE08-1290-C75D-4EE03AD25FA5}"/>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8" name="Group 17">
            <a:extLst>
              <a:ext uri="{FF2B5EF4-FFF2-40B4-BE49-F238E27FC236}">
                <a16:creationId xmlns:a16="http://schemas.microsoft.com/office/drawing/2014/main" id="{0A28ACFB-1767-8558-133E-CF8F4517B1E2}"/>
              </a:ext>
            </a:extLst>
          </p:cNvPr>
          <p:cNvGrpSpPr/>
          <p:nvPr userDrawn="1"/>
        </p:nvGrpSpPr>
        <p:grpSpPr>
          <a:xfrm>
            <a:off x="1673310" y="5680514"/>
            <a:ext cx="883045" cy="161966"/>
            <a:chOff x="7906823" y="3619162"/>
            <a:chExt cx="883045" cy="161966"/>
          </a:xfrm>
          <a:solidFill>
            <a:schemeClr val="tx2"/>
          </a:solidFill>
        </p:grpSpPr>
        <p:sp>
          <p:nvSpPr>
            <p:cNvPr id="19" name="Freeform 12">
              <a:extLst>
                <a:ext uri="{FF2B5EF4-FFF2-40B4-BE49-F238E27FC236}">
                  <a16:creationId xmlns:a16="http://schemas.microsoft.com/office/drawing/2014/main" id="{E88FDBDE-81A9-2B82-E565-BF1030A462AA}"/>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0" name="Group 5">
              <a:extLst>
                <a:ext uri="{FF2B5EF4-FFF2-40B4-BE49-F238E27FC236}">
                  <a16:creationId xmlns:a16="http://schemas.microsoft.com/office/drawing/2014/main" id="{8EDB353E-78D6-2D53-7EB5-D1717266CC07}"/>
                </a:ext>
              </a:extLst>
            </p:cNvPr>
            <p:cNvGrpSpPr>
              <a:grpSpLocks noChangeAspect="1"/>
            </p:cNvGrpSpPr>
            <p:nvPr/>
          </p:nvGrpSpPr>
          <p:grpSpPr bwMode="gray">
            <a:xfrm>
              <a:off x="8147208" y="3631565"/>
              <a:ext cx="138792" cy="137160"/>
              <a:chOff x="3331" y="1656"/>
              <a:chExt cx="1020" cy="1008"/>
            </a:xfrm>
            <a:grpFill/>
          </p:grpSpPr>
          <p:sp>
            <p:nvSpPr>
              <p:cNvPr id="23" name="Freeform 6">
                <a:extLst>
                  <a:ext uri="{FF2B5EF4-FFF2-40B4-BE49-F238E27FC236}">
                    <a16:creationId xmlns:a16="http://schemas.microsoft.com/office/drawing/2014/main" id="{90AA4090-A6FF-1DAB-E494-4B9A8884EE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973D1104-63EC-99F0-2204-88DA4159F473}"/>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1" name="Graphic 20">
              <a:extLst>
                <a:ext uri="{FF2B5EF4-FFF2-40B4-BE49-F238E27FC236}">
                  <a16:creationId xmlns:a16="http://schemas.microsoft.com/office/drawing/2014/main" id="{90F8BFE5-03A5-A328-C156-0B3F22519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2" name="Graphic 21">
              <a:extLst>
                <a:ext uri="{FF2B5EF4-FFF2-40B4-BE49-F238E27FC236}">
                  <a16:creationId xmlns:a16="http://schemas.microsoft.com/office/drawing/2014/main" id="{5F4413BE-6AC2-E4D6-13E8-EE6A21C40B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218182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8.xml><?xml version="1.0" encoding="utf-8"?>
<p:sldLayout xmlns:a="http://schemas.openxmlformats.org/drawingml/2006/main" xmlns:r="http://schemas.openxmlformats.org/officeDocument/2006/relationships" xmlns:p="http://schemas.openxmlformats.org/presentationml/2006/main" showMasterSp="0" preserve="1" userDrawn="1">
  <p:cSld name="SD 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F169C4E2-C712-43C2-81F7-333C1C705928}"/>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96000"/>
              </a:lnSpc>
              <a:spcBef>
                <a:spcPts val="0"/>
              </a:spcBef>
              <a:spcAft>
                <a:spcPts val="0"/>
              </a:spcAft>
              <a:buClrTx/>
              <a:buSzTx/>
              <a:buFontTx/>
              <a:buNone/>
              <a:tabLst/>
            </a:pPr>
            <a:endParaRPr kumimoji="0" lang="en-US" b="0" i="0" u="none" strike="noStrike" cap="none" spc="0" normalizeH="0" baseline="0" err="1">
              <a:ln>
                <a:noFill/>
              </a:ln>
              <a:solidFill>
                <a:srgbClr val="0B2742"/>
              </a:solidFill>
              <a:effectLst/>
              <a:uLnTx/>
              <a:uFillTx/>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7B0A0F38-A166-4E1D-966C-05E6318A1E66}"/>
              </a:ext>
            </a:extLst>
          </p:cNvPr>
          <p:cNvSpPr txBox="1"/>
          <p:nvPr userDrawn="1"/>
        </p:nvSpPr>
        <p:spPr bwMode="gray">
          <a:xfrm>
            <a:off x="847768" y="5687930"/>
            <a:ext cx="34638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tx2"/>
                </a:solidFill>
                <a:effectLst/>
                <a:uLnTx/>
                <a:uFillTx/>
                <a:latin typeface="+mn-lt"/>
                <a:ea typeface="+mn-ea"/>
                <a:cs typeface="+mn-cs"/>
              </a:rPr>
              <a:t>snapdragon.com &amp; snapdragoninsiders.com</a:t>
            </a:r>
          </a:p>
        </p:txBody>
      </p:sp>
      <p:sp>
        <p:nvSpPr>
          <p:cNvPr id="18" name="TextBox 17">
            <a:extLst>
              <a:ext uri="{FF2B5EF4-FFF2-40B4-BE49-F238E27FC236}">
                <a16:creationId xmlns:a16="http://schemas.microsoft.com/office/drawing/2014/main" id="{84B01FB6-EA3D-8A4A-9948-A84C6941E09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CAD2E0"/>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C86D7F3F-CCFD-B846-B232-FD8ABABC9DAC}"/>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6">
                    <a:lumMod val="75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5F90AE63-0A99-B44F-0E1A-C883CC031E82}"/>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7ED0814D-95E2-2D83-AFD9-6EC125F0F0B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tx2"/>
                </a:solidFill>
                <a:effectLst/>
                <a:uLnTx/>
                <a:uFillTx/>
                <a:latin typeface="+mn-lt"/>
                <a:ea typeface="+mn-ea"/>
                <a:cs typeface="+mn-cs"/>
              </a:rPr>
            </a:br>
            <a:r>
              <a:rPr kumimoji="0" lang="en-US" sz="700" b="0" i="0" u="none" strike="noStrike" kern="1200" cap="none" spc="0" normalizeH="0" baseline="0" noProof="0">
                <a:ln>
                  <a:noFill/>
                </a:ln>
                <a:solidFill>
                  <a:schemeClr val="tx2"/>
                </a:solidFill>
                <a:effectLst/>
                <a:uLnTx/>
                <a:uFillTx/>
                <a:latin typeface="+mn-lt"/>
                <a:ea typeface="+mn-ea"/>
                <a:cs typeface="+mn-cs"/>
              </a:rPr>
              <a:t>including our QCT semiconductor business.</a:t>
            </a:r>
          </a:p>
        </p:txBody>
      </p:sp>
      <p:pic>
        <p:nvPicPr>
          <p:cNvPr id="28" name="Picture 27">
            <a:extLst>
              <a:ext uri="{FF2B5EF4-FFF2-40B4-BE49-F238E27FC236}">
                <a16:creationId xmlns:a16="http://schemas.microsoft.com/office/drawing/2014/main" id="{E5B7EB14-87A7-11E3-4F1E-1E8381F0F6EF}"/>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0F27D979-BE65-06FD-023E-F7A3C642A0E0}"/>
              </a:ext>
            </a:extLst>
          </p:cNvPr>
          <p:cNvGrpSpPr/>
          <p:nvPr userDrawn="1"/>
        </p:nvGrpSpPr>
        <p:grpSpPr>
          <a:xfrm>
            <a:off x="1673310" y="5680514"/>
            <a:ext cx="883045" cy="161966"/>
            <a:chOff x="7906823" y="3619162"/>
            <a:chExt cx="883045" cy="161966"/>
          </a:xfrm>
          <a:solidFill>
            <a:schemeClr val="tx2"/>
          </a:solidFill>
        </p:grpSpPr>
        <p:sp>
          <p:nvSpPr>
            <p:cNvPr id="29" name="Freeform 12">
              <a:extLst>
                <a:ext uri="{FF2B5EF4-FFF2-40B4-BE49-F238E27FC236}">
                  <a16:creationId xmlns:a16="http://schemas.microsoft.com/office/drawing/2014/main" id="{C163B9EC-D897-5F9F-302B-0558F7936C18}"/>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0" name="Group 5">
              <a:extLst>
                <a:ext uri="{FF2B5EF4-FFF2-40B4-BE49-F238E27FC236}">
                  <a16:creationId xmlns:a16="http://schemas.microsoft.com/office/drawing/2014/main" id="{A5782D74-4A6A-02A0-3DAA-A41EB7223AA4}"/>
                </a:ext>
              </a:extLst>
            </p:cNvPr>
            <p:cNvGrpSpPr>
              <a:grpSpLocks noChangeAspect="1"/>
            </p:cNvGrpSpPr>
            <p:nvPr/>
          </p:nvGrpSpPr>
          <p:grpSpPr bwMode="gray">
            <a:xfrm>
              <a:off x="8147208" y="3631565"/>
              <a:ext cx="138792" cy="137160"/>
              <a:chOff x="3331" y="1656"/>
              <a:chExt cx="1020" cy="1008"/>
            </a:xfrm>
            <a:grpFill/>
          </p:grpSpPr>
          <p:sp>
            <p:nvSpPr>
              <p:cNvPr id="33" name="Freeform 6">
                <a:extLst>
                  <a:ext uri="{FF2B5EF4-FFF2-40B4-BE49-F238E27FC236}">
                    <a16:creationId xmlns:a16="http://schemas.microsoft.com/office/drawing/2014/main" id="{6978AF0B-03AE-DBE3-8CF7-D7BC42516B78}"/>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58C79AB4-458B-039B-14C2-5C572AECFD9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1" name="Graphic 30">
              <a:extLst>
                <a:ext uri="{FF2B5EF4-FFF2-40B4-BE49-F238E27FC236}">
                  <a16:creationId xmlns:a16="http://schemas.microsoft.com/office/drawing/2014/main" id="{E6985FE9-3B55-32D4-DF37-ED6019EB5C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2" name="Graphic 31">
              <a:extLst>
                <a:ext uri="{FF2B5EF4-FFF2-40B4-BE49-F238E27FC236}">
                  <a16:creationId xmlns:a16="http://schemas.microsoft.com/office/drawing/2014/main" id="{28547C7B-FA91-CCDC-834E-0488679F4E4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13771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9.xml><?xml version="1.0" encoding="utf-8"?>
<p:sldLayout xmlns:a="http://schemas.openxmlformats.org/drawingml/2006/main" xmlns:r="http://schemas.openxmlformats.org/officeDocument/2006/relationships" xmlns:p="http://schemas.openxmlformats.org/presentationml/2006/main" showMasterSp="0" preserve="1" userDrawn="1">
  <p:cSld name="SD 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7" y="5687930"/>
            <a:ext cx="332735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C9F9697D-5F59-614B-BC89-2CD5217CBA57}"/>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rgbClr val="3F4D63"/>
                </a:solidFill>
                <a:effectLst>
                  <a:innerShdw blurRad="25400" dist="12700" dir="13500000">
                    <a:prstClr val="black">
                      <a:alpha val="50000"/>
                    </a:prstClr>
                  </a:innerShdw>
                </a:effectLst>
                <a:uLnTx/>
                <a:uFillTx/>
              </a:rPr>
              <a:t>u</a:t>
            </a:r>
          </a:p>
        </p:txBody>
      </p:sp>
      <p:sp>
        <p:nvSpPr>
          <p:cNvPr id="25" name="TextBox 24">
            <a:extLst>
              <a:ext uri="{FF2B5EF4-FFF2-40B4-BE49-F238E27FC236}">
                <a16:creationId xmlns:a16="http://schemas.microsoft.com/office/drawing/2014/main" id="{7AF01AB1-AA01-154B-8F42-8AF7B1BFB94F}"/>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7283F846-2DA6-4813-0F48-B2333D518C80}"/>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9CA9E428-2BB3-6DCE-7F59-320F777DB0E9}"/>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DFE0751D-9153-C8C6-C2ED-D7BF2532ABB2}"/>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9" name="Group 18">
            <a:extLst>
              <a:ext uri="{FF2B5EF4-FFF2-40B4-BE49-F238E27FC236}">
                <a16:creationId xmlns:a16="http://schemas.microsoft.com/office/drawing/2014/main" id="{8FE969D9-7157-36FE-CF65-33E551BE3900}"/>
              </a:ext>
            </a:extLst>
          </p:cNvPr>
          <p:cNvGrpSpPr/>
          <p:nvPr userDrawn="1"/>
        </p:nvGrpSpPr>
        <p:grpSpPr>
          <a:xfrm>
            <a:off x="1673310" y="5680514"/>
            <a:ext cx="883045" cy="161966"/>
            <a:chOff x="7906823" y="3619162"/>
            <a:chExt cx="883045" cy="161966"/>
          </a:xfrm>
        </p:grpSpPr>
        <p:sp>
          <p:nvSpPr>
            <p:cNvPr id="20" name="Freeform 12">
              <a:extLst>
                <a:ext uri="{FF2B5EF4-FFF2-40B4-BE49-F238E27FC236}">
                  <a16:creationId xmlns:a16="http://schemas.microsoft.com/office/drawing/2014/main" id="{BBC80F60-F568-0B31-EAA1-4F378517F5E9}"/>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40AF7CF7-57EE-E106-4454-AB60F08097D8}"/>
                </a:ext>
              </a:extLst>
            </p:cNvPr>
            <p:cNvGrpSpPr>
              <a:grpSpLocks noChangeAspect="1"/>
            </p:cNvGrpSpPr>
            <p:nvPr/>
          </p:nvGrpSpPr>
          <p:grpSpPr bwMode="gray">
            <a:xfrm>
              <a:off x="8147208" y="3631565"/>
              <a:ext cx="138792" cy="137160"/>
              <a:chOff x="3331" y="1656"/>
              <a:chExt cx="1020" cy="1008"/>
            </a:xfrm>
            <a:solidFill>
              <a:schemeClr val="bg1"/>
            </a:solidFill>
          </p:grpSpPr>
          <p:sp>
            <p:nvSpPr>
              <p:cNvPr id="28" name="Freeform 6">
                <a:extLst>
                  <a:ext uri="{FF2B5EF4-FFF2-40B4-BE49-F238E27FC236}">
                    <a16:creationId xmlns:a16="http://schemas.microsoft.com/office/drawing/2014/main" id="{CD1B5FC6-C922-EF71-078B-9ABA8C5DD3B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0AA5E281-185F-E9ED-4F46-B94C425FF2A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5CE00529-A4FA-8A31-D759-541F4EE6F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4585B54E-8D9E-ACBD-0D12-EE21A0294D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176189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796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preserve="1" userDrawn="1">
  <p:cSld name="SD 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7" y="5687930"/>
            <a:ext cx="338450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88F96979-71AD-F74C-9C4A-10AFBEB8E8A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a:ln>
                  <a:noFill/>
                </a:ln>
                <a:solidFill>
                  <a:schemeClr val="accent6">
                    <a:lumMod val="50000"/>
                  </a:schemeClr>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DBF1D5AB-98DB-0A49-A61A-49AE41A978C7}"/>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C75D312A-BAC6-F69D-9F7D-B713A98EFEA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CDA8361D-B4AE-7DDA-48B6-D2FEFE66AD4E}"/>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a:ln>
                  <a:noFill/>
                </a:ln>
                <a:solidFill>
                  <a:schemeClr val="bg1"/>
                </a:solidFill>
                <a:effectLst/>
                <a:uLnTx/>
                <a:uFillTx/>
                <a:latin typeface="+mn-lt"/>
                <a:ea typeface="+mn-ea"/>
                <a:cs typeface="+mn-cs"/>
              </a:rPr>
            </a:br>
            <a:r>
              <a:rPr kumimoji="0" lang="en-US" sz="700" b="0" i="0" u="none" strike="noStrike" kern="1200" cap="none" spc="0" normalizeH="0" baseline="0" noProof="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494AB793-75DE-5E86-A56E-CA01A7C0D557}"/>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D0842190-8CAB-FD82-628A-C1942D3A3410}"/>
              </a:ext>
            </a:extLst>
          </p:cNvPr>
          <p:cNvGrpSpPr/>
          <p:nvPr userDrawn="1"/>
        </p:nvGrpSpPr>
        <p:grpSpPr>
          <a:xfrm>
            <a:off x="1673310" y="5680514"/>
            <a:ext cx="883045" cy="161966"/>
            <a:chOff x="7906823" y="3619162"/>
            <a:chExt cx="883045" cy="161966"/>
          </a:xfrm>
        </p:grpSpPr>
        <p:sp>
          <p:nvSpPr>
            <p:cNvPr id="28" name="Freeform 12">
              <a:extLst>
                <a:ext uri="{FF2B5EF4-FFF2-40B4-BE49-F238E27FC236}">
                  <a16:creationId xmlns:a16="http://schemas.microsoft.com/office/drawing/2014/main" id="{19B21F0A-F994-5C2D-F873-B45653E36C61}"/>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9" name="Group 5">
              <a:extLst>
                <a:ext uri="{FF2B5EF4-FFF2-40B4-BE49-F238E27FC236}">
                  <a16:creationId xmlns:a16="http://schemas.microsoft.com/office/drawing/2014/main" id="{D77282F0-3CD1-3E1B-22D9-D5EFCB20D40B}"/>
                </a:ext>
              </a:extLst>
            </p:cNvPr>
            <p:cNvGrpSpPr>
              <a:grpSpLocks noChangeAspect="1"/>
            </p:cNvGrpSpPr>
            <p:nvPr/>
          </p:nvGrpSpPr>
          <p:grpSpPr bwMode="gray">
            <a:xfrm>
              <a:off x="8147208" y="3631565"/>
              <a:ext cx="138792" cy="137160"/>
              <a:chOff x="3331" y="1656"/>
              <a:chExt cx="1020" cy="1008"/>
            </a:xfrm>
            <a:solidFill>
              <a:schemeClr val="bg1"/>
            </a:solidFill>
          </p:grpSpPr>
          <p:sp>
            <p:nvSpPr>
              <p:cNvPr id="32" name="Freeform 6">
                <a:extLst>
                  <a:ext uri="{FF2B5EF4-FFF2-40B4-BE49-F238E27FC236}">
                    <a16:creationId xmlns:a16="http://schemas.microsoft.com/office/drawing/2014/main" id="{C9239764-E65B-45BF-9512-143E99AEE1C6}"/>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3" name="Freeform 7">
                <a:extLst>
                  <a:ext uri="{FF2B5EF4-FFF2-40B4-BE49-F238E27FC236}">
                    <a16:creationId xmlns:a16="http://schemas.microsoft.com/office/drawing/2014/main" id="{48609ABF-3C53-81B1-8760-86856FCDBF14}"/>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0" name="Graphic 29">
              <a:extLst>
                <a:ext uri="{FF2B5EF4-FFF2-40B4-BE49-F238E27FC236}">
                  <a16:creationId xmlns:a16="http://schemas.microsoft.com/office/drawing/2014/main" id="{D2BF707D-59DB-19D8-8631-18041ADDC3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1" name="Graphic 30">
              <a:extLst>
                <a:ext uri="{FF2B5EF4-FFF2-40B4-BE49-F238E27FC236}">
                  <a16:creationId xmlns:a16="http://schemas.microsoft.com/office/drawing/2014/main" id="{0AD6C70E-BC0B-B9C1-FE36-1D75F33CF8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413428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1.xml><?xml version="1.0" encoding="utf-8"?>
<p:sldLayout xmlns:a="http://schemas.openxmlformats.org/drawingml/2006/main" xmlns:r="http://schemas.openxmlformats.org/officeDocument/2006/relationships" xmlns:p="http://schemas.openxmlformats.org/presentationml/2006/main" showMasterSp="0" userDrawn="1">
  <p:cSld name="1_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80532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760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60287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23440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404855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6110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89367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1074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3696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7194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3741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6662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489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6476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85903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76059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75759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19186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8664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177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8625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33414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10489691" cy="118174"/>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6983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913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6470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1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3241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835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1891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1227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514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4592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40308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18198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6744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6754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125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58166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427452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6113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5387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30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7476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280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993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17260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9613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6509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7898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87820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8843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4030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750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182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9089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8097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03971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5970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5852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75654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266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1344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3685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4034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3759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032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99047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0212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2402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9250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14462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4608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7000">
                  <a:schemeClr val="accent1">
                    <a:lumMod val="50000"/>
                  </a:schemeClr>
                </a:gs>
                <a:gs pos="42000">
                  <a:schemeClr val="accent1">
                    <a:alpha val="0"/>
                  </a:schemeClr>
                </a:gs>
                <a:gs pos="100000">
                  <a:schemeClr val="accent1">
                    <a:lumMod val="50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242073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69685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flip="none" rotWithShape="1">
              <a:gsLst>
                <a:gs pos="50000">
                  <a:srgbClr val="328E9E">
                    <a:alpha val="0"/>
                  </a:srgb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21320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4470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flip="none" rotWithShape="1">
              <a:gsLst>
                <a:gs pos="50000">
                  <a:schemeClr val="accent6">
                    <a:lumMod val="40000"/>
                    <a:lumOff val="60000"/>
                    <a:alpha val="0"/>
                  </a:schemeClr>
                </a:gs>
                <a:gs pos="100000">
                  <a:schemeClr val="accent5">
                    <a:alpha val="6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90944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0796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80011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2764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76229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0221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3907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26933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74007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9.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350547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6919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0.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53416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1.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342637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2.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163793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3.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239997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4.xml><?xml version="1.0" encoding="utf-8"?>
<p:sldLayout xmlns:a="http://schemas.openxmlformats.org/drawingml/2006/main" xmlns:r="http://schemas.openxmlformats.org/officeDocument/2006/relationships" xmlns:p="http://schemas.openxmlformats.org/presentationml/2006/main" showMasterSp="0" preserve="1" userDrawn="1">
  <p:cSld name="©2018-2021_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21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our licensing business, QTL, and the vast majority of our patent portfolio. Qualcomm Technologies, Inc., a subsidiary of Qualcomm Incorporated, operates, along with its subsidiaries, substantially all of our engineering, research and development functions, and substantially all of our products and services businesses, including our QCT semiconductor business.</a:t>
            </a:r>
          </a:p>
        </p:txBody>
      </p:sp>
    </p:spTree>
    <p:extLst>
      <p:ext uri="{BB962C8B-B14F-4D97-AF65-F5344CB8AC3E}">
        <p14:creationId xmlns:p14="http://schemas.microsoft.com/office/powerpoint/2010/main" val="20857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5.xml><?xml version="1.0" encoding="utf-8"?>
<p:sldLayout xmlns:a="http://schemas.openxmlformats.org/drawingml/2006/main" xmlns:r="http://schemas.openxmlformats.org/officeDocument/2006/relationships" xmlns:p="http://schemas.openxmlformats.org/presentationml/2006/main" showMasterSp="0" preserve="1" userDrawn="1">
  <p:cSld name="Title, Sub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3861327"/>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4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hasCustomPrompt="1"/>
          </p:nvPr>
        </p:nvSpPr>
        <p:spPr bwMode="gray">
          <a:xfrm>
            <a:off x="458797" y="1745389"/>
            <a:ext cx="7415930" cy="1178143"/>
          </a:xfrm>
        </p:spPr>
        <p:txBody>
          <a:bodyPr wrap="square">
            <a:noAutofit/>
          </a:bodyPr>
          <a:lstStyle>
            <a:lvl1pPr>
              <a:lnSpc>
                <a:spcPct val="87000"/>
              </a:lnSpc>
              <a:defRPr sz="6600">
                <a:solidFill>
                  <a:schemeClr val="bg1"/>
                </a:solidFill>
              </a:defRPr>
            </a:lvl1pPr>
          </a:lstStyle>
          <a:p>
            <a:r>
              <a:rPr lang="en-US"/>
              <a:t>Click to edit</a:t>
            </a:r>
            <a:br>
              <a:rPr lang="en-US"/>
            </a:br>
            <a:r>
              <a:rPr lang="en-US"/>
              <a:t>Master title style</a:t>
            </a:r>
          </a:p>
        </p:txBody>
      </p:sp>
      <p:sp>
        <p:nvSpPr>
          <p:cNvPr id="14" name="Subtitle">
            <a:extLst>
              <a:ext uri="{FF2B5EF4-FFF2-40B4-BE49-F238E27FC236}">
                <a16:creationId xmlns:a16="http://schemas.microsoft.com/office/drawing/2014/main" id="{37788769-96A5-4B71-A470-651FFA1AC7FB}"/>
              </a:ext>
            </a:extLst>
          </p:cNvPr>
          <p:cNvSpPr>
            <a:spLocks noGrp="1"/>
          </p:cNvSpPr>
          <p:nvPr>
            <p:ph type="subTitle" idx="1"/>
          </p:nvPr>
        </p:nvSpPr>
        <p:spPr>
          <a:xfrm>
            <a:off x="494189" y="2875476"/>
            <a:ext cx="8012986" cy="650050"/>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44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722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28">
          <p15:clr>
            <a:srgbClr val="FBAE40"/>
          </p15:clr>
        </p15:guide>
      </p15:sldGuideLst>
    </p:ext>
  </p:extLst>
</p:sldLayout>
</file>

<file path=ppt/slideLayouts/slideLayout1566.xml><?xml version="1.0" encoding="utf-8"?>
<p:sldLayout xmlns:a="http://schemas.openxmlformats.org/drawingml/2006/main" xmlns:r="http://schemas.openxmlformats.org/officeDocument/2006/relationships" xmlns:p="http://schemas.openxmlformats.org/presentationml/2006/main" showMasterSp="0" preserve="1" userDrawn="1">
  <p:cSld name="Photo Title and Subtitle">
    <p:bg>
      <p:bgPr>
        <a:solidFill>
          <a:schemeClr val="tx2"/>
        </a:solidFill>
        <a:effectLst/>
      </p:bgPr>
    </p:bg>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4BA59F8A-A3A3-4BA6-B28E-208F4AE307B0}"/>
              </a:ext>
            </a:extLst>
          </p:cNvPr>
          <p:cNvSpPr>
            <a:spLocks noGrp="1"/>
          </p:cNvSpPr>
          <p:nvPr>
            <p:ph type="ftr" sz="quarter" idx="13"/>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10" name="Text Placeholder 7">
            <a:extLst>
              <a:ext uri="{FF2B5EF4-FFF2-40B4-BE49-F238E27FC236}">
                <a16:creationId xmlns:a16="http://schemas.microsoft.com/office/drawing/2014/main" id="{6465B147-6B3C-4AD8-9E73-2975E626437F}"/>
              </a:ext>
            </a:extLst>
          </p:cNvPr>
          <p:cNvSpPr>
            <a:spLocks noGrp="1"/>
          </p:cNvSpPr>
          <p:nvPr>
            <p:ph type="body" sz="quarter" idx="11" hasCustomPrompt="1"/>
          </p:nvPr>
        </p:nvSpPr>
        <p:spPr bwMode="gray">
          <a:xfrm>
            <a:off x="5157216" y="402336"/>
            <a:ext cx="775853" cy="221599"/>
          </a:xfrm>
          <a:prstGeom prst="rect">
            <a:avLst/>
          </a:prstGeom>
        </p:spPr>
        <p:txBody>
          <a:bodyPr wrap="none">
            <a:spAutoFit/>
          </a:bodyPr>
          <a:lstStyle>
            <a:lvl1pPr marL="0" indent="0" algn="l">
              <a:lnSpc>
                <a:spcPct val="90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11" name="Text Placeholder 5">
            <a:extLst>
              <a:ext uri="{FF2B5EF4-FFF2-40B4-BE49-F238E27FC236}">
                <a16:creationId xmlns:a16="http://schemas.microsoft.com/office/drawing/2014/main" id="{9E31960A-B009-4EE8-B4C4-4AD468AC7930}"/>
              </a:ext>
            </a:extLst>
          </p:cNvPr>
          <p:cNvSpPr>
            <a:spLocks noGrp="1"/>
          </p:cNvSpPr>
          <p:nvPr>
            <p:ph type="body" sz="quarter" idx="14" hasCustomPrompt="1"/>
          </p:nvPr>
        </p:nvSpPr>
        <p:spPr bwMode="gray">
          <a:xfrm>
            <a:off x="3694815" y="402336"/>
            <a:ext cx="432811" cy="221599"/>
          </a:xfrm>
          <a:prstGeom prst="rect">
            <a:avLst/>
          </a:prstGeom>
        </p:spPr>
        <p:txBody>
          <a:bodyPr wrap="none">
            <a:spAutoFit/>
          </a:bodyPr>
          <a:lstStyle>
            <a:lvl1pPr marL="0" indent="0" algn="l">
              <a:lnSpc>
                <a:spcPct val="90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2" name="Text Placeholder 48">
            <a:extLst>
              <a:ext uri="{FF2B5EF4-FFF2-40B4-BE49-F238E27FC236}">
                <a16:creationId xmlns:a16="http://schemas.microsoft.com/office/drawing/2014/main" id="{F01271CB-35A6-41BE-8BE3-BD6DF6DD8A1E}"/>
              </a:ext>
            </a:extLst>
          </p:cNvPr>
          <p:cNvSpPr>
            <a:spLocks noGrp="1"/>
          </p:cNvSpPr>
          <p:nvPr>
            <p:ph type="body" sz="quarter" idx="15" hasCustomPrompt="1"/>
          </p:nvPr>
        </p:nvSpPr>
        <p:spPr bwMode="gray">
          <a:xfrm>
            <a:off x="7068198" y="402336"/>
            <a:ext cx="1155766" cy="241285"/>
          </a:xfrm>
          <a:prstGeom prst="rect">
            <a:avLst/>
          </a:prstGeom>
        </p:spPr>
        <p:txBody>
          <a:bodyPr wrap="none">
            <a:spAutoFit/>
          </a:bodyPr>
          <a:lstStyle>
            <a:lvl1pPr marL="0" marR="0" indent="0" algn="l"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qualcomm</a:t>
            </a:r>
          </a:p>
        </p:txBody>
      </p:sp>
      <p:sp>
        <p:nvSpPr>
          <p:cNvPr id="13" name="Freeform 5">
            <a:extLst>
              <a:ext uri="{FF2B5EF4-FFF2-40B4-BE49-F238E27FC236}">
                <a16:creationId xmlns:a16="http://schemas.microsoft.com/office/drawing/2014/main" id="{F462AC1C-05E0-4FC4-A052-87AEF62212E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ext Placeholder 7">
            <a:extLst>
              <a:ext uri="{FF2B5EF4-FFF2-40B4-BE49-F238E27FC236}">
                <a16:creationId xmlns:a16="http://schemas.microsoft.com/office/drawing/2014/main" id="{1CB99C33-573C-4CAA-9DB5-114509F49F08}"/>
              </a:ext>
            </a:extLst>
          </p:cNvPr>
          <p:cNvSpPr>
            <a:spLocks noGrp="1"/>
          </p:cNvSpPr>
          <p:nvPr>
            <p:ph type="body" sz="quarter" idx="10" hasCustomPrompt="1"/>
          </p:nvPr>
        </p:nvSpPr>
        <p:spPr bwMode="gray">
          <a:xfrm>
            <a:off x="495299" y="5273565"/>
            <a:ext cx="10489690" cy="961930"/>
          </a:xfrm>
          <a:prstGeom prst="rect">
            <a:avLst/>
          </a:prstGeom>
        </p:spPr>
        <p:txBody>
          <a:bodyPr>
            <a:noAutofit/>
          </a:bodyPr>
          <a:lstStyle>
            <a:lvl1pPr marL="0" indent="0">
              <a:lnSpc>
                <a:spcPct val="90000"/>
              </a:lnSpc>
              <a:spcBef>
                <a:spcPts val="600"/>
              </a:spcBef>
              <a:spcAft>
                <a:spcPts val="0"/>
              </a:spcAft>
              <a:buFont typeface="Microsoft Sans Serif" panose="020B0604020202020204" pitchFamily="34" charset="0"/>
              <a:buChar char="​"/>
              <a:defRPr sz="2000" b="1" spc="30" baseline="0">
                <a:solidFill>
                  <a:schemeClr val="bg1"/>
                </a:solidFill>
              </a:defRPr>
            </a:lvl1pPr>
            <a:lvl2pPr marL="0" indent="0">
              <a:lnSpc>
                <a:spcPct val="90000"/>
              </a:lnSpc>
              <a:spcBef>
                <a:spcPts val="600"/>
              </a:spcBef>
              <a:spcAft>
                <a:spcPts val="0"/>
              </a:spcAft>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15" name="Title 2">
            <a:extLst>
              <a:ext uri="{FF2B5EF4-FFF2-40B4-BE49-F238E27FC236}">
                <a16:creationId xmlns:a16="http://schemas.microsoft.com/office/drawing/2014/main" id="{2A3062B5-001F-4409-93B7-7ACE1BF9D75A}"/>
              </a:ext>
            </a:extLst>
          </p:cNvPr>
          <p:cNvSpPr>
            <a:spLocks noGrp="1"/>
          </p:cNvSpPr>
          <p:nvPr>
            <p:ph type="title" hasCustomPrompt="1"/>
          </p:nvPr>
        </p:nvSpPr>
        <p:spPr bwMode="gray">
          <a:xfrm>
            <a:off x="458796" y="2907916"/>
            <a:ext cx="10526193" cy="1329595"/>
          </a:xfrm>
        </p:spPr>
        <p:txBody>
          <a:bodyPr wrap="square">
            <a:spAutoFit/>
          </a:bodyPr>
          <a:lstStyle>
            <a:lvl1pPr>
              <a:lnSpc>
                <a:spcPct val="80000"/>
              </a:lnSpc>
              <a:defRPr sz="5400">
                <a:solidFill>
                  <a:schemeClr val="bg1"/>
                </a:solidFill>
              </a:defRPr>
            </a:lvl1pPr>
          </a:lstStyle>
          <a:p>
            <a:r>
              <a:rPr lang="en-US"/>
              <a:t>Click to edit</a:t>
            </a:r>
            <a:br>
              <a:rPr lang="en-US"/>
            </a:br>
            <a:r>
              <a:rPr lang="en-US"/>
              <a:t>Master title style</a:t>
            </a:r>
          </a:p>
        </p:txBody>
      </p:sp>
      <p:sp>
        <p:nvSpPr>
          <p:cNvPr id="16" name="Subtitle">
            <a:extLst>
              <a:ext uri="{FF2B5EF4-FFF2-40B4-BE49-F238E27FC236}">
                <a16:creationId xmlns:a16="http://schemas.microsoft.com/office/drawing/2014/main" id="{644320C7-01AC-4F65-8C9A-0E1ACFB23610}"/>
              </a:ext>
            </a:extLst>
          </p:cNvPr>
          <p:cNvSpPr>
            <a:spLocks noGrp="1"/>
          </p:cNvSpPr>
          <p:nvPr>
            <p:ph type="subTitle" idx="1"/>
          </p:nvPr>
        </p:nvSpPr>
        <p:spPr>
          <a:xfrm>
            <a:off x="494190" y="4237511"/>
            <a:ext cx="10489690" cy="35458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24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574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userDrawn="1">
  <p:cSld name="Nickel_Larger Title Only">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
        <p:nvSpPr>
          <p:cNvPr id="4" name="Title 3">
            <a:extLst>
              <a:ext uri="{FF2B5EF4-FFF2-40B4-BE49-F238E27FC236}">
                <a16:creationId xmlns:a16="http://schemas.microsoft.com/office/drawing/2014/main" id="{8C0A3E13-1739-47C7-932F-96C38CB48DA7}"/>
              </a:ext>
            </a:extLst>
          </p:cNvPr>
          <p:cNvSpPr>
            <a:spLocks noGrp="1"/>
          </p:cNvSpPr>
          <p:nvPr>
            <p:ph type="title"/>
          </p:nvPr>
        </p:nvSpPr>
        <p:spPr>
          <a:xfrm>
            <a:off x="495300" y="476985"/>
            <a:ext cx="11187112" cy="568745"/>
          </a:xfrm>
        </p:spPr>
        <p:txBody>
          <a:bodyPr anchor="t" anchorCtr="0"/>
          <a:lstStyle>
            <a:lvl1pPr>
              <a:defRPr sz="4400"/>
            </a:lvl1pPr>
          </a:lstStyle>
          <a:p>
            <a:r>
              <a:rPr lang="en-US"/>
              <a:t>Click to edit Master title style</a:t>
            </a:r>
          </a:p>
        </p:txBody>
      </p:sp>
    </p:spTree>
    <p:extLst>
      <p:ext uri="{BB962C8B-B14F-4D97-AF65-F5344CB8AC3E}">
        <p14:creationId xmlns:p14="http://schemas.microsoft.com/office/powerpoint/2010/main" val="341435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userDrawn="1">
  <p:cSld name="Off-White_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
        <p:nvSpPr>
          <p:cNvPr id="4" name="Title 3">
            <a:extLst>
              <a:ext uri="{FF2B5EF4-FFF2-40B4-BE49-F238E27FC236}">
                <a16:creationId xmlns:a16="http://schemas.microsoft.com/office/drawing/2014/main" id="{8C0A3E13-1739-47C7-932F-96C38CB48DA7}"/>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226354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Nickel_Blank">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Tree>
    <p:extLst>
      <p:ext uri="{BB962C8B-B14F-4D97-AF65-F5344CB8AC3E}">
        <p14:creationId xmlns:p14="http://schemas.microsoft.com/office/powerpoint/2010/main" val="255434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87882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userDrawn="1">
  <p:cSld name="Off-White_Title and Subtitle Onl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
        <p:nvSpPr>
          <p:cNvPr id="5" name="Title 3">
            <a:extLst>
              <a:ext uri="{FF2B5EF4-FFF2-40B4-BE49-F238E27FC236}">
                <a16:creationId xmlns:a16="http://schemas.microsoft.com/office/drawing/2014/main" id="{BBE77DDD-1CE8-4E5E-BE53-778A7A4736BD}"/>
              </a:ext>
            </a:extLst>
          </p:cNvPr>
          <p:cNvSpPr>
            <a:spLocks noGrp="1"/>
          </p:cNvSpPr>
          <p:nvPr>
            <p:ph type="title"/>
          </p:nvPr>
        </p:nvSpPr>
        <p:spPr>
          <a:xfrm>
            <a:off x="495300" y="549415"/>
            <a:ext cx="11187112" cy="455189"/>
          </a:xfrm>
        </p:spPr>
        <p:txBody>
          <a:bodyPr/>
          <a:lstStyle/>
          <a:p>
            <a:r>
              <a:rPr lang="en-US"/>
              <a:t>Click to edit Master title style</a:t>
            </a:r>
          </a:p>
        </p:txBody>
      </p:sp>
      <p:sp>
        <p:nvSpPr>
          <p:cNvPr id="6" name="Subtitle">
            <a:extLst>
              <a:ext uri="{FF2B5EF4-FFF2-40B4-BE49-F238E27FC236}">
                <a16:creationId xmlns:a16="http://schemas.microsoft.com/office/drawing/2014/main" id="{22173670-6BFB-4BDA-89AB-D4C206FB4A41}"/>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3552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Off-White_Bla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Tree>
    <p:extLst>
      <p:ext uri="{BB962C8B-B14F-4D97-AF65-F5344CB8AC3E}">
        <p14:creationId xmlns:p14="http://schemas.microsoft.com/office/powerpoint/2010/main" val="156379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Light Nickel_Blank">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IBC 2023</a:t>
            </a:r>
          </a:p>
        </p:txBody>
      </p:sp>
    </p:spTree>
    <p:extLst>
      <p:ext uri="{BB962C8B-B14F-4D97-AF65-F5344CB8AC3E}">
        <p14:creationId xmlns:p14="http://schemas.microsoft.com/office/powerpoint/2010/main" val="241155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3.xml><?xml version="1.0" encoding="utf-8"?>
<p:sldLayout xmlns:a="http://schemas.openxmlformats.org/drawingml/2006/main" xmlns:r="http://schemas.openxmlformats.org/officeDocument/2006/relationships" xmlns:p="http://schemas.openxmlformats.org/presentationml/2006/main" showMasterSp="0" preserve="1"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IBC 2023</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420130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4.xml><?xml version="1.0" encoding="utf-8"?>
<p:sldLayout xmlns:a="http://schemas.openxmlformats.org/drawingml/2006/main" xmlns:r="http://schemas.openxmlformats.org/officeDocument/2006/relationships" xmlns:p="http://schemas.openxmlformats.org/presentationml/2006/main" showMasterSp="0" preserve="1" userDrawn="1">
  <p:cSld name="Blue_Blank">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245860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5.xml><?xml version="1.0" encoding="utf-8"?>
<p:sldLayout xmlns:a="http://schemas.openxmlformats.org/drawingml/2006/main" xmlns:r="http://schemas.openxmlformats.org/officeDocument/2006/relationships" xmlns:p="http://schemas.openxmlformats.org/presentationml/2006/main" showMasterSp="0" preserve="1" userDrawn="1">
  <p:cSld name="Light Blue_Blank">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t>IBC 2023</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396262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6.xml><?xml version="1.0" encoding="utf-8"?>
<p:sldLayout xmlns:a="http://schemas.openxmlformats.org/drawingml/2006/main" xmlns:r="http://schemas.openxmlformats.org/officeDocument/2006/relationships" xmlns:p="http://schemas.openxmlformats.org/presentationml/2006/main" showMasterSp="0" preserve="1" userDrawn="1">
  <p:cSld name="Gun Metal_Blank">
    <p:bg>
      <p:bgPr>
        <a:solidFill>
          <a:schemeClr val="accent5"/>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spcAft>
                <a:spcPts val="0"/>
              </a:spcAft>
              <a:defRPr/>
            </a:pPr>
            <a:r>
              <a:rPr lang="en-US"/>
              <a:t>IBC 2023</a:t>
            </a:r>
          </a:p>
        </p:txBody>
      </p:sp>
      <p:sp>
        <p:nvSpPr>
          <p:cNvPr id="4" name="TextBox 3">
            <a:extLst>
              <a:ext uri="{FF2B5EF4-FFF2-40B4-BE49-F238E27FC236}">
                <a16:creationId xmlns:a16="http://schemas.microsoft.com/office/drawing/2014/main" id="{24570DB2-C64B-4F9F-8D05-563F9ADD3A24}"/>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Tree>
    <p:extLst>
      <p:ext uri="{BB962C8B-B14F-4D97-AF65-F5344CB8AC3E}">
        <p14:creationId xmlns:p14="http://schemas.microsoft.com/office/powerpoint/2010/main" val="186214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Midnight_Blank">
    <p:bg>
      <p:bgPr>
        <a:solidFill>
          <a:schemeClr val="tx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64202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Midnight_Title only">
    <p:bg>
      <p:bgPr>
        <a:solidFill>
          <a:schemeClr val="tx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6" name="Title 3">
            <a:extLst>
              <a:ext uri="{FF2B5EF4-FFF2-40B4-BE49-F238E27FC236}">
                <a16:creationId xmlns:a16="http://schemas.microsoft.com/office/drawing/2014/main" id="{FBD62BE9-DDFD-42E2-9237-A89550547FD6}"/>
              </a:ext>
            </a:extLst>
          </p:cNvPr>
          <p:cNvSpPr>
            <a:spLocks noGrp="1"/>
          </p:cNvSpPr>
          <p:nvPr>
            <p:ph type="title"/>
          </p:nvPr>
        </p:nvSpPr>
        <p:spPr>
          <a:xfrm>
            <a:off x="495300" y="567521"/>
            <a:ext cx="11187112" cy="455189"/>
          </a:xfrm>
        </p:spPr>
        <p:txBody>
          <a:bodyPr anchor="t" anchorCtr="0"/>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5566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Shelf Light Blue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solidFill>
                  <a:schemeClr val="accent2">
                    <a:lumMod val="40000"/>
                    <a:lumOff val="60000"/>
                  </a:schemeClr>
                </a:solidFill>
              </a:rPr>
              <a:t>IBC 2023</a:t>
            </a:r>
          </a:p>
        </p:txBody>
      </p:sp>
    </p:spTree>
    <p:extLst>
      <p:ext uri="{BB962C8B-B14F-4D97-AF65-F5344CB8AC3E}">
        <p14:creationId xmlns:p14="http://schemas.microsoft.com/office/powerpoint/2010/main" val="42866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76667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Shelf Light Blue_Bottom 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solidFill>
                  <a:schemeClr val="accent2">
                    <a:lumMod val="40000"/>
                    <a:lumOff val="60000"/>
                  </a:schemeClr>
                </a:solidFill>
              </a:rPr>
              <a:t>IBC 2023</a:t>
            </a:r>
          </a:p>
        </p:txBody>
      </p:sp>
      <p:sp>
        <p:nvSpPr>
          <p:cNvPr id="9" name="Title 2">
            <a:extLst>
              <a:ext uri="{FF2B5EF4-FFF2-40B4-BE49-F238E27FC236}">
                <a16:creationId xmlns:a16="http://schemas.microsoft.com/office/drawing/2014/main" id="{84A52DBA-21C2-42E6-8F17-49F9D5D855FC}"/>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98720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userDrawn="1">
  <p:cSld name="Shelf Teal_Title, Subtitl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43A54BD-BF06-4D2D-B117-ED765D0F8A02}"/>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3A6B6865-B858-475C-ACC1-245682ED229D}"/>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B6836C62-798F-48D1-BD16-AD6C08EEBAB8}"/>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TextBox 13">
            <a:extLst>
              <a:ext uri="{FF2B5EF4-FFF2-40B4-BE49-F238E27FC236}">
                <a16:creationId xmlns:a16="http://schemas.microsoft.com/office/drawing/2014/main" id="{48A34365-0BF0-4CB7-BC97-4D0D0DCE7DF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4">
                    <a:lumMod val="60000"/>
                    <a:lumOff val="40000"/>
                  </a:schemeClr>
                </a:solidFill>
                <a:latin typeface="+mn-lt"/>
                <a:ea typeface="+mn-ea"/>
                <a:cs typeface="+mn-cs"/>
              </a:defRPr>
            </a:lvl1pPr>
          </a:lstStyle>
          <a:p>
            <a:pPr>
              <a:spcAft>
                <a:spcPts val="0"/>
              </a:spcAft>
              <a:defRPr/>
            </a:pPr>
            <a:r>
              <a:rPr lang="en-US">
                <a:solidFill>
                  <a:schemeClr val="accent4">
                    <a:lumMod val="60000"/>
                    <a:lumOff val="40000"/>
                  </a:schemeClr>
                </a:solidFill>
              </a:rPr>
              <a:t>IBC 2023</a:t>
            </a:r>
          </a:p>
        </p:txBody>
      </p:sp>
    </p:spTree>
    <p:extLst>
      <p:ext uri="{BB962C8B-B14F-4D97-AF65-F5344CB8AC3E}">
        <p14:creationId xmlns:p14="http://schemas.microsoft.com/office/powerpoint/2010/main" val="224444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userDrawn="1">
  <p:cSld name="Shelf Teal_Off-white_Title bottom">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43A54BD-BF06-4D2D-B117-ED765D0F8A02}"/>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3A6B6865-B858-475C-ACC1-245682ED229D}"/>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B6836C62-798F-48D1-BD16-AD6C08EEBAB8}"/>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TextBox 13">
            <a:extLst>
              <a:ext uri="{FF2B5EF4-FFF2-40B4-BE49-F238E27FC236}">
                <a16:creationId xmlns:a16="http://schemas.microsoft.com/office/drawing/2014/main" id="{48A34365-0BF0-4CB7-BC97-4D0D0DCE7DF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3" name="Footer Placeholder 2">
            <a:extLst>
              <a:ext uri="{FF2B5EF4-FFF2-40B4-BE49-F238E27FC236}">
                <a16:creationId xmlns:a16="http://schemas.microsoft.com/office/drawing/2014/main" id="{5527E599-92FE-4B02-A673-6D87A5BF7BFD}"/>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4">
                    <a:lumMod val="60000"/>
                    <a:lumOff val="40000"/>
                  </a:schemeClr>
                </a:solidFill>
                <a:latin typeface="+mn-lt"/>
                <a:ea typeface="+mn-ea"/>
                <a:cs typeface="+mn-cs"/>
              </a:defRPr>
            </a:lvl1pPr>
          </a:lstStyle>
          <a:p>
            <a:pPr>
              <a:spcAft>
                <a:spcPts val="0"/>
              </a:spcAft>
              <a:defRPr/>
            </a:pPr>
            <a:r>
              <a:rPr lang="en-US">
                <a:solidFill>
                  <a:schemeClr val="accent4">
                    <a:lumMod val="60000"/>
                    <a:lumOff val="40000"/>
                  </a:schemeClr>
                </a:solidFill>
              </a:rPr>
              <a:t>IBC 2023</a:t>
            </a:r>
          </a:p>
        </p:txBody>
      </p:sp>
      <p:sp>
        <p:nvSpPr>
          <p:cNvPr id="12" name="Title 2">
            <a:extLst>
              <a:ext uri="{FF2B5EF4-FFF2-40B4-BE49-F238E27FC236}">
                <a16:creationId xmlns:a16="http://schemas.microsoft.com/office/drawing/2014/main" id="{58FD37CF-5D94-4906-BAAB-3197C292959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408052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userDrawn="1">
  <p:cSld name="Shelf Midnight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37135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Shelf Midnight_Off-white_Title, Subtitl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33380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Shelf Midnight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53527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userDrawn="1">
  <p:cSld name="Shelf Midnight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31307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userDrawn="1">
  <p:cSld name="Shelf Midnight_Off-white_Title Bottom">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DD7BF16-2406-43BE-A609-3D7C8BBFDE19}"/>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267083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userDrawn="1">
  <p:cSld name="Shelf Midnight_Off-white_Blank_Bottom Title and Subtitl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74755"/>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13476"/>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823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userDrawn="1">
  <p:cSld name="Shelf Gun Metal_Title, Subtit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IBC 2023</a:t>
            </a:r>
          </a:p>
        </p:txBody>
      </p:sp>
    </p:spTree>
    <p:extLst>
      <p:ext uri="{BB962C8B-B14F-4D97-AF65-F5344CB8AC3E}">
        <p14:creationId xmlns:p14="http://schemas.microsoft.com/office/powerpoint/2010/main" val="83062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5598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Shelf Gun Metal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IBC 2023</a:t>
            </a:r>
          </a:p>
        </p:txBody>
      </p:sp>
    </p:spTree>
    <p:extLst>
      <p:ext uri="{BB962C8B-B14F-4D97-AF65-F5344CB8AC3E}">
        <p14:creationId xmlns:p14="http://schemas.microsoft.com/office/powerpoint/2010/main" val="156496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userDrawn="1">
  <p:cSld name="Shelf Gun Metal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solidFill>
                  <a:schemeClr val="accent5">
                    <a:lumMod val="40000"/>
                    <a:lumOff val="60000"/>
                  </a:schemeClr>
                </a:solidFill>
              </a:rPr>
              <a:t>IBC 2023</a:t>
            </a:r>
          </a:p>
        </p:txBody>
      </p:sp>
    </p:spTree>
    <p:extLst>
      <p:ext uri="{BB962C8B-B14F-4D97-AF65-F5344CB8AC3E}">
        <p14:creationId xmlns:p14="http://schemas.microsoft.com/office/powerpoint/2010/main" val="4141265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userDrawn="1">
  <p:cSld name="Shelf Light Blue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4532752-343E-47B0-8C61-D4E5BF508058}"/>
              </a:ext>
            </a:extLst>
          </p:cNvPr>
          <p:cNvGrpSpPr/>
          <p:nvPr userDrawn="1"/>
        </p:nvGrpSpPr>
        <p:grpSpPr>
          <a:xfrm>
            <a:off x="-1855" y="5312740"/>
            <a:ext cx="12195710" cy="1545260"/>
            <a:chOff x="-1855" y="5312733"/>
            <a:chExt cx="12195710" cy="1545260"/>
          </a:xfrm>
        </p:grpSpPr>
        <p:sp>
          <p:nvSpPr>
            <p:cNvPr id="10" name="Rectangle 9">
              <a:extLst>
                <a:ext uri="{FF2B5EF4-FFF2-40B4-BE49-F238E27FC236}">
                  <a16:creationId xmlns:a16="http://schemas.microsoft.com/office/drawing/2014/main" id="{9313DA6A-7F0E-4314-BEDB-5933C3E333FD}"/>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11" name="Rectangle: Single Corner Rounded 6">
              <a:extLst>
                <a:ext uri="{FF2B5EF4-FFF2-40B4-BE49-F238E27FC236}">
                  <a16:creationId xmlns:a16="http://schemas.microsoft.com/office/drawing/2014/main" id="{ED1FF388-00D9-4B7B-8721-3924E3006ACE}"/>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763D138E-F1B0-470B-8C72-47C93C5D87A2}"/>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6" name="TextBox 15">
            <a:extLst>
              <a:ext uri="{FF2B5EF4-FFF2-40B4-BE49-F238E27FC236}">
                <a16:creationId xmlns:a16="http://schemas.microsoft.com/office/drawing/2014/main" id="{32116187-0279-43B6-BD55-C336E0A85659}"/>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8" name="Title 3">
            <a:extLst>
              <a:ext uri="{FF2B5EF4-FFF2-40B4-BE49-F238E27FC236}">
                <a16:creationId xmlns:a16="http://schemas.microsoft.com/office/drawing/2014/main" id="{42B117B6-494A-40B2-9F75-1D8FAE5D8300}"/>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854723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Shelf Blue_Title botto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95341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userDrawn="1">
  <p:cSld name="Light Nickel, Shelf Blue_Title bottom">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a:xfrm>
            <a:off x="502444" y="5760223"/>
            <a:ext cx="11187112" cy="413639"/>
          </a:xfrm>
        </p:spPr>
        <p:txBody>
          <a:bodyPr anchor="ctr" anchorCtr="0"/>
          <a:lstStyle>
            <a:lvl1pPr algn="ctr">
              <a:defRPr sz="3200">
                <a:solidFill>
                  <a:schemeClr val="bg1"/>
                </a:solidFill>
              </a:defRPr>
            </a:lvl1pPr>
          </a:lstStyle>
          <a:p>
            <a:r>
              <a:rPr lang="en-US"/>
              <a:t>Click to edit Master title style</a:t>
            </a:r>
          </a:p>
        </p:txBody>
      </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152831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Light Nickel, Shelf Blue_Title top, Bottom Text and Subtitle">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8" name="Text Placeholder 29">
            <a:extLst>
              <a:ext uri="{FF2B5EF4-FFF2-40B4-BE49-F238E27FC236}">
                <a16:creationId xmlns:a16="http://schemas.microsoft.com/office/drawing/2014/main" id="{AB9D4AFE-F769-4A03-8378-754D2BEE7987}"/>
              </a:ext>
            </a:extLst>
          </p:cNvPr>
          <p:cNvSpPr>
            <a:spLocks noGrp="1"/>
          </p:cNvSpPr>
          <p:nvPr>
            <p:ph type="body" sz="quarter" idx="15"/>
          </p:nvPr>
        </p:nvSpPr>
        <p:spPr bwMode="gray">
          <a:xfrm>
            <a:off x="495299" y="5614764"/>
            <a:ext cx="11186159" cy="383503"/>
          </a:xfrm>
          <a:prstGeom prst="rect">
            <a:avLst/>
          </a:prstGeom>
        </p:spPr>
        <p:txBody>
          <a:bodyPr anchor="ctr">
            <a:spAutoFit/>
          </a:bodyPr>
          <a:lstStyle>
            <a:lvl1pPr marL="0" indent="0" algn="ctr">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Subtitle">
            <a:extLst>
              <a:ext uri="{FF2B5EF4-FFF2-40B4-BE49-F238E27FC236}">
                <a16:creationId xmlns:a16="http://schemas.microsoft.com/office/drawing/2014/main" id="{259341E1-F38C-44A9-AD52-4C1FF1C0B663}"/>
              </a:ext>
            </a:extLst>
          </p:cNvPr>
          <p:cNvSpPr>
            <a:spLocks noGrp="1"/>
          </p:cNvSpPr>
          <p:nvPr>
            <p:ph type="subTitle" idx="1"/>
          </p:nvPr>
        </p:nvSpPr>
        <p:spPr>
          <a:xfrm>
            <a:off x="494189" y="6013476"/>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itle 3">
            <a:extLst>
              <a:ext uri="{FF2B5EF4-FFF2-40B4-BE49-F238E27FC236}">
                <a16:creationId xmlns:a16="http://schemas.microsoft.com/office/drawing/2014/main" id="{B87E6FB7-AE4A-4C5E-BCE0-9A052DAABB6D}"/>
              </a:ext>
            </a:extLst>
          </p:cNvPr>
          <p:cNvSpPr>
            <a:spLocks noGrp="1"/>
          </p:cNvSpPr>
          <p:nvPr>
            <p:ph type="title"/>
          </p:nvPr>
        </p:nvSpPr>
        <p:spPr>
          <a:xfrm>
            <a:off x="495300" y="567521"/>
            <a:ext cx="11187112" cy="455189"/>
          </a:xfrm>
        </p:spPr>
        <p:txBody>
          <a:bodyPr anchor="t" anchorCtr="0"/>
          <a:lstStyle/>
          <a:p>
            <a:r>
              <a:rPr lang="en-US"/>
              <a:t>Click to edit Master title style</a:t>
            </a:r>
          </a:p>
        </p:txBody>
      </p:sp>
    </p:spTree>
    <p:extLst>
      <p:ext uri="{BB962C8B-B14F-4D97-AF65-F5344CB8AC3E}">
        <p14:creationId xmlns:p14="http://schemas.microsoft.com/office/powerpoint/2010/main" val="110646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Shelf Blue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417633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userDrawn="1">
  <p:cSld name="Light Nickel, Shelf Blue_blank">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4" name="Footer Placeholder 2">
            <a:extLst>
              <a:ext uri="{FF2B5EF4-FFF2-40B4-BE49-F238E27FC236}">
                <a16:creationId xmlns:a16="http://schemas.microsoft.com/office/drawing/2014/main" id="{FCC2E23E-D4BB-4372-8909-E825B7E3AA90}"/>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60000"/>
                    <a:lumOff val="40000"/>
                  </a:schemeClr>
                </a:solidFill>
                <a:latin typeface="+mn-lt"/>
                <a:ea typeface="+mn-ea"/>
                <a:cs typeface="+mn-cs"/>
              </a:defRPr>
            </a:lvl1pPr>
          </a:lstStyle>
          <a:p>
            <a:pPr>
              <a:spcAft>
                <a:spcPts val="0"/>
              </a:spcAft>
              <a:defRPr/>
            </a:pPr>
            <a:r>
              <a:rPr lang="en-US">
                <a:solidFill>
                  <a:schemeClr val="accent2">
                    <a:lumMod val="60000"/>
                    <a:lumOff val="40000"/>
                  </a:schemeClr>
                </a:solidFill>
              </a:rPr>
              <a:t>IBC 2023</a:t>
            </a:r>
          </a:p>
        </p:txBody>
      </p:sp>
      <p:sp>
        <p:nvSpPr>
          <p:cNvPr id="17" name="TextBox 16">
            <a:extLst>
              <a:ext uri="{FF2B5EF4-FFF2-40B4-BE49-F238E27FC236}">
                <a16:creationId xmlns:a16="http://schemas.microsoft.com/office/drawing/2014/main" id="{E2AB2723-F1CF-4E47-B05B-6C8653B78B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Tree>
    <p:extLst>
      <p:ext uri="{BB962C8B-B14F-4D97-AF65-F5344CB8AC3E}">
        <p14:creationId xmlns:p14="http://schemas.microsoft.com/office/powerpoint/2010/main" val="411716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0158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userDrawn="1">
  <p:cSld name="Fifty Fifty Blue Bla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nchor="b" anchorCtr="0">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26594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5917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userDrawn="1">
  <p:cSld name="Cutaway 1/4 Left Nicke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0"/>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Tree>
    <p:extLst>
      <p:ext uri="{BB962C8B-B14F-4D97-AF65-F5344CB8AC3E}">
        <p14:creationId xmlns:p14="http://schemas.microsoft.com/office/powerpoint/2010/main" val="240869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userDrawn="1">
  <p:cSld name="Cutaway 1/4 Left Teal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itle 1">
            <a:extLst>
              <a:ext uri="{FF2B5EF4-FFF2-40B4-BE49-F238E27FC236}">
                <a16:creationId xmlns:a16="http://schemas.microsoft.com/office/drawing/2014/main" id="{4188C21F-01DC-4D64-BBD6-81D2BB9B0547}"/>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1816661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userDrawn="1">
  <p:cSld name="Cutaway 1/4 Left Gun Metal_Title, Sutitle, Cop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240588"/>
            <a:ext cx="3212965" cy="4160211"/>
          </a:xfrm>
          <a:prstGeom prst="rect">
            <a:avLst/>
          </a:prstGeom>
        </p:spPr>
        <p:txBody>
          <a:bodyPr/>
          <a:lstStyle>
            <a:lvl1pPr marL="0" indent="0">
              <a:lnSpc>
                <a:spcPct val="90000"/>
              </a:lnSpc>
              <a:spcBef>
                <a:spcPts val="1800"/>
              </a:spcBef>
              <a:buClr>
                <a:schemeClr val="bg1"/>
              </a:buClr>
              <a:buNone/>
              <a:defRPr sz="1600">
                <a:solidFill>
                  <a:schemeClr val="bg1"/>
                </a:solidFill>
              </a:defRPr>
            </a:lvl1pPr>
            <a:lvl2pPr marL="114300" indent="-114300">
              <a:lnSpc>
                <a:spcPct val="90000"/>
              </a:lnSpc>
              <a:spcBef>
                <a:spcPts val="600"/>
              </a:spcBef>
              <a:buClr>
                <a:schemeClr val="bg1"/>
              </a:buClr>
              <a:defRPr sz="1200">
                <a:solidFill>
                  <a:schemeClr val="bg1"/>
                </a:solidFill>
              </a:defRPr>
            </a:lvl2pPr>
            <a:lvl3pPr marL="227013" indent="-114300">
              <a:lnSpc>
                <a:spcPct val="90000"/>
              </a:lnSpc>
              <a:spcBef>
                <a:spcPts val="600"/>
              </a:spcBef>
              <a:buClr>
                <a:schemeClr val="bg1"/>
              </a:buClr>
              <a:defRPr sz="1200">
                <a:solidFill>
                  <a:schemeClr val="bg1"/>
                </a:solidFill>
              </a:defRPr>
            </a:lvl3pPr>
            <a:lvl4pPr marL="344488" indent="-114300">
              <a:lnSpc>
                <a:spcPct val="90000"/>
              </a:lnSpc>
              <a:spcBef>
                <a:spcPts val="600"/>
              </a:spcBef>
              <a:buClr>
                <a:schemeClr val="bg1"/>
              </a:buClr>
              <a:defRPr sz="1200">
                <a:solidFill>
                  <a:schemeClr val="bg1"/>
                </a:solidFill>
              </a:defRPr>
            </a:lvl4pPr>
            <a:lvl5pPr>
              <a:lnSpc>
                <a:spcPct val="90000"/>
              </a:lnSpc>
              <a:buNone/>
              <a:defRPr sz="2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1561279"/>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5578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userDrawn="1">
  <p:cSld name="Cutaway 1/4 Left Teal_Title, Sutit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83D7523-C043-49CA-B5D0-3AB35FA94215}"/>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Single Corner Rounded 6">
            <a:extLst>
              <a:ext uri="{FF2B5EF4-FFF2-40B4-BE49-F238E27FC236}">
                <a16:creationId xmlns:a16="http://schemas.microsoft.com/office/drawing/2014/main" id="{3E8B7454-B2E6-45DE-8187-5F8EE3106B6B}"/>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Footer Placeholder 2">
            <a:extLst>
              <a:ext uri="{FF2B5EF4-FFF2-40B4-BE49-F238E27FC236}">
                <a16:creationId xmlns:a16="http://schemas.microsoft.com/office/drawing/2014/main" id="{F8AD0C50-26CB-493A-AC25-6AF9B2900E85}"/>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2382815"/>
            <a:ext cx="3211008" cy="1178143"/>
          </a:xfrm>
        </p:spPr>
        <p:txBody>
          <a:bodyPr wrap="square" anchor="b" anchorCtr="0">
            <a:spAutoFit/>
          </a:bodyPr>
          <a:lstStyle>
            <a:lvl1pPr>
              <a:lnSpc>
                <a:spcPct val="87000"/>
              </a:lnSpc>
              <a:defRPr sz="44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3639650"/>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873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Cutaway 1/4 Left Gun Metal_Smaller_Title, Su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299" y="2596976"/>
            <a:ext cx="3211008" cy="963982"/>
          </a:xfrm>
        </p:spPr>
        <p:txBody>
          <a:bodyPr wrap="square" anchor="b" anchorCtr="0">
            <a:spAutoFit/>
          </a:bodyPr>
          <a:lstStyle>
            <a:lvl1pPr>
              <a:lnSpc>
                <a:spcPct val="87000"/>
              </a:lnSpc>
              <a:defRPr sz="3600">
                <a:solidFill>
                  <a:schemeClr val="bg1"/>
                </a:solidFill>
              </a:defRPr>
            </a:lvl1pPr>
          </a:lstStyle>
          <a:p>
            <a:r>
              <a:rPr lang="en-US"/>
              <a:t>Click to edit Master tit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299" y="3639650"/>
            <a:ext cx="3213943" cy="214226"/>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871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5007">
          <p15:clr>
            <a:srgbClr val="FBAE40"/>
          </p15:clr>
        </p15:guide>
      </p15:sldGuideLst>
    </p:ext>
  </p:extLst>
</p:sldLayout>
</file>

<file path=ppt/slideLayouts/slideLayout1605.xml><?xml version="1.0" encoding="utf-8"?>
<p:sldLayout xmlns:a="http://schemas.openxmlformats.org/drawingml/2006/main" xmlns:r="http://schemas.openxmlformats.org/officeDocument/2006/relationships" xmlns:p="http://schemas.openxmlformats.org/presentationml/2006/main" preserve="1" userDrawn="1">
  <p:cSld name="Cutaway 1/4 Left Gun Metal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itle 1">
            <a:extLst>
              <a:ext uri="{FF2B5EF4-FFF2-40B4-BE49-F238E27FC236}">
                <a16:creationId xmlns:a16="http://schemas.microsoft.com/office/drawing/2014/main" id="{48160D1B-D47B-4A1D-A155-B5DDBCC16A9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23810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userDrawn="1">
  <p:cSld name="Cutaway 1/4 Left Midnight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itle 1">
            <a:extLst>
              <a:ext uri="{FF2B5EF4-FFF2-40B4-BE49-F238E27FC236}">
                <a16:creationId xmlns:a16="http://schemas.microsoft.com/office/drawing/2014/main" id="{A4BB2DA5-E242-4293-87CE-393B4500B2E4}"/>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131867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Cutaway 1/4 Left Midnight_Mid 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itle 1">
            <a:extLst>
              <a:ext uri="{FF2B5EF4-FFF2-40B4-BE49-F238E27FC236}">
                <a16:creationId xmlns:a16="http://schemas.microsoft.com/office/drawing/2014/main" id="{A4BB2DA5-E242-4293-87CE-393B4500B2E4}"/>
              </a:ext>
            </a:extLst>
          </p:cNvPr>
          <p:cNvSpPr>
            <a:spLocks noGrp="1"/>
          </p:cNvSpPr>
          <p:nvPr>
            <p:ph type="title"/>
          </p:nvPr>
        </p:nvSpPr>
        <p:spPr bwMode="gray">
          <a:xfrm>
            <a:off x="495299" y="1983092"/>
            <a:ext cx="3211008" cy="2891817"/>
          </a:xfrm>
        </p:spPr>
        <p:txBody>
          <a:bodyPr wrap="square" anchor="ctr" anchorCtr="0">
            <a:spAutoFit/>
          </a:bodyPr>
          <a:lstStyle>
            <a:lvl1pPr>
              <a:lnSpc>
                <a:spcPct val="87000"/>
              </a:lnSpc>
              <a:defRPr sz="5400">
                <a:solidFill>
                  <a:schemeClr val="bg1"/>
                </a:solidFill>
              </a:defRPr>
            </a:lvl1pPr>
          </a:lstStyle>
          <a:p>
            <a:r>
              <a:rPr lang="en-US"/>
              <a:t>Click to edit Master title</a:t>
            </a:r>
          </a:p>
        </p:txBody>
      </p:sp>
    </p:spTree>
    <p:extLst>
      <p:ext uri="{BB962C8B-B14F-4D97-AF65-F5344CB8AC3E}">
        <p14:creationId xmlns:p14="http://schemas.microsoft.com/office/powerpoint/2010/main" val="409149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userDrawn="1">
  <p:cSld name="Cutaway 1/4 Left Blue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solidFill>
                  <a:schemeClr val="accent2">
                    <a:lumMod val="60000"/>
                    <a:lumOff val="40000"/>
                  </a:schemeClr>
                </a:solidFill>
              </a:rPr>
              <a:t>IBC 2023</a:t>
            </a:r>
          </a:p>
        </p:txBody>
      </p:sp>
      <p:sp>
        <p:nvSpPr>
          <p:cNvPr id="11" name="Title 1">
            <a:extLst>
              <a:ext uri="{FF2B5EF4-FFF2-40B4-BE49-F238E27FC236}">
                <a16:creationId xmlns:a16="http://schemas.microsoft.com/office/drawing/2014/main" id="{48160D1B-D47B-4A1D-A155-B5DDBCC16A91}"/>
              </a:ext>
            </a:extLst>
          </p:cNvPr>
          <p:cNvSpPr>
            <a:spLocks noGrp="1"/>
          </p:cNvSpPr>
          <p:nvPr>
            <p:ph type="title"/>
          </p:nvPr>
        </p:nvSpPr>
        <p:spPr bwMode="gray">
          <a:xfrm>
            <a:off x="495299" y="539835"/>
            <a:ext cx="3211008" cy="910377"/>
          </a:xfrm>
        </p:spPr>
        <p:txBody>
          <a:bodyPr wrap="square" anchor="t" anchorCtr="0">
            <a:spAutoFit/>
          </a:bodyPr>
          <a:lstStyle>
            <a:lvl1pPr>
              <a:lnSpc>
                <a:spcPct val="87000"/>
              </a:lnSpc>
              <a:defRPr sz="3400">
                <a:solidFill>
                  <a:schemeClr val="bg1"/>
                </a:solidFill>
              </a:defRPr>
            </a:lvl1pPr>
          </a:lstStyle>
          <a:p>
            <a:r>
              <a:rPr lang="en-US"/>
              <a:t>Click to edit Master title</a:t>
            </a:r>
          </a:p>
        </p:txBody>
      </p:sp>
    </p:spTree>
    <p:extLst>
      <p:ext uri="{BB962C8B-B14F-4D97-AF65-F5344CB8AC3E}">
        <p14:creationId xmlns:p14="http://schemas.microsoft.com/office/powerpoint/2010/main" val="26719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userDrawn="1">
  <p:cSld name="Cutaway 1/4 Left Blue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solidFill>
                  <a:schemeClr val="accent2">
                    <a:lumMod val="60000"/>
                    <a:lumOff val="40000"/>
                  </a:schemeClr>
                </a:solidFill>
              </a:rPr>
              <a:t>IBC 2023</a:t>
            </a:r>
          </a:p>
        </p:txBody>
      </p:sp>
    </p:spTree>
    <p:extLst>
      <p:ext uri="{BB962C8B-B14F-4D97-AF65-F5344CB8AC3E}">
        <p14:creationId xmlns:p14="http://schemas.microsoft.com/office/powerpoint/2010/main" val="183565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92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Tree>
    <p:extLst>
      <p:ext uri="{BB962C8B-B14F-4D97-AF65-F5344CB8AC3E}">
        <p14:creationId xmlns:p14="http://schemas.microsoft.com/office/powerpoint/2010/main" val="201194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Cutaway 1/4 Left Midnight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4158"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Tree>
    <p:extLst>
      <p:ext uri="{BB962C8B-B14F-4D97-AF65-F5344CB8AC3E}">
        <p14:creationId xmlns:p14="http://schemas.microsoft.com/office/powerpoint/2010/main" val="103840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Cutaway right Midnight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B407A7-8AB2-4AB2-B357-6EC60759002E}"/>
              </a:ext>
            </a:extLst>
          </p:cNvPr>
          <p:cNvSpPr/>
          <p:nvPr userDrawn="1"/>
        </p:nvSpPr>
        <p:spPr bwMode="gray">
          <a:xfrm>
            <a:off x="8458200" y="0"/>
            <a:ext cx="3733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6" name="Rectangle 5">
            <a:extLst>
              <a:ext uri="{FF2B5EF4-FFF2-40B4-BE49-F238E27FC236}">
                <a16:creationId xmlns:a16="http://schemas.microsoft.com/office/drawing/2014/main" id="{B90F8B1D-5015-418C-AEDC-38860BFFC0B8}"/>
              </a:ext>
            </a:extLst>
          </p:cNvPr>
          <p:cNvSpPr/>
          <p:nvPr userDrawn="1"/>
        </p:nvSpPr>
        <p:spPr bwMode="gray">
          <a:xfrm flipH="1">
            <a:off x="8458200"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7" name="TextBox 6">
            <a:extLst>
              <a:ext uri="{FF2B5EF4-FFF2-40B4-BE49-F238E27FC236}">
                <a16:creationId xmlns:a16="http://schemas.microsoft.com/office/drawing/2014/main" id="{8E3A51F4-266F-4CAA-8365-D1090BE1447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1" name="Footer Placeholder 2">
            <a:extLst>
              <a:ext uri="{FF2B5EF4-FFF2-40B4-BE49-F238E27FC236}">
                <a16:creationId xmlns:a16="http://schemas.microsoft.com/office/drawing/2014/main" id="{C0A83F9E-7310-45D1-88D7-20C444DC455B}"/>
              </a:ext>
            </a:extLst>
          </p:cNvPr>
          <p:cNvSpPr>
            <a:spLocks noGrp="1"/>
          </p:cNvSpPr>
          <p:nvPr>
            <p:ph type="ftr" sz="quarter" idx="16"/>
          </p:nvPr>
        </p:nvSpPr>
        <p:spPr bwMode="gray">
          <a:xfrm>
            <a:off x="8705088" y="6532895"/>
            <a:ext cx="2651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Tree>
    <p:extLst>
      <p:ext uri="{BB962C8B-B14F-4D97-AF65-F5344CB8AC3E}">
        <p14:creationId xmlns:p14="http://schemas.microsoft.com/office/powerpoint/2010/main" val="110265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Cutaway right larger Midnight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44455B-E2DE-49A2-B14A-21578B667AAE}"/>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Rectangle 8">
            <a:extLst>
              <a:ext uri="{FF2B5EF4-FFF2-40B4-BE49-F238E27FC236}">
                <a16:creationId xmlns:a16="http://schemas.microsoft.com/office/drawing/2014/main" id="{9E4172D8-E79B-49A4-9132-18E743FFFCF3}"/>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Box 11">
            <a:extLst>
              <a:ext uri="{FF2B5EF4-FFF2-40B4-BE49-F238E27FC236}">
                <a16:creationId xmlns:a16="http://schemas.microsoft.com/office/drawing/2014/main" id="{36B870EB-94D2-4DD3-9CFA-A991C7088195}"/>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3" name="Footer Placeholder 2">
            <a:extLst>
              <a:ext uri="{FF2B5EF4-FFF2-40B4-BE49-F238E27FC236}">
                <a16:creationId xmlns:a16="http://schemas.microsoft.com/office/drawing/2014/main" id="{13E623E8-2668-460F-8492-6F71529FBB5D}"/>
              </a:ext>
            </a:extLst>
          </p:cNvPr>
          <p:cNvSpPr>
            <a:spLocks noGrp="1"/>
          </p:cNvSpPr>
          <p:nvPr>
            <p:ph type="ftr" sz="quarter" idx="3"/>
          </p:nvPr>
        </p:nvSpPr>
        <p:spPr>
          <a:xfrm>
            <a:off x="495299" y="6532895"/>
            <a:ext cx="67665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4702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4.xml><?xml version="1.0" encoding="utf-8"?>
<p:sldLayout xmlns:a="http://schemas.openxmlformats.org/drawingml/2006/main" xmlns:r="http://schemas.openxmlformats.org/officeDocument/2006/relationships" xmlns:p="http://schemas.openxmlformats.org/presentationml/2006/main" preserve="1" userDrawn="1">
  <p:cSld name="Cutaway 1/4 Left Teal_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83D7523-C043-49CA-B5D0-3AB35FA94215}"/>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Single Corner Rounded 6">
            <a:extLst>
              <a:ext uri="{FF2B5EF4-FFF2-40B4-BE49-F238E27FC236}">
                <a16:creationId xmlns:a16="http://schemas.microsoft.com/office/drawing/2014/main" id="{3E8B7454-B2E6-45DE-8187-5F8EE3106B6B}"/>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Footer Placeholder 2">
            <a:extLst>
              <a:ext uri="{FF2B5EF4-FFF2-40B4-BE49-F238E27FC236}">
                <a16:creationId xmlns:a16="http://schemas.microsoft.com/office/drawing/2014/main" id="{F8AD0C50-26CB-493A-AC25-6AF9B2900E85}"/>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Tree>
    <p:extLst>
      <p:ext uri="{BB962C8B-B14F-4D97-AF65-F5344CB8AC3E}">
        <p14:creationId xmlns:p14="http://schemas.microsoft.com/office/powerpoint/2010/main" val="74444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15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571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107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7587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829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6731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376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759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406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56242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8066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95886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6733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00978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98479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118401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7846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2905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1356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8926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3084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4004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1876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8551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3009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26001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4228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6716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530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1509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7125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22551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8191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7196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1389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09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9329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434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7963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563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99623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07296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4936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34825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40068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5066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51209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54533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D2246FF4-5C3D-473C-B3FF-4C0A7056FA2E}"/>
                  </a:ext>
                </a:extLst>
              </p14:cNvPr>
              <p14:cNvContentPartPr/>
              <p14:nvPr userDrawn="1"/>
            </p14:nvContentPartPr>
            <p14:xfrm>
              <a:off x="8145224" y="6609376"/>
              <a:ext cx="9072" cy="4608"/>
            </p14:xfrm>
          </p:contentPart>
        </mc:Choice>
        <mc:Fallback xmlns="">
          <p:pic>
            <p:nvPicPr>
              <p:cNvPr id="2" name="Ink 1">
                <a:extLst>
                  <a:ext uri="{FF2B5EF4-FFF2-40B4-BE49-F238E27FC236}">
                    <a16:creationId xmlns:a16="http://schemas.microsoft.com/office/drawing/2014/main" id="{D2246FF4-5C3D-473C-B3FF-4C0A7056FA2E}"/>
                  </a:ext>
                </a:extLst>
              </p:cNvPr>
              <p:cNvPicPr/>
              <p:nvPr/>
            </p:nvPicPr>
            <p:blipFill>
              <a:blip r:embed="rId3"/>
              <a:stretch>
                <a:fillRect/>
              </a:stretch>
            </p:blipFill>
            <p:spPr>
              <a:xfrm>
                <a:off x="8141595" y="6605831"/>
                <a:ext cx="15967" cy="11343"/>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57488EDB-6A64-4E7A-8BD3-8FD86C89C038}"/>
                  </a:ext>
                </a:extLst>
              </p14:cNvPr>
              <p14:cNvContentPartPr/>
              <p14:nvPr userDrawn="1"/>
            </p14:nvContentPartPr>
            <p14:xfrm>
              <a:off x="8149688" y="6520528"/>
              <a:ext cx="9072" cy="144"/>
            </p14:xfrm>
          </p:contentPart>
        </mc:Choice>
        <mc:Fallback xmlns="">
          <p:pic>
            <p:nvPicPr>
              <p:cNvPr id="4" name="Ink 3">
                <a:extLst>
                  <a:ext uri="{FF2B5EF4-FFF2-40B4-BE49-F238E27FC236}">
                    <a16:creationId xmlns:a16="http://schemas.microsoft.com/office/drawing/2014/main" id="{57488EDB-6A64-4E7A-8BD3-8FD86C89C038}"/>
                  </a:ext>
                </a:extLst>
              </p:cNvPr>
              <p:cNvPicPr/>
              <p:nvPr/>
            </p:nvPicPr>
            <p:blipFill>
              <a:blip r:embed="rId5"/>
              <a:stretch>
                <a:fillRect/>
              </a:stretch>
            </p:blipFill>
            <p:spPr>
              <a:xfrm>
                <a:off x="8146199" y="6519088"/>
                <a:ext cx="15702" cy="2880"/>
              </a:xfrm>
              <a:prstGeom prst="rect">
                <a:avLst/>
              </a:prstGeom>
            </p:spPr>
          </p:pic>
        </mc:Fallback>
      </mc:AlternateContent>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58263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88121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61204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1570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67938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173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18846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67263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99111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23823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8517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6543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7370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80080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34359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9234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7343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263545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128889"/>
            <a:ext cx="3940004" cy="98058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15" name="TextBox 14">
            <a:extLst>
              <a:ext uri="{FF2B5EF4-FFF2-40B4-BE49-F238E27FC236}">
                <a16:creationId xmlns:a16="http://schemas.microsoft.com/office/drawing/2014/main" id="{EA5B5189-69A1-47BC-BD79-D73DFFB29359}"/>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4260FD85-9A18-4996-BED2-E9130B09695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75383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08942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149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F6D92F93-D0A2-409A-A1DB-EF5E86A15739}"/>
              </a:ext>
            </a:extLst>
          </p:cNvPr>
          <p:cNvGrpSpPr/>
          <p:nvPr userDrawn="1"/>
        </p:nvGrpSpPr>
        <p:grpSpPr>
          <a:xfrm>
            <a:off x="-1" y="0"/>
            <a:ext cx="9773500" cy="6359178"/>
            <a:chOff x="-1" y="-2"/>
            <a:chExt cx="9773500" cy="6359178"/>
          </a:xfrm>
        </p:grpSpPr>
        <p:pic>
          <p:nvPicPr>
            <p:cNvPr id="22" name="Picture 21">
              <a:extLst>
                <a:ext uri="{FF2B5EF4-FFF2-40B4-BE49-F238E27FC236}">
                  <a16:creationId xmlns:a16="http://schemas.microsoft.com/office/drawing/2014/main" id="{37C3BEA7-94C0-4817-9E25-B2258DF18042}"/>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24" name="Rectangle 23">
              <a:extLst>
                <a:ext uri="{FF2B5EF4-FFF2-40B4-BE49-F238E27FC236}">
                  <a16:creationId xmlns:a16="http://schemas.microsoft.com/office/drawing/2014/main" id="{AD5F95C5-F137-484B-96FA-1D50F15C4B17}"/>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40" name="Rectangle: Single Corner Rounded 55">
              <a:extLst>
                <a:ext uri="{FF2B5EF4-FFF2-40B4-BE49-F238E27FC236}">
                  <a16:creationId xmlns:a16="http://schemas.microsoft.com/office/drawing/2014/main" id="{2BF664CF-D043-4EA0-BE62-154BE7186F22}"/>
                </a:ext>
              </a:extLst>
            </p:cNvPr>
            <p:cNvSpPr/>
            <p:nvPr userDrawn="1"/>
          </p:nvSpPr>
          <p:spPr bwMode="gray">
            <a:xfrm flipV="1">
              <a:off x="-1" y="0"/>
              <a:ext cx="9567417" cy="6266834"/>
            </a:xfrm>
            <a:prstGeom prst="round1Rect">
              <a:avLst>
                <a:gd name="adj" fmla="val 1969"/>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1" name="Rectangle: Single Corner Rounded 49">
              <a:extLst>
                <a:ext uri="{FF2B5EF4-FFF2-40B4-BE49-F238E27FC236}">
                  <a16:creationId xmlns:a16="http://schemas.microsoft.com/office/drawing/2014/main" id="{20D71B81-2F7B-4217-A19F-BE9105EC73B2}"/>
                </a:ext>
              </a:extLst>
            </p:cNvPr>
            <p:cNvSpPr/>
            <p:nvPr userDrawn="1"/>
          </p:nvSpPr>
          <p:spPr bwMode="gray">
            <a:xfrm flipV="1">
              <a:off x="9306878" y="0"/>
              <a:ext cx="260539" cy="6267118"/>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2" name="Rectangle 41">
              <a:extLst>
                <a:ext uri="{FF2B5EF4-FFF2-40B4-BE49-F238E27FC236}">
                  <a16:creationId xmlns:a16="http://schemas.microsoft.com/office/drawing/2014/main" id="{DEDD03CD-E8BF-4343-BEE2-411E2E2270DA}"/>
                </a:ext>
              </a:extLst>
            </p:cNvPr>
            <p:cNvSpPr/>
            <p:nvPr/>
          </p:nvSpPr>
          <p:spPr bwMode="gray">
            <a:xfrm>
              <a:off x="8707342" y="-1"/>
              <a:ext cx="115262" cy="2105026"/>
            </a:xfrm>
            <a:prstGeom prst="rect">
              <a:avLst/>
            </a:prstGeom>
            <a:solidFill>
              <a:srgbClr val="5D78C7"/>
            </a:solidFill>
            <a:ln w="10795" cap="flat" cmpd="sng" algn="ctr">
              <a:noFill/>
              <a:prstDash val="solid"/>
            </a:ln>
            <a:effectLst/>
          </p:spPr>
          <p:txBody>
            <a:bodyPr rtlCol="0" anchor="ctr"/>
            <a:lstStyle/>
            <a:p>
              <a:pPr lvl="0" algn="ctr"/>
              <a:endParaRPr lang="en-US" kern="0">
                <a:solidFill>
                  <a:prstClr val="white"/>
                </a:solidFill>
              </a:endParaRPr>
            </a:p>
          </p:txBody>
        </p:sp>
        <p:sp>
          <p:nvSpPr>
            <p:cNvPr id="43" name="Rectangle 42">
              <a:extLst>
                <a:ext uri="{FF2B5EF4-FFF2-40B4-BE49-F238E27FC236}">
                  <a16:creationId xmlns:a16="http://schemas.microsoft.com/office/drawing/2014/main" id="{5B0E5ED8-2BBE-4F4E-AFB9-74B0E0663884}"/>
                </a:ext>
              </a:extLst>
            </p:cNvPr>
            <p:cNvSpPr/>
            <p:nvPr/>
          </p:nvSpPr>
          <p:spPr bwMode="gray">
            <a:xfrm>
              <a:off x="0" y="5407887"/>
              <a:ext cx="1292743" cy="79403"/>
            </a:xfrm>
            <a:prstGeom prst="rect">
              <a:avLst/>
            </a:prstGeom>
            <a:solidFill>
              <a:srgbClr val="6B88D8"/>
            </a:solidFill>
            <a:ln w="10795" cap="flat" cmpd="sng" algn="ctr">
              <a:noFill/>
              <a:prstDash val="solid"/>
            </a:ln>
            <a:effectLst/>
          </p:spPr>
          <p:txBody>
            <a:bodyPr rtlCol="0" anchor="ctr"/>
            <a:lstStyle/>
            <a:p>
              <a:pPr lvl="0" algn="ctr"/>
              <a:endParaRPr lang="en-US" kern="0">
                <a:solidFill>
                  <a:prstClr val="white"/>
                </a:solidFill>
              </a:endParaRPr>
            </a:p>
          </p:txBody>
        </p:sp>
        <p:sp>
          <p:nvSpPr>
            <p:cNvPr id="44" name="Rectangle: Single Corner Rounded 60">
              <a:extLst>
                <a:ext uri="{FF2B5EF4-FFF2-40B4-BE49-F238E27FC236}">
                  <a16:creationId xmlns:a16="http://schemas.microsoft.com/office/drawing/2014/main" id="{0840C4E0-B781-4EFF-9E45-9DEFDD8CFA12}"/>
                </a:ext>
              </a:extLst>
            </p:cNvPr>
            <p:cNvSpPr/>
            <p:nvPr/>
          </p:nvSpPr>
          <p:spPr bwMode="gray">
            <a:xfrm flipV="1">
              <a:off x="1211478" y="2054518"/>
              <a:ext cx="7611126" cy="3432772"/>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5" name="Rectangle: Single Corner Rounded 61">
              <a:extLst>
                <a:ext uri="{FF2B5EF4-FFF2-40B4-BE49-F238E27FC236}">
                  <a16:creationId xmlns:a16="http://schemas.microsoft.com/office/drawing/2014/main" id="{43EDD8DF-E35C-423D-9ED1-976F4F48A013}"/>
                </a:ext>
              </a:extLst>
            </p:cNvPr>
            <p:cNvSpPr/>
            <p:nvPr/>
          </p:nvSpPr>
          <p:spPr bwMode="gray">
            <a:xfrm flipV="1">
              <a:off x="0" y="-2"/>
              <a:ext cx="8721596" cy="5451177"/>
            </a:xfrm>
            <a:prstGeom prst="round1Rect">
              <a:avLst>
                <a:gd name="adj" fmla="val 2348"/>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6" name="first shadow">
              <a:extLst>
                <a:ext uri="{FF2B5EF4-FFF2-40B4-BE49-F238E27FC236}">
                  <a16:creationId xmlns:a16="http://schemas.microsoft.com/office/drawing/2014/main" id="{F28D95DF-7F35-494B-9072-01F7B5B172E6}"/>
                </a:ext>
              </a:extLst>
            </p:cNvPr>
            <p:cNvSpPr/>
            <p:nvPr/>
          </p:nvSpPr>
          <p:spPr bwMode="gray">
            <a:xfrm flipV="1">
              <a:off x="7985760" y="4211"/>
              <a:ext cx="735836" cy="5446964"/>
            </a:xfrm>
            <a:prstGeom prst="round1Rect">
              <a:avLst>
                <a:gd name="adj" fmla="val 17346"/>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7" name="second shadow">
              <a:extLst>
                <a:ext uri="{FF2B5EF4-FFF2-40B4-BE49-F238E27FC236}">
                  <a16:creationId xmlns:a16="http://schemas.microsoft.com/office/drawing/2014/main" id="{037A9E0A-4022-422B-BEB2-20A49D0B64DE}"/>
                </a:ext>
              </a:extLst>
            </p:cNvPr>
            <p:cNvSpPr/>
            <p:nvPr/>
          </p:nvSpPr>
          <p:spPr bwMode="gray">
            <a:xfrm flipV="1">
              <a:off x="7899306" y="4210"/>
              <a:ext cx="735836" cy="5446965"/>
            </a:xfrm>
            <a:prstGeom prst="round1Rect">
              <a:avLst>
                <a:gd name="adj" fmla="val 5342"/>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70"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411591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5EE880F9-C9CF-403A-9893-83D8123510E5}"/>
              </a:ext>
            </a:extLst>
          </p:cNvPr>
          <p:cNvGrpSpPr/>
          <p:nvPr userDrawn="1"/>
        </p:nvGrpSpPr>
        <p:grpSpPr>
          <a:xfrm>
            <a:off x="-1" y="-2"/>
            <a:ext cx="9773500" cy="6359178"/>
            <a:chOff x="-1" y="-2"/>
            <a:chExt cx="9773500" cy="6359178"/>
          </a:xfrm>
        </p:grpSpPr>
        <p:pic>
          <p:nvPicPr>
            <p:cNvPr id="47" name="Picture 46">
              <a:extLst>
                <a:ext uri="{FF2B5EF4-FFF2-40B4-BE49-F238E27FC236}">
                  <a16:creationId xmlns:a16="http://schemas.microsoft.com/office/drawing/2014/main" id="{93878F0E-F90E-4D2B-9F40-2273853DAE7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48" name="Rectangle 47">
              <a:extLst>
                <a:ext uri="{FF2B5EF4-FFF2-40B4-BE49-F238E27FC236}">
                  <a16:creationId xmlns:a16="http://schemas.microsoft.com/office/drawing/2014/main" id="{9D2C8018-942E-41E7-9AAB-B43AF5F4B380}"/>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49" name="Rectangle: Single Corner Rounded 55">
              <a:extLst>
                <a:ext uri="{FF2B5EF4-FFF2-40B4-BE49-F238E27FC236}">
                  <a16:creationId xmlns:a16="http://schemas.microsoft.com/office/drawing/2014/main" id="{9CBC01BD-1F3C-40A4-8041-A2D9BA07C228}"/>
                </a:ext>
              </a:extLst>
            </p:cNvPr>
            <p:cNvSpPr/>
            <p:nvPr userDrawn="1"/>
          </p:nvSpPr>
          <p:spPr bwMode="gray">
            <a:xfrm flipV="1">
              <a:off x="-1" y="0"/>
              <a:ext cx="9567417" cy="6266834"/>
            </a:xfrm>
            <a:prstGeom prst="round1Rect">
              <a:avLst>
                <a:gd name="adj" fmla="val 2054"/>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0" name="Rectangle: Single Corner Rounded 49">
              <a:extLst>
                <a:ext uri="{FF2B5EF4-FFF2-40B4-BE49-F238E27FC236}">
                  <a16:creationId xmlns:a16="http://schemas.microsoft.com/office/drawing/2014/main" id="{1520ADEA-591A-4A5C-BBCC-4F17921F430A}"/>
                </a:ext>
              </a:extLst>
            </p:cNvPr>
            <p:cNvSpPr/>
            <p:nvPr userDrawn="1"/>
          </p:nvSpPr>
          <p:spPr bwMode="gray">
            <a:xfrm flipV="1">
              <a:off x="9306878" y="0"/>
              <a:ext cx="260539" cy="6267118"/>
            </a:xfrm>
            <a:prstGeom prst="round1Rect">
              <a:avLst>
                <a:gd name="adj" fmla="val 49135"/>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51" name="Rectangle 50">
              <a:extLst>
                <a:ext uri="{FF2B5EF4-FFF2-40B4-BE49-F238E27FC236}">
                  <a16:creationId xmlns:a16="http://schemas.microsoft.com/office/drawing/2014/main" id="{5DC53635-E05D-4645-8281-2B67D231B548}"/>
                </a:ext>
              </a:extLst>
            </p:cNvPr>
            <p:cNvSpPr/>
            <p:nvPr/>
          </p:nvSpPr>
          <p:spPr bwMode="gray">
            <a:xfrm>
              <a:off x="8707342" y="-1"/>
              <a:ext cx="115262" cy="2105026"/>
            </a:xfrm>
            <a:prstGeom prst="rect">
              <a:avLst/>
            </a:prstGeom>
            <a:solidFill>
              <a:schemeClr val="accent3">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52" name="Rectangle 51">
              <a:extLst>
                <a:ext uri="{FF2B5EF4-FFF2-40B4-BE49-F238E27FC236}">
                  <a16:creationId xmlns:a16="http://schemas.microsoft.com/office/drawing/2014/main" id="{12585480-AB3D-4AFC-A15A-6C2370B29344}"/>
                </a:ext>
              </a:extLst>
            </p:cNvPr>
            <p:cNvSpPr/>
            <p:nvPr/>
          </p:nvSpPr>
          <p:spPr bwMode="gray">
            <a:xfrm>
              <a:off x="0" y="5407887"/>
              <a:ext cx="1292743" cy="79403"/>
            </a:xfrm>
            <a:prstGeom prst="rect">
              <a:avLst/>
            </a:prstGeom>
            <a:solidFill>
              <a:schemeClr val="accent3"/>
            </a:solidFill>
            <a:ln w="10795" cap="flat" cmpd="sng" algn="ctr">
              <a:noFill/>
              <a:prstDash val="solid"/>
            </a:ln>
            <a:effectLst/>
          </p:spPr>
          <p:txBody>
            <a:bodyPr rtlCol="0" anchor="ctr"/>
            <a:lstStyle/>
            <a:p>
              <a:pPr lvl="0" algn="ctr"/>
              <a:endParaRPr lang="en-US" kern="0">
                <a:solidFill>
                  <a:prstClr val="white"/>
                </a:solidFill>
              </a:endParaRPr>
            </a:p>
          </p:txBody>
        </p:sp>
        <p:sp>
          <p:nvSpPr>
            <p:cNvPr id="53" name="Rectangle: Single Corner Rounded 60">
              <a:extLst>
                <a:ext uri="{FF2B5EF4-FFF2-40B4-BE49-F238E27FC236}">
                  <a16:creationId xmlns:a16="http://schemas.microsoft.com/office/drawing/2014/main" id="{E01BF319-8726-4722-B5F8-12237058F4B1}"/>
                </a:ext>
              </a:extLst>
            </p:cNvPr>
            <p:cNvSpPr/>
            <p:nvPr/>
          </p:nvSpPr>
          <p:spPr bwMode="gray">
            <a:xfrm flipV="1">
              <a:off x="1211478" y="2054518"/>
              <a:ext cx="7611126" cy="3432772"/>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4" name="Rectangle: Single Corner Rounded 61">
              <a:extLst>
                <a:ext uri="{FF2B5EF4-FFF2-40B4-BE49-F238E27FC236}">
                  <a16:creationId xmlns:a16="http://schemas.microsoft.com/office/drawing/2014/main" id="{D5A7FA73-0DD4-47C4-9842-78B1C04F2180}"/>
                </a:ext>
              </a:extLst>
            </p:cNvPr>
            <p:cNvSpPr/>
            <p:nvPr/>
          </p:nvSpPr>
          <p:spPr bwMode="gray">
            <a:xfrm flipV="1">
              <a:off x="0" y="-2"/>
              <a:ext cx="8721596" cy="5451177"/>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5" name="first shadow">
              <a:extLst>
                <a:ext uri="{FF2B5EF4-FFF2-40B4-BE49-F238E27FC236}">
                  <a16:creationId xmlns:a16="http://schemas.microsoft.com/office/drawing/2014/main" id="{5C5B9B44-4D0A-482C-A248-4745703ADAE7}"/>
                </a:ext>
              </a:extLst>
            </p:cNvPr>
            <p:cNvSpPr/>
            <p:nvPr/>
          </p:nvSpPr>
          <p:spPr bwMode="gray">
            <a:xfrm flipV="1">
              <a:off x="7985760" y="4211"/>
              <a:ext cx="735836" cy="5446964"/>
            </a:xfrm>
            <a:prstGeom prst="round1Rect">
              <a:avLst>
                <a:gd name="adj" fmla="val 17346"/>
              </a:avLst>
            </a:prstGeom>
            <a:gradFill flip="none" rotWithShape="1">
              <a:gsLst>
                <a:gs pos="89000">
                  <a:schemeClr val="accent3">
                    <a:lumMod val="50000"/>
                  </a:schemeClr>
                </a:gs>
                <a:gs pos="69000">
                  <a:schemeClr val="accent3">
                    <a:lumMod val="50000"/>
                    <a:alpha val="14000"/>
                  </a:schemeClr>
                </a:gs>
                <a:gs pos="50000">
                  <a:schemeClr val="accent3">
                    <a:lumMod val="60000"/>
                    <a:lumOff val="40000"/>
                    <a:alpha val="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56" name="second shadow">
              <a:extLst>
                <a:ext uri="{FF2B5EF4-FFF2-40B4-BE49-F238E27FC236}">
                  <a16:creationId xmlns:a16="http://schemas.microsoft.com/office/drawing/2014/main" id="{254EFBAB-66AB-49CF-957C-C1D77169081F}"/>
                </a:ext>
              </a:extLst>
            </p:cNvPr>
            <p:cNvSpPr/>
            <p:nvPr/>
          </p:nvSpPr>
          <p:spPr bwMode="gray">
            <a:xfrm flipV="1">
              <a:off x="7899306" y="4210"/>
              <a:ext cx="735836" cy="5446965"/>
            </a:xfrm>
            <a:prstGeom prst="round1Rect">
              <a:avLst>
                <a:gd name="adj" fmla="val 5342"/>
              </a:avLst>
            </a:prstGeom>
            <a:gradFill flip="none" rotWithShape="1">
              <a:gsLst>
                <a:gs pos="93000">
                  <a:schemeClr val="accent3">
                    <a:lumMod val="50000"/>
                    <a:alpha val="50000"/>
                  </a:schemeClr>
                </a:gs>
                <a:gs pos="69000">
                  <a:schemeClr val="accent3">
                    <a:lumMod val="50000"/>
                    <a:alpha val="20000"/>
                  </a:schemeClr>
                </a:gs>
                <a:gs pos="20000">
                  <a:schemeClr val="accent3">
                    <a:lumMod val="60000"/>
                    <a:lumOff val="40000"/>
                    <a:alpha val="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5"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6"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287646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2793E771-B710-4404-87E3-8DB0DF720742}"/>
              </a:ext>
            </a:extLst>
          </p:cNvPr>
          <p:cNvGrpSpPr/>
          <p:nvPr userDrawn="1"/>
        </p:nvGrpSpPr>
        <p:grpSpPr>
          <a:xfrm>
            <a:off x="-1" y="-2"/>
            <a:ext cx="9773500" cy="6359178"/>
            <a:chOff x="-1" y="-2"/>
            <a:chExt cx="9773500" cy="6359178"/>
          </a:xfrm>
        </p:grpSpPr>
        <p:pic>
          <p:nvPicPr>
            <p:cNvPr id="35" name="Picture 34">
              <a:extLst>
                <a:ext uri="{FF2B5EF4-FFF2-40B4-BE49-F238E27FC236}">
                  <a16:creationId xmlns:a16="http://schemas.microsoft.com/office/drawing/2014/main" id="{E8FAA042-A6C1-4734-AADE-1D848F96BBB3}"/>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36" name="Rectangle 35">
              <a:extLst>
                <a:ext uri="{FF2B5EF4-FFF2-40B4-BE49-F238E27FC236}">
                  <a16:creationId xmlns:a16="http://schemas.microsoft.com/office/drawing/2014/main" id="{99DE6B5E-7055-4B8F-B390-B2ED964BC3AD}"/>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37" name="Rectangle: Single Corner Rounded 55">
              <a:extLst>
                <a:ext uri="{FF2B5EF4-FFF2-40B4-BE49-F238E27FC236}">
                  <a16:creationId xmlns:a16="http://schemas.microsoft.com/office/drawing/2014/main" id="{5CF2812A-400D-4064-AEC2-606067B39B6F}"/>
                </a:ext>
              </a:extLst>
            </p:cNvPr>
            <p:cNvSpPr/>
            <p:nvPr userDrawn="1"/>
          </p:nvSpPr>
          <p:spPr bwMode="gray">
            <a:xfrm flipV="1">
              <a:off x="-1" y="0"/>
              <a:ext cx="9567417" cy="6266834"/>
            </a:xfrm>
            <a:prstGeom prst="round1Rect">
              <a:avLst>
                <a:gd name="adj" fmla="val 2054"/>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39" name="Rectangle: Single Corner Rounded 49">
              <a:extLst>
                <a:ext uri="{FF2B5EF4-FFF2-40B4-BE49-F238E27FC236}">
                  <a16:creationId xmlns:a16="http://schemas.microsoft.com/office/drawing/2014/main" id="{11F321D1-D092-4D69-B5FC-A7AFD661F1D1}"/>
                </a:ext>
              </a:extLst>
            </p:cNvPr>
            <p:cNvSpPr/>
            <p:nvPr userDrawn="1"/>
          </p:nvSpPr>
          <p:spPr bwMode="gray">
            <a:xfrm flipV="1">
              <a:off x="9306878" y="0"/>
              <a:ext cx="260539" cy="6267118"/>
            </a:xfrm>
            <a:prstGeom prst="round1Rect">
              <a:avLst>
                <a:gd name="adj" fmla="val 49135"/>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0" name="Rectangle 39">
              <a:extLst>
                <a:ext uri="{FF2B5EF4-FFF2-40B4-BE49-F238E27FC236}">
                  <a16:creationId xmlns:a16="http://schemas.microsoft.com/office/drawing/2014/main" id="{8C9A8FBA-A88D-4C4A-857C-A3F42FB3723E}"/>
                </a:ext>
              </a:extLst>
            </p:cNvPr>
            <p:cNvSpPr/>
            <p:nvPr/>
          </p:nvSpPr>
          <p:spPr bwMode="gray">
            <a:xfrm>
              <a:off x="8707342" y="-1"/>
              <a:ext cx="115262" cy="2105026"/>
            </a:xfrm>
            <a:prstGeom prst="rect">
              <a:avLst/>
            </a:prstGeom>
            <a:solidFill>
              <a:schemeClr val="accent6">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41" name="Rectangle 40">
              <a:extLst>
                <a:ext uri="{FF2B5EF4-FFF2-40B4-BE49-F238E27FC236}">
                  <a16:creationId xmlns:a16="http://schemas.microsoft.com/office/drawing/2014/main" id="{63F20C19-5E23-48A6-AEE2-0630BD0E2700}"/>
                </a:ext>
              </a:extLst>
            </p:cNvPr>
            <p:cNvSpPr/>
            <p:nvPr/>
          </p:nvSpPr>
          <p:spPr bwMode="gray">
            <a:xfrm>
              <a:off x="0" y="5407887"/>
              <a:ext cx="1292743" cy="79403"/>
            </a:xfrm>
            <a:prstGeom prst="rect">
              <a:avLst/>
            </a:prstGeom>
            <a:solidFill>
              <a:schemeClr val="accent6">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42" name="Rectangle: Single Corner Rounded 60">
              <a:extLst>
                <a:ext uri="{FF2B5EF4-FFF2-40B4-BE49-F238E27FC236}">
                  <a16:creationId xmlns:a16="http://schemas.microsoft.com/office/drawing/2014/main" id="{CA4A2B4B-5201-4397-86ED-75EC772392D2}"/>
                </a:ext>
              </a:extLst>
            </p:cNvPr>
            <p:cNvSpPr/>
            <p:nvPr/>
          </p:nvSpPr>
          <p:spPr bwMode="gray">
            <a:xfrm flipV="1">
              <a:off x="1211478" y="2054518"/>
              <a:ext cx="7611126" cy="3432772"/>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3" name="Rectangle: Single Corner Rounded 61">
              <a:extLst>
                <a:ext uri="{FF2B5EF4-FFF2-40B4-BE49-F238E27FC236}">
                  <a16:creationId xmlns:a16="http://schemas.microsoft.com/office/drawing/2014/main" id="{C3DA4C64-D5A0-4294-9DFB-DA095FC1268F}"/>
                </a:ext>
              </a:extLst>
            </p:cNvPr>
            <p:cNvSpPr/>
            <p:nvPr/>
          </p:nvSpPr>
          <p:spPr bwMode="gray">
            <a:xfrm flipV="1">
              <a:off x="0" y="-2"/>
              <a:ext cx="8721596" cy="5451177"/>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4" name="second shadow">
              <a:extLst>
                <a:ext uri="{FF2B5EF4-FFF2-40B4-BE49-F238E27FC236}">
                  <a16:creationId xmlns:a16="http://schemas.microsoft.com/office/drawing/2014/main" id="{A0C385E7-4117-4A73-B313-58B39600984F}"/>
                </a:ext>
              </a:extLst>
            </p:cNvPr>
            <p:cNvSpPr/>
            <p:nvPr/>
          </p:nvSpPr>
          <p:spPr bwMode="gray">
            <a:xfrm flipV="1">
              <a:off x="7985760" y="4210"/>
              <a:ext cx="735836" cy="5446965"/>
            </a:xfrm>
            <a:prstGeom prst="round1Rect">
              <a:avLst>
                <a:gd name="adj" fmla="val 17397"/>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5" name="first shadow">
              <a:extLst>
                <a:ext uri="{FF2B5EF4-FFF2-40B4-BE49-F238E27FC236}">
                  <a16:creationId xmlns:a16="http://schemas.microsoft.com/office/drawing/2014/main" id="{9DBF6BFC-1FF3-4697-9516-AD4CAB4E894F}"/>
                </a:ext>
              </a:extLst>
            </p:cNvPr>
            <p:cNvSpPr/>
            <p:nvPr/>
          </p:nvSpPr>
          <p:spPr bwMode="gray">
            <a:xfrm flipV="1">
              <a:off x="7985760" y="4211"/>
              <a:ext cx="735836" cy="5446964"/>
            </a:xfrm>
            <a:prstGeom prst="round1Rect">
              <a:avLst>
                <a:gd name="adj" fmla="val 17346"/>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29795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63998-8F5A-FD4C-B33C-31783B4496BE}"/>
              </a:ext>
            </a:extLst>
          </p:cNvPr>
          <p:cNvSpPr>
            <a:spLocks noGrp="1"/>
          </p:cNvSpPr>
          <p:nvPr>
            <p:ph type="title"/>
          </p:nvPr>
        </p:nvSpPr>
        <p:spPr>
          <a:xfrm>
            <a:off x="475488" y="1335024"/>
            <a:ext cx="6446012" cy="594360"/>
          </a:xfrm>
        </p:spPr>
        <p:txBody>
          <a:bodyPr/>
          <a:lstStyle>
            <a:lvl1pPr>
              <a:defRPr sz="4400">
                <a:solidFill>
                  <a:schemeClr val="bg1"/>
                </a:solidFill>
              </a:defRPr>
            </a:lvl1pPr>
          </a:lstStyle>
          <a:p>
            <a:r>
              <a:rPr lang="en-US"/>
              <a:t>Click to edit Master title style</a:t>
            </a:r>
          </a:p>
        </p:txBody>
      </p:sp>
      <p:grpSp>
        <p:nvGrpSpPr>
          <p:cNvPr id="3" name="Group 2">
            <a:extLst>
              <a:ext uri="{FF2B5EF4-FFF2-40B4-BE49-F238E27FC236}">
                <a16:creationId xmlns:a16="http://schemas.microsoft.com/office/drawing/2014/main" id="{5A93E1C6-A3D1-164B-8E89-BD052B9AC8EA}"/>
              </a:ext>
            </a:extLst>
          </p:cNvPr>
          <p:cNvGrpSpPr/>
          <p:nvPr userDrawn="1"/>
        </p:nvGrpSpPr>
        <p:grpSpPr>
          <a:xfrm>
            <a:off x="7522778" y="-920"/>
            <a:ext cx="4669221" cy="6870764"/>
            <a:chOff x="5462564" y="-12764"/>
            <a:chExt cx="6729436" cy="6870764"/>
          </a:xfrm>
        </p:grpSpPr>
        <p:sp>
          <p:nvSpPr>
            <p:cNvPr id="4" name="Rectangle 3">
              <a:extLst>
                <a:ext uri="{FF2B5EF4-FFF2-40B4-BE49-F238E27FC236}">
                  <a16:creationId xmlns:a16="http://schemas.microsoft.com/office/drawing/2014/main" id="{21308D66-143B-A349-ACCD-3D00D906A092}"/>
                </a:ext>
              </a:extLst>
            </p:cNvPr>
            <p:cNvSpPr/>
            <p:nvPr/>
          </p:nvSpPr>
          <p:spPr>
            <a:xfrm>
              <a:off x="5462564" y="-11608"/>
              <a:ext cx="4325234"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5" name="Group 4">
              <a:extLst>
                <a:ext uri="{FF2B5EF4-FFF2-40B4-BE49-F238E27FC236}">
                  <a16:creationId xmlns:a16="http://schemas.microsoft.com/office/drawing/2014/main" id="{CC9B2647-16EA-5C46-8F4A-A8D2C0157586}"/>
                </a:ext>
              </a:extLst>
            </p:cNvPr>
            <p:cNvGrpSpPr/>
            <p:nvPr/>
          </p:nvGrpSpPr>
          <p:grpSpPr>
            <a:xfrm>
              <a:off x="8445134" y="-12764"/>
              <a:ext cx="3746866" cy="6870764"/>
              <a:chOff x="15768661" y="-13236"/>
              <a:chExt cx="4806927" cy="6871236"/>
            </a:xfrm>
          </p:grpSpPr>
          <p:sp>
            <p:nvSpPr>
              <p:cNvPr id="6" name="Rectangle 5">
                <a:extLst>
                  <a:ext uri="{FF2B5EF4-FFF2-40B4-BE49-F238E27FC236}">
                    <a16:creationId xmlns:a16="http://schemas.microsoft.com/office/drawing/2014/main" id="{491A9D0B-FE28-9048-B13B-E76F407CA744}"/>
                  </a:ext>
                </a:extLst>
              </p:cNvPr>
              <p:cNvSpPr/>
              <p:nvPr/>
            </p:nvSpPr>
            <p:spPr>
              <a:xfrm>
                <a:off x="16222663" y="-13236"/>
                <a:ext cx="4352925" cy="6860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7" name="Group 6">
                <a:extLst>
                  <a:ext uri="{FF2B5EF4-FFF2-40B4-BE49-F238E27FC236}">
                    <a16:creationId xmlns:a16="http://schemas.microsoft.com/office/drawing/2014/main" id="{93737A5A-88F9-B046-944C-16EB358A2786}"/>
                  </a:ext>
                </a:extLst>
              </p:cNvPr>
              <p:cNvGrpSpPr/>
              <p:nvPr/>
            </p:nvGrpSpPr>
            <p:grpSpPr>
              <a:xfrm>
                <a:off x="15768661" y="0"/>
                <a:ext cx="484187" cy="6858000"/>
                <a:chOff x="15033297" y="-7212"/>
                <a:chExt cx="546293" cy="6858000"/>
              </a:xfrm>
            </p:grpSpPr>
            <p:sp>
              <p:nvSpPr>
                <p:cNvPr id="8" name="Rectangle 7">
                  <a:extLst>
                    <a:ext uri="{FF2B5EF4-FFF2-40B4-BE49-F238E27FC236}">
                      <a16:creationId xmlns:a16="http://schemas.microsoft.com/office/drawing/2014/main" id="{32EA7CB1-916D-F14D-9A7B-26FFFDD0DCFF}"/>
                    </a:ext>
                  </a:extLst>
                </p:cNvPr>
                <p:cNvSpPr/>
                <p:nvPr/>
              </p:nvSpPr>
              <p:spPr>
                <a:xfrm>
                  <a:off x="15033297" y="-7212"/>
                  <a:ext cx="420624" cy="6858000"/>
                </a:xfrm>
                <a:prstGeom prst="rect">
                  <a:avLst/>
                </a:prstGeom>
                <a:gradFill flip="none" rotWithShape="1">
                  <a:gsLst>
                    <a:gs pos="0">
                      <a:schemeClr val="accent2"/>
                    </a:gs>
                    <a:gs pos="100000">
                      <a:schemeClr val="accent1">
                        <a:lumMod val="50000"/>
                        <a:alpha val="4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Microsoft Sans Serif"/>
                  </a:endParaRPr>
                </a:p>
              </p:txBody>
            </p:sp>
            <p:sp>
              <p:nvSpPr>
                <p:cNvPr id="9" name="Rectangle 8">
                  <a:extLst>
                    <a:ext uri="{FF2B5EF4-FFF2-40B4-BE49-F238E27FC236}">
                      <a16:creationId xmlns:a16="http://schemas.microsoft.com/office/drawing/2014/main" id="{9279531B-F556-484A-95DC-4AB9C9F518E1}"/>
                    </a:ext>
                  </a:extLst>
                </p:cNvPr>
                <p:cNvSpPr/>
                <p:nvPr/>
              </p:nvSpPr>
              <p:spPr>
                <a:xfrm>
                  <a:off x="15447233" y="-7212"/>
                  <a:ext cx="132357" cy="6858000"/>
                </a:xfrm>
                <a:prstGeom prst="rect">
                  <a:avLst/>
                </a:prstGeom>
                <a:gradFill flip="none" rotWithShape="1">
                  <a:gsLst>
                    <a:gs pos="0">
                      <a:schemeClr val="accent6"/>
                    </a:gs>
                    <a:gs pos="100000">
                      <a:schemeClr val="accent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solidFill>
                      <a:srgbClr val="FFFFFF"/>
                    </a:solidFill>
                    <a:latin typeface="Microsoft Sans Serif"/>
                  </a:endParaRPr>
                </a:p>
              </p:txBody>
            </p:sp>
          </p:grpSp>
        </p:grpSp>
      </p:grpSp>
      <p:sp>
        <p:nvSpPr>
          <p:cNvPr id="14" name="Rectangle 13">
            <a:extLst>
              <a:ext uri="{FF2B5EF4-FFF2-40B4-BE49-F238E27FC236}">
                <a16:creationId xmlns:a16="http://schemas.microsoft.com/office/drawing/2014/main" id="{78781CA6-2552-B240-8CD1-CBA5475521FA}"/>
              </a:ext>
            </a:extLst>
          </p:cNvPr>
          <p:cNvSpPr/>
          <p:nvPr userDrawn="1"/>
        </p:nvSpPr>
        <p:spPr bwMode="gray">
          <a:xfrm>
            <a:off x="9613148" y="0"/>
            <a:ext cx="239626" cy="6858000"/>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5" name="Rectangle: Single Corner Rounded 49">
            <a:extLst>
              <a:ext uri="{FF2B5EF4-FFF2-40B4-BE49-F238E27FC236}">
                <a16:creationId xmlns:a16="http://schemas.microsoft.com/office/drawing/2014/main" id="{E11A87ED-2B2A-0D4A-AEB1-DFE657558AA3}"/>
              </a:ext>
            </a:extLst>
          </p:cNvPr>
          <p:cNvSpPr/>
          <p:nvPr userDrawn="1"/>
        </p:nvSpPr>
        <p:spPr bwMode="gray">
          <a:xfrm flipV="1">
            <a:off x="9386074" y="0"/>
            <a:ext cx="260539" cy="6858000"/>
          </a:xfrm>
          <a:prstGeom prst="round1Rect">
            <a:avLst>
              <a:gd name="adj" fmla="val 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6" name="Rectangle 15">
            <a:extLst>
              <a:ext uri="{FF2B5EF4-FFF2-40B4-BE49-F238E27FC236}">
                <a16:creationId xmlns:a16="http://schemas.microsoft.com/office/drawing/2014/main" id="{C9709544-6C78-6B4F-8C2C-BCA04029680B}"/>
              </a:ext>
            </a:extLst>
          </p:cNvPr>
          <p:cNvSpPr/>
          <p:nvPr userDrawn="1"/>
        </p:nvSpPr>
        <p:spPr bwMode="gray">
          <a:xfrm>
            <a:off x="7452672" y="0"/>
            <a:ext cx="115262" cy="6858000"/>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first shadow">
            <a:extLst>
              <a:ext uri="{FF2B5EF4-FFF2-40B4-BE49-F238E27FC236}">
                <a16:creationId xmlns:a16="http://schemas.microsoft.com/office/drawing/2014/main" id="{1B057A29-ABA9-8449-ADF9-919A1C7AC24F}"/>
              </a:ext>
            </a:extLst>
          </p:cNvPr>
          <p:cNvSpPr/>
          <p:nvPr userDrawn="1"/>
        </p:nvSpPr>
        <p:spPr bwMode="gray">
          <a:xfrm flipV="1">
            <a:off x="6731090" y="0"/>
            <a:ext cx="735836" cy="6858000"/>
          </a:xfrm>
          <a:prstGeom prst="round1Rect">
            <a:avLst>
              <a:gd name="adj" fmla="val 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8" name="second shadow">
            <a:extLst>
              <a:ext uri="{FF2B5EF4-FFF2-40B4-BE49-F238E27FC236}">
                <a16:creationId xmlns:a16="http://schemas.microsoft.com/office/drawing/2014/main" id="{AE250EE7-4942-4E49-BDB1-851A7B508C77}"/>
              </a:ext>
            </a:extLst>
          </p:cNvPr>
          <p:cNvSpPr/>
          <p:nvPr userDrawn="1"/>
        </p:nvSpPr>
        <p:spPr bwMode="gray">
          <a:xfrm flipV="1">
            <a:off x="6644636" y="0"/>
            <a:ext cx="735836" cy="6858000"/>
          </a:xfrm>
          <a:prstGeom prst="round1Rect">
            <a:avLst>
              <a:gd name="adj" fmla="val 0"/>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AA669E30-24D5-41CE-A6F5-96B1F5D7AD7B}"/>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9" name="Freeform 5">
            <a:extLst>
              <a:ext uri="{FF2B5EF4-FFF2-40B4-BE49-F238E27FC236}">
                <a16:creationId xmlns:a16="http://schemas.microsoft.com/office/drawing/2014/main" id="{5013295B-6C6F-4B08-9856-F9CD55E0E2BC}"/>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61392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C0B89-6FFF-1040-8C71-AFAB7561ABD6}"/>
              </a:ext>
            </a:extLst>
          </p:cNvPr>
          <p:cNvSpPr>
            <a:spLocks noGrp="1"/>
          </p:cNvSpPr>
          <p:nvPr>
            <p:ph type="title"/>
          </p:nvPr>
        </p:nvSpPr>
        <p:spPr>
          <a:xfrm>
            <a:off x="3694176" y="1335024"/>
            <a:ext cx="6037874" cy="594360"/>
          </a:xfrm>
        </p:spPr>
        <p:txBody>
          <a:bodyPr/>
          <a:lstStyle>
            <a:lvl1pPr>
              <a:defRPr sz="4400"/>
            </a:lvl1pPr>
          </a:lstStyle>
          <a:p>
            <a:r>
              <a:rPr lang="en-US"/>
              <a:t>Click to edit Master title style</a:t>
            </a:r>
          </a:p>
        </p:txBody>
      </p:sp>
      <p:sp>
        <p:nvSpPr>
          <p:cNvPr id="4" name="Rectangle 3">
            <a:extLst>
              <a:ext uri="{FF2B5EF4-FFF2-40B4-BE49-F238E27FC236}">
                <a16:creationId xmlns:a16="http://schemas.microsoft.com/office/drawing/2014/main" id="{7B1049BD-3954-CA4D-8094-F10C1A4300C1}"/>
              </a:ext>
            </a:extLst>
          </p:cNvPr>
          <p:cNvSpPr/>
          <p:nvPr/>
        </p:nvSpPr>
        <p:spPr>
          <a:xfrm>
            <a:off x="2" y="-1841"/>
            <a:ext cx="1565982"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574874" y="-1"/>
            <a:ext cx="1507861"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FE9D0CB0-3711-A044-9F3E-977FDF112553}"/>
              </a:ext>
            </a:extLst>
          </p:cNvPr>
          <p:cNvSpPr/>
          <p:nvPr/>
        </p:nvSpPr>
        <p:spPr>
          <a:xfrm>
            <a:off x="1565985" y="-1"/>
            <a:ext cx="42394" cy="6857529"/>
          </a:xfrm>
          <a:prstGeom prst="rect">
            <a:avLst/>
          </a:prstGeom>
          <a:gradFill flip="none" rotWithShape="1">
            <a:gsLst>
              <a:gs pos="0">
                <a:schemeClr val="accent1">
                  <a:lumMod val="75000"/>
                </a:schemeClr>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solidFill>
                <a:srgbClr val="FFFFFF"/>
              </a:solidFill>
              <a:latin typeface="Microsoft Sans Serif"/>
            </a:endParaRPr>
          </a:p>
        </p:txBody>
      </p:sp>
      <p:sp>
        <p:nvSpPr>
          <p:cNvPr id="8" name="Rectangle 7">
            <a:extLst>
              <a:ext uri="{FF2B5EF4-FFF2-40B4-BE49-F238E27FC236}">
                <a16:creationId xmlns:a16="http://schemas.microsoft.com/office/drawing/2014/main" id="{78AD5883-9939-3046-B245-EBF728A6D370}"/>
              </a:ext>
            </a:extLst>
          </p:cNvPr>
          <p:cNvSpPr/>
          <p:nvPr/>
        </p:nvSpPr>
        <p:spPr bwMode="gray">
          <a:xfrm>
            <a:off x="2843109" y="0"/>
            <a:ext cx="239626" cy="6858000"/>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9" name="Rectangle: Single Corner Rounded 49">
            <a:extLst>
              <a:ext uri="{FF2B5EF4-FFF2-40B4-BE49-F238E27FC236}">
                <a16:creationId xmlns:a16="http://schemas.microsoft.com/office/drawing/2014/main" id="{CC2CF534-2BFE-AC47-85B3-37A7F3E9E505}"/>
              </a:ext>
            </a:extLst>
          </p:cNvPr>
          <p:cNvSpPr/>
          <p:nvPr/>
        </p:nvSpPr>
        <p:spPr bwMode="gray">
          <a:xfrm flipV="1">
            <a:off x="2619142" y="0"/>
            <a:ext cx="260539" cy="6857528"/>
          </a:xfrm>
          <a:prstGeom prst="round1Rect">
            <a:avLst>
              <a:gd name="adj" fmla="val 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0" name="Rectangle 9">
            <a:extLst>
              <a:ext uri="{FF2B5EF4-FFF2-40B4-BE49-F238E27FC236}">
                <a16:creationId xmlns:a16="http://schemas.microsoft.com/office/drawing/2014/main" id="{926041EC-2268-D845-B4C6-5266BA58EE6D}"/>
              </a:ext>
            </a:extLst>
          </p:cNvPr>
          <p:cNvSpPr/>
          <p:nvPr/>
        </p:nvSpPr>
        <p:spPr bwMode="gray">
          <a:xfrm>
            <a:off x="1497865" y="0"/>
            <a:ext cx="115262" cy="6858000"/>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1" name="first shadow">
            <a:extLst>
              <a:ext uri="{FF2B5EF4-FFF2-40B4-BE49-F238E27FC236}">
                <a16:creationId xmlns:a16="http://schemas.microsoft.com/office/drawing/2014/main" id="{DFFDA9EE-20C4-6D45-A683-3B4C8D83509B}"/>
              </a:ext>
            </a:extLst>
          </p:cNvPr>
          <p:cNvSpPr/>
          <p:nvPr/>
        </p:nvSpPr>
        <p:spPr bwMode="gray">
          <a:xfrm flipV="1">
            <a:off x="776283" y="-1"/>
            <a:ext cx="735836" cy="6858000"/>
          </a:xfrm>
          <a:prstGeom prst="round1Rect">
            <a:avLst>
              <a:gd name="adj" fmla="val 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2" name="second shadow">
            <a:extLst>
              <a:ext uri="{FF2B5EF4-FFF2-40B4-BE49-F238E27FC236}">
                <a16:creationId xmlns:a16="http://schemas.microsoft.com/office/drawing/2014/main" id="{150A98F0-857F-D240-B858-BC67B7655A78}"/>
              </a:ext>
            </a:extLst>
          </p:cNvPr>
          <p:cNvSpPr/>
          <p:nvPr/>
        </p:nvSpPr>
        <p:spPr bwMode="gray">
          <a:xfrm flipV="1">
            <a:off x="689829" y="-1"/>
            <a:ext cx="735836" cy="6858000"/>
          </a:xfrm>
          <a:prstGeom prst="round1Rect">
            <a:avLst>
              <a:gd name="adj" fmla="val 0"/>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8" y="2368296"/>
            <a:ext cx="6010442" cy="4187952"/>
          </a:xfr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lvl1pPr>
            <a:lvl2pPr marL="173736" indent="-173736">
              <a:lnSpc>
                <a:spcPct val="107000"/>
              </a:lnSpc>
              <a:spcBef>
                <a:spcPts val="0"/>
              </a:spcBef>
              <a:spcAft>
                <a:spcPts val="1800"/>
              </a:spcAft>
              <a:buClr>
                <a:schemeClr val="accent2"/>
              </a:buClr>
              <a:buFont typeface="Arial" panose="020B0604020202020204" pitchFamily="34" charset="0"/>
              <a:buChar char="•"/>
              <a:defRPr sz="1800"/>
            </a:lvl2pPr>
            <a:lvl3pPr marL="173736" indent="-173736">
              <a:lnSpc>
                <a:spcPct val="107000"/>
              </a:lnSpc>
              <a:spcBef>
                <a:spcPts val="0"/>
              </a:spcBef>
              <a:spcAft>
                <a:spcPts val="1800"/>
              </a:spcAft>
              <a:buClr>
                <a:schemeClr val="accent2"/>
              </a:buClr>
              <a:buFont typeface="Arial" panose="020B0604020202020204" pitchFamily="34" charset="0"/>
              <a:buChar char="•"/>
              <a:defRPr sz="1800"/>
            </a:lvl3pPr>
            <a:lvl4pPr marL="173736" indent="-173736">
              <a:lnSpc>
                <a:spcPct val="107000"/>
              </a:lnSpc>
              <a:spcBef>
                <a:spcPts val="0"/>
              </a:spcBef>
              <a:spcAft>
                <a:spcPts val="1800"/>
              </a:spcAft>
              <a:buClr>
                <a:schemeClr val="accent2"/>
              </a:buClr>
              <a:buFont typeface="Arial" panose="020B0604020202020204" pitchFamily="34" charset="0"/>
              <a:buChar char="•"/>
              <a:defRPr sz="1800"/>
            </a:lvl4pPr>
            <a:lvl5pPr marL="173736" indent="-173736">
              <a:lnSpc>
                <a:spcPct val="107000"/>
              </a:lnSpc>
              <a:spcBef>
                <a:spcPts val="0"/>
              </a:spcBef>
              <a:spcAft>
                <a:spcPts val="1800"/>
              </a:spcAft>
              <a:buClr>
                <a:schemeClr val="accent2"/>
              </a:buClr>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469BC1CA-B220-493E-8432-635008584584}"/>
              </a:ext>
            </a:extLst>
          </p:cNvPr>
          <p:cNvCxnSpPr>
            <a:cxnSpLocks/>
          </p:cNvCxnSpPr>
          <p:nvPr userDrawn="1"/>
        </p:nvCxnSpPr>
        <p:spPr>
          <a:xfrm>
            <a:off x="3711633" y="2171019"/>
            <a:ext cx="6051402"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14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374862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820848"/>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377504"/>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grpSp>
        <p:nvGrpSpPr>
          <p:cNvPr id="7" name="Group 6">
            <a:extLst>
              <a:ext uri="{FF2B5EF4-FFF2-40B4-BE49-F238E27FC236}">
                <a16:creationId xmlns:a16="http://schemas.microsoft.com/office/drawing/2014/main" id="{1EF21AD7-019A-49D5-AE4D-DBECBB645020}"/>
              </a:ext>
            </a:extLst>
          </p:cNvPr>
          <p:cNvGrpSpPr/>
          <p:nvPr userDrawn="1"/>
        </p:nvGrpSpPr>
        <p:grpSpPr>
          <a:xfrm>
            <a:off x="9044735" y="196357"/>
            <a:ext cx="2651965" cy="510948"/>
            <a:chOff x="7933267" y="-1764080"/>
            <a:chExt cx="6936119" cy="1336366"/>
          </a:xfrm>
        </p:grpSpPr>
        <p:cxnSp>
          <p:nvCxnSpPr>
            <p:cNvPr id="8" name="Straight Arrow Connector 7">
              <a:extLst>
                <a:ext uri="{FF2B5EF4-FFF2-40B4-BE49-F238E27FC236}">
                  <a16:creationId xmlns:a16="http://schemas.microsoft.com/office/drawing/2014/main" id="{BBF25DCF-389F-499B-B3C6-CDA38B0F6CA7}"/>
                </a:ext>
              </a:extLst>
            </p:cNvPr>
            <p:cNvCxnSpPr>
              <a:cxnSpLocks/>
            </p:cNvCxnSpPr>
            <p:nvPr/>
          </p:nvCxnSpPr>
          <p:spPr>
            <a:xfrm>
              <a:off x="7933267" y="-1453476"/>
              <a:ext cx="6936119" cy="0"/>
            </a:xfrm>
            <a:prstGeom prst="straightConnector1">
              <a:avLst/>
            </a:prstGeom>
            <a:ln w="25400" cmpd="sng">
              <a:solidFill>
                <a:schemeClr val="accent6"/>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DA69E88-806B-46A5-B7FF-42F7574B7F5E}"/>
                </a:ext>
              </a:extLst>
            </p:cNvPr>
            <p:cNvGrpSpPr/>
            <p:nvPr/>
          </p:nvGrpSpPr>
          <p:grpSpPr>
            <a:xfrm>
              <a:off x="8542521" y="-1764080"/>
              <a:ext cx="742091" cy="1030474"/>
              <a:chOff x="4277996" y="-1764080"/>
              <a:chExt cx="742091" cy="1030474"/>
            </a:xfrm>
          </p:grpSpPr>
          <p:sp>
            <p:nvSpPr>
              <p:cNvPr id="30" name="TextBox 29">
                <a:extLst>
                  <a:ext uri="{FF2B5EF4-FFF2-40B4-BE49-F238E27FC236}">
                    <a16:creationId xmlns:a16="http://schemas.microsoft.com/office/drawing/2014/main" id="{BC1A5AA6-DD7C-4E63-97AB-406AA705F694}"/>
                  </a:ext>
                </a:extLst>
              </p:cNvPr>
              <p:cNvSpPr txBox="1"/>
              <p:nvPr/>
            </p:nvSpPr>
            <p:spPr>
              <a:xfrm>
                <a:off x="4277996" y="-1039497"/>
                <a:ext cx="742091" cy="305891"/>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Vision</a:t>
                </a:r>
              </a:p>
            </p:txBody>
          </p:sp>
          <p:sp>
            <p:nvSpPr>
              <p:cNvPr id="33" name="Oval 32">
                <a:extLst>
                  <a:ext uri="{FF2B5EF4-FFF2-40B4-BE49-F238E27FC236}">
                    <a16:creationId xmlns:a16="http://schemas.microsoft.com/office/drawing/2014/main" id="{28791ECB-886F-4D77-85EF-46C41966E81A}"/>
                  </a:ext>
                </a:extLst>
              </p:cNvPr>
              <p:cNvSpPr/>
              <p:nvPr/>
            </p:nvSpPr>
            <p:spPr bwMode="gray">
              <a:xfrm>
                <a:off x="4309599" y="-1764080"/>
                <a:ext cx="621209" cy="621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1</a:t>
                </a:r>
              </a:p>
            </p:txBody>
          </p:sp>
        </p:grpSp>
        <p:grpSp>
          <p:nvGrpSpPr>
            <p:cNvPr id="10" name="Group 9">
              <a:extLst>
                <a:ext uri="{FF2B5EF4-FFF2-40B4-BE49-F238E27FC236}">
                  <a16:creationId xmlns:a16="http://schemas.microsoft.com/office/drawing/2014/main" id="{72B5E463-FFA7-4E77-9C8A-1A54C3A85E64}"/>
                </a:ext>
              </a:extLst>
            </p:cNvPr>
            <p:cNvGrpSpPr/>
            <p:nvPr/>
          </p:nvGrpSpPr>
          <p:grpSpPr>
            <a:xfrm>
              <a:off x="9640259" y="-1759147"/>
              <a:ext cx="1069114" cy="1331433"/>
              <a:chOff x="6448601" y="-1759147"/>
              <a:chExt cx="1069114" cy="1331433"/>
            </a:xfrm>
          </p:grpSpPr>
          <p:sp>
            <p:nvSpPr>
              <p:cNvPr id="29" name="Oval 28">
                <a:extLst>
                  <a:ext uri="{FF2B5EF4-FFF2-40B4-BE49-F238E27FC236}">
                    <a16:creationId xmlns:a16="http://schemas.microsoft.com/office/drawing/2014/main" id="{FB6A917C-1D87-42F5-B6FF-8AEB7B469C06}"/>
                  </a:ext>
                </a:extLst>
              </p:cNvPr>
              <p:cNvSpPr/>
              <p:nvPr/>
            </p:nvSpPr>
            <p:spPr bwMode="gray">
              <a:xfrm>
                <a:off x="6677641" y="-1759147"/>
                <a:ext cx="611346"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2</a:t>
                </a:r>
              </a:p>
            </p:txBody>
          </p:sp>
          <p:sp>
            <p:nvSpPr>
              <p:cNvPr id="27" name="TextBox 26">
                <a:extLst>
                  <a:ext uri="{FF2B5EF4-FFF2-40B4-BE49-F238E27FC236}">
                    <a16:creationId xmlns:a16="http://schemas.microsoft.com/office/drawing/2014/main" id="{840CE4DC-5421-407F-A94E-1A63220D0E6D}"/>
                  </a:ext>
                </a:extLst>
              </p:cNvPr>
              <p:cNvSpPr txBox="1"/>
              <p:nvPr/>
            </p:nvSpPr>
            <p:spPr>
              <a:xfrm>
                <a:off x="6448601" y="-1039497"/>
                <a:ext cx="1069114"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Project </a:t>
                </a:r>
                <a:br>
                  <a:rPr kumimoji="0" lang="en-US" sz="800" b="0" i="0" u="none" strike="noStrike" kern="1200" cap="none" spc="0" normalizeH="0" baseline="0" noProof="0">
                    <a:ln>
                      <a:noFill/>
                    </a:ln>
                    <a:solidFill>
                      <a:schemeClr val="accent6"/>
                    </a:solidFill>
                    <a:uLnTx/>
                    <a:uFillTx/>
                    <a:latin typeface="Microsoft Sans Serif"/>
                    <a:ea typeface="+mn-ea"/>
                    <a:cs typeface="+mn-cs"/>
                  </a:rPr>
                </a:br>
                <a:r>
                  <a:rPr kumimoji="0" lang="en-US" sz="800" b="0" i="0" u="none" strike="noStrike" kern="1200" cap="none" spc="0" normalizeH="0" baseline="0" noProof="0">
                    <a:ln>
                      <a:noFill/>
                    </a:ln>
                    <a:solidFill>
                      <a:schemeClr val="accent6"/>
                    </a:solidFill>
                    <a:uLnTx/>
                    <a:uFillTx/>
                    <a:latin typeface="Microsoft Sans Serif"/>
                    <a:ea typeface="+mn-ea"/>
                    <a:cs typeface="+mn-cs"/>
                  </a:rPr>
                  <a:t>Proposal</a:t>
                </a:r>
              </a:p>
            </p:txBody>
          </p:sp>
        </p:grpSp>
        <p:grpSp>
          <p:nvGrpSpPr>
            <p:cNvPr id="11" name="Group 10">
              <a:extLst>
                <a:ext uri="{FF2B5EF4-FFF2-40B4-BE49-F238E27FC236}">
                  <a16:creationId xmlns:a16="http://schemas.microsoft.com/office/drawing/2014/main" id="{2F92A107-A02F-4BB0-B41A-642C677028F7}"/>
                </a:ext>
              </a:extLst>
            </p:cNvPr>
            <p:cNvGrpSpPr/>
            <p:nvPr/>
          </p:nvGrpSpPr>
          <p:grpSpPr>
            <a:xfrm>
              <a:off x="11057215" y="-1759147"/>
              <a:ext cx="834329" cy="1331433"/>
              <a:chOff x="8849221" y="-1759147"/>
              <a:chExt cx="834329" cy="1331433"/>
            </a:xfrm>
          </p:grpSpPr>
          <p:sp>
            <p:nvSpPr>
              <p:cNvPr id="25" name="Oval 24">
                <a:extLst>
                  <a:ext uri="{FF2B5EF4-FFF2-40B4-BE49-F238E27FC236}">
                    <a16:creationId xmlns:a16="http://schemas.microsoft.com/office/drawing/2014/main" id="{A13F017F-0BA2-4922-BC03-136E2D44B9B3}"/>
                  </a:ext>
                </a:extLst>
              </p:cNvPr>
              <p:cNvSpPr/>
              <p:nvPr/>
            </p:nvSpPr>
            <p:spPr bwMode="gray">
              <a:xfrm>
                <a:off x="8940040" y="-1759147"/>
                <a:ext cx="611345"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3</a:t>
                </a:r>
              </a:p>
            </p:txBody>
          </p:sp>
          <p:sp>
            <p:nvSpPr>
              <p:cNvPr id="23" name="TextBox 22">
                <a:extLst>
                  <a:ext uri="{FF2B5EF4-FFF2-40B4-BE49-F238E27FC236}">
                    <a16:creationId xmlns:a16="http://schemas.microsoft.com/office/drawing/2014/main" id="{EB56BB64-D545-42B8-A15C-24FC4EA5188B}"/>
                  </a:ext>
                </a:extLst>
              </p:cNvPr>
              <p:cNvSpPr txBox="1"/>
              <p:nvPr/>
            </p:nvSpPr>
            <p:spPr>
              <a:xfrm>
                <a:off x="8849221" y="-1039497"/>
                <a:ext cx="834329"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 Study </a:t>
                </a:r>
                <a:br>
                  <a:rPr lang="en-US" sz="800">
                    <a:solidFill>
                      <a:schemeClr val="accent6"/>
                    </a:solidFill>
                    <a:latin typeface="Microsoft Sans Serif"/>
                  </a:rPr>
                </a:br>
                <a:r>
                  <a:rPr kumimoji="0" lang="en-US" sz="800" b="0" i="0" u="none" strike="noStrike" kern="1200" cap="none" spc="0" normalizeH="0" baseline="0" noProof="0">
                    <a:ln>
                      <a:noFill/>
                    </a:ln>
                    <a:solidFill>
                      <a:schemeClr val="accent6"/>
                    </a:solidFill>
                    <a:uLnTx/>
                    <a:uFillTx/>
                    <a:latin typeface="Microsoft Sans Serif"/>
                    <a:ea typeface="+mn-ea"/>
                    <a:cs typeface="+mn-cs"/>
                  </a:rPr>
                  <a:t>Item</a:t>
                </a:r>
              </a:p>
            </p:txBody>
          </p:sp>
        </p:grpSp>
        <p:grpSp>
          <p:nvGrpSpPr>
            <p:cNvPr id="12" name="Group 11">
              <a:extLst>
                <a:ext uri="{FF2B5EF4-FFF2-40B4-BE49-F238E27FC236}">
                  <a16:creationId xmlns:a16="http://schemas.microsoft.com/office/drawing/2014/main" id="{C13DEC96-FFDB-42E6-9ECE-98EFC77812DF}"/>
                </a:ext>
              </a:extLst>
            </p:cNvPr>
            <p:cNvGrpSpPr/>
            <p:nvPr/>
          </p:nvGrpSpPr>
          <p:grpSpPr>
            <a:xfrm>
              <a:off x="12312890" y="-1759147"/>
              <a:ext cx="767246" cy="1331433"/>
              <a:chOff x="11244948" y="-1759147"/>
              <a:chExt cx="767246" cy="1331433"/>
            </a:xfrm>
          </p:grpSpPr>
          <p:sp>
            <p:nvSpPr>
              <p:cNvPr id="21" name="Oval 20">
                <a:extLst>
                  <a:ext uri="{FF2B5EF4-FFF2-40B4-BE49-F238E27FC236}">
                    <a16:creationId xmlns:a16="http://schemas.microsoft.com/office/drawing/2014/main" id="{D3A39F12-070F-453E-85F4-E2667F05CDA0}"/>
                  </a:ext>
                </a:extLst>
              </p:cNvPr>
              <p:cNvSpPr/>
              <p:nvPr/>
            </p:nvSpPr>
            <p:spPr bwMode="gray">
              <a:xfrm>
                <a:off x="11310788" y="-1759147"/>
                <a:ext cx="611344"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4</a:t>
                </a:r>
              </a:p>
            </p:txBody>
          </p:sp>
          <p:sp>
            <p:nvSpPr>
              <p:cNvPr id="19" name="TextBox 18">
                <a:extLst>
                  <a:ext uri="{FF2B5EF4-FFF2-40B4-BE49-F238E27FC236}">
                    <a16:creationId xmlns:a16="http://schemas.microsoft.com/office/drawing/2014/main" id="{ECE4154D-4FC3-4309-BC99-37779D5D1863}"/>
                  </a:ext>
                </a:extLst>
              </p:cNvPr>
              <p:cNvSpPr txBox="1"/>
              <p:nvPr/>
            </p:nvSpPr>
            <p:spPr>
              <a:xfrm>
                <a:off x="11244948" y="-1039497"/>
                <a:ext cx="767246"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 Work </a:t>
                </a:r>
                <a:br>
                  <a:rPr kumimoji="0" lang="en-US" sz="800" b="0" i="0" u="none" strike="noStrike" kern="1200" cap="none" spc="0" normalizeH="0" baseline="0" noProof="0">
                    <a:ln>
                      <a:noFill/>
                    </a:ln>
                    <a:solidFill>
                      <a:schemeClr val="accent6"/>
                    </a:solidFill>
                    <a:uLnTx/>
                    <a:uFillTx/>
                    <a:latin typeface="Microsoft Sans Serif"/>
                    <a:ea typeface="+mn-ea"/>
                    <a:cs typeface="+mn-cs"/>
                  </a:rPr>
                </a:br>
                <a:r>
                  <a:rPr kumimoji="0" lang="en-US" sz="800" b="0" i="0" u="none" strike="noStrike" kern="1200" cap="none" spc="0" normalizeH="0" baseline="0" noProof="0">
                    <a:ln>
                      <a:noFill/>
                    </a:ln>
                    <a:solidFill>
                      <a:schemeClr val="accent6"/>
                    </a:solidFill>
                    <a:uLnTx/>
                    <a:uFillTx/>
                    <a:latin typeface="Microsoft Sans Serif"/>
                    <a:ea typeface="+mn-ea"/>
                    <a:cs typeface="+mn-cs"/>
                  </a:rPr>
                  <a:t>Item</a:t>
                </a:r>
              </a:p>
            </p:txBody>
          </p:sp>
        </p:grpSp>
        <p:grpSp>
          <p:nvGrpSpPr>
            <p:cNvPr id="13" name="Group 12">
              <a:extLst>
                <a:ext uri="{FF2B5EF4-FFF2-40B4-BE49-F238E27FC236}">
                  <a16:creationId xmlns:a16="http://schemas.microsoft.com/office/drawing/2014/main" id="{8C69C2A2-59A1-4D05-A4CB-5C922C713E41}"/>
                </a:ext>
              </a:extLst>
            </p:cNvPr>
            <p:cNvGrpSpPr/>
            <p:nvPr/>
          </p:nvGrpSpPr>
          <p:grpSpPr>
            <a:xfrm>
              <a:off x="13504582" y="-1764052"/>
              <a:ext cx="842712" cy="1030445"/>
              <a:chOff x="13504582" y="-1764052"/>
              <a:chExt cx="842712" cy="1030445"/>
            </a:xfrm>
          </p:grpSpPr>
          <p:sp>
            <p:nvSpPr>
              <p:cNvPr id="17" name="Oval 16">
                <a:extLst>
                  <a:ext uri="{FF2B5EF4-FFF2-40B4-BE49-F238E27FC236}">
                    <a16:creationId xmlns:a16="http://schemas.microsoft.com/office/drawing/2014/main" id="{87DE6186-2173-42AB-8658-904C326FB672}"/>
                  </a:ext>
                </a:extLst>
              </p:cNvPr>
              <p:cNvSpPr/>
              <p:nvPr/>
            </p:nvSpPr>
            <p:spPr bwMode="gray">
              <a:xfrm>
                <a:off x="13606471" y="-1764052"/>
                <a:ext cx="621155" cy="621149"/>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a:solidFill>
                      <a:prstClr val="white"/>
                    </a:solidFill>
                    <a:effectLst/>
                  </a:rPr>
                  <a:t>5</a:t>
                </a:r>
              </a:p>
            </p:txBody>
          </p:sp>
          <p:sp>
            <p:nvSpPr>
              <p:cNvPr id="15" name="TextBox 14">
                <a:extLst>
                  <a:ext uri="{FF2B5EF4-FFF2-40B4-BE49-F238E27FC236}">
                    <a16:creationId xmlns:a16="http://schemas.microsoft.com/office/drawing/2014/main" id="{49D0C2FC-D951-4F04-92BD-B2FF3A8DDF11}"/>
                  </a:ext>
                </a:extLst>
              </p:cNvPr>
              <p:cNvSpPr txBox="1"/>
              <p:nvPr/>
            </p:nvSpPr>
            <p:spPr>
              <a:xfrm>
                <a:off x="13504582" y="-1039498"/>
                <a:ext cx="842712" cy="305891"/>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Deploy</a:t>
                </a:r>
              </a:p>
            </p:txBody>
          </p:sp>
        </p:grpSp>
      </p:grpSp>
    </p:spTree>
    <p:extLst>
      <p:ext uri="{BB962C8B-B14F-4D97-AF65-F5344CB8AC3E}">
        <p14:creationId xmlns:p14="http://schemas.microsoft.com/office/powerpoint/2010/main" val="75489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38603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495300" y="575576"/>
            <a:ext cx="11187112" cy="429028"/>
          </a:xfrm>
        </p:spPr>
        <p:txBody>
          <a:bodyPr/>
          <a:lstStyle/>
          <a:p>
            <a:r>
              <a:rPr lang="en-US"/>
              <a:t>Click to edit Master title style</a:t>
            </a:r>
          </a:p>
        </p:txBody>
      </p:sp>
      <p:sp>
        <p:nvSpPr>
          <p:cNvPr id="6" name="Content Placeholder 5"/>
          <p:cNvSpPr>
            <a:spLocks noGrp="1"/>
          </p:cNvSpPr>
          <p:nvPr>
            <p:ph sz="quarter" idx="12"/>
          </p:nvPr>
        </p:nvSpPr>
        <p:spPr>
          <a:xfrm>
            <a:off x="495300" y="1719072"/>
            <a:ext cx="11190732" cy="468172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85098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p>
        </p:txBody>
      </p: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
        <p:nvSpPr>
          <p:cNvPr id="14" name="Content Placeholder 10"/>
          <p:cNvSpPr>
            <a:spLocks noGrp="1"/>
          </p:cNvSpPr>
          <p:nvPr>
            <p:ph sz="quarter" idx="14"/>
          </p:nvPr>
        </p:nvSpPr>
        <p:spPr>
          <a:xfrm>
            <a:off x="493776" y="1719072"/>
            <a:ext cx="5467753"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p:cNvSpPr>
            <a:spLocks noGrp="1"/>
          </p:cNvSpPr>
          <p:nvPr>
            <p:ph sz="quarter" idx="15" hasCustomPrompt="1"/>
          </p:nvPr>
        </p:nvSpPr>
        <p:spPr>
          <a:xfrm>
            <a:off x="6216256" y="1719072"/>
            <a:ext cx="5481968" cy="468172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24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
        <p:nvSpPr>
          <p:cNvPr id="16" name="Content Placeholder 11"/>
          <p:cNvSpPr>
            <a:spLocks noGrp="1"/>
          </p:cNvSpPr>
          <p:nvPr>
            <p:ph sz="quarter" idx="15"/>
          </p:nvPr>
        </p:nvSpPr>
        <p:spPr>
          <a:xfrm>
            <a:off x="495300" y="1719072"/>
            <a:ext cx="3564636"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16"/>
          </p:nvPr>
        </p:nvSpPr>
        <p:spPr>
          <a:xfrm>
            <a:off x="4308762" y="1719072"/>
            <a:ext cx="3564221"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6"/>
          <p:cNvSpPr>
            <a:spLocks noGrp="1"/>
          </p:cNvSpPr>
          <p:nvPr>
            <p:ph sz="quarter" idx="17"/>
          </p:nvPr>
        </p:nvSpPr>
        <p:spPr>
          <a:xfrm>
            <a:off x="8123750" y="1719072"/>
            <a:ext cx="3580265"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145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1"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IBC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87880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IBC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95869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IBC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48539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IBC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84605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7" name="TextBox 16"/>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7578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Fifty Fifty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lvl1pPr>
              <a:defRPr>
                <a:solidFill>
                  <a:schemeClr val="bg1"/>
                </a:solidFill>
              </a:defRPr>
            </a:lvl1p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7" name="TextBox 16"/>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3094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2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6"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7"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FAEB6D3-8A14-45FF-AFC9-7560CC33DC0D}"/>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30864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6072"/>
            <a:ext cx="5115142" cy="429028"/>
          </a:xfrm>
        </p:spPr>
        <p:txBody>
          <a:bodyPr/>
          <a:lstStyle/>
          <a:p>
            <a:r>
              <a:rPr lang="en-US"/>
              <a:t>Click to edit Master title style</a:t>
            </a: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6072"/>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0"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1"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148022F4-7AAA-4729-B9C4-92BDED53EDA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46577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3776" y="575576"/>
            <a:ext cx="5116666" cy="429028"/>
          </a:xfrm>
        </p:spPr>
        <p:txBody>
          <a:bodyPr/>
          <a:lstStyle/>
          <a:p>
            <a:r>
              <a:rPr lang="en-US"/>
              <a:t>Click to edit Master title style</a:t>
            </a: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0"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1"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DB7F33C7-E4F0-4672-AA7D-78E09470B93A}"/>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99479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3" cy="429028"/>
          </a:xfrm>
        </p:spPr>
        <p:txBody>
          <a:bodyPr/>
          <a:lstStyle/>
          <a:p>
            <a:r>
              <a:rPr lang="en-US"/>
              <a:t>Click to edit Master title style</a:t>
            </a: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4188" y="1132232"/>
            <a:ext cx="64273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5576"/>
            <a:ext cx="3576828" cy="582522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1" name="TextBox 10">
            <a:extLst>
              <a:ext uri="{FF2B5EF4-FFF2-40B4-BE49-F238E27FC236}">
                <a16:creationId xmlns:a16="http://schemas.microsoft.com/office/drawing/2014/main" id="{4E9B8B53-7B6C-4626-8973-3D014E3B8FC1}"/>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77748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1" name="TextBox 10">
            <a:extLst>
              <a:ext uri="{FF2B5EF4-FFF2-40B4-BE49-F238E27FC236}">
                <a16:creationId xmlns:a16="http://schemas.microsoft.com/office/drawing/2014/main" id="{531BD8B9-DB8E-4BCA-B606-ACB91911BD0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60171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1" name="TextBox 10">
            <a:extLst>
              <a:ext uri="{FF2B5EF4-FFF2-40B4-BE49-F238E27FC236}">
                <a16:creationId xmlns:a16="http://schemas.microsoft.com/office/drawing/2014/main" id="{2B657D28-EE18-4DAD-9F88-267DBF1BDC6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76812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4188" y="575576"/>
            <a:ext cx="6427945" cy="429028"/>
          </a:xfrm>
        </p:spPr>
        <p:txBody>
          <a:bodyPr/>
          <a:lstStyle/>
          <a:p>
            <a:r>
              <a:rPr lang="en-US"/>
              <a:t>Click to edit Master title style</a:t>
            </a: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
        <p:nvSpPr>
          <p:cNvPr id="11" name="TextBox 10">
            <a:extLst>
              <a:ext uri="{FF2B5EF4-FFF2-40B4-BE49-F238E27FC236}">
                <a16:creationId xmlns:a16="http://schemas.microsoft.com/office/drawing/2014/main" id="{35A00055-63DF-4E5F-9CDA-9330890DB382}"/>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6929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1993"/>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
        <p:nvSpPr>
          <p:cNvPr id="9" name="TextBox 8">
            <a:extLst>
              <a:ext uri="{FF2B5EF4-FFF2-40B4-BE49-F238E27FC236}">
                <a16:creationId xmlns:a16="http://schemas.microsoft.com/office/drawing/2014/main" id="{4B746C8D-1A62-4F65-903E-505B70EBA689}"/>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39702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9"/>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
        <p:nvSpPr>
          <p:cNvPr id="9" name="TextBox 8">
            <a:extLst>
              <a:ext uri="{FF2B5EF4-FFF2-40B4-BE49-F238E27FC236}">
                <a16:creationId xmlns:a16="http://schemas.microsoft.com/office/drawing/2014/main" id="{CDB93D7A-E9C6-457C-A848-6E8C8BF7B4A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19079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1994"/>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
        <p:nvSpPr>
          <p:cNvPr id="9" name="TextBox 8">
            <a:extLst>
              <a:ext uri="{FF2B5EF4-FFF2-40B4-BE49-F238E27FC236}">
                <a16:creationId xmlns:a16="http://schemas.microsoft.com/office/drawing/2014/main" id="{00695E15-3652-4BEE-B738-FB4760B5B5D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94810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8540"/>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
        <p:nvSpPr>
          <p:cNvPr id="9" name="TextBox 8">
            <a:extLst>
              <a:ext uri="{FF2B5EF4-FFF2-40B4-BE49-F238E27FC236}">
                <a16:creationId xmlns:a16="http://schemas.microsoft.com/office/drawing/2014/main" id="{CA22589C-4ACD-444B-8848-DC35354FE0C4}"/>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81118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38"/>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57413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9"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85245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2"/>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89576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6469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43582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4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72162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3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20354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4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87060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848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11696700" cy="6400800"/>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7714"/>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Pentagon 6">
            <a:extLst>
              <a:ext uri="{FF2B5EF4-FFF2-40B4-BE49-F238E27FC236}">
                <a16:creationId xmlns:a16="http://schemas.microsoft.com/office/drawing/2014/main" id="{27F13CB6-3F73-4727-82B6-01604B62EC5E}"/>
              </a:ext>
            </a:extLst>
          </p:cNvPr>
          <p:cNvSpPr/>
          <p:nvPr userDrawn="1"/>
        </p:nvSpPr>
        <p:spPr>
          <a:xfrm>
            <a:off x="1" y="1219737"/>
            <a:ext cx="11034584" cy="1369115"/>
          </a:xfrm>
          <a:prstGeom prst="homePlate">
            <a:avLst>
              <a:gd name="adj" fmla="val 23974"/>
            </a:avLst>
          </a:prstGeom>
          <a:gradFill flip="none" rotWithShape="1">
            <a:gsLst>
              <a:gs pos="23000">
                <a:schemeClr val="accent2">
                  <a:alpha val="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2588851"/>
            <a:ext cx="10189633" cy="2157967"/>
          </a:xfrm>
        </p:spPr>
        <p:txBody>
          <a:bodyPr/>
          <a:lstStyle>
            <a:lvl1pPr>
              <a:lnSpc>
                <a:spcPct val="90000"/>
              </a:lnSpc>
              <a:defRPr sz="6000">
                <a:solidFill>
                  <a:schemeClr val="bg1"/>
                </a:solidFill>
              </a:defRPr>
            </a:lvl1pPr>
          </a:lstStyle>
          <a:p>
            <a:r>
              <a:rPr lang="en-US"/>
              <a:t>Segue title</a:t>
            </a: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972998"/>
            <a:ext cx="10191629"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1" name="Group 10">
            <a:extLst>
              <a:ext uri="{FF2B5EF4-FFF2-40B4-BE49-F238E27FC236}">
                <a16:creationId xmlns:a16="http://schemas.microsoft.com/office/drawing/2014/main" id="{107461A6-261B-402B-98E6-84510013E14C}"/>
              </a:ext>
            </a:extLst>
          </p:cNvPr>
          <p:cNvGrpSpPr/>
          <p:nvPr userDrawn="1"/>
        </p:nvGrpSpPr>
        <p:grpSpPr>
          <a:xfrm>
            <a:off x="495300" y="571500"/>
            <a:ext cx="2665588" cy="2665588"/>
            <a:chOff x="9606762" y="2391273"/>
            <a:chExt cx="2011778" cy="2007833"/>
          </a:xfrm>
        </p:grpSpPr>
        <p:sp>
          <p:nvSpPr>
            <p:cNvPr id="13" name="Oval 12">
              <a:extLst>
                <a:ext uri="{FF2B5EF4-FFF2-40B4-BE49-F238E27FC236}">
                  <a16:creationId xmlns:a16="http://schemas.microsoft.com/office/drawing/2014/main" id="{DBEDEF1D-249D-4E8A-9676-660DB37A6B41}"/>
                </a:ext>
              </a:extLst>
            </p:cNvPr>
            <p:cNvSpPr/>
            <p:nvPr/>
          </p:nvSpPr>
          <p:spPr bwMode="gray">
            <a:xfrm>
              <a:off x="9606762" y="2391273"/>
              <a:ext cx="2011778" cy="2007833"/>
            </a:xfrm>
            <a:prstGeom prst="ellipse">
              <a:avLst/>
            </a:prstGeom>
            <a:gradFill>
              <a:gsLst>
                <a:gs pos="0">
                  <a:srgbClr val="ECEFF3"/>
                </a:gs>
                <a:gs pos="65000">
                  <a:schemeClr val="bg1">
                    <a:lumMod val="0"/>
                    <a:lumOff val="100000"/>
                  </a:schemeClr>
                </a:gs>
              </a:gsLst>
              <a:lin ang="189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err="1">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sp>
          <p:nvSpPr>
            <p:cNvPr id="14" name="Oval 13">
              <a:extLst>
                <a:ext uri="{FF2B5EF4-FFF2-40B4-BE49-F238E27FC236}">
                  <a16:creationId xmlns:a16="http://schemas.microsoft.com/office/drawing/2014/main" id="{423CDF1A-9AF4-4A45-9F8E-D6535E29C8E1}"/>
                </a:ext>
              </a:extLst>
            </p:cNvPr>
            <p:cNvSpPr/>
            <p:nvPr/>
          </p:nvSpPr>
          <p:spPr bwMode="gray">
            <a:xfrm>
              <a:off x="9688492" y="2471036"/>
              <a:ext cx="1848319" cy="1848306"/>
            </a:xfrm>
            <a:prstGeom prst="ellipse">
              <a:avLst/>
            </a:prstGeom>
            <a:gradFill>
              <a:gsLst>
                <a:gs pos="0">
                  <a:schemeClr val="accent1">
                    <a:lumMod val="75000"/>
                  </a:schemeClr>
                </a:gs>
                <a:gs pos="100000">
                  <a:schemeClr val="accent1"/>
                </a:gs>
              </a:gsLst>
              <a:lin ang="18900000" scaled="0"/>
            </a:gradFill>
            <a:ln>
              <a:noFill/>
            </a:ln>
            <a:effectLst>
              <a:outerShdw blurRad="520700" dist="558800" dir="10800000" sx="91000" sy="91000" algn="r"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6000" err="1">
                <a:solidFill>
                  <a:prstClr val="white"/>
                </a:solidFill>
                <a:latin typeface="Microsoft Sans Serif" panose="020B0604020202020204" pitchFamily="34" charset="0"/>
              </a:endParaRPr>
            </a:p>
          </p:txBody>
        </p:sp>
        <p:sp>
          <p:nvSpPr>
            <p:cNvPr id="15" name="Oval 14">
              <a:extLst>
                <a:ext uri="{FF2B5EF4-FFF2-40B4-BE49-F238E27FC236}">
                  <a16:creationId xmlns:a16="http://schemas.microsoft.com/office/drawing/2014/main" id="{50FD2F5B-FE53-4666-880B-82FD5CD22CDD}"/>
                </a:ext>
              </a:extLst>
            </p:cNvPr>
            <p:cNvSpPr/>
            <p:nvPr/>
          </p:nvSpPr>
          <p:spPr bwMode="gray">
            <a:xfrm>
              <a:off x="9829743" y="2612290"/>
              <a:ext cx="1565805" cy="1565798"/>
            </a:xfrm>
            <a:prstGeom prst="ellipse">
              <a:avLst/>
            </a:prstGeom>
            <a:gradFill flip="none" rotWithShape="1">
              <a:gsLst>
                <a:gs pos="100000">
                  <a:srgbClr val="5B83E7"/>
                </a:gs>
                <a:gs pos="15000">
                  <a:schemeClr val="accent1"/>
                </a:gs>
              </a:gsLst>
              <a:lin ang="0" scaled="1"/>
              <a:tileRect/>
            </a:gradFill>
            <a:ln>
              <a:noFill/>
            </a:ln>
            <a:effectLst>
              <a:outerShdw blurRad="317500" dist="342900" dir="8100000" sx="90000" sy="90000" algn="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grpSp>
    </p:spTree>
    <p:extLst>
      <p:ext uri="{BB962C8B-B14F-4D97-AF65-F5344CB8AC3E}">
        <p14:creationId xmlns:p14="http://schemas.microsoft.com/office/powerpoint/2010/main" val="11813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2181632-DE20-432F-879B-9CF4F68D28AC}"/>
              </a:ext>
            </a:extLst>
          </p:cNvPr>
          <p:cNvGrpSpPr/>
          <p:nvPr userDrawn="1"/>
        </p:nvGrpSpPr>
        <p:grpSpPr>
          <a:xfrm>
            <a:off x="0" y="0"/>
            <a:ext cx="6116442" cy="6023894"/>
            <a:chOff x="0" y="0"/>
            <a:chExt cx="6116442" cy="6023894"/>
          </a:xfrm>
        </p:grpSpPr>
        <p:sp>
          <p:nvSpPr>
            <p:cNvPr id="15" name="Rectangle: Single Corner Rounded 14">
              <a:extLst>
                <a:ext uri="{FF2B5EF4-FFF2-40B4-BE49-F238E27FC236}">
                  <a16:creationId xmlns:a16="http://schemas.microsoft.com/office/drawing/2014/main" id="{085032E6-CCFF-472C-868C-2A68B44DC91E}"/>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7" name="Rectangle: Single Corner Rounded 16">
              <a:extLst>
                <a:ext uri="{FF2B5EF4-FFF2-40B4-BE49-F238E27FC236}">
                  <a16:creationId xmlns:a16="http://schemas.microsoft.com/office/drawing/2014/main" id="{E2156E45-E26F-4BD5-AA36-7E6AEEAA84DE}"/>
                </a:ext>
              </a:extLst>
            </p:cNvPr>
            <p:cNvSpPr/>
            <p:nvPr userDrawn="1"/>
          </p:nvSpPr>
          <p:spPr>
            <a:xfrm flipV="1">
              <a:off x="0" y="0"/>
              <a:ext cx="6116442" cy="5917440"/>
            </a:xfrm>
            <a:prstGeom prst="round1Rect">
              <a:avLst>
                <a:gd name="adj" fmla="val 3163"/>
              </a:avLst>
            </a:prstGeom>
            <a:gradFill>
              <a:gsLst>
                <a:gs pos="15000">
                  <a:schemeClr val="accent3"/>
                </a:gs>
                <a:gs pos="100000">
                  <a:srgbClr val="4F9781"/>
                </a:gs>
              </a:gsLst>
              <a:lin ang="18900000" scaled="0"/>
            </a:gradFill>
            <a:ln w="25400" cap="flat" cmpd="sng" algn="ctr">
              <a:noFill/>
              <a:prstDash val="solid"/>
            </a:ln>
            <a:effectLst>
              <a:outerShdw blurRad="38100" dist="12700" dir="1800000" algn="tl" rotWithShape="0">
                <a:prstClr val="black">
                  <a:alpha val="31000"/>
                </a:prstClr>
              </a:out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4BCB0B3A-8C06-4319-AAD4-5F984957B91B}"/>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239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3C5D551-0D9C-42AC-A377-0FBC2776A464}"/>
              </a:ext>
            </a:extLst>
          </p:cNvPr>
          <p:cNvGrpSpPr/>
          <p:nvPr userDrawn="1"/>
        </p:nvGrpSpPr>
        <p:grpSpPr>
          <a:xfrm>
            <a:off x="0" y="0"/>
            <a:ext cx="6116442" cy="6023894"/>
            <a:chOff x="0" y="0"/>
            <a:chExt cx="6116442" cy="6023894"/>
          </a:xfrm>
        </p:grpSpPr>
        <p:sp>
          <p:nvSpPr>
            <p:cNvPr id="15" name="Rectangle: Single Corner Rounded 14">
              <a:extLst>
                <a:ext uri="{FF2B5EF4-FFF2-40B4-BE49-F238E27FC236}">
                  <a16:creationId xmlns:a16="http://schemas.microsoft.com/office/drawing/2014/main" id="{A73BF767-9230-4032-B276-EF03D902C6CA}"/>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7" name="Rectangle: Single Corner Rounded 16">
              <a:extLst>
                <a:ext uri="{FF2B5EF4-FFF2-40B4-BE49-F238E27FC236}">
                  <a16:creationId xmlns:a16="http://schemas.microsoft.com/office/drawing/2014/main" id="{2F887A92-F523-4499-ADE6-8629F1A6E1A1}"/>
                </a:ext>
              </a:extLst>
            </p:cNvPr>
            <p:cNvSpPr/>
            <p:nvPr userDrawn="1"/>
          </p:nvSpPr>
          <p:spPr>
            <a:xfrm flipV="1">
              <a:off x="0" y="0"/>
              <a:ext cx="6116442" cy="5917440"/>
            </a:xfrm>
            <a:prstGeom prst="round1Rect">
              <a:avLst>
                <a:gd name="adj" fmla="val 3163"/>
              </a:avLst>
            </a:prstGeom>
            <a:gradFill>
              <a:gsLst>
                <a:gs pos="15000">
                  <a:srgbClr val="697790"/>
                </a:gs>
                <a:gs pos="100000">
                  <a:schemeClr val="accent5"/>
                </a:gs>
              </a:gsLst>
              <a:lin ang="18900000" scaled="0"/>
            </a:gradFill>
            <a:ln w="25400" cap="flat" cmpd="sng" algn="ctr">
              <a:noFill/>
              <a:prstDash val="solid"/>
            </a:ln>
            <a:effectLst>
              <a:outerShdw blurRad="38100" dist="12700" dir="1800000" algn="tl" rotWithShape="0">
                <a:prstClr val="black">
                  <a:alpha val="31000"/>
                </a:prstClr>
              </a:out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422251A8-EA28-404E-97A7-A22CA6456C5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715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5F6A748-1092-4A15-85E8-D8B16595332B}"/>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3423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97C06A68-BEF2-4839-A13F-55CE9BFC23AE}"/>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EF04A54E-4839-4512-A9B2-20E5D8E34D7D}"/>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3A9A91AE-1636-412A-BB68-E8E23C7F65C5}"/>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0D3297C9-98AB-4F21-8EF4-9D02E4976D40}"/>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6331E57-25C7-4421-ACF9-BC5EDCED172E}"/>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9184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4CEBED27-6A2B-4129-B25F-53D057D12558}"/>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F3285D2E-D6F7-4583-825B-6C6072B8004D}"/>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9B4EDE63-91C9-4D64-8B42-7A7F1CE183D4}"/>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A8A955A9-5B26-47C4-9680-3F81410297F4}"/>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D6D5CA1-E75C-45C2-BC1C-C525730252EB}"/>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95757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C59CEA6D-8186-49F1-AB5A-06B2E4159659}"/>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C83FB8D6-B1B5-4A22-A097-2898E8A7406E}"/>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F3A76F51-D652-4F4F-BBA5-0484A0D9AD9A}"/>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357FC832-9F4D-41C6-8212-C098432FB403}"/>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A0CFEB1-98F0-43C6-AEE0-D35944B1CF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68449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9" name="TextBox 18">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0" name="TextBox 19">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1" name="Group 20">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2"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3" name="Group 22">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5"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7"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4"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28"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29"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11233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64625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4729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479793" y="1132232"/>
            <a:ext cx="11202619" cy="431657"/>
          </a:xfrm>
        </p:spPr>
        <p:txBody>
          <a:bodyPr anchor="t">
            <a:noAutofit/>
          </a:bodyPr>
          <a:lstStyle>
            <a:lvl1pPr marL="0" indent="0">
              <a:lnSpc>
                <a:spcPct val="83000"/>
              </a:lnSpc>
              <a:buNone/>
              <a:defRPr lang="en-US" sz="2400" b="0" kern="1200" baseline="0" dirty="0" smtClean="0">
                <a:solidFill>
                  <a:schemeClr val="accent4">
                    <a:lumMod val="7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83000"/>
              </a:lnSpc>
              <a:spcBef>
                <a:spcPts val="1800"/>
              </a:spcBef>
              <a:buFont typeface="Tahoma" panose="020B0604030504040204" pitchFamily="34" charset="0"/>
              <a:buNone/>
            </a:pPr>
            <a:r>
              <a:rPr lang="en-US"/>
              <a:t>Edit Master text styles</a:t>
            </a:r>
          </a:p>
        </p:txBody>
      </p:sp>
      <p:sp>
        <p:nvSpPr>
          <p:cNvPr id="7" name="Footer Placeholder 4"/>
          <p:cNvSpPr>
            <a:spLocks noGrp="1"/>
          </p:cNvSpPr>
          <p:nvPr>
            <p:ph type="ftr" sz="quarter" idx="3"/>
          </p:nvPr>
        </p:nvSpPr>
        <p:spPr>
          <a:xfrm>
            <a:off x="494189" y="6536104"/>
            <a:ext cx="10223342" cy="138243"/>
          </a:xfrm>
          <a:prstGeom prst="rect">
            <a:avLst/>
          </a:prstGeom>
        </p:spPr>
        <p:txBody>
          <a:bodyPr vert="horz" wrap="square" lIns="0" tIns="0" rIns="0" bIns="0" rtlCol="0" anchor="b">
            <a:noAutofit/>
          </a:bodyPr>
          <a:lstStyle>
            <a:lvl1pPr algn="l">
              <a:lnSpc>
                <a:spcPct val="125000"/>
              </a:lnSpc>
              <a:defRPr sz="800">
                <a:solidFill>
                  <a:schemeClr val="tx1">
                    <a:tint val="75000"/>
                  </a:schemeClr>
                </a:solidFill>
              </a:defRPr>
            </a:lvl1pPr>
          </a:lstStyle>
          <a:p>
            <a:r>
              <a:rPr lang="en-US"/>
              <a:t>IBC 2023</a:t>
            </a:r>
          </a:p>
        </p:txBody>
      </p:sp>
    </p:spTree>
    <p:extLst>
      <p:ext uri="{BB962C8B-B14F-4D97-AF65-F5344CB8AC3E}">
        <p14:creationId xmlns:p14="http://schemas.microsoft.com/office/powerpoint/2010/main" val="236335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Title Blue 10-24 gradi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58651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93716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90633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43897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64590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079410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80549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60807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93336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22242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90643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03060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85771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19361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72291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180286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5685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13648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51719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14397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64879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65960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44065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83985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1354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27502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72172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77184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03818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36230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57723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34270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86248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400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935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4247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085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35133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47856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3343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3452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99031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81435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348062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0678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47167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46924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98561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9611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4216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041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9124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3091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1755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5239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
        <p:nvSpPr>
          <p:cNvPr id="10" name="TextBox 9">
            <a:extLst>
              <a:ext uri="{FF2B5EF4-FFF2-40B4-BE49-F238E27FC236}">
                <a16:creationId xmlns:a16="http://schemas.microsoft.com/office/drawing/2014/main" id="{2ED98F5D-AA42-4DA4-9F3D-D3CBAD7AC2C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8128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7448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9293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2779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4949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40361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5658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1719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1330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C41093D2-6585-419A-9C70-622FBF7494A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5123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4789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645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236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1097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3678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4197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73336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28102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95411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2383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83889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4669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345750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241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127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0021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519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2468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37311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493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21691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1580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10894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9156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4074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3545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9329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2106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72435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9904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347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6532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483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556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188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252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5149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8101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06602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2870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14245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28937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63129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5809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485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11406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0826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8433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8915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04738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17895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5763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8378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866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556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8370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9418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9435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6227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5665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32357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342285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7D136-E164-49A6-96F8-C960B02E8D4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CFF812-5B15-4756-B2C1-F4E4892147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34887B-A20D-41DE-B72A-120019D902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33F1C86-19C8-443B-B849-32AC854B83DD}"/>
              </a:ext>
            </a:extLst>
          </p:cNvPr>
          <p:cNvSpPr>
            <a:spLocks noGrp="1"/>
          </p:cNvSpPr>
          <p:nvPr>
            <p:ph type="ftr" sz="quarter" idx="11"/>
          </p:nvPr>
        </p:nvSpPr>
        <p:spPr/>
        <p:txBody>
          <a:bodyPr/>
          <a:lstStyle/>
          <a:p>
            <a:r>
              <a:rPr lang="en-US"/>
              <a:t>IBC 2023</a:t>
            </a:r>
          </a:p>
        </p:txBody>
      </p:sp>
      <p:sp>
        <p:nvSpPr>
          <p:cNvPr id="6" name="Slide Number Placeholder 5">
            <a:extLst>
              <a:ext uri="{FF2B5EF4-FFF2-40B4-BE49-F238E27FC236}">
                <a16:creationId xmlns:a16="http://schemas.microsoft.com/office/drawing/2014/main" id="{EB319D67-0A07-4D74-81B3-49A325F61EF5}"/>
              </a:ext>
            </a:extLst>
          </p:cNvPr>
          <p:cNvSpPr>
            <a:spLocks noGrp="1"/>
          </p:cNvSpPr>
          <p:nvPr>
            <p:ph type="sldNum" sz="quarter" idx="12"/>
          </p:nvPr>
        </p:nvSpPr>
        <p:spPr/>
        <p:txBody>
          <a:bodyPr/>
          <a:lstStyle/>
          <a:p>
            <a:fld id="{3A7F93A9-2488-4690-B84F-F8704013CE88}" type="slidenum">
              <a:rPr lang="en-US" smtClean="0"/>
              <a:t>‹#›</a:t>
            </a:fld>
            <a:endParaRPr lang="en-US"/>
          </a:p>
        </p:txBody>
      </p:sp>
    </p:spTree>
    <p:extLst>
      <p:ext uri="{BB962C8B-B14F-4D97-AF65-F5344CB8AC3E}">
        <p14:creationId xmlns:p14="http://schemas.microsoft.com/office/powerpoint/2010/main" val="238429714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BE254-951D-496D-9D6C-F6B8979F69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11093D-0235-41A3-AD6F-DFF42EBCACC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4A2C622-F4A9-4694-9E16-1FFB66361676}"/>
              </a:ext>
            </a:extLst>
          </p:cNvPr>
          <p:cNvSpPr>
            <a:spLocks noGrp="1"/>
          </p:cNvSpPr>
          <p:nvPr>
            <p:ph type="ftr" sz="quarter" idx="11"/>
          </p:nvPr>
        </p:nvSpPr>
        <p:spPr/>
        <p:txBody>
          <a:bodyPr/>
          <a:lstStyle/>
          <a:p>
            <a:r>
              <a:rPr lang="en-US"/>
              <a:t>IBC 2023</a:t>
            </a:r>
          </a:p>
        </p:txBody>
      </p:sp>
      <p:sp>
        <p:nvSpPr>
          <p:cNvPr id="5" name="Slide Number Placeholder 4">
            <a:extLst>
              <a:ext uri="{FF2B5EF4-FFF2-40B4-BE49-F238E27FC236}">
                <a16:creationId xmlns:a16="http://schemas.microsoft.com/office/drawing/2014/main" id="{959AD613-65C7-457E-AF63-0BEEE3F9B06C}"/>
              </a:ext>
            </a:extLst>
          </p:cNvPr>
          <p:cNvSpPr>
            <a:spLocks noGrp="1"/>
          </p:cNvSpPr>
          <p:nvPr>
            <p:ph type="sldNum" sz="quarter" idx="12"/>
          </p:nvPr>
        </p:nvSpPr>
        <p:spPr/>
        <p:txBody>
          <a:bodyPr/>
          <a:lstStyle/>
          <a:p>
            <a:fld id="{3CB9A250-0591-44BA-B4C3-5196FD2DD8F1}" type="slidenum">
              <a:rPr lang="en-US" smtClean="0"/>
              <a:t>‹#›</a:t>
            </a:fld>
            <a:endParaRPr lang="en-US"/>
          </a:p>
        </p:txBody>
      </p:sp>
    </p:spTree>
    <p:extLst>
      <p:ext uri="{BB962C8B-B14F-4D97-AF65-F5344CB8AC3E}">
        <p14:creationId xmlns:p14="http://schemas.microsoft.com/office/powerpoint/2010/main" val="365631323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5015238"/>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10"/>
          </p:nvPr>
        </p:nvSpPr>
        <p:spPr>
          <a:xfrm>
            <a:off x="1024129" y="6481462"/>
            <a:ext cx="2154143" cy="274320"/>
          </a:xfrm>
        </p:spPr>
        <p:txBody>
          <a:bodyPr/>
          <a:lstStyle/>
          <a:p>
            <a:endParaRPr lang="en-US"/>
          </a:p>
        </p:txBody>
      </p:sp>
      <p:sp>
        <p:nvSpPr>
          <p:cNvPr id="6" name="Footer Placeholder 4"/>
          <p:cNvSpPr>
            <a:spLocks noGrp="1"/>
          </p:cNvSpPr>
          <p:nvPr>
            <p:ph type="ftr" sz="quarter" idx="11"/>
          </p:nvPr>
        </p:nvSpPr>
        <p:spPr>
          <a:xfrm>
            <a:off x="4842932" y="6481462"/>
            <a:ext cx="5901459" cy="274320"/>
          </a:xfrm>
        </p:spPr>
        <p:txBody>
          <a:bodyPr/>
          <a:lstStyle/>
          <a:p>
            <a:r>
              <a:rPr lang="en-US"/>
              <a:t>IBC 2023</a:t>
            </a:r>
          </a:p>
        </p:txBody>
      </p:sp>
      <p:sp>
        <p:nvSpPr>
          <p:cNvPr id="8" name="Slide Number Placeholder 5"/>
          <p:cNvSpPr>
            <a:spLocks noGrp="1"/>
          </p:cNvSpPr>
          <p:nvPr>
            <p:ph type="sldNum" sz="quarter" idx="12"/>
          </p:nvPr>
        </p:nvSpPr>
        <p:spPr>
          <a:xfrm>
            <a:off x="10837333" y="6481462"/>
            <a:ext cx="973667" cy="274320"/>
          </a:xfrm>
        </p:spPr>
        <p:txBody>
          <a:bodyPr/>
          <a:lstStyle/>
          <a:p>
            <a:fld id="{7986E0E3-0C10-4AB1-9C60-C3995D4BF4BF}" type="slidenum">
              <a:rPr lang="en-US" smtClean="0"/>
              <a:t>‹#›</a:t>
            </a:fld>
            <a:endParaRPr lang="en-US"/>
          </a:p>
        </p:txBody>
      </p:sp>
    </p:spTree>
    <p:extLst>
      <p:ext uri="{BB962C8B-B14F-4D97-AF65-F5344CB8AC3E}">
        <p14:creationId xmlns:p14="http://schemas.microsoft.com/office/powerpoint/2010/main" val="49837307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Blank (with logo)">
    <p:spTree>
      <p:nvGrpSpPr>
        <p:cNvPr id="1" name=""/>
        <p:cNvGrpSpPr/>
        <p:nvPr/>
      </p:nvGrpSpPr>
      <p:grpSpPr>
        <a:xfrm>
          <a:off x="0" y="0"/>
          <a:ext cx="0" cy="0"/>
          <a:chOff x="0" y="0"/>
          <a:chExt cx="0" cy="0"/>
        </a:xfrm>
      </p:grpSpPr>
      <p:pic>
        <p:nvPicPr>
          <p:cNvPr id="2" name="Picture 1" descr="A picture containing vector graphics&#10;&#10;Description automatically generated">
            <a:extLst>
              <a:ext uri="{FF2B5EF4-FFF2-40B4-BE49-F238E27FC236}">
                <a16:creationId xmlns:a16="http://schemas.microsoft.com/office/drawing/2014/main" id="{C3B2B874-D1C2-4673-87CD-FAF5ECC6272F}"/>
              </a:ext>
            </a:extLst>
          </p:cNvPr>
          <p:cNvPicPr>
            <a:picLocks noChangeAspect="1"/>
          </p:cNvPicPr>
          <p:nvPr userDrawn="1"/>
        </p:nvPicPr>
        <p:blipFill>
          <a:blip r:embed="rId2"/>
          <a:stretch>
            <a:fillRect/>
          </a:stretch>
        </p:blipFill>
        <p:spPr>
          <a:xfrm>
            <a:off x="10936943" y="6182044"/>
            <a:ext cx="1057835" cy="453811"/>
          </a:xfrm>
          <a:prstGeom prst="rect">
            <a:avLst/>
          </a:prstGeom>
        </p:spPr>
      </p:pic>
    </p:spTree>
    <p:extLst>
      <p:ext uri="{BB962C8B-B14F-4D97-AF65-F5344CB8AC3E}">
        <p14:creationId xmlns:p14="http://schemas.microsoft.com/office/powerpoint/2010/main" val="32954219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03531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2757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28533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77745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87115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08611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5328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5857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3576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1405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4628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63935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14200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4836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396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26255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03644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2318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512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685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C0654CC4-725A-43B9-BDE5-0E4BF4BD43DA}"/>
              </a:ext>
            </a:extLst>
          </p:cNvPr>
          <p:cNvSpPr>
            <a:spLocks noGrp="1"/>
          </p:cNvSpPr>
          <p:nvPr>
            <p:ph type="ftr" sz="quarter" idx="3"/>
          </p:nvPr>
        </p:nvSpPr>
        <p:spPr>
          <a:xfrm>
            <a:off x="477078" y="6484546"/>
            <a:ext cx="356616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88857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752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765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625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679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6121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28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56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82167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73712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86464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81048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8725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50407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9623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253030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4256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8361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092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7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2624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52264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0188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35356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4899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9694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1881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4151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29905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9394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0419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51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4736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088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6924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6601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397377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0292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0895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3817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106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7361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687561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6338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7177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52961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7302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35980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70806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346540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99536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7088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8566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90327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14004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38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2244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15919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52761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66708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74529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9029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0546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4060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3428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3910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5054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2796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2353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1800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88366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296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266987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806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7722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32249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Qualcomm Next" pitchFamily="50" charset="0"/>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5150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00554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latin typeface="Qualcomm Next" pitchFamily="50" charset="0"/>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Qualcomm Next" pitchFamily="50" charset="0"/>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8779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079067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592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72353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59801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latin typeface="Qualcomm Next" pitchFamily="50" charset="0"/>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6574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2515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60216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IBC 2023</a:t>
            </a:r>
          </a:p>
        </p:txBody>
      </p:sp>
    </p:spTree>
    <p:extLst>
      <p:ext uri="{BB962C8B-B14F-4D97-AF65-F5344CB8AC3E}">
        <p14:creationId xmlns:p14="http://schemas.microsoft.com/office/powerpoint/2010/main" val="412381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Qualcomm Next" pitchFamily="50"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2123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9389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Qualcomm Next" pitchFamily="50"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406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2124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282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9279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325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9896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7245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821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793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06543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1385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04507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27023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89450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3453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4787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Tree>
    <p:extLst>
      <p:ext uri="{BB962C8B-B14F-4D97-AF65-F5344CB8AC3E}">
        <p14:creationId xmlns:p14="http://schemas.microsoft.com/office/powerpoint/2010/main" val="132583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2064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1413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0256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1965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9278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447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IBC 2023</a:t>
            </a:r>
          </a:p>
        </p:txBody>
      </p:sp>
    </p:spTree>
    <p:extLst>
      <p:ext uri="{BB962C8B-B14F-4D97-AF65-F5344CB8AC3E}">
        <p14:creationId xmlns:p14="http://schemas.microsoft.com/office/powerpoint/2010/main" val="403086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29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0415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1778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84580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7883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678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853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9474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882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4395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98126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3892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38984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43431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7376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903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8114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942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2162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886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grpSp>
        <p:nvGrpSpPr>
          <p:cNvPr id="6" name="Group 5">
            <a:extLst>
              <a:ext uri="{FF2B5EF4-FFF2-40B4-BE49-F238E27FC236}">
                <a16:creationId xmlns:a16="http://schemas.microsoft.com/office/drawing/2014/main" id="{99315E7A-F98F-4117-BFB1-EB0D3289C8CA}"/>
              </a:ext>
            </a:extLst>
          </p:cNvPr>
          <p:cNvGrpSpPr>
            <a:grpSpLocks noChangeAspect="1"/>
          </p:cNvGrpSpPr>
          <p:nvPr userDrawn="1"/>
        </p:nvGrpSpPr>
        <p:grpSpPr>
          <a:xfrm>
            <a:off x="8160646" y="2913424"/>
            <a:ext cx="1565538" cy="1026600"/>
            <a:chOff x="3517616" y="3354969"/>
            <a:chExt cx="949556" cy="622671"/>
          </a:xfrm>
        </p:grpSpPr>
        <p:sp>
          <p:nvSpPr>
            <p:cNvPr id="9" name="Freeform 11">
              <a:extLst>
                <a:ext uri="{FF2B5EF4-FFF2-40B4-BE49-F238E27FC236}">
                  <a16:creationId xmlns:a16="http://schemas.microsoft.com/office/drawing/2014/main" id="{3204FF1D-1DA1-4997-9119-D30FE86A4B71}"/>
                </a:ext>
              </a:extLst>
            </p:cNvPr>
            <p:cNvSpPr>
              <a:spLocks/>
            </p:cNvSpPr>
            <p:nvPr/>
          </p:nvSpPr>
          <p:spPr bwMode="auto">
            <a:xfrm>
              <a:off x="3517616" y="3354969"/>
              <a:ext cx="949556" cy="622671"/>
            </a:xfrm>
            <a:custGeom>
              <a:avLst/>
              <a:gdLst>
                <a:gd name="T0" fmla="*/ 1011 w 1051"/>
                <a:gd name="T1" fmla="*/ 689 h 689"/>
                <a:gd name="T2" fmla="*/ 40 w 1051"/>
                <a:gd name="T3" fmla="*/ 689 h 689"/>
                <a:gd name="T4" fmla="*/ 0 w 1051"/>
                <a:gd name="T5" fmla="*/ 649 h 689"/>
                <a:gd name="T6" fmla="*/ 0 w 1051"/>
                <a:gd name="T7" fmla="*/ 40 h 689"/>
                <a:gd name="T8" fmla="*/ 40 w 1051"/>
                <a:gd name="T9" fmla="*/ 0 h 689"/>
                <a:gd name="T10" fmla="*/ 1011 w 1051"/>
                <a:gd name="T11" fmla="*/ 0 h 689"/>
                <a:gd name="T12" fmla="*/ 1051 w 1051"/>
                <a:gd name="T13" fmla="*/ 40 h 689"/>
                <a:gd name="T14" fmla="*/ 1051 w 1051"/>
                <a:gd name="T15" fmla="*/ 649 h 689"/>
                <a:gd name="T16" fmla="*/ 1011 w 1051"/>
                <a:gd name="T17" fmla="*/ 68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689">
                  <a:moveTo>
                    <a:pt x="1011" y="689"/>
                  </a:moveTo>
                  <a:cubicBezTo>
                    <a:pt x="40" y="689"/>
                    <a:pt x="40" y="689"/>
                    <a:pt x="40" y="689"/>
                  </a:cubicBezTo>
                  <a:cubicBezTo>
                    <a:pt x="18" y="689"/>
                    <a:pt x="0" y="671"/>
                    <a:pt x="0" y="649"/>
                  </a:cubicBezTo>
                  <a:cubicBezTo>
                    <a:pt x="0" y="40"/>
                    <a:pt x="0" y="40"/>
                    <a:pt x="0" y="40"/>
                  </a:cubicBezTo>
                  <a:cubicBezTo>
                    <a:pt x="0" y="18"/>
                    <a:pt x="18" y="0"/>
                    <a:pt x="40" y="0"/>
                  </a:cubicBezTo>
                  <a:cubicBezTo>
                    <a:pt x="1011" y="0"/>
                    <a:pt x="1011" y="0"/>
                    <a:pt x="1011" y="0"/>
                  </a:cubicBezTo>
                  <a:cubicBezTo>
                    <a:pt x="1033" y="0"/>
                    <a:pt x="1051" y="18"/>
                    <a:pt x="1051" y="40"/>
                  </a:cubicBezTo>
                  <a:cubicBezTo>
                    <a:pt x="1051" y="649"/>
                    <a:pt x="1051" y="649"/>
                    <a:pt x="1051" y="649"/>
                  </a:cubicBezTo>
                  <a:cubicBezTo>
                    <a:pt x="1051" y="671"/>
                    <a:pt x="1033" y="689"/>
                    <a:pt x="1011" y="689"/>
                  </a:cubicBezTo>
                </a:path>
              </a:pathLst>
            </a:custGeom>
            <a:solidFill>
              <a:schemeClr val="accent2">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reeform 12">
              <a:extLst>
                <a:ext uri="{FF2B5EF4-FFF2-40B4-BE49-F238E27FC236}">
                  <a16:creationId xmlns:a16="http://schemas.microsoft.com/office/drawing/2014/main" id="{E951590B-2C36-4D63-9A1E-EB36A69B20E2}"/>
                </a:ext>
              </a:extLst>
            </p:cNvPr>
            <p:cNvSpPr>
              <a:spLocks/>
            </p:cNvSpPr>
            <p:nvPr/>
          </p:nvSpPr>
          <p:spPr bwMode="auto">
            <a:xfrm>
              <a:off x="3882700" y="3533793"/>
              <a:ext cx="232234" cy="261982"/>
            </a:xfrm>
            <a:custGeom>
              <a:avLst/>
              <a:gdLst>
                <a:gd name="T0" fmla="*/ 21 w 257"/>
                <a:gd name="T1" fmla="*/ 0 h 290"/>
                <a:gd name="T2" fmla="*/ 0 w 257"/>
                <a:gd name="T3" fmla="*/ 21 h 290"/>
                <a:gd name="T4" fmla="*/ 0 w 257"/>
                <a:gd name="T5" fmla="*/ 269 h 290"/>
                <a:gd name="T6" fmla="*/ 21 w 257"/>
                <a:gd name="T7" fmla="*/ 290 h 290"/>
                <a:gd name="T8" fmla="*/ 30 w 257"/>
                <a:gd name="T9" fmla="*/ 288 h 290"/>
                <a:gd name="T10" fmla="*/ 30 w 257"/>
                <a:gd name="T11" fmla="*/ 288 h 290"/>
                <a:gd name="T12" fmla="*/ 31 w 257"/>
                <a:gd name="T13" fmla="*/ 288 h 290"/>
                <a:gd name="T14" fmla="*/ 33 w 257"/>
                <a:gd name="T15" fmla="*/ 287 h 290"/>
                <a:gd name="T16" fmla="*/ 244 w 257"/>
                <a:gd name="T17" fmla="*/ 165 h 290"/>
                <a:gd name="T18" fmla="*/ 244 w 257"/>
                <a:gd name="T19" fmla="*/ 164 h 290"/>
                <a:gd name="T20" fmla="*/ 257 w 257"/>
                <a:gd name="T21" fmla="*/ 145 h 290"/>
                <a:gd name="T22" fmla="*/ 245 w 257"/>
                <a:gd name="T23" fmla="*/ 126 h 290"/>
                <a:gd name="T24" fmla="*/ 245 w 257"/>
                <a:gd name="T25" fmla="*/ 126 h 290"/>
                <a:gd name="T26" fmla="*/ 33 w 257"/>
                <a:gd name="T27" fmla="*/ 3 h 290"/>
                <a:gd name="T28" fmla="*/ 32 w 257"/>
                <a:gd name="T29" fmla="*/ 3 h 290"/>
                <a:gd name="T30" fmla="*/ 30 w 257"/>
                <a:gd name="T31" fmla="*/ 2 h 290"/>
                <a:gd name="T32" fmla="*/ 30 w 257"/>
                <a:gd name="T33" fmla="*/ 2 h 290"/>
                <a:gd name="T34" fmla="*/ 21 w 257"/>
                <a:gd name="T35"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 h="290">
                  <a:moveTo>
                    <a:pt x="21" y="0"/>
                  </a:moveTo>
                  <a:cubicBezTo>
                    <a:pt x="9" y="0"/>
                    <a:pt x="0" y="9"/>
                    <a:pt x="0" y="21"/>
                  </a:cubicBezTo>
                  <a:cubicBezTo>
                    <a:pt x="0" y="269"/>
                    <a:pt x="0" y="269"/>
                    <a:pt x="0" y="269"/>
                  </a:cubicBezTo>
                  <a:cubicBezTo>
                    <a:pt x="0" y="281"/>
                    <a:pt x="9" y="290"/>
                    <a:pt x="21" y="290"/>
                  </a:cubicBezTo>
                  <a:cubicBezTo>
                    <a:pt x="24" y="290"/>
                    <a:pt x="27" y="290"/>
                    <a:pt x="30" y="288"/>
                  </a:cubicBezTo>
                  <a:cubicBezTo>
                    <a:pt x="30" y="288"/>
                    <a:pt x="30" y="288"/>
                    <a:pt x="30" y="288"/>
                  </a:cubicBezTo>
                  <a:cubicBezTo>
                    <a:pt x="31" y="288"/>
                    <a:pt x="31" y="288"/>
                    <a:pt x="31" y="288"/>
                  </a:cubicBezTo>
                  <a:cubicBezTo>
                    <a:pt x="32" y="287"/>
                    <a:pt x="32" y="287"/>
                    <a:pt x="33" y="287"/>
                  </a:cubicBezTo>
                  <a:cubicBezTo>
                    <a:pt x="244" y="165"/>
                    <a:pt x="244" y="165"/>
                    <a:pt x="244" y="165"/>
                  </a:cubicBezTo>
                  <a:cubicBezTo>
                    <a:pt x="244" y="164"/>
                    <a:pt x="244" y="164"/>
                    <a:pt x="244" y="164"/>
                  </a:cubicBezTo>
                  <a:cubicBezTo>
                    <a:pt x="252" y="161"/>
                    <a:pt x="257" y="154"/>
                    <a:pt x="257" y="145"/>
                  </a:cubicBezTo>
                  <a:cubicBezTo>
                    <a:pt x="257" y="137"/>
                    <a:pt x="252" y="129"/>
                    <a:pt x="245" y="126"/>
                  </a:cubicBezTo>
                  <a:cubicBezTo>
                    <a:pt x="245" y="126"/>
                    <a:pt x="245" y="126"/>
                    <a:pt x="245" y="126"/>
                  </a:cubicBezTo>
                  <a:cubicBezTo>
                    <a:pt x="33" y="3"/>
                    <a:pt x="33" y="3"/>
                    <a:pt x="33" y="3"/>
                  </a:cubicBezTo>
                  <a:cubicBezTo>
                    <a:pt x="32" y="3"/>
                    <a:pt x="32" y="3"/>
                    <a:pt x="32" y="3"/>
                  </a:cubicBezTo>
                  <a:cubicBezTo>
                    <a:pt x="30" y="2"/>
                    <a:pt x="30" y="2"/>
                    <a:pt x="30" y="2"/>
                  </a:cubicBezTo>
                  <a:cubicBezTo>
                    <a:pt x="30" y="2"/>
                    <a:pt x="30" y="2"/>
                    <a:pt x="30" y="2"/>
                  </a:cubicBezTo>
                  <a:cubicBezTo>
                    <a:pt x="27" y="1"/>
                    <a:pt x="24" y="0"/>
                    <a:pt x="21" y="0"/>
                  </a:cubicBezTo>
                </a:path>
              </a:pathLst>
            </a:cu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spTree>
    <p:extLst>
      <p:ext uri="{BB962C8B-B14F-4D97-AF65-F5344CB8AC3E}">
        <p14:creationId xmlns:p14="http://schemas.microsoft.com/office/powerpoint/2010/main" val="103868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03460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67008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30697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2527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9960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latin typeface="Qualcomm Next" pitchFamily="50" charset="0"/>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Qualcomm Next" pitchFamily="50" charset="0"/>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6159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latin typeface="Qualcomm Next" pitchFamily="50" charset="0"/>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latin typeface="Qualcomm Next" pitchFamily="50" charset="0"/>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65750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90832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77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6959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5365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0192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426593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109151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32129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10383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90383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84107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Qualcomm and Snapdragon are trademarks or registered trademarks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1113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7851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21348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95196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81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651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7427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77944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26534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68979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21480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15343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30866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5648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06546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1040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2442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80492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99457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91600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78994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93501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73549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61937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49171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26776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0588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63428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85581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D2246FF4-5C3D-473C-B3FF-4C0A7056FA2E}"/>
                  </a:ext>
                </a:extLst>
              </p14:cNvPr>
              <p14:cNvContentPartPr/>
              <p14:nvPr userDrawn="1"/>
            </p14:nvContentPartPr>
            <p14:xfrm>
              <a:off x="8145224" y="6609376"/>
              <a:ext cx="9072" cy="4608"/>
            </p14:xfrm>
          </p:contentPart>
        </mc:Choice>
        <mc:Fallback xmlns="">
          <p:pic>
            <p:nvPicPr>
              <p:cNvPr id="2" name="Ink 1">
                <a:extLst>
                  <a:ext uri="{FF2B5EF4-FFF2-40B4-BE49-F238E27FC236}">
                    <a16:creationId xmlns:a16="http://schemas.microsoft.com/office/drawing/2014/main" id="{D2246FF4-5C3D-473C-B3FF-4C0A7056FA2E}"/>
                  </a:ext>
                </a:extLst>
              </p:cNvPr>
              <p:cNvPicPr/>
              <p:nvPr/>
            </p:nvPicPr>
            <p:blipFill>
              <a:blip r:embed="rId3"/>
              <a:stretch>
                <a:fillRect/>
              </a:stretch>
            </p:blipFill>
            <p:spPr>
              <a:xfrm>
                <a:off x="8141595" y="6605831"/>
                <a:ext cx="15967" cy="11343"/>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57488EDB-6A64-4E7A-8BD3-8FD86C89C038}"/>
                  </a:ext>
                </a:extLst>
              </p14:cNvPr>
              <p14:cNvContentPartPr/>
              <p14:nvPr userDrawn="1"/>
            </p14:nvContentPartPr>
            <p14:xfrm>
              <a:off x="8149688" y="6520528"/>
              <a:ext cx="9072" cy="144"/>
            </p14:xfrm>
          </p:contentPart>
        </mc:Choice>
        <mc:Fallback xmlns="">
          <p:pic>
            <p:nvPicPr>
              <p:cNvPr id="4" name="Ink 3">
                <a:extLst>
                  <a:ext uri="{FF2B5EF4-FFF2-40B4-BE49-F238E27FC236}">
                    <a16:creationId xmlns:a16="http://schemas.microsoft.com/office/drawing/2014/main" id="{57488EDB-6A64-4E7A-8BD3-8FD86C89C038}"/>
                  </a:ext>
                </a:extLst>
              </p:cNvPr>
              <p:cNvPicPr/>
              <p:nvPr/>
            </p:nvPicPr>
            <p:blipFill>
              <a:blip r:embed="rId5"/>
              <a:stretch>
                <a:fillRect/>
              </a:stretch>
            </p:blipFill>
            <p:spPr>
              <a:xfrm>
                <a:off x="8146199" y="6519088"/>
                <a:ext cx="15702" cy="2880"/>
              </a:xfrm>
              <a:prstGeom prst="rect">
                <a:avLst/>
              </a:prstGeom>
            </p:spPr>
          </p:pic>
        </mc:Fallback>
      </mc:AlternateContent>
    </p:spTree>
    <p:extLst>
      <p:ext uri="{BB962C8B-B14F-4D97-AF65-F5344CB8AC3E}">
        <p14:creationId xmlns:p14="http://schemas.microsoft.com/office/powerpoint/2010/main" val="76357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67241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02367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0069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67453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168208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36140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94209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40315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34181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5053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36961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96585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782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9251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8754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5879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904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51511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74075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56474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865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0424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80742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1_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C0654CC4-725A-43B9-BDE5-0E4BF4BD43DA}"/>
              </a:ext>
            </a:extLst>
          </p:cNvPr>
          <p:cNvSpPr>
            <a:spLocks noGrp="1"/>
          </p:cNvSpPr>
          <p:nvPr>
            <p:ph type="ftr" sz="quarter" idx="3"/>
          </p:nvPr>
        </p:nvSpPr>
        <p:spPr>
          <a:xfrm>
            <a:off x="477078" y="6484546"/>
            <a:ext cx="356616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IBC 2023</a:t>
            </a:r>
          </a:p>
        </p:txBody>
      </p:sp>
    </p:spTree>
    <p:extLst>
      <p:ext uri="{BB962C8B-B14F-4D97-AF65-F5344CB8AC3E}">
        <p14:creationId xmlns:p14="http://schemas.microsoft.com/office/powerpoint/2010/main" val="212075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95534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10788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664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451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72893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65963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2511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3398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8659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5563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0252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9055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6029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41950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13172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22834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9200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01267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25747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456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7024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08895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601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6878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304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297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2391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182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301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7614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6043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370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556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1558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7413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45143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47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05100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746937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52315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278771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2987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7323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7790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703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865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75122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168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5352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83356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90338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0787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34531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3087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5342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9097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771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386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3889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7990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3199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8481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4407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0345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590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7942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33936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4180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094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3662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42248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5494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0229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60267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36484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4466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2844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84688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12996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4949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5174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3139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67136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63032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1826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9000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591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4824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43670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91411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1668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118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67445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6617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4188" y="1719072"/>
            <a:ext cx="11190585"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12497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413788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128889"/>
            <a:ext cx="3940004" cy="98058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15" name="TextBox 14">
            <a:extLst>
              <a:ext uri="{FF2B5EF4-FFF2-40B4-BE49-F238E27FC236}">
                <a16:creationId xmlns:a16="http://schemas.microsoft.com/office/drawing/2014/main" id="{EA5B5189-69A1-47BC-BD79-D73DFFB29359}"/>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4260FD85-9A18-4996-BED2-E9130B09695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57488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85662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5923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71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66700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227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60475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1765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6586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7717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1708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6045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6827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0512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782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2836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169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6176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0325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74606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1630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205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778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044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87406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335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600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561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3185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7153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8781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75269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53854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59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3804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607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1951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14205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5621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6801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715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7747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490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459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96740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5193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59339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32747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39604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12304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8223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7778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9326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5514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453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4565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8980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6862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15349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2144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49220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77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4225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9846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670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72389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028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3843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59907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95346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2118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34675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03989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09901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39827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03702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94662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9883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50175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13385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00881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8516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9705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97308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4281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2276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3.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1651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931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1378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373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796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1" hasCustomPrompt="1"/>
          </p:nvPr>
        </p:nvSpPr>
        <p:spPr>
          <a:xfrm>
            <a:off x="285792" y="1208599"/>
            <a:ext cx="11654367" cy="5866221"/>
          </a:xfrm>
          <a:prstGeom prst="rect">
            <a:avLst/>
          </a:prstGeom>
        </p:spPr>
        <p:txBody>
          <a:bodyPr/>
          <a:lstStyle>
            <a:lvl1pPr>
              <a:lnSpc>
                <a:spcPct val="120000"/>
              </a:lnSpc>
              <a:defRPr baseline="0">
                <a:solidFill>
                  <a:schemeClr val="tx1">
                    <a:lumMod val="75000"/>
                    <a:lumOff val="25000"/>
                  </a:schemeClr>
                </a:solidFill>
              </a:defRPr>
            </a:lvl1pPr>
            <a:lvl2pPr>
              <a:lnSpc>
                <a:spcPct val="120000"/>
              </a:lnSpc>
              <a:defRPr>
                <a:solidFill>
                  <a:schemeClr val="tx1">
                    <a:lumMod val="75000"/>
                    <a:lumOff val="25000"/>
                  </a:schemeClr>
                </a:solidFill>
              </a:defRPr>
            </a:lvl2pPr>
            <a:lvl3pPr marL="572916" indent="-239641">
              <a:lnSpc>
                <a:spcPct val="120000"/>
              </a:lnSpc>
              <a:defRPr>
                <a:solidFill>
                  <a:schemeClr val="tx1">
                    <a:lumMod val="75000"/>
                    <a:lumOff val="25000"/>
                  </a:schemeClr>
                </a:solidFill>
              </a:defRPr>
            </a:lvl3pPr>
            <a:lvl4pPr marL="853819" indent="-230119">
              <a:lnSpc>
                <a:spcPct val="120000"/>
              </a:lnSpc>
              <a:defRPr>
                <a:solidFill>
                  <a:schemeClr val="tx1">
                    <a:lumMod val="75000"/>
                    <a:lumOff val="25000"/>
                  </a:schemeClr>
                </a:solidFill>
              </a:defRPr>
            </a:lvl4pPr>
            <a:lvl5pPr marL="1144245" indent="-247576">
              <a:lnSpc>
                <a:spcPct val="120000"/>
              </a:lnSpc>
              <a:defRPr>
                <a:solidFill>
                  <a:schemeClr val="tx1">
                    <a:lumMod val="75000"/>
                    <a:lumOff val="25000"/>
                  </a:schemeClr>
                </a:solidFill>
              </a:defRPr>
            </a:lvl5pPr>
            <a:lvl6pPr>
              <a:lnSpc>
                <a:spcPct val="120000"/>
              </a:lnSpc>
              <a:defRPr>
                <a:solidFill>
                  <a:schemeClr val="tx1">
                    <a:lumMod val="75000"/>
                    <a:lumOff val="25000"/>
                  </a:schemeClr>
                </a:solidFill>
              </a:defRPr>
            </a:lvl6pPr>
            <a:lvl7pPr>
              <a:lnSpc>
                <a:spcPct val="120000"/>
              </a:lnSpc>
              <a:defRPr>
                <a:solidFill>
                  <a:schemeClr val="tx1">
                    <a:lumMod val="75000"/>
                    <a:lumOff val="25000"/>
                  </a:schemeClr>
                </a:solidFill>
              </a:defRPr>
            </a:lvl7pPr>
            <a:lvl8pPr marL="642745" indent="-214249">
              <a:lnSpc>
                <a:spcPct val="120000"/>
              </a:lnSpc>
              <a:defRPr>
                <a:solidFill>
                  <a:schemeClr val="tx1">
                    <a:lumMod val="75000"/>
                    <a:lumOff val="25000"/>
                  </a:schemeClr>
                </a:solidFill>
              </a:defRPr>
            </a:lvl8pPr>
            <a:lvl9pPr marL="557046" indent="-128549">
              <a:lnSpc>
                <a:spcPct val="120000"/>
              </a:lnSpc>
              <a:defRPr>
                <a:solidFill>
                  <a:schemeClr val="tx1">
                    <a:lumMod val="75000"/>
                    <a:lumOff val="25000"/>
                  </a:schemeClr>
                </a:solidFill>
              </a:defRPr>
            </a:lvl9pPr>
          </a:lstStyle>
          <a:p>
            <a:pPr lvl="0"/>
            <a:r>
              <a:rPr lang="en-US"/>
              <a:t>Click to add text (for a bullet list, use Level 2) or click one of the content icons to add content of that type.</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7"/>
            <a:r>
              <a:rPr lang="en-US"/>
              <a:t>Eighth</a:t>
            </a:r>
          </a:p>
          <a:p>
            <a:pPr lvl="7"/>
            <a:r>
              <a:rPr lang="en-US"/>
              <a:t>Eighth</a:t>
            </a:r>
          </a:p>
          <a:p>
            <a:pPr lvl="7"/>
            <a:r>
              <a:rPr lang="en-US"/>
              <a:t>Eighth</a:t>
            </a:r>
          </a:p>
          <a:p>
            <a:pPr lvl="8"/>
            <a:r>
              <a:rPr lang="en-US"/>
              <a:t>Ninth</a:t>
            </a:r>
          </a:p>
          <a:p>
            <a:pPr lvl="8"/>
            <a:r>
              <a:rPr lang="en-US"/>
              <a:t>Ninth</a:t>
            </a:r>
          </a:p>
        </p:txBody>
      </p:sp>
      <p:sp>
        <p:nvSpPr>
          <p:cNvPr id="2" name="Title 1"/>
          <p:cNvSpPr>
            <a:spLocks noGrp="1"/>
          </p:cNvSpPr>
          <p:nvPr>
            <p:ph type="title"/>
          </p:nvPr>
        </p:nvSpPr>
        <p:spPr>
          <a:xfrm>
            <a:off x="289639" y="416092"/>
            <a:ext cx="11650520" cy="525850"/>
          </a:xfrm>
          <a:prstGeom prst="rect">
            <a:avLst/>
          </a:prstGeom>
        </p:spPr>
        <p:txBody>
          <a:bodyPr/>
          <a:lstStyle>
            <a:lvl1pPr>
              <a:defRPr b="1">
                <a:solidFill>
                  <a:schemeClr val="tx1">
                    <a:lumMod val="65000"/>
                    <a:lumOff val="35000"/>
                  </a:schemeClr>
                </a:solidFill>
              </a:defRPr>
            </a:lvl1pPr>
          </a:lstStyle>
          <a:p>
            <a:r>
              <a:rPr lang="en-US"/>
              <a:t>Click to edit Master title style</a:t>
            </a:r>
          </a:p>
        </p:txBody>
      </p:sp>
      <p:sp>
        <p:nvSpPr>
          <p:cNvPr id="5" name="Footer Placeholder 4" descr="Footer"/>
          <p:cNvSpPr>
            <a:spLocks noGrp="1"/>
          </p:cNvSpPr>
          <p:nvPr>
            <p:ph type="ftr" sz="quarter" idx="12"/>
          </p:nvPr>
        </p:nvSpPr>
        <p:spPr>
          <a:xfrm>
            <a:off x="119533" y="6478292"/>
            <a:ext cx="632137" cy="232476"/>
          </a:xfrm>
          <a:prstGeom prst="rect">
            <a:avLst/>
          </a:prstGeom>
        </p:spPr>
        <p:txBody>
          <a:bodyPr/>
          <a:lstStyle/>
          <a:p>
            <a:r>
              <a:rPr lang="en-US"/>
              <a:t>IBC 2023</a:t>
            </a:r>
          </a:p>
        </p:txBody>
      </p:sp>
    </p:spTree>
    <p:extLst>
      <p:ext uri="{BB962C8B-B14F-4D97-AF65-F5344CB8AC3E}">
        <p14:creationId xmlns:p14="http://schemas.microsoft.com/office/powerpoint/2010/main" val="15301341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userDrawn="1">
  <p:cSld name="Teal_Blank">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3">
                    <a:lumMod val="60000"/>
                    <a:lumOff val="40000"/>
                  </a:schemeClr>
                </a:solidFill>
                <a:latin typeface="+mn-lt"/>
                <a:ea typeface="+mn-ea"/>
                <a:cs typeface="+mn-cs"/>
              </a:defRPr>
            </a:lvl1pPr>
          </a:lstStyle>
          <a:p>
            <a:pPr>
              <a:spcAft>
                <a:spcPts val="0"/>
              </a:spcAft>
              <a:defRPr/>
            </a:pPr>
            <a:r>
              <a:rPr lang="en-US">
                <a:solidFill>
                  <a:schemeClr val="accent3">
                    <a:lumMod val="60000"/>
                    <a:lumOff val="40000"/>
                  </a:schemeClr>
                </a:solidFill>
              </a:rPr>
              <a:t>IBC 2023</a:t>
            </a:r>
          </a:p>
        </p:txBody>
      </p:sp>
      <p:sp>
        <p:nvSpPr>
          <p:cNvPr id="4" name="TextBox 3">
            <a:extLst>
              <a:ext uri="{FF2B5EF4-FFF2-40B4-BE49-F238E27FC236}">
                <a16:creationId xmlns:a16="http://schemas.microsoft.com/office/drawing/2014/main" id="{7F6B9F75-DB7A-4F88-B7FE-0858ED3F285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Tree>
    <p:extLst>
      <p:ext uri="{BB962C8B-B14F-4D97-AF65-F5344CB8AC3E}">
        <p14:creationId xmlns:p14="http://schemas.microsoft.com/office/powerpoint/2010/main" val="3072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717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endParaRPr lang="en-US" dirty="0"/>
          </a:p>
        </p:txBody>
      </p:sp>
    </p:spTree>
    <p:extLst>
      <p:ext uri="{BB962C8B-B14F-4D97-AF65-F5344CB8AC3E}">
        <p14:creationId xmlns:p14="http://schemas.microsoft.com/office/powerpoint/2010/main" val="219733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endParaRPr lang="en-US" dirty="0"/>
          </a:p>
        </p:txBody>
      </p:sp>
    </p:spTree>
    <p:extLst>
      <p:ext uri="{BB962C8B-B14F-4D97-AF65-F5344CB8AC3E}">
        <p14:creationId xmlns:p14="http://schemas.microsoft.com/office/powerpoint/2010/main" val="132778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60449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7044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9537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300091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24793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46240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8678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3726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419766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49256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9134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3781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Agenda 2 Dark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5142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1_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62956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0192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1162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7210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2013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43787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412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097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225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142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379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895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644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902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288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9549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6845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8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8295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69528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3099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7705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755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17208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413607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475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6137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3562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830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6878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329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09395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7348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2169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54455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09985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3653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5223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5140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8648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3514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3301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5987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0105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7531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202159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705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782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123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2601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5696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5225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9855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8896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0946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01160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5270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4593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44053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81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19891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74222" cy="1657338"/>
          </a:xfrm>
          <a:prstGeom prst="rect">
            <a:avLst/>
          </a:prstGeom>
        </p:spPr>
        <p:txBody>
          <a:bodyPr anchor="t">
            <a:normAutofit/>
          </a:bodyPr>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299" y="6532895"/>
            <a:ext cx="357422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4732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84389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79384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623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67972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2638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8234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11699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3833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0828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9-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6472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22480" y="2557766"/>
            <a:ext cx="3574222"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22479" y="5034191"/>
            <a:ext cx="357422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8127386" y="611410"/>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1418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9506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7752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55542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68788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4.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54759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79137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61079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55634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419866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7524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83197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6817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4206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4244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8789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58747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0898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1460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23723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86096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88590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4665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1151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56334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6658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288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8411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612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808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6377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5869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7427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3304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9168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4234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5969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5815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79412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74052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2624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26072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358907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7591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3879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8258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7461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94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4234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8163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7644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5986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7062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77925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3673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03081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0501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592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2278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3384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60439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7723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6688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41387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3168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83491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0394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6490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148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374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8802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19588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11533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19561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86107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27264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6799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7758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95291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00346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65010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369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44602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8122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78859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15904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6873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961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IBC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6487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34252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9955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2.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2930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3.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62339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5131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25992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1759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Cutaway 1/4 Left Gun Metal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3188494"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Tree>
    <p:extLst>
      <p:ext uri="{BB962C8B-B14F-4D97-AF65-F5344CB8AC3E}">
        <p14:creationId xmlns:p14="http://schemas.microsoft.com/office/powerpoint/2010/main" val="416197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nn-NO"/>
              <a:t>IBC 2023</a:t>
            </a:r>
            <a:endParaRPr lang="en-US"/>
          </a:p>
        </p:txBody>
      </p:sp>
    </p:spTree>
    <p:extLst>
      <p:ext uri="{BB962C8B-B14F-4D97-AF65-F5344CB8AC3E}">
        <p14:creationId xmlns:p14="http://schemas.microsoft.com/office/powerpoint/2010/main" val="121443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9.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IBC 2023</a:t>
            </a:r>
          </a:p>
        </p:txBody>
      </p:sp>
    </p:spTree>
    <p:extLst>
      <p:ext uri="{BB962C8B-B14F-4D97-AF65-F5344CB8AC3E}">
        <p14:creationId xmlns:p14="http://schemas.microsoft.com/office/powerpoint/2010/main" val="402025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7912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1487330"/>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0657562"/>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862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2.xml><?xml version="1.0" encoding="utf-8"?>
<p:sldLayout xmlns:a="http://schemas.openxmlformats.org/drawingml/2006/main" xmlns:r="http://schemas.openxmlformats.org/officeDocument/2006/relationships" xmlns:p="http://schemas.openxmlformats.org/presentationml/2006/main" userDrawn="1">
  <p:cSld name="Shelf Midnight_Off-white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50152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userDrawn="1">
  <p:cSld name="Light Blue_Blank">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pPr>
              <a:spcAft>
                <a:spcPts val="0"/>
              </a:spcAft>
              <a:defRPr/>
            </a:pPr>
            <a:r>
              <a:rPr lang="en-US"/>
              <a:t>IBC 2023</a:t>
            </a:r>
          </a:p>
        </p:txBody>
      </p:sp>
      <p:sp>
        <p:nvSpPr>
          <p:cNvPr id="4" name="TextBox 3">
            <a:extLst>
              <a:ext uri="{FF2B5EF4-FFF2-40B4-BE49-F238E27FC236}">
                <a16:creationId xmlns:a16="http://schemas.microsoft.com/office/drawing/2014/main" id="{CDCE04BC-8D95-4475-8947-8F6C673F7AD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Tree>
    <p:extLst>
      <p:ext uri="{BB962C8B-B14F-4D97-AF65-F5344CB8AC3E}">
        <p14:creationId xmlns:p14="http://schemas.microsoft.com/office/powerpoint/2010/main" val="173667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1" hasCustomPrompt="1"/>
          </p:nvPr>
        </p:nvSpPr>
        <p:spPr>
          <a:xfrm>
            <a:off x="285792" y="1208599"/>
            <a:ext cx="11654367" cy="5866221"/>
          </a:xfrm>
          <a:prstGeom prst="rect">
            <a:avLst/>
          </a:prstGeom>
        </p:spPr>
        <p:txBody>
          <a:bodyPr/>
          <a:lstStyle>
            <a:lvl1pPr>
              <a:lnSpc>
                <a:spcPct val="120000"/>
              </a:lnSpc>
              <a:defRPr baseline="0">
                <a:solidFill>
                  <a:schemeClr val="tx1">
                    <a:lumMod val="75000"/>
                    <a:lumOff val="25000"/>
                  </a:schemeClr>
                </a:solidFill>
              </a:defRPr>
            </a:lvl1pPr>
            <a:lvl2pPr>
              <a:lnSpc>
                <a:spcPct val="120000"/>
              </a:lnSpc>
              <a:defRPr>
                <a:solidFill>
                  <a:schemeClr val="tx1">
                    <a:lumMod val="75000"/>
                    <a:lumOff val="25000"/>
                  </a:schemeClr>
                </a:solidFill>
              </a:defRPr>
            </a:lvl2pPr>
            <a:lvl3pPr marL="572916" indent="-239641">
              <a:lnSpc>
                <a:spcPct val="120000"/>
              </a:lnSpc>
              <a:defRPr>
                <a:solidFill>
                  <a:schemeClr val="tx1">
                    <a:lumMod val="75000"/>
                    <a:lumOff val="25000"/>
                  </a:schemeClr>
                </a:solidFill>
              </a:defRPr>
            </a:lvl3pPr>
            <a:lvl4pPr marL="853819" indent="-230119">
              <a:lnSpc>
                <a:spcPct val="120000"/>
              </a:lnSpc>
              <a:defRPr>
                <a:solidFill>
                  <a:schemeClr val="tx1">
                    <a:lumMod val="75000"/>
                    <a:lumOff val="25000"/>
                  </a:schemeClr>
                </a:solidFill>
              </a:defRPr>
            </a:lvl4pPr>
            <a:lvl5pPr marL="1144245" indent="-247576">
              <a:lnSpc>
                <a:spcPct val="120000"/>
              </a:lnSpc>
              <a:defRPr>
                <a:solidFill>
                  <a:schemeClr val="tx1">
                    <a:lumMod val="75000"/>
                    <a:lumOff val="25000"/>
                  </a:schemeClr>
                </a:solidFill>
              </a:defRPr>
            </a:lvl5pPr>
            <a:lvl6pPr>
              <a:lnSpc>
                <a:spcPct val="120000"/>
              </a:lnSpc>
              <a:defRPr>
                <a:solidFill>
                  <a:schemeClr val="tx1">
                    <a:lumMod val="75000"/>
                    <a:lumOff val="25000"/>
                  </a:schemeClr>
                </a:solidFill>
              </a:defRPr>
            </a:lvl6pPr>
            <a:lvl7pPr>
              <a:lnSpc>
                <a:spcPct val="120000"/>
              </a:lnSpc>
              <a:defRPr>
                <a:solidFill>
                  <a:schemeClr val="tx1">
                    <a:lumMod val="75000"/>
                    <a:lumOff val="25000"/>
                  </a:schemeClr>
                </a:solidFill>
              </a:defRPr>
            </a:lvl7pPr>
            <a:lvl8pPr marL="642745" indent="-214249">
              <a:lnSpc>
                <a:spcPct val="120000"/>
              </a:lnSpc>
              <a:defRPr>
                <a:solidFill>
                  <a:schemeClr val="tx1">
                    <a:lumMod val="75000"/>
                    <a:lumOff val="25000"/>
                  </a:schemeClr>
                </a:solidFill>
              </a:defRPr>
            </a:lvl8pPr>
            <a:lvl9pPr marL="557046" indent="-128549">
              <a:lnSpc>
                <a:spcPct val="120000"/>
              </a:lnSpc>
              <a:defRPr>
                <a:solidFill>
                  <a:schemeClr val="tx1">
                    <a:lumMod val="75000"/>
                    <a:lumOff val="25000"/>
                  </a:schemeClr>
                </a:solidFill>
              </a:defRPr>
            </a:lvl9pPr>
          </a:lstStyle>
          <a:p>
            <a:pPr lvl="0"/>
            <a:r>
              <a:rPr lang="en-US"/>
              <a:t>Click to add text (for a bullet list, use Level 2) or click one of the content icons to add content of that type.</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7"/>
            <a:r>
              <a:rPr lang="en-US"/>
              <a:t>Eighth</a:t>
            </a:r>
          </a:p>
          <a:p>
            <a:pPr lvl="7"/>
            <a:r>
              <a:rPr lang="en-US"/>
              <a:t>Eighth</a:t>
            </a:r>
          </a:p>
          <a:p>
            <a:pPr lvl="7"/>
            <a:r>
              <a:rPr lang="en-US"/>
              <a:t>Eighth</a:t>
            </a:r>
          </a:p>
          <a:p>
            <a:pPr lvl="8"/>
            <a:r>
              <a:rPr lang="en-US"/>
              <a:t>Ninth</a:t>
            </a:r>
          </a:p>
          <a:p>
            <a:pPr lvl="8"/>
            <a:r>
              <a:rPr lang="en-US"/>
              <a:t>Ninth</a:t>
            </a:r>
          </a:p>
        </p:txBody>
      </p:sp>
      <p:sp>
        <p:nvSpPr>
          <p:cNvPr id="2" name="Title 1"/>
          <p:cNvSpPr>
            <a:spLocks noGrp="1"/>
          </p:cNvSpPr>
          <p:nvPr>
            <p:ph type="title"/>
          </p:nvPr>
        </p:nvSpPr>
        <p:spPr>
          <a:xfrm>
            <a:off x="289639" y="416092"/>
            <a:ext cx="11650520" cy="525850"/>
          </a:xfrm>
          <a:prstGeom prst="rect">
            <a:avLst/>
          </a:prstGeom>
        </p:spPr>
        <p:txBody>
          <a:bodyPr/>
          <a:lstStyle>
            <a:lvl1pPr>
              <a:defRPr b="1">
                <a:solidFill>
                  <a:schemeClr val="tx1">
                    <a:lumMod val="65000"/>
                    <a:lumOff val="35000"/>
                  </a:schemeClr>
                </a:solidFill>
              </a:defRPr>
            </a:lvl1pPr>
          </a:lstStyle>
          <a:p>
            <a:r>
              <a:rPr lang="en-US"/>
              <a:t>Click to edit Master title style</a:t>
            </a:r>
          </a:p>
        </p:txBody>
      </p:sp>
      <p:sp>
        <p:nvSpPr>
          <p:cNvPr id="5" name="Footer Placeholder 4" descr="Footer"/>
          <p:cNvSpPr>
            <a:spLocks noGrp="1"/>
          </p:cNvSpPr>
          <p:nvPr>
            <p:ph type="ftr" sz="quarter" idx="12"/>
          </p:nvPr>
        </p:nvSpPr>
        <p:spPr>
          <a:xfrm>
            <a:off x="119533" y="6478292"/>
            <a:ext cx="632137" cy="232476"/>
          </a:xfrm>
          <a:prstGeom prst="rect">
            <a:avLst/>
          </a:prstGeom>
        </p:spPr>
        <p:txBody>
          <a:bodyPr/>
          <a:lstStyle/>
          <a:p>
            <a:r>
              <a:rPr lang="en-US"/>
              <a:t>IBC 2023</a:t>
            </a:r>
          </a:p>
        </p:txBody>
      </p:sp>
    </p:spTree>
    <p:extLst>
      <p:ext uri="{BB962C8B-B14F-4D97-AF65-F5344CB8AC3E}">
        <p14:creationId xmlns:p14="http://schemas.microsoft.com/office/powerpoint/2010/main" val="281610043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789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dirty="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8816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7.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97899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8.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dirty="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endParaRPr lang="en-US" dirty="0"/>
          </a:p>
        </p:txBody>
      </p:sp>
    </p:spTree>
    <p:extLst>
      <p:ext uri="{BB962C8B-B14F-4D97-AF65-F5344CB8AC3E}">
        <p14:creationId xmlns:p14="http://schemas.microsoft.com/office/powerpoint/2010/main" val="230293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9.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6068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37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dirty="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1784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44112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dirty="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66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dirty="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dirty="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dirty="0">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97589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050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472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82301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373481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dirty="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dirty="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dirty="0">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80947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12386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15812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3684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241260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endParaRPr lang="en-US" dirty="0"/>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45219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IBC 2023</a:t>
            </a:r>
            <a:endParaRPr lang="en-US" dirty="0"/>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endParaRPr lang="en-US" dirty="0"/>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9644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42467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4761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5286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59291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21192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19412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IBC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3643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04227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IBC 2023</a:t>
            </a:r>
            <a:endParaRPr lang="en-US" dirty="0"/>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060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231761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394606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362225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403239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21235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349557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Tree>
    <p:extLst>
      <p:ext uri="{BB962C8B-B14F-4D97-AF65-F5344CB8AC3E}">
        <p14:creationId xmlns:p14="http://schemas.microsoft.com/office/powerpoint/2010/main" val="83392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IBC 2023</a:t>
            </a:r>
            <a:endParaRPr lang="en-US" dirty="0"/>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98925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9" Type="http://schemas.openxmlformats.org/officeDocument/2006/relationships/slideLayout" Target="../slideLayouts/slideLayout656.xml"/><Relationship Id="rId21" Type="http://schemas.openxmlformats.org/officeDocument/2006/relationships/slideLayout" Target="../slideLayouts/slideLayout638.xml"/><Relationship Id="rId34" Type="http://schemas.openxmlformats.org/officeDocument/2006/relationships/slideLayout" Target="../slideLayouts/slideLayout651.xml"/><Relationship Id="rId42" Type="http://schemas.openxmlformats.org/officeDocument/2006/relationships/slideLayout" Target="../slideLayouts/slideLayout659.xml"/><Relationship Id="rId47" Type="http://schemas.openxmlformats.org/officeDocument/2006/relationships/slideLayout" Target="../slideLayouts/slideLayout664.xml"/><Relationship Id="rId50" Type="http://schemas.openxmlformats.org/officeDocument/2006/relationships/slideLayout" Target="../slideLayouts/slideLayout667.xml"/><Relationship Id="rId55" Type="http://schemas.openxmlformats.org/officeDocument/2006/relationships/slideLayout" Target="../slideLayouts/slideLayout672.xml"/><Relationship Id="rId63" Type="http://schemas.openxmlformats.org/officeDocument/2006/relationships/slideLayout" Target="../slideLayouts/slideLayout680.xml"/><Relationship Id="rId68" Type="http://schemas.openxmlformats.org/officeDocument/2006/relationships/slideLayout" Target="../slideLayouts/slideLayout685.xml"/><Relationship Id="rId76" Type="http://schemas.openxmlformats.org/officeDocument/2006/relationships/slideLayout" Target="../slideLayouts/slideLayout693.xml"/><Relationship Id="rId84" Type="http://schemas.openxmlformats.org/officeDocument/2006/relationships/slideLayout" Target="../slideLayouts/slideLayout701.xml"/><Relationship Id="rId89" Type="http://schemas.openxmlformats.org/officeDocument/2006/relationships/theme" Target="../theme/theme10.xml"/><Relationship Id="rId7" Type="http://schemas.openxmlformats.org/officeDocument/2006/relationships/slideLayout" Target="../slideLayouts/slideLayout624.xml"/><Relationship Id="rId71" Type="http://schemas.openxmlformats.org/officeDocument/2006/relationships/slideLayout" Target="../slideLayouts/slideLayout688.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9" Type="http://schemas.openxmlformats.org/officeDocument/2006/relationships/slideLayout" Target="../slideLayouts/slideLayout646.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37" Type="http://schemas.openxmlformats.org/officeDocument/2006/relationships/slideLayout" Target="../slideLayouts/slideLayout654.xml"/><Relationship Id="rId40" Type="http://schemas.openxmlformats.org/officeDocument/2006/relationships/slideLayout" Target="../slideLayouts/slideLayout657.xml"/><Relationship Id="rId45" Type="http://schemas.openxmlformats.org/officeDocument/2006/relationships/slideLayout" Target="../slideLayouts/slideLayout662.xml"/><Relationship Id="rId53" Type="http://schemas.openxmlformats.org/officeDocument/2006/relationships/slideLayout" Target="../slideLayouts/slideLayout670.xml"/><Relationship Id="rId58" Type="http://schemas.openxmlformats.org/officeDocument/2006/relationships/slideLayout" Target="../slideLayouts/slideLayout675.xml"/><Relationship Id="rId66" Type="http://schemas.openxmlformats.org/officeDocument/2006/relationships/slideLayout" Target="../slideLayouts/slideLayout683.xml"/><Relationship Id="rId74" Type="http://schemas.openxmlformats.org/officeDocument/2006/relationships/slideLayout" Target="../slideLayouts/slideLayout691.xml"/><Relationship Id="rId79" Type="http://schemas.openxmlformats.org/officeDocument/2006/relationships/slideLayout" Target="../slideLayouts/slideLayout696.xml"/><Relationship Id="rId87" Type="http://schemas.openxmlformats.org/officeDocument/2006/relationships/slideLayout" Target="../slideLayouts/slideLayout704.xml"/><Relationship Id="rId5" Type="http://schemas.openxmlformats.org/officeDocument/2006/relationships/slideLayout" Target="../slideLayouts/slideLayout622.xml"/><Relationship Id="rId61" Type="http://schemas.openxmlformats.org/officeDocument/2006/relationships/slideLayout" Target="../slideLayouts/slideLayout678.xml"/><Relationship Id="rId82" Type="http://schemas.openxmlformats.org/officeDocument/2006/relationships/slideLayout" Target="../slideLayouts/slideLayout699.xml"/><Relationship Id="rId19" Type="http://schemas.openxmlformats.org/officeDocument/2006/relationships/slideLayout" Target="../slideLayouts/slideLayout636.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 Id="rId35" Type="http://schemas.openxmlformats.org/officeDocument/2006/relationships/slideLayout" Target="../slideLayouts/slideLayout652.xml"/><Relationship Id="rId43" Type="http://schemas.openxmlformats.org/officeDocument/2006/relationships/slideLayout" Target="../slideLayouts/slideLayout660.xml"/><Relationship Id="rId48" Type="http://schemas.openxmlformats.org/officeDocument/2006/relationships/slideLayout" Target="../slideLayouts/slideLayout665.xml"/><Relationship Id="rId56" Type="http://schemas.openxmlformats.org/officeDocument/2006/relationships/slideLayout" Target="../slideLayouts/slideLayout673.xml"/><Relationship Id="rId64" Type="http://schemas.openxmlformats.org/officeDocument/2006/relationships/slideLayout" Target="../slideLayouts/slideLayout681.xml"/><Relationship Id="rId69" Type="http://schemas.openxmlformats.org/officeDocument/2006/relationships/slideLayout" Target="../slideLayouts/slideLayout686.xml"/><Relationship Id="rId77" Type="http://schemas.openxmlformats.org/officeDocument/2006/relationships/slideLayout" Target="../slideLayouts/slideLayout694.xml"/><Relationship Id="rId8" Type="http://schemas.openxmlformats.org/officeDocument/2006/relationships/slideLayout" Target="../slideLayouts/slideLayout625.xml"/><Relationship Id="rId51" Type="http://schemas.openxmlformats.org/officeDocument/2006/relationships/slideLayout" Target="../slideLayouts/slideLayout668.xml"/><Relationship Id="rId72" Type="http://schemas.openxmlformats.org/officeDocument/2006/relationships/slideLayout" Target="../slideLayouts/slideLayout689.xml"/><Relationship Id="rId80" Type="http://schemas.openxmlformats.org/officeDocument/2006/relationships/slideLayout" Target="../slideLayouts/slideLayout697.xml"/><Relationship Id="rId85" Type="http://schemas.openxmlformats.org/officeDocument/2006/relationships/slideLayout" Target="../slideLayouts/slideLayout702.xml"/><Relationship Id="rId3" Type="http://schemas.openxmlformats.org/officeDocument/2006/relationships/slideLayout" Target="../slideLayouts/slideLayout620.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slideLayout" Target="../slideLayouts/slideLayout650.xml"/><Relationship Id="rId38" Type="http://schemas.openxmlformats.org/officeDocument/2006/relationships/slideLayout" Target="../slideLayouts/slideLayout655.xml"/><Relationship Id="rId46" Type="http://schemas.openxmlformats.org/officeDocument/2006/relationships/slideLayout" Target="../slideLayouts/slideLayout663.xml"/><Relationship Id="rId59" Type="http://schemas.openxmlformats.org/officeDocument/2006/relationships/slideLayout" Target="../slideLayouts/slideLayout676.xml"/><Relationship Id="rId67" Type="http://schemas.openxmlformats.org/officeDocument/2006/relationships/slideLayout" Target="../slideLayouts/slideLayout684.xml"/><Relationship Id="rId20" Type="http://schemas.openxmlformats.org/officeDocument/2006/relationships/slideLayout" Target="../slideLayouts/slideLayout637.xml"/><Relationship Id="rId41" Type="http://schemas.openxmlformats.org/officeDocument/2006/relationships/slideLayout" Target="../slideLayouts/slideLayout658.xml"/><Relationship Id="rId54" Type="http://schemas.openxmlformats.org/officeDocument/2006/relationships/slideLayout" Target="../slideLayouts/slideLayout671.xml"/><Relationship Id="rId62" Type="http://schemas.openxmlformats.org/officeDocument/2006/relationships/slideLayout" Target="../slideLayouts/slideLayout679.xml"/><Relationship Id="rId70" Type="http://schemas.openxmlformats.org/officeDocument/2006/relationships/slideLayout" Target="../slideLayouts/slideLayout687.xml"/><Relationship Id="rId75" Type="http://schemas.openxmlformats.org/officeDocument/2006/relationships/slideLayout" Target="../slideLayouts/slideLayout692.xml"/><Relationship Id="rId83" Type="http://schemas.openxmlformats.org/officeDocument/2006/relationships/slideLayout" Target="../slideLayouts/slideLayout700.xml"/><Relationship Id="rId88" Type="http://schemas.openxmlformats.org/officeDocument/2006/relationships/slideLayout" Target="../slideLayouts/slideLayout705.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36" Type="http://schemas.openxmlformats.org/officeDocument/2006/relationships/slideLayout" Target="../slideLayouts/slideLayout653.xml"/><Relationship Id="rId49" Type="http://schemas.openxmlformats.org/officeDocument/2006/relationships/slideLayout" Target="../slideLayouts/slideLayout666.xml"/><Relationship Id="rId57" Type="http://schemas.openxmlformats.org/officeDocument/2006/relationships/slideLayout" Target="../slideLayouts/slideLayout674.xml"/><Relationship Id="rId10" Type="http://schemas.openxmlformats.org/officeDocument/2006/relationships/slideLayout" Target="../slideLayouts/slideLayout627.xml"/><Relationship Id="rId31" Type="http://schemas.openxmlformats.org/officeDocument/2006/relationships/slideLayout" Target="../slideLayouts/slideLayout648.xml"/><Relationship Id="rId44" Type="http://schemas.openxmlformats.org/officeDocument/2006/relationships/slideLayout" Target="../slideLayouts/slideLayout661.xml"/><Relationship Id="rId52" Type="http://schemas.openxmlformats.org/officeDocument/2006/relationships/slideLayout" Target="../slideLayouts/slideLayout669.xml"/><Relationship Id="rId60" Type="http://schemas.openxmlformats.org/officeDocument/2006/relationships/slideLayout" Target="../slideLayouts/slideLayout677.xml"/><Relationship Id="rId65" Type="http://schemas.openxmlformats.org/officeDocument/2006/relationships/slideLayout" Target="../slideLayouts/slideLayout682.xml"/><Relationship Id="rId73" Type="http://schemas.openxmlformats.org/officeDocument/2006/relationships/slideLayout" Target="../slideLayouts/slideLayout690.xml"/><Relationship Id="rId78" Type="http://schemas.openxmlformats.org/officeDocument/2006/relationships/slideLayout" Target="../slideLayouts/slideLayout695.xml"/><Relationship Id="rId81" Type="http://schemas.openxmlformats.org/officeDocument/2006/relationships/slideLayout" Target="../slideLayouts/slideLayout698.xml"/><Relationship Id="rId86" Type="http://schemas.openxmlformats.org/officeDocument/2006/relationships/slideLayout" Target="../slideLayouts/slideLayout7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718.xml"/><Relationship Id="rId18" Type="http://schemas.openxmlformats.org/officeDocument/2006/relationships/slideLayout" Target="../slideLayouts/slideLayout723.xml"/><Relationship Id="rId26" Type="http://schemas.openxmlformats.org/officeDocument/2006/relationships/slideLayout" Target="../slideLayouts/slideLayout731.xml"/><Relationship Id="rId39" Type="http://schemas.openxmlformats.org/officeDocument/2006/relationships/slideLayout" Target="../slideLayouts/slideLayout744.xml"/><Relationship Id="rId21" Type="http://schemas.openxmlformats.org/officeDocument/2006/relationships/slideLayout" Target="../slideLayouts/slideLayout726.xml"/><Relationship Id="rId34" Type="http://schemas.openxmlformats.org/officeDocument/2006/relationships/slideLayout" Target="../slideLayouts/slideLayout739.xml"/><Relationship Id="rId42" Type="http://schemas.openxmlformats.org/officeDocument/2006/relationships/slideLayout" Target="../slideLayouts/slideLayout747.xml"/><Relationship Id="rId47" Type="http://schemas.openxmlformats.org/officeDocument/2006/relationships/slideLayout" Target="../slideLayouts/slideLayout752.xml"/><Relationship Id="rId50" Type="http://schemas.openxmlformats.org/officeDocument/2006/relationships/slideLayout" Target="../slideLayouts/slideLayout755.xml"/><Relationship Id="rId55" Type="http://schemas.openxmlformats.org/officeDocument/2006/relationships/slideLayout" Target="../slideLayouts/slideLayout760.xml"/><Relationship Id="rId63" Type="http://schemas.openxmlformats.org/officeDocument/2006/relationships/slideLayout" Target="../slideLayouts/slideLayout768.xml"/><Relationship Id="rId68" Type="http://schemas.openxmlformats.org/officeDocument/2006/relationships/slideLayout" Target="../slideLayouts/slideLayout773.xml"/><Relationship Id="rId76" Type="http://schemas.openxmlformats.org/officeDocument/2006/relationships/slideLayout" Target="../slideLayouts/slideLayout781.xml"/><Relationship Id="rId84" Type="http://schemas.openxmlformats.org/officeDocument/2006/relationships/slideLayout" Target="../slideLayouts/slideLayout789.xml"/><Relationship Id="rId7" Type="http://schemas.openxmlformats.org/officeDocument/2006/relationships/slideLayout" Target="../slideLayouts/slideLayout712.xml"/><Relationship Id="rId71" Type="http://schemas.openxmlformats.org/officeDocument/2006/relationships/slideLayout" Target="../slideLayouts/slideLayout776.xml"/><Relationship Id="rId2" Type="http://schemas.openxmlformats.org/officeDocument/2006/relationships/slideLayout" Target="../slideLayouts/slideLayout707.xml"/><Relationship Id="rId16" Type="http://schemas.openxmlformats.org/officeDocument/2006/relationships/slideLayout" Target="../slideLayouts/slideLayout721.xml"/><Relationship Id="rId29" Type="http://schemas.openxmlformats.org/officeDocument/2006/relationships/slideLayout" Target="../slideLayouts/slideLayout734.xml"/><Relationship Id="rId11" Type="http://schemas.openxmlformats.org/officeDocument/2006/relationships/slideLayout" Target="../slideLayouts/slideLayout716.xml"/><Relationship Id="rId24" Type="http://schemas.openxmlformats.org/officeDocument/2006/relationships/slideLayout" Target="../slideLayouts/slideLayout729.xml"/><Relationship Id="rId32" Type="http://schemas.openxmlformats.org/officeDocument/2006/relationships/slideLayout" Target="../slideLayouts/slideLayout737.xml"/><Relationship Id="rId37" Type="http://schemas.openxmlformats.org/officeDocument/2006/relationships/slideLayout" Target="../slideLayouts/slideLayout742.xml"/><Relationship Id="rId40" Type="http://schemas.openxmlformats.org/officeDocument/2006/relationships/slideLayout" Target="../slideLayouts/slideLayout745.xml"/><Relationship Id="rId45" Type="http://schemas.openxmlformats.org/officeDocument/2006/relationships/slideLayout" Target="../slideLayouts/slideLayout750.xml"/><Relationship Id="rId53" Type="http://schemas.openxmlformats.org/officeDocument/2006/relationships/slideLayout" Target="../slideLayouts/slideLayout758.xml"/><Relationship Id="rId58" Type="http://schemas.openxmlformats.org/officeDocument/2006/relationships/slideLayout" Target="../slideLayouts/slideLayout763.xml"/><Relationship Id="rId66" Type="http://schemas.openxmlformats.org/officeDocument/2006/relationships/slideLayout" Target="../slideLayouts/slideLayout771.xml"/><Relationship Id="rId74" Type="http://schemas.openxmlformats.org/officeDocument/2006/relationships/slideLayout" Target="../slideLayouts/slideLayout779.xml"/><Relationship Id="rId79" Type="http://schemas.openxmlformats.org/officeDocument/2006/relationships/slideLayout" Target="../slideLayouts/slideLayout784.xml"/><Relationship Id="rId87" Type="http://schemas.openxmlformats.org/officeDocument/2006/relationships/theme" Target="../theme/theme11.xml"/><Relationship Id="rId5" Type="http://schemas.openxmlformats.org/officeDocument/2006/relationships/slideLayout" Target="../slideLayouts/slideLayout710.xml"/><Relationship Id="rId61" Type="http://schemas.openxmlformats.org/officeDocument/2006/relationships/slideLayout" Target="../slideLayouts/slideLayout766.xml"/><Relationship Id="rId82" Type="http://schemas.openxmlformats.org/officeDocument/2006/relationships/slideLayout" Target="../slideLayouts/slideLayout787.xml"/><Relationship Id="rId19" Type="http://schemas.openxmlformats.org/officeDocument/2006/relationships/slideLayout" Target="../slideLayouts/slideLayout724.xml"/><Relationship Id="rId4" Type="http://schemas.openxmlformats.org/officeDocument/2006/relationships/slideLayout" Target="../slideLayouts/slideLayout709.xml"/><Relationship Id="rId9" Type="http://schemas.openxmlformats.org/officeDocument/2006/relationships/slideLayout" Target="../slideLayouts/slideLayout714.xml"/><Relationship Id="rId14" Type="http://schemas.openxmlformats.org/officeDocument/2006/relationships/slideLayout" Target="../slideLayouts/slideLayout719.xml"/><Relationship Id="rId22" Type="http://schemas.openxmlformats.org/officeDocument/2006/relationships/slideLayout" Target="../slideLayouts/slideLayout727.xml"/><Relationship Id="rId27" Type="http://schemas.openxmlformats.org/officeDocument/2006/relationships/slideLayout" Target="../slideLayouts/slideLayout732.xml"/><Relationship Id="rId30" Type="http://schemas.openxmlformats.org/officeDocument/2006/relationships/slideLayout" Target="../slideLayouts/slideLayout735.xml"/><Relationship Id="rId35" Type="http://schemas.openxmlformats.org/officeDocument/2006/relationships/slideLayout" Target="../slideLayouts/slideLayout740.xml"/><Relationship Id="rId43" Type="http://schemas.openxmlformats.org/officeDocument/2006/relationships/slideLayout" Target="../slideLayouts/slideLayout748.xml"/><Relationship Id="rId48" Type="http://schemas.openxmlformats.org/officeDocument/2006/relationships/slideLayout" Target="../slideLayouts/slideLayout753.xml"/><Relationship Id="rId56" Type="http://schemas.openxmlformats.org/officeDocument/2006/relationships/slideLayout" Target="../slideLayouts/slideLayout761.xml"/><Relationship Id="rId64" Type="http://schemas.openxmlformats.org/officeDocument/2006/relationships/slideLayout" Target="../slideLayouts/slideLayout769.xml"/><Relationship Id="rId69" Type="http://schemas.openxmlformats.org/officeDocument/2006/relationships/slideLayout" Target="../slideLayouts/slideLayout774.xml"/><Relationship Id="rId77" Type="http://schemas.openxmlformats.org/officeDocument/2006/relationships/slideLayout" Target="../slideLayouts/slideLayout782.xml"/><Relationship Id="rId8" Type="http://schemas.openxmlformats.org/officeDocument/2006/relationships/slideLayout" Target="../slideLayouts/slideLayout713.xml"/><Relationship Id="rId51" Type="http://schemas.openxmlformats.org/officeDocument/2006/relationships/slideLayout" Target="../slideLayouts/slideLayout756.xml"/><Relationship Id="rId72" Type="http://schemas.openxmlformats.org/officeDocument/2006/relationships/slideLayout" Target="../slideLayouts/slideLayout777.xml"/><Relationship Id="rId80" Type="http://schemas.openxmlformats.org/officeDocument/2006/relationships/slideLayout" Target="../slideLayouts/slideLayout785.xml"/><Relationship Id="rId85" Type="http://schemas.openxmlformats.org/officeDocument/2006/relationships/slideLayout" Target="../slideLayouts/slideLayout790.xml"/><Relationship Id="rId3" Type="http://schemas.openxmlformats.org/officeDocument/2006/relationships/slideLayout" Target="../slideLayouts/slideLayout708.xml"/><Relationship Id="rId12" Type="http://schemas.openxmlformats.org/officeDocument/2006/relationships/slideLayout" Target="../slideLayouts/slideLayout717.xml"/><Relationship Id="rId17" Type="http://schemas.openxmlformats.org/officeDocument/2006/relationships/slideLayout" Target="../slideLayouts/slideLayout722.xml"/><Relationship Id="rId25" Type="http://schemas.openxmlformats.org/officeDocument/2006/relationships/slideLayout" Target="../slideLayouts/slideLayout730.xml"/><Relationship Id="rId33" Type="http://schemas.openxmlformats.org/officeDocument/2006/relationships/slideLayout" Target="../slideLayouts/slideLayout738.xml"/><Relationship Id="rId38" Type="http://schemas.openxmlformats.org/officeDocument/2006/relationships/slideLayout" Target="../slideLayouts/slideLayout743.xml"/><Relationship Id="rId46" Type="http://schemas.openxmlformats.org/officeDocument/2006/relationships/slideLayout" Target="../slideLayouts/slideLayout751.xml"/><Relationship Id="rId59" Type="http://schemas.openxmlformats.org/officeDocument/2006/relationships/slideLayout" Target="../slideLayouts/slideLayout764.xml"/><Relationship Id="rId67" Type="http://schemas.openxmlformats.org/officeDocument/2006/relationships/slideLayout" Target="../slideLayouts/slideLayout772.xml"/><Relationship Id="rId20" Type="http://schemas.openxmlformats.org/officeDocument/2006/relationships/slideLayout" Target="../slideLayouts/slideLayout725.xml"/><Relationship Id="rId41" Type="http://schemas.openxmlformats.org/officeDocument/2006/relationships/slideLayout" Target="../slideLayouts/slideLayout746.xml"/><Relationship Id="rId54" Type="http://schemas.openxmlformats.org/officeDocument/2006/relationships/slideLayout" Target="../slideLayouts/slideLayout759.xml"/><Relationship Id="rId62" Type="http://schemas.openxmlformats.org/officeDocument/2006/relationships/slideLayout" Target="../slideLayouts/slideLayout767.xml"/><Relationship Id="rId70" Type="http://schemas.openxmlformats.org/officeDocument/2006/relationships/slideLayout" Target="../slideLayouts/slideLayout775.xml"/><Relationship Id="rId75" Type="http://schemas.openxmlformats.org/officeDocument/2006/relationships/slideLayout" Target="../slideLayouts/slideLayout780.xml"/><Relationship Id="rId83" Type="http://schemas.openxmlformats.org/officeDocument/2006/relationships/slideLayout" Target="../slideLayouts/slideLayout788.xml"/><Relationship Id="rId1" Type="http://schemas.openxmlformats.org/officeDocument/2006/relationships/slideLayout" Target="../slideLayouts/slideLayout706.xml"/><Relationship Id="rId6" Type="http://schemas.openxmlformats.org/officeDocument/2006/relationships/slideLayout" Target="../slideLayouts/slideLayout711.xml"/><Relationship Id="rId15" Type="http://schemas.openxmlformats.org/officeDocument/2006/relationships/slideLayout" Target="../slideLayouts/slideLayout720.xml"/><Relationship Id="rId23" Type="http://schemas.openxmlformats.org/officeDocument/2006/relationships/slideLayout" Target="../slideLayouts/slideLayout728.xml"/><Relationship Id="rId28" Type="http://schemas.openxmlformats.org/officeDocument/2006/relationships/slideLayout" Target="../slideLayouts/slideLayout733.xml"/><Relationship Id="rId36" Type="http://schemas.openxmlformats.org/officeDocument/2006/relationships/slideLayout" Target="../slideLayouts/slideLayout741.xml"/><Relationship Id="rId49" Type="http://schemas.openxmlformats.org/officeDocument/2006/relationships/slideLayout" Target="../slideLayouts/slideLayout754.xml"/><Relationship Id="rId57" Type="http://schemas.openxmlformats.org/officeDocument/2006/relationships/slideLayout" Target="../slideLayouts/slideLayout762.xml"/><Relationship Id="rId10" Type="http://schemas.openxmlformats.org/officeDocument/2006/relationships/slideLayout" Target="../slideLayouts/slideLayout715.xml"/><Relationship Id="rId31" Type="http://schemas.openxmlformats.org/officeDocument/2006/relationships/slideLayout" Target="../slideLayouts/slideLayout736.xml"/><Relationship Id="rId44" Type="http://schemas.openxmlformats.org/officeDocument/2006/relationships/slideLayout" Target="../slideLayouts/slideLayout749.xml"/><Relationship Id="rId52" Type="http://schemas.openxmlformats.org/officeDocument/2006/relationships/slideLayout" Target="../slideLayouts/slideLayout757.xml"/><Relationship Id="rId60" Type="http://schemas.openxmlformats.org/officeDocument/2006/relationships/slideLayout" Target="../slideLayouts/slideLayout765.xml"/><Relationship Id="rId65" Type="http://schemas.openxmlformats.org/officeDocument/2006/relationships/slideLayout" Target="../slideLayouts/slideLayout770.xml"/><Relationship Id="rId73" Type="http://schemas.openxmlformats.org/officeDocument/2006/relationships/slideLayout" Target="../slideLayouts/slideLayout778.xml"/><Relationship Id="rId78" Type="http://schemas.openxmlformats.org/officeDocument/2006/relationships/slideLayout" Target="../slideLayouts/slideLayout783.xml"/><Relationship Id="rId81" Type="http://schemas.openxmlformats.org/officeDocument/2006/relationships/slideLayout" Target="../slideLayouts/slideLayout786.xml"/><Relationship Id="rId86" Type="http://schemas.openxmlformats.org/officeDocument/2006/relationships/slideLayout" Target="../slideLayouts/slideLayout79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804.xml"/><Relationship Id="rId18" Type="http://schemas.openxmlformats.org/officeDocument/2006/relationships/slideLayout" Target="../slideLayouts/slideLayout809.xml"/><Relationship Id="rId26" Type="http://schemas.openxmlformats.org/officeDocument/2006/relationships/slideLayout" Target="../slideLayouts/slideLayout817.xml"/><Relationship Id="rId39" Type="http://schemas.openxmlformats.org/officeDocument/2006/relationships/slideLayout" Target="../slideLayouts/slideLayout830.xml"/><Relationship Id="rId21" Type="http://schemas.openxmlformats.org/officeDocument/2006/relationships/slideLayout" Target="../slideLayouts/slideLayout812.xml"/><Relationship Id="rId34" Type="http://schemas.openxmlformats.org/officeDocument/2006/relationships/slideLayout" Target="../slideLayouts/slideLayout825.xml"/><Relationship Id="rId42" Type="http://schemas.openxmlformats.org/officeDocument/2006/relationships/slideLayout" Target="../slideLayouts/slideLayout833.xml"/><Relationship Id="rId47" Type="http://schemas.openxmlformats.org/officeDocument/2006/relationships/slideLayout" Target="../slideLayouts/slideLayout838.xml"/><Relationship Id="rId50" Type="http://schemas.openxmlformats.org/officeDocument/2006/relationships/slideLayout" Target="../slideLayouts/slideLayout841.xml"/><Relationship Id="rId55" Type="http://schemas.openxmlformats.org/officeDocument/2006/relationships/slideLayout" Target="../slideLayouts/slideLayout846.xml"/><Relationship Id="rId63" Type="http://schemas.openxmlformats.org/officeDocument/2006/relationships/slideLayout" Target="../slideLayouts/slideLayout854.xml"/><Relationship Id="rId68" Type="http://schemas.openxmlformats.org/officeDocument/2006/relationships/slideLayout" Target="../slideLayouts/slideLayout859.xml"/><Relationship Id="rId76" Type="http://schemas.openxmlformats.org/officeDocument/2006/relationships/slideLayout" Target="../slideLayouts/slideLayout867.xml"/><Relationship Id="rId84" Type="http://schemas.openxmlformats.org/officeDocument/2006/relationships/theme" Target="../theme/theme12.xml"/><Relationship Id="rId7" Type="http://schemas.openxmlformats.org/officeDocument/2006/relationships/slideLayout" Target="../slideLayouts/slideLayout798.xml"/><Relationship Id="rId71" Type="http://schemas.openxmlformats.org/officeDocument/2006/relationships/slideLayout" Target="../slideLayouts/slideLayout862.xml"/><Relationship Id="rId2" Type="http://schemas.openxmlformats.org/officeDocument/2006/relationships/slideLayout" Target="../slideLayouts/slideLayout793.xml"/><Relationship Id="rId16" Type="http://schemas.openxmlformats.org/officeDocument/2006/relationships/slideLayout" Target="../slideLayouts/slideLayout807.xml"/><Relationship Id="rId29" Type="http://schemas.openxmlformats.org/officeDocument/2006/relationships/slideLayout" Target="../slideLayouts/slideLayout820.xml"/><Relationship Id="rId11" Type="http://schemas.openxmlformats.org/officeDocument/2006/relationships/slideLayout" Target="../slideLayouts/slideLayout802.xml"/><Relationship Id="rId24" Type="http://schemas.openxmlformats.org/officeDocument/2006/relationships/slideLayout" Target="../slideLayouts/slideLayout815.xml"/><Relationship Id="rId32" Type="http://schemas.openxmlformats.org/officeDocument/2006/relationships/slideLayout" Target="../slideLayouts/slideLayout823.xml"/><Relationship Id="rId37" Type="http://schemas.openxmlformats.org/officeDocument/2006/relationships/slideLayout" Target="../slideLayouts/slideLayout828.xml"/><Relationship Id="rId40" Type="http://schemas.openxmlformats.org/officeDocument/2006/relationships/slideLayout" Target="../slideLayouts/slideLayout831.xml"/><Relationship Id="rId45" Type="http://schemas.openxmlformats.org/officeDocument/2006/relationships/slideLayout" Target="../slideLayouts/slideLayout836.xml"/><Relationship Id="rId53" Type="http://schemas.openxmlformats.org/officeDocument/2006/relationships/slideLayout" Target="../slideLayouts/slideLayout844.xml"/><Relationship Id="rId58" Type="http://schemas.openxmlformats.org/officeDocument/2006/relationships/slideLayout" Target="../slideLayouts/slideLayout849.xml"/><Relationship Id="rId66" Type="http://schemas.openxmlformats.org/officeDocument/2006/relationships/slideLayout" Target="../slideLayouts/slideLayout857.xml"/><Relationship Id="rId74" Type="http://schemas.openxmlformats.org/officeDocument/2006/relationships/slideLayout" Target="../slideLayouts/slideLayout865.xml"/><Relationship Id="rId79" Type="http://schemas.openxmlformats.org/officeDocument/2006/relationships/slideLayout" Target="../slideLayouts/slideLayout870.xml"/><Relationship Id="rId5" Type="http://schemas.openxmlformats.org/officeDocument/2006/relationships/slideLayout" Target="../slideLayouts/slideLayout796.xml"/><Relationship Id="rId61" Type="http://schemas.openxmlformats.org/officeDocument/2006/relationships/slideLayout" Target="../slideLayouts/slideLayout852.xml"/><Relationship Id="rId82" Type="http://schemas.openxmlformats.org/officeDocument/2006/relationships/slideLayout" Target="../slideLayouts/slideLayout873.xml"/><Relationship Id="rId10" Type="http://schemas.openxmlformats.org/officeDocument/2006/relationships/slideLayout" Target="../slideLayouts/slideLayout801.xml"/><Relationship Id="rId19" Type="http://schemas.openxmlformats.org/officeDocument/2006/relationships/slideLayout" Target="../slideLayouts/slideLayout810.xml"/><Relationship Id="rId31" Type="http://schemas.openxmlformats.org/officeDocument/2006/relationships/slideLayout" Target="../slideLayouts/slideLayout822.xml"/><Relationship Id="rId44" Type="http://schemas.openxmlformats.org/officeDocument/2006/relationships/slideLayout" Target="../slideLayouts/slideLayout835.xml"/><Relationship Id="rId52" Type="http://schemas.openxmlformats.org/officeDocument/2006/relationships/slideLayout" Target="../slideLayouts/slideLayout843.xml"/><Relationship Id="rId60" Type="http://schemas.openxmlformats.org/officeDocument/2006/relationships/slideLayout" Target="../slideLayouts/slideLayout851.xml"/><Relationship Id="rId65" Type="http://schemas.openxmlformats.org/officeDocument/2006/relationships/slideLayout" Target="../slideLayouts/slideLayout856.xml"/><Relationship Id="rId73" Type="http://schemas.openxmlformats.org/officeDocument/2006/relationships/slideLayout" Target="../slideLayouts/slideLayout864.xml"/><Relationship Id="rId78" Type="http://schemas.openxmlformats.org/officeDocument/2006/relationships/slideLayout" Target="../slideLayouts/slideLayout869.xml"/><Relationship Id="rId81" Type="http://schemas.openxmlformats.org/officeDocument/2006/relationships/slideLayout" Target="../slideLayouts/slideLayout872.xml"/><Relationship Id="rId4" Type="http://schemas.openxmlformats.org/officeDocument/2006/relationships/slideLayout" Target="../slideLayouts/slideLayout795.xml"/><Relationship Id="rId9" Type="http://schemas.openxmlformats.org/officeDocument/2006/relationships/slideLayout" Target="../slideLayouts/slideLayout800.xml"/><Relationship Id="rId14" Type="http://schemas.openxmlformats.org/officeDocument/2006/relationships/slideLayout" Target="../slideLayouts/slideLayout805.xml"/><Relationship Id="rId22" Type="http://schemas.openxmlformats.org/officeDocument/2006/relationships/slideLayout" Target="../slideLayouts/slideLayout813.xml"/><Relationship Id="rId27" Type="http://schemas.openxmlformats.org/officeDocument/2006/relationships/slideLayout" Target="../slideLayouts/slideLayout818.xml"/><Relationship Id="rId30" Type="http://schemas.openxmlformats.org/officeDocument/2006/relationships/slideLayout" Target="../slideLayouts/slideLayout821.xml"/><Relationship Id="rId35" Type="http://schemas.openxmlformats.org/officeDocument/2006/relationships/slideLayout" Target="../slideLayouts/slideLayout826.xml"/><Relationship Id="rId43" Type="http://schemas.openxmlformats.org/officeDocument/2006/relationships/slideLayout" Target="../slideLayouts/slideLayout834.xml"/><Relationship Id="rId48" Type="http://schemas.openxmlformats.org/officeDocument/2006/relationships/slideLayout" Target="../slideLayouts/slideLayout839.xml"/><Relationship Id="rId56" Type="http://schemas.openxmlformats.org/officeDocument/2006/relationships/slideLayout" Target="../slideLayouts/slideLayout847.xml"/><Relationship Id="rId64" Type="http://schemas.openxmlformats.org/officeDocument/2006/relationships/slideLayout" Target="../slideLayouts/slideLayout855.xml"/><Relationship Id="rId69" Type="http://schemas.openxmlformats.org/officeDocument/2006/relationships/slideLayout" Target="../slideLayouts/slideLayout860.xml"/><Relationship Id="rId77" Type="http://schemas.openxmlformats.org/officeDocument/2006/relationships/slideLayout" Target="../slideLayouts/slideLayout868.xml"/><Relationship Id="rId8" Type="http://schemas.openxmlformats.org/officeDocument/2006/relationships/slideLayout" Target="../slideLayouts/slideLayout799.xml"/><Relationship Id="rId51" Type="http://schemas.openxmlformats.org/officeDocument/2006/relationships/slideLayout" Target="../slideLayouts/slideLayout842.xml"/><Relationship Id="rId72" Type="http://schemas.openxmlformats.org/officeDocument/2006/relationships/slideLayout" Target="../slideLayouts/slideLayout863.xml"/><Relationship Id="rId80" Type="http://schemas.openxmlformats.org/officeDocument/2006/relationships/slideLayout" Target="../slideLayouts/slideLayout871.xml"/><Relationship Id="rId3" Type="http://schemas.openxmlformats.org/officeDocument/2006/relationships/slideLayout" Target="../slideLayouts/slideLayout794.xml"/><Relationship Id="rId12" Type="http://schemas.openxmlformats.org/officeDocument/2006/relationships/slideLayout" Target="../slideLayouts/slideLayout803.xml"/><Relationship Id="rId17" Type="http://schemas.openxmlformats.org/officeDocument/2006/relationships/slideLayout" Target="../slideLayouts/slideLayout808.xml"/><Relationship Id="rId25" Type="http://schemas.openxmlformats.org/officeDocument/2006/relationships/slideLayout" Target="../slideLayouts/slideLayout816.xml"/><Relationship Id="rId33" Type="http://schemas.openxmlformats.org/officeDocument/2006/relationships/slideLayout" Target="../slideLayouts/slideLayout824.xml"/><Relationship Id="rId38" Type="http://schemas.openxmlformats.org/officeDocument/2006/relationships/slideLayout" Target="../slideLayouts/slideLayout829.xml"/><Relationship Id="rId46" Type="http://schemas.openxmlformats.org/officeDocument/2006/relationships/slideLayout" Target="../slideLayouts/slideLayout837.xml"/><Relationship Id="rId59" Type="http://schemas.openxmlformats.org/officeDocument/2006/relationships/slideLayout" Target="../slideLayouts/slideLayout850.xml"/><Relationship Id="rId67" Type="http://schemas.openxmlformats.org/officeDocument/2006/relationships/slideLayout" Target="../slideLayouts/slideLayout858.xml"/><Relationship Id="rId20" Type="http://schemas.openxmlformats.org/officeDocument/2006/relationships/slideLayout" Target="../slideLayouts/slideLayout811.xml"/><Relationship Id="rId41" Type="http://schemas.openxmlformats.org/officeDocument/2006/relationships/slideLayout" Target="../slideLayouts/slideLayout832.xml"/><Relationship Id="rId54" Type="http://schemas.openxmlformats.org/officeDocument/2006/relationships/slideLayout" Target="../slideLayouts/slideLayout845.xml"/><Relationship Id="rId62" Type="http://schemas.openxmlformats.org/officeDocument/2006/relationships/slideLayout" Target="../slideLayouts/slideLayout853.xml"/><Relationship Id="rId70" Type="http://schemas.openxmlformats.org/officeDocument/2006/relationships/slideLayout" Target="../slideLayouts/slideLayout861.xml"/><Relationship Id="rId75" Type="http://schemas.openxmlformats.org/officeDocument/2006/relationships/slideLayout" Target="../slideLayouts/slideLayout866.xml"/><Relationship Id="rId83" Type="http://schemas.openxmlformats.org/officeDocument/2006/relationships/slideLayout" Target="../slideLayouts/slideLayout874.xml"/><Relationship Id="rId1" Type="http://schemas.openxmlformats.org/officeDocument/2006/relationships/slideLayout" Target="../slideLayouts/slideLayout792.xml"/><Relationship Id="rId6" Type="http://schemas.openxmlformats.org/officeDocument/2006/relationships/slideLayout" Target="../slideLayouts/slideLayout797.xml"/><Relationship Id="rId15" Type="http://schemas.openxmlformats.org/officeDocument/2006/relationships/slideLayout" Target="../slideLayouts/slideLayout806.xml"/><Relationship Id="rId23" Type="http://schemas.openxmlformats.org/officeDocument/2006/relationships/slideLayout" Target="../slideLayouts/slideLayout814.xml"/><Relationship Id="rId28" Type="http://schemas.openxmlformats.org/officeDocument/2006/relationships/slideLayout" Target="../slideLayouts/slideLayout819.xml"/><Relationship Id="rId36" Type="http://schemas.openxmlformats.org/officeDocument/2006/relationships/slideLayout" Target="../slideLayouts/slideLayout827.xml"/><Relationship Id="rId49" Type="http://schemas.openxmlformats.org/officeDocument/2006/relationships/slideLayout" Target="../slideLayouts/slideLayout840.xml"/><Relationship Id="rId57" Type="http://schemas.openxmlformats.org/officeDocument/2006/relationships/slideLayout" Target="../slideLayouts/slideLayout848.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887.xml"/><Relationship Id="rId18" Type="http://schemas.openxmlformats.org/officeDocument/2006/relationships/slideLayout" Target="../slideLayouts/slideLayout892.xml"/><Relationship Id="rId26" Type="http://schemas.openxmlformats.org/officeDocument/2006/relationships/slideLayout" Target="../slideLayouts/slideLayout900.xml"/><Relationship Id="rId39" Type="http://schemas.openxmlformats.org/officeDocument/2006/relationships/slideLayout" Target="../slideLayouts/slideLayout913.xml"/><Relationship Id="rId21" Type="http://schemas.openxmlformats.org/officeDocument/2006/relationships/slideLayout" Target="../slideLayouts/slideLayout895.xml"/><Relationship Id="rId34" Type="http://schemas.openxmlformats.org/officeDocument/2006/relationships/slideLayout" Target="../slideLayouts/slideLayout908.xml"/><Relationship Id="rId42" Type="http://schemas.openxmlformats.org/officeDocument/2006/relationships/slideLayout" Target="../slideLayouts/slideLayout916.xml"/><Relationship Id="rId47" Type="http://schemas.openxmlformats.org/officeDocument/2006/relationships/slideLayout" Target="../slideLayouts/slideLayout921.xml"/><Relationship Id="rId50" Type="http://schemas.openxmlformats.org/officeDocument/2006/relationships/slideLayout" Target="../slideLayouts/slideLayout924.xml"/><Relationship Id="rId55" Type="http://schemas.openxmlformats.org/officeDocument/2006/relationships/slideLayout" Target="../slideLayouts/slideLayout929.xml"/><Relationship Id="rId63" Type="http://schemas.openxmlformats.org/officeDocument/2006/relationships/slideLayout" Target="../slideLayouts/slideLayout937.xml"/><Relationship Id="rId68" Type="http://schemas.openxmlformats.org/officeDocument/2006/relationships/slideLayout" Target="../slideLayouts/slideLayout942.xml"/><Relationship Id="rId76" Type="http://schemas.openxmlformats.org/officeDocument/2006/relationships/slideLayout" Target="../slideLayouts/slideLayout950.xml"/><Relationship Id="rId84" Type="http://schemas.openxmlformats.org/officeDocument/2006/relationships/slideLayout" Target="../slideLayouts/slideLayout958.xml"/><Relationship Id="rId89" Type="http://schemas.openxmlformats.org/officeDocument/2006/relationships/slideLayout" Target="../slideLayouts/slideLayout963.xml"/><Relationship Id="rId7" Type="http://schemas.openxmlformats.org/officeDocument/2006/relationships/slideLayout" Target="../slideLayouts/slideLayout881.xml"/><Relationship Id="rId71" Type="http://schemas.openxmlformats.org/officeDocument/2006/relationships/slideLayout" Target="../slideLayouts/slideLayout945.xml"/><Relationship Id="rId2" Type="http://schemas.openxmlformats.org/officeDocument/2006/relationships/slideLayout" Target="../slideLayouts/slideLayout876.xml"/><Relationship Id="rId16" Type="http://schemas.openxmlformats.org/officeDocument/2006/relationships/slideLayout" Target="../slideLayouts/slideLayout890.xml"/><Relationship Id="rId29" Type="http://schemas.openxmlformats.org/officeDocument/2006/relationships/slideLayout" Target="../slideLayouts/slideLayout903.xml"/><Relationship Id="rId11" Type="http://schemas.openxmlformats.org/officeDocument/2006/relationships/slideLayout" Target="../slideLayouts/slideLayout885.xml"/><Relationship Id="rId24" Type="http://schemas.openxmlformats.org/officeDocument/2006/relationships/slideLayout" Target="../slideLayouts/slideLayout898.xml"/><Relationship Id="rId32" Type="http://schemas.openxmlformats.org/officeDocument/2006/relationships/slideLayout" Target="../slideLayouts/slideLayout906.xml"/><Relationship Id="rId37" Type="http://schemas.openxmlformats.org/officeDocument/2006/relationships/slideLayout" Target="../slideLayouts/slideLayout911.xml"/><Relationship Id="rId40" Type="http://schemas.openxmlformats.org/officeDocument/2006/relationships/slideLayout" Target="../slideLayouts/slideLayout914.xml"/><Relationship Id="rId45" Type="http://schemas.openxmlformats.org/officeDocument/2006/relationships/slideLayout" Target="../slideLayouts/slideLayout919.xml"/><Relationship Id="rId53" Type="http://schemas.openxmlformats.org/officeDocument/2006/relationships/slideLayout" Target="../slideLayouts/slideLayout927.xml"/><Relationship Id="rId58" Type="http://schemas.openxmlformats.org/officeDocument/2006/relationships/slideLayout" Target="../slideLayouts/slideLayout932.xml"/><Relationship Id="rId66" Type="http://schemas.openxmlformats.org/officeDocument/2006/relationships/slideLayout" Target="../slideLayouts/slideLayout940.xml"/><Relationship Id="rId74" Type="http://schemas.openxmlformats.org/officeDocument/2006/relationships/slideLayout" Target="../slideLayouts/slideLayout948.xml"/><Relationship Id="rId79" Type="http://schemas.openxmlformats.org/officeDocument/2006/relationships/slideLayout" Target="../slideLayouts/slideLayout953.xml"/><Relationship Id="rId87" Type="http://schemas.openxmlformats.org/officeDocument/2006/relationships/slideLayout" Target="../slideLayouts/slideLayout961.xml"/><Relationship Id="rId5" Type="http://schemas.openxmlformats.org/officeDocument/2006/relationships/slideLayout" Target="../slideLayouts/slideLayout879.xml"/><Relationship Id="rId61" Type="http://schemas.openxmlformats.org/officeDocument/2006/relationships/slideLayout" Target="../slideLayouts/slideLayout935.xml"/><Relationship Id="rId82" Type="http://schemas.openxmlformats.org/officeDocument/2006/relationships/slideLayout" Target="../slideLayouts/slideLayout956.xml"/><Relationship Id="rId90" Type="http://schemas.openxmlformats.org/officeDocument/2006/relationships/slideLayout" Target="../slideLayouts/slideLayout964.xml"/><Relationship Id="rId19" Type="http://schemas.openxmlformats.org/officeDocument/2006/relationships/slideLayout" Target="../slideLayouts/slideLayout893.xml"/><Relationship Id="rId14" Type="http://schemas.openxmlformats.org/officeDocument/2006/relationships/slideLayout" Target="../slideLayouts/slideLayout888.xml"/><Relationship Id="rId22" Type="http://schemas.openxmlformats.org/officeDocument/2006/relationships/slideLayout" Target="../slideLayouts/slideLayout896.xml"/><Relationship Id="rId27" Type="http://schemas.openxmlformats.org/officeDocument/2006/relationships/slideLayout" Target="../slideLayouts/slideLayout901.xml"/><Relationship Id="rId30" Type="http://schemas.openxmlformats.org/officeDocument/2006/relationships/slideLayout" Target="../slideLayouts/slideLayout904.xml"/><Relationship Id="rId35" Type="http://schemas.openxmlformats.org/officeDocument/2006/relationships/slideLayout" Target="../slideLayouts/slideLayout909.xml"/><Relationship Id="rId43" Type="http://schemas.openxmlformats.org/officeDocument/2006/relationships/slideLayout" Target="../slideLayouts/slideLayout917.xml"/><Relationship Id="rId48" Type="http://schemas.openxmlformats.org/officeDocument/2006/relationships/slideLayout" Target="../slideLayouts/slideLayout922.xml"/><Relationship Id="rId56" Type="http://schemas.openxmlformats.org/officeDocument/2006/relationships/slideLayout" Target="../slideLayouts/slideLayout930.xml"/><Relationship Id="rId64" Type="http://schemas.openxmlformats.org/officeDocument/2006/relationships/slideLayout" Target="../slideLayouts/slideLayout938.xml"/><Relationship Id="rId69" Type="http://schemas.openxmlformats.org/officeDocument/2006/relationships/slideLayout" Target="../slideLayouts/slideLayout943.xml"/><Relationship Id="rId77" Type="http://schemas.openxmlformats.org/officeDocument/2006/relationships/slideLayout" Target="../slideLayouts/slideLayout951.xml"/><Relationship Id="rId8" Type="http://schemas.openxmlformats.org/officeDocument/2006/relationships/slideLayout" Target="../slideLayouts/slideLayout882.xml"/><Relationship Id="rId51" Type="http://schemas.openxmlformats.org/officeDocument/2006/relationships/slideLayout" Target="../slideLayouts/slideLayout925.xml"/><Relationship Id="rId72" Type="http://schemas.openxmlformats.org/officeDocument/2006/relationships/slideLayout" Target="../slideLayouts/slideLayout946.xml"/><Relationship Id="rId80" Type="http://schemas.openxmlformats.org/officeDocument/2006/relationships/slideLayout" Target="../slideLayouts/slideLayout954.xml"/><Relationship Id="rId85" Type="http://schemas.openxmlformats.org/officeDocument/2006/relationships/slideLayout" Target="../slideLayouts/slideLayout959.xml"/><Relationship Id="rId3" Type="http://schemas.openxmlformats.org/officeDocument/2006/relationships/slideLayout" Target="../slideLayouts/slideLayout877.xml"/><Relationship Id="rId12" Type="http://schemas.openxmlformats.org/officeDocument/2006/relationships/slideLayout" Target="../slideLayouts/slideLayout886.xml"/><Relationship Id="rId17" Type="http://schemas.openxmlformats.org/officeDocument/2006/relationships/slideLayout" Target="../slideLayouts/slideLayout891.xml"/><Relationship Id="rId25" Type="http://schemas.openxmlformats.org/officeDocument/2006/relationships/slideLayout" Target="../slideLayouts/slideLayout899.xml"/><Relationship Id="rId33" Type="http://schemas.openxmlformats.org/officeDocument/2006/relationships/slideLayout" Target="../slideLayouts/slideLayout907.xml"/><Relationship Id="rId38" Type="http://schemas.openxmlformats.org/officeDocument/2006/relationships/slideLayout" Target="../slideLayouts/slideLayout912.xml"/><Relationship Id="rId46" Type="http://schemas.openxmlformats.org/officeDocument/2006/relationships/slideLayout" Target="../slideLayouts/slideLayout920.xml"/><Relationship Id="rId59" Type="http://schemas.openxmlformats.org/officeDocument/2006/relationships/slideLayout" Target="../slideLayouts/slideLayout933.xml"/><Relationship Id="rId67" Type="http://schemas.openxmlformats.org/officeDocument/2006/relationships/slideLayout" Target="../slideLayouts/slideLayout941.xml"/><Relationship Id="rId20" Type="http://schemas.openxmlformats.org/officeDocument/2006/relationships/slideLayout" Target="../slideLayouts/slideLayout894.xml"/><Relationship Id="rId41" Type="http://schemas.openxmlformats.org/officeDocument/2006/relationships/slideLayout" Target="../slideLayouts/slideLayout915.xml"/><Relationship Id="rId54" Type="http://schemas.openxmlformats.org/officeDocument/2006/relationships/slideLayout" Target="../slideLayouts/slideLayout928.xml"/><Relationship Id="rId62" Type="http://schemas.openxmlformats.org/officeDocument/2006/relationships/slideLayout" Target="../slideLayouts/slideLayout936.xml"/><Relationship Id="rId70" Type="http://schemas.openxmlformats.org/officeDocument/2006/relationships/slideLayout" Target="../slideLayouts/slideLayout944.xml"/><Relationship Id="rId75" Type="http://schemas.openxmlformats.org/officeDocument/2006/relationships/slideLayout" Target="../slideLayouts/slideLayout949.xml"/><Relationship Id="rId83" Type="http://schemas.openxmlformats.org/officeDocument/2006/relationships/slideLayout" Target="../slideLayouts/slideLayout957.xml"/><Relationship Id="rId88" Type="http://schemas.openxmlformats.org/officeDocument/2006/relationships/slideLayout" Target="../slideLayouts/slideLayout962.xml"/><Relationship Id="rId91" Type="http://schemas.openxmlformats.org/officeDocument/2006/relationships/theme" Target="../theme/theme13.xml"/><Relationship Id="rId1" Type="http://schemas.openxmlformats.org/officeDocument/2006/relationships/slideLayout" Target="../slideLayouts/slideLayout875.xml"/><Relationship Id="rId6" Type="http://schemas.openxmlformats.org/officeDocument/2006/relationships/slideLayout" Target="../slideLayouts/slideLayout880.xml"/><Relationship Id="rId15" Type="http://schemas.openxmlformats.org/officeDocument/2006/relationships/slideLayout" Target="../slideLayouts/slideLayout889.xml"/><Relationship Id="rId23" Type="http://schemas.openxmlformats.org/officeDocument/2006/relationships/slideLayout" Target="../slideLayouts/slideLayout897.xml"/><Relationship Id="rId28" Type="http://schemas.openxmlformats.org/officeDocument/2006/relationships/slideLayout" Target="../slideLayouts/slideLayout902.xml"/><Relationship Id="rId36" Type="http://schemas.openxmlformats.org/officeDocument/2006/relationships/slideLayout" Target="../slideLayouts/slideLayout910.xml"/><Relationship Id="rId49" Type="http://schemas.openxmlformats.org/officeDocument/2006/relationships/slideLayout" Target="../slideLayouts/slideLayout923.xml"/><Relationship Id="rId57" Type="http://schemas.openxmlformats.org/officeDocument/2006/relationships/slideLayout" Target="../slideLayouts/slideLayout931.xml"/><Relationship Id="rId10" Type="http://schemas.openxmlformats.org/officeDocument/2006/relationships/slideLayout" Target="../slideLayouts/slideLayout884.xml"/><Relationship Id="rId31" Type="http://schemas.openxmlformats.org/officeDocument/2006/relationships/slideLayout" Target="../slideLayouts/slideLayout905.xml"/><Relationship Id="rId44" Type="http://schemas.openxmlformats.org/officeDocument/2006/relationships/slideLayout" Target="../slideLayouts/slideLayout918.xml"/><Relationship Id="rId52" Type="http://schemas.openxmlformats.org/officeDocument/2006/relationships/slideLayout" Target="../slideLayouts/slideLayout926.xml"/><Relationship Id="rId60" Type="http://schemas.openxmlformats.org/officeDocument/2006/relationships/slideLayout" Target="../slideLayouts/slideLayout934.xml"/><Relationship Id="rId65" Type="http://schemas.openxmlformats.org/officeDocument/2006/relationships/slideLayout" Target="../slideLayouts/slideLayout939.xml"/><Relationship Id="rId73" Type="http://schemas.openxmlformats.org/officeDocument/2006/relationships/slideLayout" Target="../slideLayouts/slideLayout947.xml"/><Relationship Id="rId78" Type="http://schemas.openxmlformats.org/officeDocument/2006/relationships/slideLayout" Target="../slideLayouts/slideLayout952.xml"/><Relationship Id="rId81" Type="http://schemas.openxmlformats.org/officeDocument/2006/relationships/slideLayout" Target="../slideLayouts/slideLayout955.xml"/><Relationship Id="rId86" Type="http://schemas.openxmlformats.org/officeDocument/2006/relationships/slideLayout" Target="../slideLayouts/slideLayout960.xml"/><Relationship Id="rId4" Type="http://schemas.openxmlformats.org/officeDocument/2006/relationships/slideLayout" Target="../slideLayouts/slideLayout878.xml"/><Relationship Id="rId9" Type="http://schemas.openxmlformats.org/officeDocument/2006/relationships/slideLayout" Target="../slideLayouts/slideLayout88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977.xml"/><Relationship Id="rId18" Type="http://schemas.openxmlformats.org/officeDocument/2006/relationships/slideLayout" Target="../slideLayouts/slideLayout982.xml"/><Relationship Id="rId26" Type="http://schemas.openxmlformats.org/officeDocument/2006/relationships/slideLayout" Target="../slideLayouts/slideLayout990.xml"/><Relationship Id="rId39" Type="http://schemas.openxmlformats.org/officeDocument/2006/relationships/slideLayout" Target="../slideLayouts/slideLayout1003.xml"/><Relationship Id="rId21" Type="http://schemas.openxmlformats.org/officeDocument/2006/relationships/slideLayout" Target="../slideLayouts/slideLayout985.xml"/><Relationship Id="rId34" Type="http://schemas.openxmlformats.org/officeDocument/2006/relationships/slideLayout" Target="../slideLayouts/slideLayout998.xml"/><Relationship Id="rId42" Type="http://schemas.openxmlformats.org/officeDocument/2006/relationships/slideLayout" Target="../slideLayouts/slideLayout1006.xml"/><Relationship Id="rId47" Type="http://schemas.openxmlformats.org/officeDocument/2006/relationships/slideLayout" Target="../slideLayouts/slideLayout1011.xml"/><Relationship Id="rId50" Type="http://schemas.openxmlformats.org/officeDocument/2006/relationships/slideLayout" Target="../slideLayouts/slideLayout1014.xml"/><Relationship Id="rId55" Type="http://schemas.openxmlformats.org/officeDocument/2006/relationships/slideLayout" Target="../slideLayouts/slideLayout1019.xml"/><Relationship Id="rId63" Type="http://schemas.openxmlformats.org/officeDocument/2006/relationships/slideLayout" Target="../slideLayouts/slideLayout1027.xml"/><Relationship Id="rId68" Type="http://schemas.openxmlformats.org/officeDocument/2006/relationships/slideLayout" Target="../slideLayouts/slideLayout1032.xml"/><Relationship Id="rId76" Type="http://schemas.openxmlformats.org/officeDocument/2006/relationships/slideLayout" Target="../slideLayouts/slideLayout1040.xml"/><Relationship Id="rId84" Type="http://schemas.openxmlformats.org/officeDocument/2006/relationships/slideLayout" Target="../slideLayouts/slideLayout1048.xml"/><Relationship Id="rId89" Type="http://schemas.openxmlformats.org/officeDocument/2006/relationships/slideLayout" Target="../slideLayouts/slideLayout1053.xml"/><Relationship Id="rId7" Type="http://schemas.openxmlformats.org/officeDocument/2006/relationships/slideLayout" Target="../slideLayouts/slideLayout971.xml"/><Relationship Id="rId71" Type="http://schemas.openxmlformats.org/officeDocument/2006/relationships/slideLayout" Target="../slideLayouts/slideLayout1035.xml"/><Relationship Id="rId92" Type="http://schemas.openxmlformats.org/officeDocument/2006/relationships/slideLayout" Target="../slideLayouts/slideLayout1056.xml"/><Relationship Id="rId2" Type="http://schemas.openxmlformats.org/officeDocument/2006/relationships/slideLayout" Target="../slideLayouts/slideLayout966.xml"/><Relationship Id="rId16" Type="http://schemas.openxmlformats.org/officeDocument/2006/relationships/slideLayout" Target="../slideLayouts/slideLayout980.xml"/><Relationship Id="rId29" Type="http://schemas.openxmlformats.org/officeDocument/2006/relationships/slideLayout" Target="../slideLayouts/slideLayout993.xml"/><Relationship Id="rId11" Type="http://schemas.openxmlformats.org/officeDocument/2006/relationships/slideLayout" Target="../slideLayouts/slideLayout975.xml"/><Relationship Id="rId24" Type="http://schemas.openxmlformats.org/officeDocument/2006/relationships/slideLayout" Target="../slideLayouts/slideLayout988.xml"/><Relationship Id="rId32" Type="http://schemas.openxmlformats.org/officeDocument/2006/relationships/slideLayout" Target="../slideLayouts/slideLayout996.xml"/><Relationship Id="rId37" Type="http://schemas.openxmlformats.org/officeDocument/2006/relationships/slideLayout" Target="../slideLayouts/slideLayout1001.xml"/><Relationship Id="rId40" Type="http://schemas.openxmlformats.org/officeDocument/2006/relationships/slideLayout" Target="../slideLayouts/slideLayout1004.xml"/><Relationship Id="rId45" Type="http://schemas.openxmlformats.org/officeDocument/2006/relationships/slideLayout" Target="../slideLayouts/slideLayout1009.xml"/><Relationship Id="rId53" Type="http://schemas.openxmlformats.org/officeDocument/2006/relationships/slideLayout" Target="../slideLayouts/slideLayout1017.xml"/><Relationship Id="rId58" Type="http://schemas.openxmlformats.org/officeDocument/2006/relationships/slideLayout" Target="../slideLayouts/slideLayout1022.xml"/><Relationship Id="rId66" Type="http://schemas.openxmlformats.org/officeDocument/2006/relationships/slideLayout" Target="../slideLayouts/slideLayout1030.xml"/><Relationship Id="rId74" Type="http://schemas.openxmlformats.org/officeDocument/2006/relationships/slideLayout" Target="../slideLayouts/slideLayout1038.xml"/><Relationship Id="rId79" Type="http://schemas.openxmlformats.org/officeDocument/2006/relationships/slideLayout" Target="../slideLayouts/slideLayout1043.xml"/><Relationship Id="rId87" Type="http://schemas.openxmlformats.org/officeDocument/2006/relationships/slideLayout" Target="../slideLayouts/slideLayout1051.xml"/><Relationship Id="rId5" Type="http://schemas.openxmlformats.org/officeDocument/2006/relationships/slideLayout" Target="../slideLayouts/slideLayout969.xml"/><Relationship Id="rId61" Type="http://schemas.openxmlformats.org/officeDocument/2006/relationships/slideLayout" Target="../slideLayouts/slideLayout1025.xml"/><Relationship Id="rId82" Type="http://schemas.openxmlformats.org/officeDocument/2006/relationships/slideLayout" Target="../slideLayouts/slideLayout1046.xml"/><Relationship Id="rId90" Type="http://schemas.openxmlformats.org/officeDocument/2006/relationships/slideLayout" Target="../slideLayouts/slideLayout1054.xml"/><Relationship Id="rId95" Type="http://schemas.openxmlformats.org/officeDocument/2006/relationships/theme" Target="../theme/theme14.xml"/><Relationship Id="rId19" Type="http://schemas.openxmlformats.org/officeDocument/2006/relationships/slideLayout" Target="../slideLayouts/slideLayout983.xml"/><Relationship Id="rId14" Type="http://schemas.openxmlformats.org/officeDocument/2006/relationships/slideLayout" Target="../slideLayouts/slideLayout978.xml"/><Relationship Id="rId22" Type="http://schemas.openxmlformats.org/officeDocument/2006/relationships/slideLayout" Target="../slideLayouts/slideLayout986.xml"/><Relationship Id="rId27" Type="http://schemas.openxmlformats.org/officeDocument/2006/relationships/slideLayout" Target="../slideLayouts/slideLayout991.xml"/><Relationship Id="rId30" Type="http://schemas.openxmlformats.org/officeDocument/2006/relationships/slideLayout" Target="../slideLayouts/slideLayout994.xml"/><Relationship Id="rId35" Type="http://schemas.openxmlformats.org/officeDocument/2006/relationships/slideLayout" Target="../slideLayouts/slideLayout999.xml"/><Relationship Id="rId43" Type="http://schemas.openxmlformats.org/officeDocument/2006/relationships/slideLayout" Target="../slideLayouts/slideLayout1007.xml"/><Relationship Id="rId48" Type="http://schemas.openxmlformats.org/officeDocument/2006/relationships/slideLayout" Target="../slideLayouts/slideLayout1012.xml"/><Relationship Id="rId56" Type="http://schemas.openxmlformats.org/officeDocument/2006/relationships/slideLayout" Target="../slideLayouts/slideLayout1020.xml"/><Relationship Id="rId64" Type="http://schemas.openxmlformats.org/officeDocument/2006/relationships/slideLayout" Target="../slideLayouts/slideLayout1028.xml"/><Relationship Id="rId69" Type="http://schemas.openxmlformats.org/officeDocument/2006/relationships/slideLayout" Target="../slideLayouts/slideLayout1033.xml"/><Relationship Id="rId77" Type="http://schemas.openxmlformats.org/officeDocument/2006/relationships/slideLayout" Target="../slideLayouts/slideLayout1041.xml"/><Relationship Id="rId8" Type="http://schemas.openxmlformats.org/officeDocument/2006/relationships/slideLayout" Target="../slideLayouts/slideLayout972.xml"/><Relationship Id="rId51" Type="http://schemas.openxmlformats.org/officeDocument/2006/relationships/slideLayout" Target="../slideLayouts/slideLayout1015.xml"/><Relationship Id="rId72" Type="http://schemas.openxmlformats.org/officeDocument/2006/relationships/slideLayout" Target="../slideLayouts/slideLayout1036.xml"/><Relationship Id="rId80" Type="http://schemas.openxmlformats.org/officeDocument/2006/relationships/slideLayout" Target="../slideLayouts/slideLayout1044.xml"/><Relationship Id="rId85" Type="http://schemas.openxmlformats.org/officeDocument/2006/relationships/slideLayout" Target="../slideLayouts/slideLayout1049.xml"/><Relationship Id="rId93" Type="http://schemas.openxmlformats.org/officeDocument/2006/relationships/slideLayout" Target="../slideLayouts/slideLayout1057.xml"/><Relationship Id="rId3" Type="http://schemas.openxmlformats.org/officeDocument/2006/relationships/slideLayout" Target="../slideLayouts/slideLayout967.xml"/><Relationship Id="rId12" Type="http://schemas.openxmlformats.org/officeDocument/2006/relationships/slideLayout" Target="../slideLayouts/slideLayout976.xml"/><Relationship Id="rId17" Type="http://schemas.openxmlformats.org/officeDocument/2006/relationships/slideLayout" Target="../slideLayouts/slideLayout981.xml"/><Relationship Id="rId25" Type="http://schemas.openxmlformats.org/officeDocument/2006/relationships/slideLayout" Target="../slideLayouts/slideLayout989.xml"/><Relationship Id="rId33" Type="http://schemas.openxmlformats.org/officeDocument/2006/relationships/slideLayout" Target="../slideLayouts/slideLayout997.xml"/><Relationship Id="rId38" Type="http://schemas.openxmlformats.org/officeDocument/2006/relationships/slideLayout" Target="../slideLayouts/slideLayout1002.xml"/><Relationship Id="rId46" Type="http://schemas.openxmlformats.org/officeDocument/2006/relationships/slideLayout" Target="../slideLayouts/slideLayout1010.xml"/><Relationship Id="rId59" Type="http://schemas.openxmlformats.org/officeDocument/2006/relationships/slideLayout" Target="../slideLayouts/slideLayout1023.xml"/><Relationship Id="rId67" Type="http://schemas.openxmlformats.org/officeDocument/2006/relationships/slideLayout" Target="../slideLayouts/slideLayout1031.xml"/><Relationship Id="rId20" Type="http://schemas.openxmlformats.org/officeDocument/2006/relationships/slideLayout" Target="../slideLayouts/slideLayout984.xml"/><Relationship Id="rId41" Type="http://schemas.openxmlformats.org/officeDocument/2006/relationships/slideLayout" Target="../slideLayouts/slideLayout1005.xml"/><Relationship Id="rId54" Type="http://schemas.openxmlformats.org/officeDocument/2006/relationships/slideLayout" Target="../slideLayouts/slideLayout1018.xml"/><Relationship Id="rId62" Type="http://schemas.openxmlformats.org/officeDocument/2006/relationships/slideLayout" Target="../slideLayouts/slideLayout1026.xml"/><Relationship Id="rId70" Type="http://schemas.openxmlformats.org/officeDocument/2006/relationships/slideLayout" Target="../slideLayouts/slideLayout1034.xml"/><Relationship Id="rId75" Type="http://schemas.openxmlformats.org/officeDocument/2006/relationships/slideLayout" Target="../slideLayouts/slideLayout1039.xml"/><Relationship Id="rId83" Type="http://schemas.openxmlformats.org/officeDocument/2006/relationships/slideLayout" Target="../slideLayouts/slideLayout1047.xml"/><Relationship Id="rId88" Type="http://schemas.openxmlformats.org/officeDocument/2006/relationships/slideLayout" Target="../slideLayouts/slideLayout1052.xml"/><Relationship Id="rId91" Type="http://schemas.openxmlformats.org/officeDocument/2006/relationships/slideLayout" Target="../slideLayouts/slideLayout1055.xml"/><Relationship Id="rId1" Type="http://schemas.openxmlformats.org/officeDocument/2006/relationships/slideLayout" Target="../slideLayouts/slideLayout965.xml"/><Relationship Id="rId6" Type="http://schemas.openxmlformats.org/officeDocument/2006/relationships/slideLayout" Target="../slideLayouts/slideLayout970.xml"/><Relationship Id="rId15" Type="http://schemas.openxmlformats.org/officeDocument/2006/relationships/slideLayout" Target="../slideLayouts/slideLayout979.xml"/><Relationship Id="rId23" Type="http://schemas.openxmlformats.org/officeDocument/2006/relationships/slideLayout" Target="../slideLayouts/slideLayout987.xml"/><Relationship Id="rId28" Type="http://schemas.openxmlformats.org/officeDocument/2006/relationships/slideLayout" Target="../slideLayouts/slideLayout992.xml"/><Relationship Id="rId36" Type="http://schemas.openxmlformats.org/officeDocument/2006/relationships/slideLayout" Target="../slideLayouts/slideLayout1000.xml"/><Relationship Id="rId49" Type="http://schemas.openxmlformats.org/officeDocument/2006/relationships/slideLayout" Target="../slideLayouts/slideLayout1013.xml"/><Relationship Id="rId57" Type="http://schemas.openxmlformats.org/officeDocument/2006/relationships/slideLayout" Target="../slideLayouts/slideLayout1021.xml"/><Relationship Id="rId10" Type="http://schemas.openxmlformats.org/officeDocument/2006/relationships/slideLayout" Target="../slideLayouts/slideLayout974.xml"/><Relationship Id="rId31" Type="http://schemas.openxmlformats.org/officeDocument/2006/relationships/slideLayout" Target="../slideLayouts/slideLayout995.xml"/><Relationship Id="rId44" Type="http://schemas.openxmlformats.org/officeDocument/2006/relationships/slideLayout" Target="../slideLayouts/slideLayout1008.xml"/><Relationship Id="rId52" Type="http://schemas.openxmlformats.org/officeDocument/2006/relationships/slideLayout" Target="../slideLayouts/slideLayout1016.xml"/><Relationship Id="rId60" Type="http://schemas.openxmlformats.org/officeDocument/2006/relationships/slideLayout" Target="../slideLayouts/slideLayout1024.xml"/><Relationship Id="rId65" Type="http://schemas.openxmlformats.org/officeDocument/2006/relationships/slideLayout" Target="../slideLayouts/slideLayout1029.xml"/><Relationship Id="rId73" Type="http://schemas.openxmlformats.org/officeDocument/2006/relationships/slideLayout" Target="../slideLayouts/slideLayout1037.xml"/><Relationship Id="rId78" Type="http://schemas.openxmlformats.org/officeDocument/2006/relationships/slideLayout" Target="../slideLayouts/slideLayout1042.xml"/><Relationship Id="rId81" Type="http://schemas.openxmlformats.org/officeDocument/2006/relationships/slideLayout" Target="../slideLayouts/slideLayout1045.xml"/><Relationship Id="rId86" Type="http://schemas.openxmlformats.org/officeDocument/2006/relationships/slideLayout" Target="../slideLayouts/slideLayout1050.xml"/><Relationship Id="rId94" Type="http://schemas.openxmlformats.org/officeDocument/2006/relationships/slideLayout" Target="../slideLayouts/slideLayout1058.xml"/><Relationship Id="rId4" Type="http://schemas.openxmlformats.org/officeDocument/2006/relationships/slideLayout" Target="../slideLayouts/slideLayout968.xml"/><Relationship Id="rId9" Type="http://schemas.openxmlformats.org/officeDocument/2006/relationships/slideLayout" Target="../slideLayouts/slideLayout973.xml"/></Relationships>
</file>

<file path=ppt/slideMasters/_rels/slideMaster15.xml.rels><?xml version="1.0" encoding="UTF-8" standalone="yes"?>
<Relationships xmlns="http://schemas.openxmlformats.org/package/2006/relationships"><Relationship Id="rId117" Type="http://schemas.openxmlformats.org/officeDocument/2006/relationships/slideLayout" Target="../slideLayouts/slideLayout1175.xml"/><Relationship Id="rId21" Type="http://schemas.openxmlformats.org/officeDocument/2006/relationships/slideLayout" Target="../slideLayouts/slideLayout1079.xml"/><Relationship Id="rId42" Type="http://schemas.openxmlformats.org/officeDocument/2006/relationships/slideLayout" Target="../slideLayouts/slideLayout1100.xml"/><Relationship Id="rId63" Type="http://schemas.openxmlformats.org/officeDocument/2006/relationships/slideLayout" Target="../slideLayouts/slideLayout1121.xml"/><Relationship Id="rId84" Type="http://schemas.openxmlformats.org/officeDocument/2006/relationships/slideLayout" Target="../slideLayouts/slideLayout1142.xml"/><Relationship Id="rId138" Type="http://schemas.openxmlformats.org/officeDocument/2006/relationships/slideLayout" Target="../slideLayouts/slideLayout1196.xml"/><Relationship Id="rId159" Type="http://schemas.openxmlformats.org/officeDocument/2006/relationships/slideLayout" Target="../slideLayouts/slideLayout1217.xml"/><Relationship Id="rId170" Type="http://schemas.openxmlformats.org/officeDocument/2006/relationships/slideLayout" Target="../slideLayouts/slideLayout1228.xml"/><Relationship Id="rId191" Type="http://schemas.openxmlformats.org/officeDocument/2006/relationships/slideLayout" Target="../slideLayouts/slideLayout1249.xml"/><Relationship Id="rId205" Type="http://schemas.openxmlformats.org/officeDocument/2006/relationships/slideLayout" Target="../slideLayouts/slideLayout1263.xml"/><Relationship Id="rId107" Type="http://schemas.openxmlformats.org/officeDocument/2006/relationships/slideLayout" Target="../slideLayouts/slideLayout1165.xml"/><Relationship Id="rId11" Type="http://schemas.openxmlformats.org/officeDocument/2006/relationships/slideLayout" Target="../slideLayouts/slideLayout1069.xml"/><Relationship Id="rId32" Type="http://schemas.openxmlformats.org/officeDocument/2006/relationships/slideLayout" Target="../slideLayouts/slideLayout1090.xml"/><Relationship Id="rId37" Type="http://schemas.openxmlformats.org/officeDocument/2006/relationships/slideLayout" Target="../slideLayouts/slideLayout1095.xml"/><Relationship Id="rId53" Type="http://schemas.openxmlformats.org/officeDocument/2006/relationships/slideLayout" Target="../slideLayouts/slideLayout1111.xml"/><Relationship Id="rId58" Type="http://schemas.openxmlformats.org/officeDocument/2006/relationships/slideLayout" Target="../slideLayouts/slideLayout1116.xml"/><Relationship Id="rId74" Type="http://schemas.openxmlformats.org/officeDocument/2006/relationships/slideLayout" Target="../slideLayouts/slideLayout1132.xml"/><Relationship Id="rId79" Type="http://schemas.openxmlformats.org/officeDocument/2006/relationships/slideLayout" Target="../slideLayouts/slideLayout1137.xml"/><Relationship Id="rId102" Type="http://schemas.openxmlformats.org/officeDocument/2006/relationships/slideLayout" Target="../slideLayouts/slideLayout1160.xml"/><Relationship Id="rId123" Type="http://schemas.openxmlformats.org/officeDocument/2006/relationships/slideLayout" Target="../slideLayouts/slideLayout1181.xml"/><Relationship Id="rId128" Type="http://schemas.openxmlformats.org/officeDocument/2006/relationships/slideLayout" Target="../slideLayouts/slideLayout1186.xml"/><Relationship Id="rId144" Type="http://schemas.openxmlformats.org/officeDocument/2006/relationships/slideLayout" Target="../slideLayouts/slideLayout1202.xml"/><Relationship Id="rId149" Type="http://schemas.openxmlformats.org/officeDocument/2006/relationships/slideLayout" Target="../slideLayouts/slideLayout1207.xml"/><Relationship Id="rId5" Type="http://schemas.openxmlformats.org/officeDocument/2006/relationships/slideLayout" Target="../slideLayouts/slideLayout1063.xml"/><Relationship Id="rId90" Type="http://schemas.openxmlformats.org/officeDocument/2006/relationships/slideLayout" Target="../slideLayouts/slideLayout1148.xml"/><Relationship Id="rId95" Type="http://schemas.openxmlformats.org/officeDocument/2006/relationships/slideLayout" Target="../slideLayouts/slideLayout1153.xml"/><Relationship Id="rId160" Type="http://schemas.openxmlformats.org/officeDocument/2006/relationships/slideLayout" Target="../slideLayouts/slideLayout1218.xml"/><Relationship Id="rId165" Type="http://schemas.openxmlformats.org/officeDocument/2006/relationships/slideLayout" Target="../slideLayouts/slideLayout1223.xml"/><Relationship Id="rId181" Type="http://schemas.openxmlformats.org/officeDocument/2006/relationships/slideLayout" Target="../slideLayouts/slideLayout1239.xml"/><Relationship Id="rId186" Type="http://schemas.openxmlformats.org/officeDocument/2006/relationships/slideLayout" Target="../slideLayouts/slideLayout1244.xml"/><Relationship Id="rId211" Type="http://schemas.openxmlformats.org/officeDocument/2006/relationships/slideLayout" Target="../slideLayouts/slideLayout1269.xml"/><Relationship Id="rId22" Type="http://schemas.openxmlformats.org/officeDocument/2006/relationships/slideLayout" Target="../slideLayouts/slideLayout1080.xml"/><Relationship Id="rId27" Type="http://schemas.openxmlformats.org/officeDocument/2006/relationships/slideLayout" Target="../slideLayouts/slideLayout1085.xml"/><Relationship Id="rId43" Type="http://schemas.openxmlformats.org/officeDocument/2006/relationships/slideLayout" Target="../slideLayouts/slideLayout1101.xml"/><Relationship Id="rId48" Type="http://schemas.openxmlformats.org/officeDocument/2006/relationships/slideLayout" Target="../slideLayouts/slideLayout1106.xml"/><Relationship Id="rId64" Type="http://schemas.openxmlformats.org/officeDocument/2006/relationships/slideLayout" Target="../slideLayouts/slideLayout1122.xml"/><Relationship Id="rId69" Type="http://schemas.openxmlformats.org/officeDocument/2006/relationships/slideLayout" Target="../slideLayouts/slideLayout1127.xml"/><Relationship Id="rId113" Type="http://schemas.openxmlformats.org/officeDocument/2006/relationships/slideLayout" Target="../slideLayouts/slideLayout1171.xml"/><Relationship Id="rId118" Type="http://schemas.openxmlformats.org/officeDocument/2006/relationships/slideLayout" Target="../slideLayouts/slideLayout1176.xml"/><Relationship Id="rId134" Type="http://schemas.openxmlformats.org/officeDocument/2006/relationships/slideLayout" Target="../slideLayouts/slideLayout1192.xml"/><Relationship Id="rId139" Type="http://schemas.openxmlformats.org/officeDocument/2006/relationships/slideLayout" Target="../slideLayouts/slideLayout1197.xml"/><Relationship Id="rId80" Type="http://schemas.openxmlformats.org/officeDocument/2006/relationships/slideLayout" Target="../slideLayouts/slideLayout1138.xml"/><Relationship Id="rId85" Type="http://schemas.openxmlformats.org/officeDocument/2006/relationships/slideLayout" Target="../slideLayouts/slideLayout1143.xml"/><Relationship Id="rId150" Type="http://schemas.openxmlformats.org/officeDocument/2006/relationships/slideLayout" Target="../slideLayouts/slideLayout1208.xml"/><Relationship Id="rId155" Type="http://schemas.openxmlformats.org/officeDocument/2006/relationships/slideLayout" Target="../slideLayouts/slideLayout1213.xml"/><Relationship Id="rId171" Type="http://schemas.openxmlformats.org/officeDocument/2006/relationships/slideLayout" Target="../slideLayouts/slideLayout1229.xml"/><Relationship Id="rId176" Type="http://schemas.openxmlformats.org/officeDocument/2006/relationships/slideLayout" Target="../slideLayouts/slideLayout1234.xml"/><Relationship Id="rId192" Type="http://schemas.openxmlformats.org/officeDocument/2006/relationships/slideLayout" Target="../slideLayouts/slideLayout1250.xml"/><Relationship Id="rId197" Type="http://schemas.openxmlformats.org/officeDocument/2006/relationships/slideLayout" Target="../slideLayouts/slideLayout1255.xml"/><Relationship Id="rId206" Type="http://schemas.openxmlformats.org/officeDocument/2006/relationships/slideLayout" Target="../slideLayouts/slideLayout1264.xml"/><Relationship Id="rId201" Type="http://schemas.openxmlformats.org/officeDocument/2006/relationships/slideLayout" Target="../slideLayouts/slideLayout1259.xml"/><Relationship Id="rId12" Type="http://schemas.openxmlformats.org/officeDocument/2006/relationships/slideLayout" Target="../slideLayouts/slideLayout1070.xml"/><Relationship Id="rId17" Type="http://schemas.openxmlformats.org/officeDocument/2006/relationships/slideLayout" Target="../slideLayouts/slideLayout1075.xml"/><Relationship Id="rId33" Type="http://schemas.openxmlformats.org/officeDocument/2006/relationships/slideLayout" Target="../slideLayouts/slideLayout1091.xml"/><Relationship Id="rId38" Type="http://schemas.openxmlformats.org/officeDocument/2006/relationships/slideLayout" Target="../slideLayouts/slideLayout1096.xml"/><Relationship Id="rId59" Type="http://schemas.openxmlformats.org/officeDocument/2006/relationships/slideLayout" Target="../slideLayouts/slideLayout1117.xml"/><Relationship Id="rId103" Type="http://schemas.openxmlformats.org/officeDocument/2006/relationships/slideLayout" Target="../slideLayouts/slideLayout1161.xml"/><Relationship Id="rId108" Type="http://schemas.openxmlformats.org/officeDocument/2006/relationships/slideLayout" Target="../slideLayouts/slideLayout1166.xml"/><Relationship Id="rId124" Type="http://schemas.openxmlformats.org/officeDocument/2006/relationships/slideLayout" Target="../slideLayouts/slideLayout1182.xml"/><Relationship Id="rId129" Type="http://schemas.openxmlformats.org/officeDocument/2006/relationships/slideLayout" Target="../slideLayouts/slideLayout1187.xml"/><Relationship Id="rId54" Type="http://schemas.openxmlformats.org/officeDocument/2006/relationships/slideLayout" Target="../slideLayouts/slideLayout1112.xml"/><Relationship Id="rId70" Type="http://schemas.openxmlformats.org/officeDocument/2006/relationships/slideLayout" Target="../slideLayouts/slideLayout1128.xml"/><Relationship Id="rId75" Type="http://schemas.openxmlformats.org/officeDocument/2006/relationships/slideLayout" Target="../slideLayouts/slideLayout1133.xml"/><Relationship Id="rId91" Type="http://schemas.openxmlformats.org/officeDocument/2006/relationships/slideLayout" Target="../slideLayouts/slideLayout1149.xml"/><Relationship Id="rId96" Type="http://schemas.openxmlformats.org/officeDocument/2006/relationships/slideLayout" Target="../slideLayouts/slideLayout1154.xml"/><Relationship Id="rId140" Type="http://schemas.openxmlformats.org/officeDocument/2006/relationships/slideLayout" Target="../slideLayouts/slideLayout1198.xml"/><Relationship Id="rId145" Type="http://schemas.openxmlformats.org/officeDocument/2006/relationships/slideLayout" Target="../slideLayouts/slideLayout1203.xml"/><Relationship Id="rId161" Type="http://schemas.openxmlformats.org/officeDocument/2006/relationships/slideLayout" Target="../slideLayouts/slideLayout1219.xml"/><Relationship Id="rId166" Type="http://schemas.openxmlformats.org/officeDocument/2006/relationships/slideLayout" Target="../slideLayouts/slideLayout1224.xml"/><Relationship Id="rId182" Type="http://schemas.openxmlformats.org/officeDocument/2006/relationships/slideLayout" Target="../slideLayouts/slideLayout1240.xml"/><Relationship Id="rId187" Type="http://schemas.openxmlformats.org/officeDocument/2006/relationships/slideLayout" Target="../slideLayouts/slideLayout1245.xml"/><Relationship Id="rId1" Type="http://schemas.openxmlformats.org/officeDocument/2006/relationships/slideLayout" Target="../slideLayouts/slideLayout1059.xml"/><Relationship Id="rId6" Type="http://schemas.openxmlformats.org/officeDocument/2006/relationships/slideLayout" Target="../slideLayouts/slideLayout1064.xml"/><Relationship Id="rId212" Type="http://schemas.openxmlformats.org/officeDocument/2006/relationships/theme" Target="../theme/theme15.xml"/><Relationship Id="rId23" Type="http://schemas.openxmlformats.org/officeDocument/2006/relationships/slideLayout" Target="../slideLayouts/slideLayout1081.xml"/><Relationship Id="rId28" Type="http://schemas.openxmlformats.org/officeDocument/2006/relationships/slideLayout" Target="../slideLayouts/slideLayout1086.xml"/><Relationship Id="rId49" Type="http://schemas.openxmlformats.org/officeDocument/2006/relationships/slideLayout" Target="../slideLayouts/slideLayout1107.xml"/><Relationship Id="rId114" Type="http://schemas.openxmlformats.org/officeDocument/2006/relationships/slideLayout" Target="../slideLayouts/slideLayout1172.xml"/><Relationship Id="rId119" Type="http://schemas.openxmlformats.org/officeDocument/2006/relationships/slideLayout" Target="../slideLayouts/slideLayout1177.xml"/><Relationship Id="rId44" Type="http://schemas.openxmlformats.org/officeDocument/2006/relationships/slideLayout" Target="../slideLayouts/slideLayout1102.xml"/><Relationship Id="rId60" Type="http://schemas.openxmlformats.org/officeDocument/2006/relationships/slideLayout" Target="../slideLayouts/slideLayout1118.xml"/><Relationship Id="rId65" Type="http://schemas.openxmlformats.org/officeDocument/2006/relationships/slideLayout" Target="../slideLayouts/slideLayout1123.xml"/><Relationship Id="rId81" Type="http://schemas.openxmlformats.org/officeDocument/2006/relationships/slideLayout" Target="../slideLayouts/slideLayout1139.xml"/><Relationship Id="rId86" Type="http://schemas.openxmlformats.org/officeDocument/2006/relationships/slideLayout" Target="../slideLayouts/slideLayout1144.xml"/><Relationship Id="rId130" Type="http://schemas.openxmlformats.org/officeDocument/2006/relationships/slideLayout" Target="../slideLayouts/slideLayout1188.xml"/><Relationship Id="rId135" Type="http://schemas.openxmlformats.org/officeDocument/2006/relationships/slideLayout" Target="../slideLayouts/slideLayout1193.xml"/><Relationship Id="rId151" Type="http://schemas.openxmlformats.org/officeDocument/2006/relationships/slideLayout" Target="../slideLayouts/slideLayout1209.xml"/><Relationship Id="rId156" Type="http://schemas.openxmlformats.org/officeDocument/2006/relationships/slideLayout" Target="../slideLayouts/slideLayout1214.xml"/><Relationship Id="rId177" Type="http://schemas.openxmlformats.org/officeDocument/2006/relationships/slideLayout" Target="../slideLayouts/slideLayout1235.xml"/><Relationship Id="rId198" Type="http://schemas.openxmlformats.org/officeDocument/2006/relationships/slideLayout" Target="../slideLayouts/slideLayout1256.xml"/><Relationship Id="rId172" Type="http://schemas.openxmlformats.org/officeDocument/2006/relationships/slideLayout" Target="../slideLayouts/slideLayout1230.xml"/><Relationship Id="rId193" Type="http://schemas.openxmlformats.org/officeDocument/2006/relationships/slideLayout" Target="../slideLayouts/slideLayout1251.xml"/><Relationship Id="rId202" Type="http://schemas.openxmlformats.org/officeDocument/2006/relationships/slideLayout" Target="../slideLayouts/slideLayout1260.xml"/><Relationship Id="rId207" Type="http://schemas.openxmlformats.org/officeDocument/2006/relationships/slideLayout" Target="../slideLayouts/slideLayout1265.xml"/><Relationship Id="rId13" Type="http://schemas.openxmlformats.org/officeDocument/2006/relationships/slideLayout" Target="../slideLayouts/slideLayout1071.xml"/><Relationship Id="rId18" Type="http://schemas.openxmlformats.org/officeDocument/2006/relationships/slideLayout" Target="../slideLayouts/slideLayout1076.xml"/><Relationship Id="rId39" Type="http://schemas.openxmlformats.org/officeDocument/2006/relationships/slideLayout" Target="../slideLayouts/slideLayout1097.xml"/><Relationship Id="rId109" Type="http://schemas.openxmlformats.org/officeDocument/2006/relationships/slideLayout" Target="../slideLayouts/slideLayout1167.xml"/><Relationship Id="rId34" Type="http://schemas.openxmlformats.org/officeDocument/2006/relationships/slideLayout" Target="../slideLayouts/slideLayout1092.xml"/><Relationship Id="rId50" Type="http://schemas.openxmlformats.org/officeDocument/2006/relationships/slideLayout" Target="../slideLayouts/slideLayout1108.xml"/><Relationship Id="rId55" Type="http://schemas.openxmlformats.org/officeDocument/2006/relationships/slideLayout" Target="../slideLayouts/slideLayout1113.xml"/><Relationship Id="rId76" Type="http://schemas.openxmlformats.org/officeDocument/2006/relationships/slideLayout" Target="../slideLayouts/slideLayout1134.xml"/><Relationship Id="rId97" Type="http://schemas.openxmlformats.org/officeDocument/2006/relationships/slideLayout" Target="../slideLayouts/slideLayout1155.xml"/><Relationship Id="rId104" Type="http://schemas.openxmlformats.org/officeDocument/2006/relationships/slideLayout" Target="../slideLayouts/slideLayout1162.xml"/><Relationship Id="rId120" Type="http://schemas.openxmlformats.org/officeDocument/2006/relationships/slideLayout" Target="../slideLayouts/slideLayout1178.xml"/><Relationship Id="rId125" Type="http://schemas.openxmlformats.org/officeDocument/2006/relationships/slideLayout" Target="../slideLayouts/slideLayout1183.xml"/><Relationship Id="rId141" Type="http://schemas.openxmlformats.org/officeDocument/2006/relationships/slideLayout" Target="../slideLayouts/slideLayout1199.xml"/><Relationship Id="rId146" Type="http://schemas.openxmlformats.org/officeDocument/2006/relationships/slideLayout" Target="../slideLayouts/slideLayout1204.xml"/><Relationship Id="rId167" Type="http://schemas.openxmlformats.org/officeDocument/2006/relationships/slideLayout" Target="../slideLayouts/slideLayout1225.xml"/><Relationship Id="rId188" Type="http://schemas.openxmlformats.org/officeDocument/2006/relationships/slideLayout" Target="../slideLayouts/slideLayout1246.xml"/><Relationship Id="rId7" Type="http://schemas.openxmlformats.org/officeDocument/2006/relationships/slideLayout" Target="../slideLayouts/slideLayout1065.xml"/><Relationship Id="rId71" Type="http://schemas.openxmlformats.org/officeDocument/2006/relationships/slideLayout" Target="../slideLayouts/slideLayout1129.xml"/><Relationship Id="rId92" Type="http://schemas.openxmlformats.org/officeDocument/2006/relationships/slideLayout" Target="../slideLayouts/slideLayout1150.xml"/><Relationship Id="rId162" Type="http://schemas.openxmlformats.org/officeDocument/2006/relationships/slideLayout" Target="../slideLayouts/slideLayout1220.xml"/><Relationship Id="rId183" Type="http://schemas.openxmlformats.org/officeDocument/2006/relationships/slideLayout" Target="../slideLayouts/slideLayout1241.xml"/><Relationship Id="rId2" Type="http://schemas.openxmlformats.org/officeDocument/2006/relationships/slideLayout" Target="../slideLayouts/slideLayout1060.xml"/><Relationship Id="rId29" Type="http://schemas.openxmlformats.org/officeDocument/2006/relationships/slideLayout" Target="../slideLayouts/slideLayout1087.xml"/><Relationship Id="rId24" Type="http://schemas.openxmlformats.org/officeDocument/2006/relationships/slideLayout" Target="../slideLayouts/slideLayout1082.xml"/><Relationship Id="rId40" Type="http://schemas.openxmlformats.org/officeDocument/2006/relationships/slideLayout" Target="../slideLayouts/slideLayout1098.xml"/><Relationship Id="rId45" Type="http://schemas.openxmlformats.org/officeDocument/2006/relationships/slideLayout" Target="../slideLayouts/slideLayout1103.xml"/><Relationship Id="rId66" Type="http://schemas.openxmlformats.org/officeDocument/2006/relationships/slideLayout" Target="../slideLayouts/slideLayout1124.xml"/><Relationship Id="rId87" Type="http://schemas.openxmlformats.org/officeDocument/2006/relationships/slideLayout" Target="../slideLayouts/slideLayout1145.xml"/><Relationship Id="rId110" Type="http://schemas.openxmlformats.org/officeDocument/2006/relationships/slideLayout" Target="../slideLayouts/slideLayout1168.xml"/><Relationship Id="rId115" Type="http://schemas.openxmlformats.org/officeDocument/2006/relationships/slideLayout" Target="../slideLayouts/slideLayout1173.xml"/><Relationship Id="rId131" Type="http://schemas.openxmlformats.org/officeDocument/2006/relationships/slideLayout" Target="../slideLayouts/slideLayout1189.xml"/><Relationship Id="rId136" Type="http://schemas.openxmlformats.org/officeDocument/2006/relationships/slideLayout" Target="../slideLayouts/slideLayout1194.xml"/><Relationship Id="rId157" Type="http://schemas.openxmlformats.org/officeDocument/2006/relationships/slideLayout" Target="../slideLayouts/slideLayout1215.xml"/><Relationship Id="rId178" Type="http://schemas.openxmlformats.org/officeDocument/2006/relationships/slideLayout" Target="../slideLayouts/slideLayout1236.xml"/><Relationship Id="rId61" Type="http://schemas.openxmlformats.org/officeDocument/2006/relationships/slideLayout" Target="../slideLayouts/slideLayout1119.xml"/><Relationship Id="rId82" Type="http://schemas.openxmlformats.org/officeDocument/2006/relationships/slideLayout" Target="../slideLayouts/slideLayout1140.xml"/><Relationship Id="rId152" Type="http://schemas.openxmlformats.org/officeDocument/2006/relationships/slideLayout" Target="../slideLayouts/slideLayout1210.xml"/><Relationship Id="rId173" Type="http://schemas.openxmlformats.org/officeDocument/2006/relationships/slideLayout" Target="../slideLayouts/slideLayout1231.xml"/><Relationship Id="rId194" Type="http://schemas.openxmlformats.org/officeDocument/2006/relationships/slideLayout" Target="../slideLayouts/slideLayout1252.xml"/><Relationship Id="rId199" Type="http://schemas.openxmlformats.org/officeDocument/2006/relationships/slideLayout" Target="../slideLayouts/slideLayout1257.xml"/><Relationship Id="rId203" Type="http://schemas.openxmlformats.org/officeDocument/2006/relationships/slideLayout" Target="../slideLayouts/slideLayout1261.xml"/><Relationship Id="rId208" Type="http://schemas.openxmlformats.org/officeDocument/2006/relationships/slideLayout" Target="../slideLayouts/slideLayout1266.xml"/><Relationship Id="rId19" Type="http://schemas.openxmlformats.org/officeDocument/2006/relationships/slideLayout" Target="../slideLayouts/slideLayout1077.xml"/><Relationship Id="rId14" Type="http://schemas.openxmlformats.org/officeDocument/2006/relationships/slideLayout" Target="../slideLayouts/slideLayout1072.xml"/><Relationship Id="rId30" Type="http://schemas.openxmlformats.org/officeDocument/2006/relationships/slideLayout" Target="../slideLayouts/slideLayout1088.xml"/><Relationship Id="rId35" Type="http://schemas.openxmlformats.org/officeDocument/2006/relationships/slideLayout" Target="../slideLayouts/slideLayout1093.xml"/><Relationship Id="rId56" Type="http://schemas.openxmlformats.org/officeDocument/2006/relationships/slideLayout" Target="../slideLayouts/slideLayout1114.xml"/><Relationship Id="rId77" Type="http://schemas.openxmlformats.org/officeDocument/2006/relationships/slideLayout" Target="../slideLayouts/slideLayout1135.xml"/><Relationship Id="rId100" Type="http://schemas.openxmlformats.org/officeDocument/2006/relationships/slideLayout" Target="../slideLayouts/slideLayout1158.xml"/><Relationship Id="rId105" Type="http://schemas.openxmlformats.org/officeDocument/2006/relationships/slideLayout" Target="../slideLayouts/slideLayout1163.xml"/><Relationship Id="rId126" Type="http://schemas.openxmlformats.org/officeDocument/2006/relationships/slideLayout" Target="../slideLayouts/slideLayout1184.xml"/><Relationship Id="rId147" Type="http://schemas.openxmlformats.org/officeDocument/2006/relationships/slideLayout" Target="../slideLayouts/slideLayout1205.xml"/><Relationship Id="rId168" Type="http://schemas.openxmlformats.org/officeDocument/2006/relationships/slideLayout" Target="../slideLayouts/slideLayout1226.xml"/><Relationship Id="rId8" Type="http://schemas.openxmlformats.org/officeDocument/2006/relationships/slideLayout" Target="../slideLayouts/slideLayout1066.xml"/><Relationship Id="rId51" Type="http://schemas.openxmlformats.org/officeDocument/2006/relationships/slideLayout" Target="../slideLayouts/slideLayout1109.xml"/><Relationship Id="rId72" Type="http://schemas.openxmlformats.org/officeDocument/2006/relationships/slideLayout" Target="../slideLayouts/slideLayout1130.xml"/><Relationship Id="rId93" Type="http://schemas.openxmlformats.org/officeDocument/2006/relationships/slideLayout" Target="../slideLayouts/slideLayout1151.xml"/><Relationship Id="rId98" Type="http://schemas.openxmlformats.org/officeDocument/2006/relationships/slideLayout" Target="../slideLayouts/slideLayout1156.xml"/><Relationship Id="rId121" Type="http://schemas.openxmlformats.org/officeDocument/2006/relationships/slideLayout" Target="../slideLayouts/slideLayout1179.xml"/><Relationship Id="rId142" Type="http://schemas.openxmlformats.org/officeDocument/2006/relationships/slideLayout" Target="../slideLayouts/slideLayout1200.xml"/><Relationship Id="rId163" Type="http://schemas.openxmlformats.org/officeDocument/2006/relationships/slideLayout" Target="../slideLayouts/slideLayout1221.xml"/><Relationship Id="rId184" Type="http://schemas.openxmlformats.org/officeDocument/2006/relationships/slideLayout" Target="../slideLayouts/slideLayout1242.xml"/><Relationship Id="rId189" Type="http://schemas.openxmlformats.org/officeDocument/2006/relationships/slideLayout" Target="../slideLayouts/slideLayout1247.xml"/><Relationship Id="rId3" Type="http://schemas.openxmlformats.org/officeDocument/2006/relationships/slideLayout" Target="../slideLayouts/slideLayout1061.xml"/><Relationship Id="rId25" Type="http://schemas.openxmlformats.org/officeDocument/2006/relationships/slideLayout" Target="../slideLayouts/slideLayout1083.xml"/><Relationship Id="rId46" Type="http://schemas.openxmlformats.org/officeDocument/2006/relationships/slideLayout" Target="../slideLayouts/slideLayout1104.xml"/><Relationship Id="rId67" Type="http://schemas.openxmlformats.org/officeDocument/2006/relationships/slideLayout" Target="../slideLayouts/slideLayout1125.xml"/><Relationship Id="rId116" Type="http://schemas.openxmlformats.org/officeDocument/2006/relationships/slideLayout" Target="../slideLayouts/slideLayout1174.xml"/><Relationship Id="rId137" Type="http://schemas.openxmlformats.org/officeDocument/2006/relationships/slideLayout" Target="../slideLayouts/slideLayout1195.xml"/><Relationship Id="rId158" Type="http://schemas.openxmlformats.org/officeDocument/2006/relationships/slideLayout" Target="../slideLayouts/slideLayout1216.xml"/><Relationship Id="rId20" Type="http://schemas.openxmlformats.org/officeDocument/2006/relationships/slideLayout" Target="../slideLayouts/slideLayout1078.xml"/><Relationship Id="rId41" Type="http://schemas.openxmlformats.org/officeDocument/2006/relationships/slideLayout" Target="../slideLayouts/slideLayout1099.xml"/><Relationship Id="rId62" Type="http://schemas.openxmlformats.org/officeDocument/2006/relationships/slideLayout" Target="../slideLayouts/slideLayout1120.xml"/><Relationship Id="rId83" Type="http://schemas.openxmlformats.org/officeDocument/2006/relationships/slideLayout" Target="../slideLayouts/slideLayout1141.xml"/><Relationship Id="rId88" Type="http://schemas.openxmlformats.org/officeDocument/2006/relationships/slideLayout" Target="../slideLayouts/slideLayout1146.xml"/><Relationship Id="rId111" Type="http://schemas.openxmlformats.org/officeDocument/2006/relationships/slideLayout" Target="../slideLayouts/slideLayout1169.xml"/><Relationship Id="rId132" Type="http://schemas.openxmlformats.org/officeDocument/2006/relationships/slideLayout" Target="../slideLayouts/slideLayout1190.xml"/><Relationship Id="rId153" Type="http://schemas.openxmlformats.org/officeDocument/2006/relationships/slideLayout" Target="../slideLayouts/slideLayout1211.xml"/><Relationship Id="rId174" Type="http://schemas.openxmlformats.org/officeDocument/2006/relationships/slideLayout" Target="../slideLayouts/slideLayout1232.xml"/><Relationship Id="rId179" Type="http://schemas.openxmlformats.org/officeDocument/2006/relationships/slideLayout" Target="../slideLayouts/slideLayout1237.xml"/><Relationship Id="rId195" Type="http://schemas.openxmlformats.org/officeDocument/2006/relationships/slideLayout" Target="../slideLayouts/slideLayout1253.xml"/><Relationship Id="rId209" Type="http://schemas.openxmlformats.org/officeDocument/2006/relationships/slideLayout" Target="../slideLayouts/slideLayout1267.xml"/><Relationship Id="rId190" Type="http://schemas.openxmlformats.org/officeDocument/2006/relationships/slideLayout" Target="../slideLayouts/slideLayout1248.xml"/><Relationship Id="rId204" Type="http://schemas.openxmlformats.org/officeDocument/2006/relationships/slideLayout" Target="../slideLayouts/slideLayout1262.xml"/><Relationship Id="rId15" Type="http://schemas.openxmlformats.org/officeDocument/2006/relationships/slideLayout" Target="../slideLayouts/slideLayout1073.xml"/><Relationship Id="rId36" Type="http://schemas.openxmlformats.org/officeDocument/2006/relationships/slideLayout" Target="../slideLayouts/slideLayout1094.xml"/><Relationship Id="rId57" Type="http://schemas.openxmlformats.org/officeDocument/2006/relationships/slideLayout" Target="../slideLayouts/slideLayout1115.xml"/><Relationship Id="rId106" Type="http://schemas.openxmlformats.org/officeDocument/2006/relationships/slideLayout" Target="../slideLayouts/slideLayout1164.xml"/><Relationship Id="rId127" Type="http://schemas.openxmlformats.org/officeDocument/2006/relationships/slideLayout" Target="../slideLayouts/slideLayout1185.xml"/><Relationship Id="rId10" Type="http://schemas.openxmlformats.org/officeDocument/2006/relationships/slideLayout" Target="../slideLayouts/slideLayout1068.xml"/><Relationship Id="rId31" Type="http://schemas.openxmlformats.org/officeDocument/2006/relationships/slideLayout" Target="../slideLayouts/slideLayout1089.xml"/><Relationship Id="rId52" Type="http://schemas.openxmlformats.org/officeDocument/2006/relationships/slideLayout" Target="../slideLayouts/slideLayout1110.xml"/><Relationship Id="rId73" Type="http://schemas.openxmlformats.org/officeDocument/2006/relationships/slideLayout" Target="../slideLayouts/slideLayout1131.xml"/><Relationship Id="rId78" Type="http://schemas.openxmlformats.org/officeDocument/2006/relationships/slideLayout" Target="../slideLayouts/slideLayout1136.xml"/><Relationship Id="rId94" Type="http://schemas.openxmlformats.org/officeDocument/2006/relationships/slideLayout" Target="../slideLayouts/slideLayout1152.xml"/><Relationship Id="rId99" Type="http://schemas.openxmlformats.org/officeDocument/2006/relationships/slideLayout" Target="../slideLayouts/slideLayout1157.xml"/><Relationship Id="rId101" Type="http://schemas.openxmlformats.org/officeDocument/2006/relationships/slideLayout" Target="../slideLayouts/slideLayout1159.xml"/><Relationship Id="rId122" Type="http://schemas.openxmlformats.org/officeDocument/2006/relationships/slideLayout" Target="../slideLayouts/slideLayout1180.xml"/><Relationship Id="rId143" Type="http://schemas.openxmlformats.org/officeDocument/2006/relationships/slideLayout" Target="../slideLayouts/slideLayout1201.xml"/><Relationship Id="rId148" Type="http://schemas.openxmlformats.org/officeDocument/2006/relationships/slideLayout" Target="../slideLayouts/slideLayout1206.xml"/><Relationship Id="rId164" Type="http://schemas.openxmlformats.org/officeDocument/2006/relationships/slideLayout" Target="../slideLayouts/slideLayout1222.xml"/><Relationship Id="rId169" Type="http://schemas.openxmlformats.org/officeDocument/2006/relationships/slideLayout" Target="../slideLayouts/slideLayout1227.xml"/><Relationship Id="rId185" Type="http://schemas.openxmlformats.org/officeDocument/2006/relationships/slideLayout" Target="../slideLayouts/slideLayout1243.xml"/><Relationship Id="rId4" Type="http://schemas.openxmlformats.org/officeDocument/2006/relationships/slideLayout" Target="../slideLayouts/slideLayout1062.xml"/><Relationship Id="rId9" Type="http://schemas.openxmlformats.org/officeDocument/2006/relationships/slideLayout" Target="../slideLayouts/slideLayout1067.xml"/><Relationship Id="rId180" Type="http://schemas.openxmlformats.org/officeDocument/2006/relationships/slideLayout" Target="../slideLayouts/slideLayout1238.xml"/><Relationship Id="rId210" Type="http://schemas.openxmlformats.org/officeDocument/2006/relationships/slideLayout" Target="../slideLayouts/slideLayout1268.xml"/><Relationship Id="rId26" Type="http://schemas.openxmlformats.org/officeDocument/2006/relationships/slideLayout" Target="../slideLayouts/slideLayout1084.xml"/><Relationship Id="rId47" Type="http://schemas.openxmlformats.org/officeDocument/2006/relationships/slideLayout" Target="../slideLayouts/slideLayout1105.xml"/><Relationship Id="rId68" Type="http://schemas.openxmlformats.org/officeDocument/2006/relationships/slideLayout" Target="../slideLayouts/slideLayout1126.xml"/><Relationship Id="rId89" Type="http://schemas.openxmlformats.org/officeDocument/2006/relationships/slideLayout" Target="../slideLayouts/slideLayout1147.xml"/><Relationship Id="rId112" Type="http://schemas.openxmlformats.org/officeDocument/2006/relationships/slideLayout" Target="../slideLayouts/slideLayout1170.xml"/><Relationship Id="rId133" Type="http://schemas.openxmlformats.org/officeDocument/2006/relationships/slideLayout" Target="../slideLayouts/slideLayout1191.xml"/><Relationship Id="rId154" Type="http://schemas.openxmlformats.org/officeDocument/2006/relationships/slideLayout" Target="../slideLayouts/slideLayout1212.xml"/><Relationship Id="rId175" Type="http://schemas.openxmlformats.org/officeDocument/2006/relationships/slideLayout" Target="../slideLayouts/slideLayout1233.xml"/><Relationship Id="rId196" Type="http://schemas.openxmlformats.org/officeDocument/2006/relationships/slideLayout" Target="../slideLayouts/slideLayout1254.xml"/><Relationship Id="rId200" Type="http://schemas.openxmlformats.org/officeDocument/2006/relationships/slideLayout" Target="../slideLayouts/slideLayout1258.xml"/><Relationship Id="rId16" Type="http://schemas.openxmlformats.org/officeDocument/2006/relationships/slideLayout" Target="../slideLayouts/slideLayout1074.xml"/></Relationships>
</file>

<file path=ppt/slideMasters/_rels/slideMaster16.xml.rels><?xml version="1.0" encoding="UTF-8" standalone="yes"?>
<Relationships xmlns="http://schemas.openxmlformats.org/package/2006/relationships"><Relationship Id="rId117" Type="http://schemas.openxmlformats.org/officeDocument/2006/relationships/slideLayout" Target="../slideLayouts/slideLayout1386.xml"/><Relationship Id="rId21" Type="http://schemas.openxmlformats.org/officeDocument/2006/relationships/slideLayout" Target="../slideLayouts/slideLayout1290.xml"/><Relationship Id="rId42" Type="http://schemas.openxmlformats.org/officeDocument/2006/relationships/slideLayout" Target="../slideLayouts/slideLayout1311.xml"/><Relationship Id="rId63" Type="http://schemas.openxmlformats.org/officeDocument/2006/relationships/slideLayout" Target="../slideLayouts/slideLayout1332.xml"/><Relationship Id="rId84" Type="http://schemas.openxmlformats.org/officeDocument/2006/relationships/slideLayout" Target="../slideLayouts/slideLayout1353.xml"/><Relationship Id="rId138" Type="http://schemas.openxmlformats.org/officeDocument/2006/relationships/slideLayout" Target="../slideLayouts/slideLayout1407.xml"/><Relationship Id="rId159" Type="http://schemas.openxmlformats.org/officeDocument/2006/relationships/slideLayout" Target="../slideLayouts/slideLayout1428.xml"/><Relationship Id="rId170" Type="http://schemas.openxmlformats.org/officeDocument/2006/relationships/slideLayout" Target="../slideLayouts/slideLayout1439.xml"/><Relationship Id="rId191" Type="http://schemas.openxmlformats.org/officeDocument/2006/relationships/slideLayout" Target="../slideLayouts/slideLayout1460.xml"/><Relationship Id="rId205" Type="http://schemas.openxmlformats.org/officeDocument/2006/relationships/slideLayout" Target="../slideLayouts/slideLayout1474.xml"/><Relationship Id="rId107" Type="http://schemas.openxmlformats.org/officeDocument/2006/relationships/slideLayout" Target="../slideLayouts/slideLayout1376.xml"/><Relationship Id="rId11" Type="http://schemas.openxmlformats.org/officeDocument/2006/relationships/slideLayout" Target="../slideLayouts/slideLayout1280.xml"/><Relationship Id="rId32" Type="http://schemas.openxmlformats.org/officeDocument/2006/relationships/slideLayout" Target="../slideLayouts/slideLayout1301.xml"/><Relationship Id="rId37" Type="http://schemas.openxmlformats.org/officeDocument/2006/relationships/slideLayout" Target="../slideLayouts/slideLayout1306.xml"/><Relationship Id="rId53" Type="http://schemas.openxmlformats.org/officeDocument/2006/relationships/slideLayout" Target="../slideLayouts/slideLayout1322.xml"/><Relationship Id="rId58" Type="http://schemas.openxmlformats.org/officeDocument/2006/relationships/slideLayout" Target="../slideLayouts/slideLayout1327.xml"/><Relationship Id="rId74" Type="http://schemas.openxmlformats.org/officeDocument/2006/relationships/slideLayout" Target="../slideLayouts/slideLayout1343.xml"/><Relationship Id="rId79" Type="http://schemas.openxmlformats.org/officeDocument/2006/relationships/slideLayout" Target="../slideLayouts/slideLayout1348.xml"/><Relationship Id="rId102" Type="http://schemas.openxmlformats.org/officeDocument/2006/relationships/slideLayout" Target="../slideLayouts/slideLayout1371.xml"/><Relationship Id="rId123" Type="http://schemas.openxmlformats.org/officeDocument/2006/relationships/slideLayout" Target="../slideLayouts/slideLayout1392.xml"/><Relationship Id="rId128" Type="http://schemas.openxmlformats.org/officeDocument/2006/relationships/slideLayout" Target="../slideLayouts/slideLayout1397.xml"/><Relationship Id="rId144" Type="http://schemas.openxmlformats.org/officeDocument/2006/relationships/slideLayout" Target="../slideLayouts/slideLayout1413.xml"/><Relationship Id="rId149" Type="http://schemas.openxmlformats.org/officeDocument/2006/relationships/slideLayout" Target="../slideLayouts/slideLayout1418.xml"/><Relationship Id="rId5" Type="http://schemas.openxmlformats.org/officeDocument/2006/relationships/slideLayout" Target="../slideLayouts/slideLayout1274.xml"/><Relationship Id="rId90" Type="http://schemas.openxmlformats.org/officeDocument/2006/relationships/slideLayout" Target="../slideLayouts/slideLayout1359.xml"/><Relationship Id="rId95" Type="http://schemas.openxmlformats.org/officeDocument/2006/relationships/slideLayout" Target="../slideLayouts/slideLayout1364.xml"/><Relationship Id="rId160" Type="http://schemas.openxmlformats.org/officeDocument/2006/relationships/slideLayout" Target="../slideLayouts/slideLayout1429.xml"/><Relationship Id="rId165" Type="http://schemas.openxmlformats.org/officeDocument/2006/relationships/slideLayout" Target="../slideLayouts/slideLayout1434.xml"/><Relationship Id="rId181" Type="http://schemas.openxmlformats.org/officeDocument/2006/relationships/slideLayout" Target="../slideLayouts/slideLayout1450.xml"/><Relationship Id="rId186" Type="http://schemas.openxmlformats.org/officeDocument/2006/relationships/slideLayout" Target="../slideLayouts/slideLayout1455.xml"/><Relationship Id="rId211" Type="http://schemas.openxmlformats.org/officeDocument/2006/relationships/slideLayout" Target="../slideLayouts/slideLayout1480.xml"/><Relationship Id="rId22" Type="http://schemas.openxmlformats.org/officeDocument/2006/relationships/slideLayout" Target="../slideLayouts/slideLayout1291.xml"/><Relationship Id="rId27" Type="http://schemas.openxmlformats.org/officeDocument/2006/relationships/slideLayout" Target="../slideLayouts/slideLayout1296.xml"/><Relationship Id="rId43" Type="http://schemas.openxmlformats.org/officeDocument/2006/relationships/slideLayout" Target="../slideLayouts/slideLayout1312.xml"/><Relationship Id="rId48" Type="http://schemas.openxmlformats.org/officeDocument/2006/relationships/slideLayout" Target="../slideLayouts/slideLayout1317.xml"/><Relationship Id="rId64" Type="http://schemas.openxmlformats.org/officeDocument/2006/relationships/slideLayout" Target="../slideLayouts/slideLayout1333.xml"/><Relationship Id="rId69" Type="http://schemas.openxmlformats.org/officeDocument/2006/relationships/slideLayout" Target="../slideLayouts/slideLayout1338.xml"/><Relationship Id="rId113" Type="http://schemas.openxmlformats.org/officeDocument/2006/relationships/slideLayout" Target="../slideLayouts/slideLayout1382.xml"/><Relationship Id="rId118" Type="http://schemas.openxmlformats.org/officeDocument/2006/relationships/slideLayout" Target="../slideLayouts/slideLayout1387.xml"/><Relationship Id="rId134" Type="http://schemas.openxmlformats.org/officeDocument/2006/relationships/slideLayout" Target="../slideLayouts/slideLayout1403.xml"/><Relationship Id="rId139" Type="http://schemas.openxmlformats.org/officeDocument/2006/relationships/slideLayout" Target="../slideLayouts/slideLayout1408.xml"/><Relationship Id="rId80" Type="http://schemas.openxmlformats.org/officeDocument/2006/relationships/slideLayout" Target="../slideLayouts/slideLayout1349.xml"/><Relationship Id="rId85" Type="http://schemas.openxmlformats.org/officeDocument/2006/relationships/slideLayout" Target="../slideLayouts/slideLayout1354.xml"/><Relationship Id="rId150" Type="http://schemas.openxmlformats.org/officeDocument/2006/relationships/slideLayout" Target="../slideLayouts/slideLayout1419.xml"/><Relationship Id="rId155" Type="http://schemas.openxmlformats.org/officeDocument/2006/relationships/slideLayout" Target="../slideLayouts/slideLayout1424.xml"/><Relationship Id="rId171" Type="http://schemas.openxmlformats.org/officeDocument/2006/relationships/slideLayout" Target="../slideLayouts/slideLayout1440.xml"/><Relationship Id="rId176" Type="http://schemas.openxmlformats.org/officeDocument/2006/relationships/slideLayout" Target="../slideLayouts/slideLayout1445.xml"/><Relationship Id="rId192" Type="http://schemas.openxmlformats.org/officeDocument/2006/relationships/slideLayout" Target="../slideLayouts/slideLayout1461.xml"/><Relationship Id="rId197" Type="http://schemas.openxmlformats.org/officeDocument/2006/relationships/slideLayout" Target="../slideLayouts/slideLayout1466.xml"/><Relationship Id="rId206" Type="http://schemas.openxmlformats.org/officeDocument/2006/relationships/slideLayout" Target="../slideLayouts/slideLayout1475.xml"/><Relationship Id="rId201" Type="http://schemas.openxmlformats.org/officeDocument/2006/relationships/slideLayout" Target="../slideLayouts/slideLayout1470.xml"/><Relationship Id="rId12" Type="http://schemas.openxmlformats.org/officeDocument/2006/relationships/slideLayout" Target="../slideLayouts/slideLayout1281.xml"/><Relationship Id="rId17" Type="http://schemas.openxmlformats.org/officeDocument/2006/relationships/slideLayout" Target="../slideLayouts/slideLayout1286.xml"/><Relationship Id="rId33" Type="http://schemas.openxmlformats.org/officeDocument/2006/relationships/slideLayout" Target="../slideLayouts/slideLayout1302.xml"/><Relationship Id="rId38" Type="http://schemas.openxmlformats.org/officeDocument/2006/relationships/slideLayout" Target="../slideLayouts/slideLayout1307.xml"/><Relationship Id="rId59" Type="http://schemas.openxmlformats.org/officeDocument/2006/relationships/slideLayout" Target="../slideLayouts/slideLayout1328.xml"/><Relationship Id="rId103" Type="http://schemas.openxmlformats.org/officeDocument/2006/relationships/slideLayout" Target="../slideLayouts/slideLayout1372.xml"/><Relationship Id="rId108" Type="http://schemas.openxmlformats.org/officeDocument/2006/relationships/slideLayout" Target="../slideLayouts/slideLayout1377.xml"/><Relationship Id="rId124" Type="http://schemas.openxmlformats.org/officeDocument/2006/relationships/slideLayout" Target="../slideLayouts/slideLayout1393.xml"/><Relationship Id="rId129" Type="http://schemas.openxmlformats.org/officeDocument/2006/relationships/slideLayout" Target="../slideLayouts/slideLayout1398.xml"/><Relationship Id="rId54" Type="http://schemas.openxmlformats.org/officeDocument/2006/relationships/slideLayout" Target="../slideLayouts/slideLayout1323.xml"/><Relationship Id="rId70" Type="http://schemas.openxmlformats.org/officeDocument/2006/relationships/slideLayout" Target="../slideLayouts/slideLayout1339.xml"/><Relationship Id="rId75" Type="http://schemas.openxmlformats.org/officeDocument/2006/relationships/slideLayout" Target="../slideLayouts/slideLayout1344.xml"/><Relationship Id="rId91" Type="http://schemas.openxmlformats.org/officeDocument/2006/relationships/slideLayout" Target="../slideLayouts/slideLayout1360.xml"/><Relationship Id="rId96" Type="http://schemas.openxmlformats.org/officeDocument/2006/relationships/slideLayout" Target="../slideLayouts/slideLayout1365.xml"/><Relationship Id="rId140" Type="http://schemas.openxmlformats.org/officeDocument/2006/relationships/slideLayout" Target="../slideLayouts/slideLayout1409.xml"/><Relationship Id="rId145" Type="http://schemas.openxmlformats.org/officeDocument/2006/relationships/slideLayout" Target="../slideLayouts/slideLayout1414.xml"/><Relationship Id="rId161" Type="http://schemas.openxmlformats.org/officeDocument/2006/relationships/slideLayout" Target="../slideLayouts/slideLayout1430.xml"/><Relationship Id="rId166" Type="http://schemas.openxmlformats.org/officeDocument/2006/relationships/slideLayout" Target="../slideLayouts/slideLayout1435.xml"/><Relationship Id="rId182" Type="http://schemas.openxmlformats.org/officeDocument/2006/relationships/slideLayout" Target="../slideLayouts/slideLayout1451.xml"/><Relationship Id="rId187" Type="http://schemas.openxmlformats.org/officeDocument/2006/relationships/slideLayout" Target="../slideLayouts/slideLayout1456.xml"/><Relationship Id="rId1" Type="http://schemas.openxmlformats.org/officeDocument/2006/relationships/slideLayout" Target="../slideLayouts/slideLayout1270.xml"/><Relationship Id="rId6" Type="http://schemas.openxmlformats.org/officeDocument/2006/relationships/slideLayout" Target="../slideLayouts/slideLayout1275.xml"/><Relationship Id="rId212" Type="http://schemas.openxmlformats.org/officeDocument/2006/relationships/slideLayout" Target="../slideLayouts/slideLayout1481.xml"/><Relationship Id="rId23" Type="http://schemas.openxmlformats.org/officeDocument/2006/relationships/slideLayout" Target="../slideLayouts/slideLayout1292.xml"/><Relationship Id="rId28" Type="http://schemas.openxmlformats.org/officeDocument/2006/relationships/slideLayout" Target="../slideLayouts/slideLayout1297.xml"/><Relationship Id="rId49" Type="http://schemas.openxmlformats.org/officeDocument/2006/relationships/slideLayout" Target="../slideLayouts/slideLayout1318.xml"/><Relationship Id="rId114" Type="http://schemas.openxmlformats.org/officeDocument/2006/relationships/slideLayout" Target="../slideLayouts/slideLayout1383.xml"/><Relationship Id="rId119" Type="http://schemas.openxmlformats.org/officeDocument/2006/relationships/slideLayout" Target="../slideLayouts/slideLayout1388.xml"/><Relationship Id="rId44" Type="http://schemas.openxmlformats.org/officeDocument/2006/relationships/slideLayout" Target="../slideLayouts/slideLayout1313.xml"/><Relationship Id="rId60" Type="http://schemas.openxmlformats.org/officeDocument/2006/relationships/slideLayout" Target="../slideLayouts/slideLayout1329.xml"/><Relationship Id="rId65" Type="http://schemas.openxmlformats.org/officeDocument/2006/relationships/slideLayout" Target="../slideLayouts/slideLayout1334.xml"/><Relationship Id="rId81" Type="http://schemas.openxmlformats.org/officeDocument/2006/relationships/slideLayout" Target="../slideLayouts/slideLayout1350.xml"/><Relationship Id="rId86" Type="http://schemas.openxmlformats.org/officeDocument/2006/relationships/slideLayout" Target="../slideLayouts/slideLayout1355.xml"/><Relationship Id="rId130" Type="http://schemas.openxmlformats.org/officeDocument/2006/relationships/slideLayout" Target="../slideLayouts/slideLayout1399.xml"/><Relationship Id="rId135" Type="http://schemas.openxmlformats.org/officeDocument/2006/relationships/slideLayout" Target="../slideLayouts/slideLayout1404.xml"/><Relationship Id="rId151" Type="http://schemas.openxmlformats.org/officeDocument/2006/relationships/slideLayout" Target="../slideLayouts/slideLayout1420.xml"/><Relationship Id="rId156" Type="http://schemas.openxmlformats.org/officeDocument/2006/relationships/slideLayout" Target="../slideLayouts/slideLayout1425.xml"/><Relationship Id="rId177" Type="http://schemas.openxmlformats.org/officeDocument/2006/relationships/slideLayout" Target="../slideLayouts/slideLayout1446.xml"/><Relationship Id="rId198" Type="http://schemas.openxmlformats.org/officeDocument/2006/relationships/slideLayout" Target="../slideLayouts/slideLayout1467.xml"/><Relationship Id="rId172" Type="http://schemas.openxmlformats.org/officeDocument/2006/relationships/slideLayout" Target="../slideLayouts/slideLayout1441.xml"/><Relationship Id="rId193" Type="http://schemas.openxmlformats.org/officeDocument/2006/relationships/slideLayout" Target="../slideLayouts/slideLayout1462.xml"/><Relationship Id="rId202" Type="http://schemas.openxmlformats.org/officeDocument/2006/relationships/slideLayout" Target="../slideLayouts/slideLayout1471.xml"/><Relationship Id="rId207" Type="http://schemas.openxmlformats.org/officeDocument/2006/relationships/slideLayout" Target="../slideLayouts/slideLayout1476.xml"/><Relationship Id="rId13" Type="http://schemas.openxmlformats.org/officeDocument/2006/relationships/slideLayout" Target="../slideLayouts/slideLayout1282.xml"/><Relationship Id="rId18" Type="http://schemas.openxmlformats.org/officeDocument/2006/relationships/slideLayout" Target="../slideLayouts/slideLayout1287.xml"/><Relationship Id="rId39" Type="http://schemas.openxmlformats.org/officeDocument/2006/relationships/slideLayout" Target="../slideLayouts/slideLayout1308.xml"/><Relationship Id="rId109" Type="http://schemas.openxmlformats.org/officeDocument/2006/relationships/slideLayout" Target="../slideLayouts/slideLayout1378.xml"/><Relationship Id="rId34" Type="http://schemas.openxmlformats.org/officeDocument/2006/relationships/slideLayout" Target="../slideLayouts/slideLayout1303.xml"/><Relationship Id="rId50" Type="http://schemas.openxmlformats.org/officeDocument/2006/relationships/slideLayout" Target="../slideLayouts/slideLayout1319.xml"/><Relationship Id="rId55" Type="http://schemas.openxmlformats.org/officeDocument/2006/relationships/slideLayout" Target="../slideLayouts/slideLayout1324.xml"/><Relationship Id="rId76" Type="http://schemas.openxmlformats.org/officeDocument/2006/relationships/slideLayout" Target="../slideLayouts/slideLayout1345.xml"/><Relationship Id="rId97" Type="http://schemas.openxmlformats.org/officeDocument/2006/relationships/slideLayout" Target="../slideLayouts/slideLayout1366.xml"/><Relationship Id="rId104" Type="http://schemas.openxmlformats.org/officeDocument/2006/relationships/slideLayout" Target="../slideLayouts/slideLayout1373.xml"/><Relationship Id="rId120" Type="http://schemas.openxmlformats.org/officeDocument/2006/relationships/slideLayout" Target="../slideLayouts/slideLayout1389.xml"/><Relationship Id="rId125" Type="http://schemas.openxmlformats.org/officeDocument/2006/relationships/slideLayout" Target="../slideLayouts/slideLayout1394.xml"/><Relationship Id="rId141" Type="http://schemas.openxmlformats.org/officeDocument/2006/relationships/slideLayout" Target="../slideLayouts/slideLayout1410.xml"/><Relationship Id="rId146" Type="http://schemas.openxmlformats.org/officeDocument/2006/relationships/slideLayout" Target="../slideLayouts/slideLayout1415.xml"/><Relationship Id="rId167" Type="http://schemas.openxmlformats.org/officeDocument/2006/relationships/slideLayout" Target="../slideLayouts/slideLayout1436.xml"/><Relationship Id="rId188" Type="http://schemas.openxmlformats.org/officeDocument/2006/relationships/slideLayout" Target="../slideLayouts/slideLayout1457.xml"/><Relationship Id="rId7" Type="http://schemas.openxmlformats.org/officeDocument/2006/relationships/slideLayout" Target="../slideLayouts/slideLayout1276.xml"/><Relationship Id="rId71" Type="http://schemas.openxmlformats.org/officeDocument/2006/relationships/slideLayout" Target="../slideLayouts/slideLayout1340.xml"/><Relationship Id="rId92" Type="http://schemas.openxmlformats.org/officeDocument/2006/relationships/slideLayout" Target="../slideLayouts/slideLayout1361.xml"/><Relationship Id="rId162" Type="http://schemas.openxmlformats.org/officeDocument/2006/relationships/slideLayout" Target="../slideLayouts/slideLayout1431.xml"/><Relationship Id="rId183" Type="http://schemas.openxmlformats.org/officeDocument/2006/relationships/slideLayout" Target="../slideLayouts/slideLayout1452.xml"/><Relationship Id="rId213" Type="http://schemas.openxmlformats.org/officeDocument/2006/relationships/theme" Target="../theme/theme16.xml"/><Relationship Id="rId2" Type="http://schemas.openxmlformats.org/officeDocument/2006/relationships/slideLayout" Target="../slideLayouts/slideLayout1271.xml"/><Relationship Id="rId29" Type="http://schemas.openxmlformats.org/officeDocument/2006/relationships/slideLayout" Target="../slideLayouts/slideLayout1298.xml"/><Relationship Id="rId24" Type="http://schemas.openxmlformats.org/officeDocument/2006/relationships/slideLayout" Target="../slideLayouts/slideLayout1293.xml"/><Relationship Id="rId40" Type="http://schemas.openxmlformats.org/officeDocument/2006/relationships/slideLayout" Target="../slideLayouts/slideLayout1309.xml"/><Relationship Id="rId45" Type="http://schemas.openxmlformats.org/officeDocument/2006/relationships/slideLayout" Target="../slideLayouts/slideLayout1314.xml"/><Relationship Id="rId66" Type="http://schemas.openxmlformats.org/officeDocument/2006/relationships/slideLayout" Target="../slideLayouts/slideLayout1335.xml"/><Relationship Id="rId87" Type="http://schemas.openxmlformats.org/officeDocument/2006/relationships/slideLayout" Target="../slideLayouts/slideLayout1356.xml"/><Relationship Id="rId110" Type="http://schemas.openxmlformats.org/officeDocument/2006/relationships/slideLayout" Target="../slideLayouts/slideLayout1379.xml"/><Relationship Id="rId115" Type="http://schemas.openxmlformats.org/officeDocument/2006/relationships/slideLayout" Target="../slideLayouts/slideLayout1384.xml"/><Relationship Id="rId131" Type="http://schemas.openxmlformats.org/officeDocument/2006/relationships/slideLayout" Target="../slideLayouts/slideLayout1400.xml"/><Relationship Id="rId136" Type="http://schemas.openxmlformats.org/officeDocument/2006/relationships/slideLayout" Target="../slideLayouts/slideLayout1405.xml"/><Relationship Id="rId157" Type="http://schemas.openxmlformats.org/officeDocument/2006/relationships/slideLayout" Target="../slideLayouts/slideLayout1426.xml"/><Relationship Id="rId178" Type="http://schemas.openxmlformats.org/officeDocument/2006/relationships/slideLayout" Target="../slideLayouts/slideLayout1447.xml"/><Relationship Id="rId61" Type="http://schemas.openxmlformats.org/officeDocument/2006/relationships/slideLayout" Target="../slideLayouts/slideLayout1330.xml"/><Relationship Id="rId82" Type="http://schemas.openxmlformats.org/officeDocument/2006/relationships/slideLayout" Target="../slideLayouts/slideLayout1351.xml"/><Relationship Id="rId152" Type="http://schemas.openxmlformats.org/officeDocument/2006/relationships/slideLayout" Target="../slideLayouts/slideLayout1421.xml"/><Relationship Id="rId173" Type="http://schemas.openxmlformats.org/officeDocument/2006/relationships/slideLayout" Target="../slideLayouts/slideLayout1442.xml"/><Relationship Id="rId194" Type="http://schemas.openxmlformats.org/officeDocument/2006/relationships/slideLayout" Target="../slideLayouts/slideLayout1463.xml"/><Relationship Id="rId199" Type="http://schemas.openxmlformats.org/officeDocument/2006/relationships/slideLayout" Target="../slideLayouts/slideLayout1468.xml"/><Relationship Id="rId203" Type="http://schemas.openxmlformats.org/officeDocument/2006/relationships/slideLayout" Target="../slideLayouts/slideLayout1472.xml"/><Relationship Id="rId208" Type="http://schemas.openxmlformats.org/officeDocument/2006/relationships/slideLayout" Target="../slideLayouts/slideLayout1477.xml"/><Relationship Id="rId19" Type="http://schemas.openxmlformats.org/officeDocument/2006/relationships/slideLayout" Target="../slideLayouts/slideLayout1288.xml"/><Relationship Id="rId14" Type="http://schemas.openxmlformats.org/officeDocument/2006/relationships/slideLayout" Target="../slideLayouts/slideLayout1283.xml"/><Relationship Id="rId30" Type="http://schemas.openxmlformats.org/officeDocument/2006/relationships/slideLayout" Target="../slideLayouts/slideLayout1299.xml"/><Relationship Id="rId35" Type="http://schemas.openxmlformats.org/officeDocument/2006/relationships/slideLayout" Target="../slideLayouts/slideLayout1304.xml"/><Relationship Id="rId56" Type="http://schemas.openxmlformats.org/officeDocument/2006/relationships/slideLayout" Target="../slideLayouts/slideLayout1325.xml"/><Relationship Id="rId77" Type="http://schemas.openxmlformats.org/officeDocument/2006/relationships/slideLayout" Target="../slideLayouts/slideLayout1346.xml"/><Relationship Id="rId100" Type="http://schemas.openxmlformats.org/officeDocument/2006/relationships/slideLayout" Target="../slideLayouts/slideLayout1369.xml"/><Relationship Id="rId105" Type="http://schemas.openxmlformats.org/officeDocument/2006/relationships/slideLayout" Target="../slideLayouts/slideLayout1374.xml"/><Relationship Id="rId126" Type="http://schemas.openxmlformats.org/officeDocument/2006/relationships/slideLayout" Target="../slideLayouts/slideLayout1395.xml"/><Relationship Id="rId147" Type="http://schemas.openxmlformats.org/officeDocument/2006/relationships/slideLayout" Target="../slideLayouts/slideLayout1416.xml"/><Relationship Id="rId168" Type="http://schemas.openxmlformats.org/officeDocument/2006/relationships/slideLayout" Target="../slideLayouts/slideLayout1437.xml"/><Relationship Id="rId8" Type="http://schemas.openxmlformats.org/officeDocument/2006/relationships/slideLayout" Target="../slideLayouts/slideLayout1277.xml"/><Relationship Id="rId51" Type="http://schemas.openxmlformats.org/officeDocument/2006/relationships/slideLayout" Target="../slideLayouts/slideLayout1320.xml"/><Relationship Id="rId72" Type="http://schemas.openxmlformats.org/officeDocument/2006/relationships/slideLayout" Target="../slideLayouts/slideLayout1341.xml"/><Relationship Id="rId93" Type="http://schemas.openxmlformats.org/officeDocument/2006/relationships/slideLayout" Target="../slideLayouts/slideLayout1362.xml"/><Relationship Id="rId98" Type="http://schemas.openxmlformats.org/officeDocument/2006/relationships/slideLayout" Target="../slideLayouts/slideLayout1367.xml"/><Relationship Id="rId121" Type="http://schemas.openxmlformats.org/officeDocument/2006/relationships/slideLayout" Target="../slideLayouts/slideLayout1390.xml"/><Relationship Id="rId142" Type="http://schemas.openxmlformats.org/officeDocument/2006/relationships/slideLayout" Target="../slideLayouts/slideLayout1411.xml"/><Relationship Id="rId163" Type="http://schemas.openxmlformats.org/officeDocument/2006/relationships/slideLayout" Target="../slideLayouts/slideLayout1432.xml"/><Relationship Id="rId184" Type="http://schemas.openxmlformats.org/officeDocument/2006/relationships/slideLayout" Target="../slideLayouts/slideLayout1453.xml"/><Relationship Id="rId189" Type="http://schemas.openxmlformats.org/officeDocument/2006/relationships/slideLayout" Target="../slideLayouts/slideLayout1458.xml"/><Relationship Id="rId3" Type="http://schemas.openxmlformats.org/officeDocument/2006/relationships/slideLayout" Target="../slideLayouts/slideLayout1272.xml"/><Relationship Id="rId25" Type="http://schemas.openxmlformats.org/officeDocument/2006/relationships/slideLayout" Target="../slideLayouts/slideLayout1294.xml"/><Relationship Id="rId46" Type="http://schemas.openxmlformats.org/officeDocument/2006/relationships/slideLayout" Target="../slideLayouts/slideLayout1315.xml"/><Relationship Id="rId67" Type="http://schemas.openxmlformats.org/officeDocument/2006/relationships/slideLayout" Target="../slideLayouts/slideLayout1336.xml"/><Relationship Id="rId116" Type="http://schemas.openxmlformats.org/officeDocument/2006/relationships/slideLayout" Target="../slideLayouts/slideLayout1385.xml"/><Relationship Id="rId137" Type="http://schemas.openxmlformats.org/officeDocument/2006/relationships/slideLayout" Target="../slideLayouts/slideLayout1406.xml"/><Relationship Id="rId158" Type="http://schemas.openxmlformats.org/officeDocument/2006/relationships/slideLayout" Target="../slideLayouts/slideLayout1427.xml"/><Relationship Id="rId20" Type="http://schemas.openxmlformats.org/officeDocument/2006/relationships/slideLayout" Target="../slideLayouts/slideLayout1289.xml"/><Relationship Id="rId41" Type="http://schemas.openxmlformats.org/officeDocument/2006/relationships/slideLayout" Target="../slideLayouts/slideLayout1310.xml"/><Relationship Id="rId62" Type="http://schemas.openxmlformats.org/officeDocument/2006/relationships/slideLayout" Target="../slideLayouts/slideLayout1331.xml"/><Relationship Id="rId83" Type="http://schemas.openxmlformats.org/officeDocument/2006/relationships/slideLayout" Target="../slideLayouts/slideLayout1352.xml"/><Relationship Id="rId88" Type="http://schemas.openxmlformats.org/officeDocument/2006/relationships/slideLayout" Target="../slideLayouts/slideLayout1357.xml"/><Relationship Id="rId111" Type="http://schemas.openxmlformats.org/officeDocument/2006/relationships/slideLayout" Target="../slideLayouts/slideLayout1380.xml"/><Relationship Id="rId132" Type="http://schemas.openxmlformats.org/officeDocument/2006/relationships/slideLayout" Target="../slideLayouts/slideLayout1401.xml"/><Relationship Id="rId153" Type="http://schemas.openxmlformats.org/officeDocument/2006/relationships/slideLayout" Target="../slideLayouts/slideLayout1422.xml"/><Relationship Id="rId174" Type="http://schemas.openxmlformats.org/officeDocument/2006/relationships/slideLayout" Target="../slideLayouts/slideLayout1443.xml"/><Relationship Id="rId179" Type="http://schemas.openxmlformats.org/officeDocument/2006/relationships/slideLayout" Target="../slideLayouts/slideLayout1448.xml"/><Relationship Id="rId195" Type="http://schemas.openxmlformats.org/officeDocument/2006/relationships/slideLayout" Target="../slideLayouts/slideLayout1464.xml"/><Relationship Id="rId209" Type="http://schemas.openxmlformats.org/officeDocument/2006/relationships/slideLayout" Target="../slideLayouts/slideLayout1478.xml"/><Relationship Id="rId190" Type="http://schemas.openxmlformats.org/officeDocument/2006/relationships/slideLayout" Target="../slideLayouts/slideLayout1459.xml"/><Relationship Id="rId204" Type="http://schemas.openxmlformats.org/officeDocument/2006/relationships/slideLayout" Target="../slideLayouts/slideLayout1473.xml"/><Relationship Id="rId15" Type="http://schemas.openxmlformats.org/officeDocument/2006/relationships/slideLayout" Target="../slideLayouts/slideLayout1284.xml"/><Relationship Id="rId36" Type="http://schemas.openxmlformats.org/officeDocument/2006/relationships/slideLayout" Target="../slideLayouts/slideLayout1305.xml"/><Relationship Id="rId57" Type="http://schemas.openxmlformats.org/officeDocument/2006/relationships/slideLayout" Target="../slideLayouts/slideLayout1326.xml"/><Relationship Id="rId106" Type="http://schemas.openxmlformats.org/officeDocument/2006/relationships/slideLayout" Target="../slideLayouts/slideLayout1375.xml"/><Relationship Id="rId127" Type="http://schemas.openxmlformats.org/officeDocument/2006/relationships/slideLayout" Target="../slideLayouts/slideLayout1396.xml"/><Relationship Id="rId10" Type="http://schemas.openxmlformats.org/officeDocument/2006/relationships/slideLayout" Target="../slideLayouts/slideLayout1279.xml"/><Relationship Id="rId31" Type="http://schemas.openxmlformats.org/officeDocument/2006/relationships/slideLayout" Target="../slideLayouts/slideLayout1300.xml"/><Relationship Id="rId52" Type="http://schemas.openxmlformats.org/officeDocument/2006/relationships/slideLayout" Target="../slideLayouts/slideLayout1321.xml"/><Relationship Id="rId73" Type="http://schemas.openxmlformats.org/officeDocument/2006/relationships/slideLayout" Target="../slideLayouts/slideLayout1342.xml"/><Relationship Id="rId78" Type="http://schemas.openxmlformats.org/officeDocument/2006/relationships/slideLayout" Target="../slideLayouts/slideLayout1347.xml"/><Relationship Id="rId94" Type="http://schemas.openxmlformats.org/officeDocument/2006/relationships/slideLayout" Target="../slideLayouts/slideLayout1363.xml"/><Relationship Id="rId99" Type="http://schemas.openxmlformats.org/officeDocument/2006/relationships/slideLayout" Target="../slideLayouts/slideLayout1368.xml"/><Relationship Id="rId101" Type="http://schemas.openxmlformats.org/officeDocument/2006/relationships/slideLayout" Target="../slideLayouts/slideLayout1370.xml"/><Relationship Id="rId122" Type="http://schemas.openxmlformats.org/officeDocument/2006/relationships/slideLayout" Target="../slideLayouts/slideLayout1391.xml"/><Relationship Id="rId143" Type="http://schemas.openxmlformats.org/officeDocument/2006/relationships/slideLayout" Target="../slideLayouts/slideLayout1412.xml"/><Relationship Id="rId148" Type="http://schemas.openxmlformats.org/officeDocument/2006/relationships/slideLayout" Target="../slideLayouts/slideLayout1417.xml"/><Relationship Id="rId164" Type="http://schemas.openxmlformats.org/officeDocument/2006/relationships/slideLayout" Target="../slideLayouts/slideLayout1433.xml"/><Relationship Id="rId169" Type="http://schemas.openxmlformats.org/officeDocument/2006/relationships/slideLayout" Target="../slideLayouts/slideLayout1438.xml"/><Relationship Id="rId185" Type="http://schemas.openxmlformats.org/officeDocument/2006/relationships/slideLayout" Target="../slideLayouts/slideLayout1454.xml"/><Relationship Id="rId4" Type="http://schemas.openxmlformats.org/officeDocument/2006/relationships/slideLayout" Target="../slideLayouts/slideLayout1273.xml"/><Relationship Id="rId9" Type="http://schemas.openxmlformats.org/officeDocument/2006/relationships/slideLayout" Target="../slideLayouts/slideLayout1278.xml"/><Relationship Id="rId180" Type="http://schemas.openxmlformats.org/officeDocument/2006/relationships/slideLayout" Target="../slideLayouts/slideLayout1449.xml"/><Relationship Id="rId210" Type="http://schemas.openxmlformats.org/officeDocument/2006/relationships/slideLayout" Target="../slideLayouts/slideLayout1479.xml"/><Relationship Id="rId26" Type="http://schemas.openxmlformats.org/officeDocument/2006/relationships/slideLayout" Target="../slideLayouts/slideLayout1295.xml"/><Relationship Id="rId47" Type="http://schemas.openxmlformats.org/officeDocument/2006/relationships/slideLayout" Target="../slideLayouts/slideLayout1316.xml"/><Relationship Id="rId68" Type="http://schemas.openxmlformats.org/officeDocument/2006/relationships/slideLayout" Target="../slideLayouts/slideLayout1337.xml"/><Relationship Id="rId89" Type="http://schemas.openxmlformats.org/officeDocument/2006/relationships/slideLayout" Target="../slideLayouts/slideLayout1358.xml"/><Relationship Id="rId112" Type="http://schemas.openxmlformats.org/officeDocument/2006/relationships/slideLayout" Target="../slideLayouts/slideLayout1381.xml"/><Relationship Id="rId133" Type="http://schemas.openxmlformats.org/officeDocument/2006/relationships/slideLayout" Target="../slideLayouts/slideLayout1402.xml"/><Relationship Id="rId154" Type="http://schemas.openxmlformats.org/officeDocument/2006/relationships/slideLayout" Target="../slideLayouts/slideLayout1423.xml"/><Relationship Id="rId175" Type="http://schemas.openxmlformats.org/officeDocument/2006/relationships/slideLayout" Target="../slideLayouts/slideLayout1444.xml"/><Relationship Id="rId196" Type="http://schemas.openxmlformats.org/officeDocument/2006/relationships/slideLayout" Target="../slideLayouts/slideLayout1465.xml"/><Relationship Id="rId200" Type="http://schemas.openxmlformats.org/officeDocument/2006/relationships/slideLayout" Target="../slideLayouts/slideLayout1469.xml"/><Relationship Id="rId16" Type="http://schemas.openxmlformats.org/officeDocument/2006/relationships/slideLayout" Target="../slideLayouts/slideLayout1285.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1507.xml"/><Relationship Id="rId117" Type="http://schemas.openxmlformats.org/officeDocument/2006/relationships/slideLayout" Target="../slideLayouts/slideLayout1598.xml"/><Relationship Id="rId21" Type="http://schemas.openxmlformats.org/officeDocument/2006/relationships/slideLayout" Target="../slideLayouts/slideLayout1502.xml"/><Relationship Id="rId42" Type="http://schemas.openxmlformats.org/officeDocument/2006/relationships/slideLayout" Target="../slideLayouts/slideLayout1523.xml"/><Relationship Id="rId47" Type="http://schemas.openxmlformats.org/officeDocument/2006/relationships/slideLayout" Target="../slideLayouts/slideLayout1528.xml"/><Relationship Id="rId63" Type="http://schemas.openxmlformats.org/officeDocument/2006/relationships/slideLayout" Target="../slideLayouts/slideLayout1544.xml"/><Relationship Id="rId68" Type="http://schemas.openxmlformats.org/officeDocument/2006/relationships/slideLayout" Target="../slideLayouts/slideLayout1549.xml"/><Relationship Id="rId84" Type="http://schemas.openxmlformats.org/officeDocument/2006/relationships/slideLayout" Target="../slideLayouts/slideLayout1565.xml"/><Relationship Id="rId89" Type="http://schemas.openxmlformats.org/officeDocument/2006/relationships/slideLayout" Target="../slideLayouts/slideLayout1570.xml"/><Relationship Id="rId112" Type="http://schemas.openxmlformats.org/officeDocument/2006/relationships/slideLayout" Target="../slideLayouts/slideLayout1593.xml"/><Relationship Id="rId133" Type="http://schemas.openxmlformats.org/officeDocument/2006/relationships/slideLayout" Target="../slideLayouts/slideLayout1614.xml"/><Relationship Id="rId16" Type="http://schemas.openxmlformats.org/officeDocument/2006/relationships/slideLayout" Target="../slideLayouts/slideLayout1497.xml"/><Relationship Id="rId107" Type="http://schemas.openxmlformats.org/officeDocument/2006/relationships/slideLayout" Target="../slideLayouts/slideLayout1588.xml"/><Relationship Id="rId11" Type="http://schemas.openxmlformats.org/officeDocument/2006/relationships/slideLayout" Target="../slideLayouts/slideLayout1492.xml"/><Relationship Id="rId32" Type="http://schemas.openxmlformats.org/officeDocument/2006/relationships/slideLayout" Target="../slideLayouts/slideLayout1513.xml"/><Relationship Id="rId37" Type="http://schemas.openxmlformats.org/officeDocument/2006/relationships/slideLayout" Target="../slideLayouts/slideLayout1518.xml"/><Relationship Id="rId53" Type="http://schemas.openxmlformats.org/officeDocument/2006/relationships/slideLayout" Target="../slideLayouts/slideLayout1534.xml"/><Relationship Id="rId58" Type="http://schemas.openxmlformats.org/officeDocument/2006/relationships/slideLayout" Target="../slideLayouts/slideLayout1539.xml"/><Relationship Id="rId74" Type="http://schemas.openxmlformats.org/officeDocument/2006/relationships/slideLayout" Target="../slideLayouts/slideLayout1555.xml"/><Relationship Id="rId79" Type="http://schemas.openxmlformats.org/officeDocument/2006/relationships/slideLayout" Target="../slideLayouts/slideLayout1560.xml"/><Relationship Id="rId102" Type="http://schemas.openxmlformats.org/officeDocument/2006/relationships/slideLayout" Target="../slideLayouts/slideLayout1583.xml"/><Relationship Id="rId123" Type="http://schemas.openxmlformats.org/officeDocument/2006/relationships/slideLayout" Target="../slideLayouts/slideLayout1604.xml"/><Relationship Id="rId128" Type="http://schemas.openxmlformats.org/officeDocument/2006/relationships/slideLayout" Target="../slideLayouts/slideLayout1609.xml"/><Relationship Id="rId5" Type="http://schemas.openxmlformats.org/officeDocument/2006/relationships/slideLayout" Target="../slideLayouts/slideLayout1486.xml"/><Relationship Id="rId90" Type="http://schemas.openxmlformats.org/officeDocument/2006/relationships/slideLayout" Target="../slideLayouts/slideLayout1571.xml"/><Relationship Id="rId95" Type="http://schemas.openxmlformats.org/officeDocument/2006/relationships/slideLayout" Target="../slideLayouts/slideLayout1576.xml"/><Relationship Id="rId14" Type="http://schemas.openxmlformats.org/officeDocument/2006/relationships/slideLayout" Target="../slideLayouts/slideLayout1495.xml"/><Relationship Id="rId22" Type="http://schemas.openxmlformats.org/officeDocument/2006/relationships/slideLayout" Target="../slideLayouts/slideLayout1503.xml"/><Relationship Id="rId27" Type="http://schemas.openxmlformats.org/officeDocument/2006/relationships/slideLayout" Target="../slideLayouts/slideLayout1508.xml"/><Relationship Id="rId30" Type="http://schemas.openxmlformats.org/officeDocument/2006/relationships/slideLayout" Target="../slideLayouts/slideLayout1511.xml"/><Relationship Id="rId35" Type="http://schemas.openxmlformats.org/officeDocument/2006/relationships/slideLayout" Target="../slideLayouts/slideLayout1516.xml"/><Relationship Id="rId43" Type="http://schemas.openxmlformats.org/officeDocument/2006/relationships/slideLayout" Target="../slideLayouts/slideLayout1524.xml"/><Relationship Id="rId48" Type="http://schemas.openxmlformats.org/officeDocument/2006/relationships/slideLayout" Target="../slideLayouts/slideLayout1529.xml"/><Relationship Id="rId56" Type="http://schemas.openxmlformats.org/officeDocument/2006/relationships/slideLayout" Target="../slideLayouts/slideLayout1537.xml"/><Relationship Id="rId64" Type="http://schemas.openxmlformats.org/officeDocument/2006/relationships/slideLayout" Target="../slideLayouts/slideLayout1545.xml"/><Relationship Id="rId69" Type="http://schemas.openxmlformats.org/officeDocument/2006/relationships/slideLayout" Target="../slideLayouts/slideLayout1550.xml"/><Relationship Id="rId77" Type="http://schemas.openxmlformats.org/officeDocument/2006/relationships/slideLayout" Target="../slideLayouts/slideLayout1558.xml"/><Relationship Id="rId100" Type="http://schemas.openxmlformats.org/officeDocument/2006/relationships/slideLayout" Target="../slideLayouts/slideLayout1581.xml"/><Relationship Id="rId105" Type="http://schemas.openxmlformats.org/officeDocument/2006/relationships/slideLayout" Target="../slideLayouts/slideLayout1586.xml"/><Relationship Id="rId113" Type="http://schemas.openxmlformats.org/officeDocument/2006/relationships/slideLayout" Target="../slideLayouts/slideLayout1594.xml"/><Relationship Id="rId118" Type="http://schemas.openxmlformats.org/officeDocument/2006/relationships/slideLayout" Target="../slideLayouts/slideLayout1599.xml"/><Relationship Id="rId126" Type="http://schemas.openxmlformats.org/officeDocument/2006/relationships/slideLayout" Target="../slideLayouts/slideLayout1607.xml"/><Relationship Id="rId134" Type="http://schemas.openxmlformats.org/officeDocument/2006/relationships/theme" Target="../theme/theme17.xml"/><Relationship Id="rId8" Type="http://schemas.openxmlformats.org/officeDocument/2006/relationships/slideLayout" Target="../slideLayouts/slideLayout1489.xml"/><Relationship Id="rId51" Type="http://schemas.openxmlformats.org/officeDocument/2006/relationships/slideLayout" Target="../slideLayouts/slideLayout1532.xml"/><Relationship Id="rId72" Type="http://schemas.openxmlformats.org/officeDocument/2006/relationships/slideLayout" Target="../slideLayouts/slideLayout1553.xml"/><Relationship Id="rId80" Type="http://schemas.openxmlformats.org/officeDocument/2006/relationships/slideLayout" Target="../slideLayouts/slideLayout1561.xml"/><Relationship Id="rId85" Type="http://schemas.openxmlformats.org/officeDocument/2006/relationships/slideLayout" Target="../slideLayouts/slideLayout1566.xml"/><Relationship Id="rId93" Type="http://schemas.openxmlformats.org/officeDocument/2006/relationships/slideLayout" Target="../slideLayouts/slideLayout1574.xml"/><Relationship Id="rId98" Type="http://schemas.openxmlformats.org/officeDocument/2006/relationships/slideLayout" Target="../slideLayouts/slideLayout1579.xml"/><Relationship Id="rId121" Type="http://schemas.openxmlformats.org/officeDocument/2006/relationships/slideLayout" Target="../slideLayouts/slideLayout1602.xml"/><Relationship Id="rId3" Type="http://schemas.openxmlformats.org/officeDocument/2006/relationships/slideLayout" Target="../slideLayouts/slideLayout1484.xml"/><Relationship Id="rId12" Type="http://schemas.openxmlformats.org/officeDocument/2006/relationships/slideLayout" Target="../slideLayouts/slideLayout1493.xml"/><Relationship Id="rId17" Type="http://schemas.openxmlformats.org/officeDocument/2006/relationships/slideLayout" Target="../slideLayouts/slideLayout1498.xml"/><Relationship Id="rId25" Type="http://schemas.openxmlformats.org/officeDocument/2006/relationships/slideLayout" Target="../slideLayouts/slideLayout1506.xml"/><Relationship Id="rId33" Type="http://schemas.openxmlformats.org/officeDocument/2006/relationships/slideLayout" Target="../slideLayouts/slideLayout1514.xml"/><Relationship Id="rId38" Type="http://schemas.openxmlformats.org/officeDocument/2006/relationships/slideLayout" Target="../slideLayouts/slideLayout1519.xml"/><Relationship Id="rId46" Type="http://schemas.openxmlformats.org/officeDocument/2006/relationships/slideLayout" Target="../slideLayouts/slideLayout1527.xml"/><Relationship Id="rId59" Type="http://schemas.openxmlformats.org/officeDocument/2006/relationships/slideLayout" Target="../slideLayouts/slideLayout1540.xml"/><Relationship Id="rId67" Type="http://schemas.openxmlformats.org/officeDocument/2006/relationships/slideLayout" Target="../slideLayouts/slideLayout1548.xml"/><Relationship Id="rId103" Type="http://schemas.openxmlformats.org/officeDocument/2006/relationships/slideLayout" Target="../slideLayouts/slideLayout1584.xml"/><Relationship Id="rId108" Type="http://schemas.openxmlformats.org/officeDocument/2006/relationships/slideLayout" Target="../slideLayouts/slideLayout1589.xml"/><Relationship Id="rId116" Type="http://schemas.openxmlformats.org/officeDocument/2006/relationships/slideLayout" Target="../slideLayouts/slideLayout1597.xml"/><Relationship Id="rId124" Type="http://schemas.openxmlformats.org/officeDocument/2006/relationships/slideLayout" Target="../slideLayouts/slideLayout1605.xml"/><Relationship Id="rId129" Type="http://schemas.openxmlformats.org/officeDocument/2006/relationships/slideLayout" Target="../slideLayouts/slideLayout1610.xml"/><Relationship Id="rId20" Type="http://schemas.openxmlformats.org/officeDocument/2006/relationships/slideLayout" Target="../slideLayouts/slideLayout1501.xml"/><Relationship Id="rId41" Type="http://schemas.openxmlformats.org/officeDocument/2006/relationships/slideLayout" Target="../slideLayouts/slideLayout1522.xml"/><Relationship Id="rId54" Type="http://schemas.openxmlformats.org/officeDocument/2006/relationships/slideLayout" Target="../slideLayouts/slideLayout1535.xml"/><Relationship Id="rId62" Type="http://schemas.openxmlformats.org/officeDocument/2006/relationships/slideLayout" Target="../slideLayouts/slideLayout1543.xml"/><Relationship Id="rId70" Type="http://schemas.openxmlformats.org/officeDocument/2006/relationships/slideLayout" Target="../slideLayouts/slideLayout1551.xml"/><Relationship Id="rId75" Type="http://schemas.openxmlformats.org/officeDocument/2006/relationships/slideLayout" Target="../slideLayouts/slideLayout1556.xml"/><Relationship Id="rId83" Type="http://schemas.openxmlformats.org/officeDocument/2006/relationships/slideLayout" Target="../slideLayouts/slideLayout1564.xml"/><Relationship Id="rId88" Type="http://schemas.openxmlformats.org/officeDocument/2006/relationships/slideLayout" Target="../slideLayouts/slideLayout1569.xml"/><Relationship Id="rId91" Type="http://schemas.openxmlformats.org/officeDocument/2006/relationships/slideLayout" Target="../slideLayouts/slideLayout1572.xml"/><Relationship Id="rId96" Type="http://schemas.openxmlformats.org/officeDocument/2006/relationships/slideLayout" Target="../slideLayouts/slideLayout1577.xml"/><Relationship Id="rId111" Type="http://schemas.openxmlformats.org/officeDocument/2006/relationships/slideLayout" Target="../slideLayouts/slideLayout1592.xml"/><Relationship Id="rId132" Type="http://schemas.openxmlformats.org/officeDocument/2006/relationships/slideLayout" Target="../slideLayouts/slideLayout1613.xml"/><Relationship Id="rId1" Type="http://schemas.openxmlformats.org/officeDocument/2006/relationships/slideLayout" Target="../slideLayouts/slideLayout1482.xml"/><Relationship Id="rId6" Type="http://schemas.openxmlformats.org/officeDocument/2006/relationships/slideLayout" Target="../slideLayouts/slideLayout1487.xml"/><Relationship Id="rId15" Type="http://schemas.openxmlformats.org/officeDocument/2006/relationships/slideLayout" Target="../slideLayouts/slideLayout1496.xml"/><Relationship Id="rId23" Type="http://schemas.openxmlformats.org/officeDocument/2006/relationships/slideLayout" Target="../slideLayouts/slideLayout1504.xml"/><Relationship Id="rId28" Type="http://schemas.openxmlformats.org/officeDocument/2006/relationships/slideLayout" Target="../slideLayouts/slideLayout1509.xml"/><Relationship Id="rId36" Type="http://schemas.openxmlformats.org/officeDocument/2006/relationships/slideLayout" Target="../slideLayouts/slideLayout1517.xml"/><Relationship Id="rId49" Type="http://schemas.openxmlformats.org/officeDocument/2006/relationships/slideLayout" Target="../slideLayouts/slideLayout1530.xml"/><Relationship Id="rId57" Type="http://schemas.openxmlformats.org/officeDocument/2006/relationships/slideLayout" Target="../slideLayouts/slideLayout1538.xml"/><Relationship Id="rId106" Type="http://schemas.openxmlformats.org/officeDocument/2006/relationships/slideLayout" Target="../slideLayouts/slideLayout1587.xml"/><Relationship Id="rId114" Type="http://schemas.openxmlformats.org/officeDocument/2006/relationships/slideLayout" Target="../slideLayouts/slideLayout1595.xml"/><Relationship Id="rId119" Type="http://schemas.openxmlformats.org/officeDocument/2006/relationships/slideLayout" Target="../slideLayouts/slideLayout1600.xml"/><Relationship Id="rId127" Type="http://schemas.openxmlformats.org/officeDocument/2006/relationships/slideLayout" Target="../slideLayouts/slideLayout1608.xml"/><Relationship Id="rId10" Type="http://schemas.openxmlformats.org/officeDocument/2006/relationships/slideLayout" Target="../slideLayouts/slideLayout1491.xml"/><Relationship Id="rId31" Type="http://schemas.openxmlformats.org/officeDocument/2006/relationships/slideLayout" Target="../slideLayouts/slideLayout1512.xml"/><Relationship Id="rId44" Type="http://schemas.openxmlformats.org/officeDocument/2006/relationships/slideLayout" Target="../slideLayouts/slideLayout1525.xml"/><Relationship Id="rId52" Type="http://schemas.openxmlformats.org/officeDocument/2006/relationships/slideLayout" Target="../slideLayouts/slideLayout1533.xml"/><Relationship Id="rId60" Type="http://schemas.openxmlformats.org/officeDocument/2006/relationships/slideLayout" Target="../slideLayouts/slideLayout1541.xml"/><Relationship Id="rId65" Type="http://schemas.openxmlformats.org/officeDocument/2006/relationships/slideLayout" Target="../slideLayouts/slideLayout1546.xml"/><Relationship Id="rId73" Type="http://schemas.openxmlformats.org/officeDocument/2006/relationships/slideLayout" Target="../slideLayouts/slideLayout1554.xml"/><Relationship Id="rId78" Type="http://schemas.openxmlformats.org/officeDocument/2006/relationships/slideLayout" Target="../slideLayouts/slideLayout1559.xml"/><Relationship Id="rId81" Type="http://schemas.openxmlformats.org/officeDocument/2006/relationships/slideLayout" Target="../slideLayouts/slideLayout1562.xml"/><Relationship Id="rId86" Type="http://schemas.openxmlformats.org/officeDocument/2006/relationships/slideLayout" Target="../slideLayouts/slideLayout1567.xml"/><Relationship Id="rId94" Type="http://schemas.openxmlformats.org/officeDocument/2006/relationships/slideLayout" Target="../slideLayouts/slideLayout1575.xml"/><Relationship Id="rId99" Type="http://schemas.openxmlformats.org/officeDocument/2006/relationships/slideLayout" Target="../slideLayouts/slideLayout1580.xml"/><Relationship Id="rId101" Type="http://schemas.openxmlformats.org/officeDocument/2006/relationships/slideLayout" Target="../slideLayouts/slideLayout1582.xml"/><Relationship Id="rId122" Type="http://schemas.openxmlformats.org/officeDocument/2006/relationships/slideLayout" Target="../slideLayouts/slideLayout1603.xml"/><Relationship Id="rId130" Type="http://schemas.openxmlformats.org/officeDocument/2006/relationships/slideLayout" Target="../slideLayouts/slideLayout1611.xml"/><Relationship Id="rId4" Type="http://schemas.openxmlformats.org/officeDocument/2006/relationships/slideLayout" Target="../slideLayouts/slideLayout1485.xml"/><Relationship Id="rId9" Type="http://schemas.openxmlformats.org/officeDocument/2006/relationships/slideLayout" Target="../slideLayouts/slideLayout1490.xml"/><Relationship Id="rId13" Type="http://schemas.openxmlformats.org/officeDocument/2006/relationships/slideLayout" Target="../slideLayouts/slideLayout1494.xml"/><Relationship Id="rId18" Type="http://schemas.openxmlformats.org/officeDocument/2006/relationships/slideLayout" Target="../slideLayouts/slideLayout1499.xml"/><Relationship Id="rId39" Type="http://schemas.openxmlformats.org/officeDocument/2006/relationships/slideLayout" Target="../slideLayouts/slideLayout1520.xml"/><Relationship Id="rId109" Type="http://schemas.openxmlformats.org/officeDocument/2006/relationships/slideLayout" Target="../slideLayouts/slideLayout1590.xml"/><Relationship Id="rId34" Type="http://schemas.openxmlformats.org/officeDocument/2006/relationships/slideLayout" Target="../slideLayouts/slideLayout1515.xml"/><Relationship Id="rId50" Type="http://schemas.openxmlformats.org/officeDocument/2006/relationships/slideLayout" Target="../slideLayouts/slideLayout1531.xml"/><Relationship Id="rId55" Type="http://schemas.openxmlformats.org/officeDocument/2006/relationships/slideLayout" Target="../slideLayouts/slideLayout1536.xml"/><Relationship Id="rId76" Type="http://schemas.openxmlformats.org/officeDocument/2006/relationships/slideLayout" Target="../slideLayouts/slideLayout1557.xml"/><Relationship Id="rId97" Type="http://schemas.openxmlformats.org/officeDocument/2006/relationships/slideLayout" Target="../slideLayouts/slideLayout1578.xml"/><Relationship Id="rId104" Type="http://schemas.openxmlformats.org/officeDocument/2006/relationships/slideLayout" Target="../slideLayouts/slideLayout1585.xml"/><Relationship Id="rId120" Type="http://schemas.openxmlformats.org/officeDocument/2006/relationships/slideLayout" Target="../slideLayouts/slideLayout1601.xml"/><Relationship Id="rId125" Type="http://schemas.openxmlformats.org/officeDocument/2006/relationships/slideLayout" Target="../slideLayouts/slideLayout1606.xml"/><Relationship Id="rId7" Type="http://schemas.openxmlformats.org/officeDocument/2006/relationships/slideLayout" Target="../slideLayouts/slideLayout1488.xml"/><Relationship Id="rId71" Type="http://schemas.openxmlformats.org/officeDocument/2006/relationships/slideLayout" Target="../slideLayouts/slideLayout1552.xml"/><Relationship Id="rId92" Type="http://schemas.openxmlformats.org/officeDocument/2006/relationships/slideLayout" Target="../slideLayouts/slideLayout1573.xml"/><Relationship Id="rId2" Type="http://schemas.openxmlformats.org/officeDocument/2006/relationships/slideLayout" Target="../slideLayouts/slideLayout1483.xml"/><Relationship Id="rId29" Type="http://schemas.openxmlformats.org/officeDocument/2006/relationships/slideLayout" Target="../slideLayouts/slideLayout1510.xml"/><Relationship Id="rId24" Type="http://schemas.openxmlformats.org/officeDocument/2006/relationships/slideLayout" Target="../slideLayouts/slideLayout1505.xml"/><Relationship Id="rId40" Type="http://schemas.openxmlformats.org/officeDocument/2006/relationships/slideLayout" Target="../slideLayouts/slideLayout1521.xml"/><Relationship Id="rId45" Type="http://schemas.openxmlformats.org/officeDocument/2006/relationships/slideLayout" Target="../slideLayouts/slideLayout1526.xml"/><Relationship Id="rId66" Type="http://schemas.openxmlformats.org/officeDocument/2006/relationships/slideLayout" Target="../slideLayouts/slideLayout1547.xml"/><Relationship Id="rId87" Type="http://schemas.openxmlformats.org/officeDocument/2006/relationships/slideLayout" Target="../slideLayouts/slideLayout1568.xml"/><Relationship Id="rId110" Type="http://schemas.openxmlformats.org/officeDocument/2006/relationships/slideLayout" Target="../slideLayouts/slideLayout1591.xml"/><Relationship Id="rId115" Type="http://schemas.openxmlformats.org/officeDocument/2006/relationships/slideLayout" Target="../slideLayouts/slideLayout1596.xml"/><Relationship Id="rId131" Type="http://schemas.openxmlformats.org/officeDocument/2006/relationships/slideLayout" Target="../slideLayouts/slideLayout1612.xml"/><Relationship Id="rId61" Type="http://schemas.openxmlformats.org/officeDocument/2006/relationships/slideLayout" Target="../slideLayouts/slideLayout1542.xml"/><Relationship Id="rId82" Type="http://schemas.openxmlformats.org/officeDocument/2006/relationships/slideLayout" Target="../slideLayouts/slideLayout1563.xml"/><Relationship Id="rId19" Type="http://schemas.openxmlformats.org/officeDocument/2006/relationships/slideLayout" Target="../slideLayouts/slideLayout1500.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9.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63" Type="http://schemas.openxmlformats.org/officeDocument/2006/relationships/slideLayout" Target="../slideLayouts/slideLayout106.xml"/><Relationship Id="rId68" Type="http://schemas.openxmlformats.org/officeDocument/2006/relationships/slideLayout" Target="../slideLayouts/slideLayout111.xml"/><Relationship Id="rId76" Type="http://schemas.openxmlformats.org/officeDocument/2006/relationships/slideLayout" Target="../slideLayouts/slideLayout119.xml"/><Relationship Id="rId84" Type="http://schemas.openxmlformats.org/officeDocument/2006/relationships/slideLayout" Target="../slideLayouts/slideLayout127.xml"/><Relationship Id="rId89" Type="http://schemas.openxmlformats.org/officeDocument/2006/relationships/slideLayout" Target="../slideLayouts/slideLayout132.xml"/><Relationship Id="rId97" Type="http://schemas.openxmlformats.org/officeDocument/2006/relationships/slideLayout" Target="../slideLayouts/slideLayout140.xml"/><Relationship Id="rId7" Type="http://schemas.openxmlformats.org/officeDocument/2006/relationships/slideLayout" Target="../slideLayouts/slideLayout50.xml"/><Relationship Id="rId71" Type="http://schemas.openxmlformats.org/officeDocument/2006/relationships/slideLayout" Target="../slideLayouts/slideLayout114.xml"/><Relationship Id="rId92" Type="http://schemas.openxmlformats.org/officeDocument/2006/relationships/slideLayout" Target="../slideLayouts/slideLayout135.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3" Type="http://schemas.openxmlformats.org/officeDocument/2006/relationships/slideLayout" Target="../slideLayouts/slideLayout96.xml"/><Relationship Id="rId58" Type="http://schemas.openxmlformats.org/officeDocument/2006/relationships/slideLayout" Target="../slideLayouts/slideLayout101.xml"/><Relationship Id="rId66" Type="http://schemas.openxmlformats.org/officeDocument/2006/relationships/slideLayout" Target="../slideLayouts/slideLayout109.xml"/><Relationship Id="rId74" Type="http://schemas.openxmlformats.org/officeDocument/2006/relationships/slideLayout" Target="../slideLayouts/slideLayout117.xml"/><Relationship Id="rId79" Type="http://schemas.openxmlformats.org/officeDocument/2006/relationships/slideLayout" Target="../slideLayouts/slideLayout122.xml"/><Relationship Id="rId87" Type="http://schemas.openxmlformats.org/officeDocument/2006/relationships/slideLayout" Target="../slideLayouts/slideLayout130.xml"/><Relationship Id="rId5" Type="http://schemas.openxmlformats.org/officeDocument/2006/relationships/slideLayout" Target="../slideLayouts/slideLayout48.xml"/><Relationship Id="rId61" Type="http://schemas.openxmlformats.org/officeDocument/2006/relationships/slideLayout" Target="../slideLayouts/slideLayout104.xml"/><Relationship Id="rId82" Type="http://schemas.openxmlformats.org/officeDocument/2006/relationships/slideLayout" Target="../slideLayouts/slideLayout125.xml"/><Relationship Id="rId90" Type="http://schemas.openxmlformats.org/officeDocument/2006/relationships/slideLayout" Target="../slideLayouts/slideLayout133.xml"/><Relationship Id="rId95" Type="http://schemas.openxmlformats.org/officeDocument/2006/relationships/slideLayout" Target="../slideLayouts/slideLayout138.xml"/><Relationship Id="rId19" Type="http://schemas.openxmlformats.org/officeDocument/2006/relationships/slideLayout" Target="../slideLayouts/slideLayout6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slideLayout" Target="../slideLayouts/slideLayout99.xml"/><Relationship Id="rId64" Type="http://schemas.openxmlformats.org/officeDocument/2006/relationships/slideLayout" Target="../slideLayouts/slideLayout107.xml"/><Relationship Id="rId69" Type="http://schemas.openxmlformats.org/officeDocument/2006/relationships/slideLayout" Target="../slideLayouts/slideLayout112.xml"/><Relationship Id="rId77" Type="http://schemas.openxmlformats.org/officeDocument/2006/relationships/slideLayout" Target="../slideLayouts/slideLayout120.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72" Type="http://schemas.openxmlformats.org/officeDocument/2006/relationships/slideLayout" Target="../slideLayouts/slideLayout115.xml"/><Relationship Id="rId80" Type="http://schemas.openxmlformats.org/officeDocument/2006/relationships/slideLayout" Target="../slideLayouts/slideLayout123.xml"/><Relationship Id="rId85" Type="http://schemas.openxmlformats.org/officeDocument/2006/relationships/slideLayout" Target="../slideLayouts/slideLayout128.xml"/><Relationship Id="rId93" Type="http://schemas.openxmlformats.org/officeDocument/2006/relationships/slideLayout" Target="../slideLayouts/slideLayout136.xml"/><Relationship Id="rId98" Type="http://schemas.openxmlformats.org/officeDocument/2006/relationships/slideLayout" Target="../slideLayouts/slideLayout14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slideLayout" Target="../slideLayouts/slideLayout102.xml"/><Relationship Id="rId67" Type="http://schemas.openxmlformats.org/officeDocument/2006/relationships/slideLayout" Target="../slideLayouts/slideLayout110.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54" Type="http://schemas.openxmlformats.org/officeDocument/2006/relationships/slideLayout" Target="../slideLayouts/slideLayout97.xml"/><Relationship Id="rId62" Type="http://schemas.openxmlformats.org/officeDocument/2006/relationships/slideLayout" Target="../slideLayouts/slideLayout105.xml"/><Relationship Id="rId70" Type="http://schemas.openxmlformats.org/officeDocument/2006/relationships/slideLayout" Target="../slideLayouts/slideLayout113.xml"/><Relationship Id="rId75" Type="http://schemas.openxmlformats.org/officeDocument/2006/relationships/slideLayout" Target="../slideLayouts/slideLayout118.xml"/><Relationship Id="rId83" Type="http://schemas.openxmlformats.org/officeDocument/2006/relationships/slideLayout" Target="../slideLayouts/slideLayout126.xml"/><Relationship Id="rId88" Type="http://schemas.openxmlformats.org/officeDocument/2006/relationships/slideLayout" Target="../slideLayouts/slideLayout131.xml"/><Relationship Id="rId91" Type="http://schemas.openxmlformats.org/officeDocument/2006/relationships/slideLayout" Target="../slideLayouts/slideLayout134.xml"/><Relationship Id="rId96" Type="http://schemas.openxmlformats.org/officeDocument/2006/relationships/slideLayout" Target="../slideLayouts/slideLayout13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slideLayout" Target="../slideLayouts/slideLayout100.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60" Type="http://schemas.openxmlformats.org/officeDocument/2006/relationships/slideLayout" Target="../slideLayouts/slideLayout103.xml"/><Relationship Id="rId65" Type="http://schemas.openxmlformats.org/officeDocument/2006/relationships/slideLayout" Target="../slideLayouts/slideLayout108.xml"/><Relationship Id="rId73" Type="http://schemas.openxmlformats.org/officeDocument/2006/relationships/slideLayout" Target="../slideLayouts/slideLayout116.xml"/><Relationship Id="rId78" Type="http://schemas.openxmlformats.org/officeDocument/2006/relationships/slideLayout" Target="../slideLayouts/slideLayout121.xml"/><Relationship Id="rId81" Type="http://schemas.openxmlformats.org/officeDocument/2006/relationships/slideLayout" Target="../slideLayouts/slideLayout124.xml"/><Relationship Id="rId86" Type="http://schemas.openxmlformats.org/officeDocument/2006/relationships/slideLayout" Target="../slideLayouts/slideLayout129.xml"/><Relationship Id="rId94" Type="http://schemas.openxmlformats.org/officeDocument/2006/relationships/slideLayout" Target="../slideLayouts/slideLayout137.xml"/><Relationship Id="rId99" Type="http://schemas.openxmlformats.org/officeDocument/2006/relationships/theme" Target="../theme/theme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9"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slideLayout" Target="../slideLayouts/slideLayout188.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63" Type="http://schemas.openxmlformats.org/officeDocument/2006/relationships/slideLayout" Target="../slideLayouts/slideLayout204.xml"/><Relationship Id="rId68" Type="http://schemas.openxmlformats.org/officeDocument/2006/relationships/slideLayout" Target="../slideLayouts/slideLayout209.xml"/><Relationship Id="rId76" Type="http://schemas.openxmlformats.org/officeDocument/2006/relationships/slideLayout" Target="../slideLayouts/slideLayout217.xml"/><Relationship Id="rId84" Type="http://schemas.openxmlformats.org/officeDocument/2006/relationships/slideLayout" Target="../slideLayouts/slideLayout225.xml"/><Relationship Id="rId89" Type="http://schemas.openxmlformats.org/officeDocument/2006/relationships/slideLayout" Target="../slideLayouts/slideLayout230.xml"/><Relationship Id="rId7" Type="http://schemas.openxmlformats.org/officeDocument/2006/relationships/slideLayout" Target="../slideLayouts/slideLayout148.xml"/><Relationship Id="rId71" Type="http://schemas.openxmlformats.org/officeDocument/2006/relationships/slideLayout" Target="../slideLayouts/slideLayout212.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66" Type="http://schemas.openxmlformats.org/officeDocument/2006/relationships/slideLayout" Target="../slideLayouts/slideLayout207.xml"/><Relationship Id="rId74" Type="http://schemas.openxmlformats.org/officeDocument/2006/relationships/slideLayout" Target="../slideLayouts/slideLayout215.xml"/><Relationship Id="rId79" Type="http://schemas.openxmlformats.org/officeDocument/2006/relationships/slideLayout" Target="../slideLayouts/slideLayout220.xml"/><Relationship Id="rId87" Type="http://schemas.openxmlformats.org/officeDocument/2006/relationships/slideLayout" Target="../slideLayouts/slideLayout228.xml"/><Relationship Id="rId5" Type="http://schemas.openxmlformats.org/officeDocument/2006/relationships/slideLayout" Target="../slideLayouts/slideLayout146.xml"/><Relationship Id="rId61" Type="http://schemas.openxmlformats.org/officeDocument/2006/relationships/slideLayout" Target="../slideLayouts/slideLayout202.xml"/><Relationship Id="rId82" Type="http://schemas.openxmlformats.org/officeDocument/2006/relationships/slideLayout" Target="../slideLayouts/slideLayout223.xml"/><Relationship Id="rId90" Type="http://schemas.openxmlformats.org/officeDocument/2006/relationships/theme" Target="../theme/theme3.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56" Type="http://schemas.openxmlformats.org/officeDocument/2006/relationships/slideLayout" Target="../slideLayouts/slideLayout197.xml"/><Relationship Id="rId64" Type="http://schemas.openxmlformats.org/officeDocument/2006/relationships/slideLayout" Target="../slideLayouts/slideLayout205.xml"/><Relationship Id="rId69" Type="http://schemas.openxmlformats.org/officeDocument/2006/relationships/slideLayout" Target="../slideLayouts/slideLayout210.xml"/><Relationship Id="rId77" Type="http://schemas.openxmlformats.org/officeDocument/2006/relationships/slideLayout" Target="../slideLayouts/slideLayout218.xml"/><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slideLayout" Target="../slideLayouts/slideLayout213.xml"/><Relationship Id="rId80" Type="http://schemas.openxmlformats.org/officeDocument/2006/relationships/slideLayout" Target="../slideLayouts/slideLayout221.xml"/><Relationship Id="rId85" Type="http://schemas.openxmlformats.org/officeDocument/2006/relationships/slideLayout" Target="../slideLayouts/slideLayout226.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slideLayout" Target="../slideLayouts/slideLayout187.xml"/><Relationship Id="rId59" Type="http://schemas.openxmlformats.org/officeDocument/2006/relationships/slideLayout" Target="../slideLayouts/slideLayout200.xml"/><Relationship Id="rId67" Type="http://schemas.openxmlformats.org/officeDocument/2006/relationships/slideLayout" Target="../slideLayouts/slideLayout208.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54" Type="http://schemas.openxmlformats.org/officeDocument/2006/relationships/slideLayout" Target="../slideLayouts/slideLayout195.xml"/><Relationship Id="rId62" Type="http://schemas.openxmlformats.org/officeDocument/2006/relationships/slideLayout" Target="../slideLayouts/slideLayout203.xml"/><Relationship Id="rId70" Type="http://schemas.openxmlformats.org/officeDocument/2006/relationships/slideLayout" Target="../slideLayouts/slideLayout211.xml"/><Relationship Id="rId75" Type="http://schemas.openxmlformats.org/officeDocument/2006/relationships/slideLayout" Target="../slideLayouts/slideLayout216.xml"/><Relationship Id="rId83" Type="http://schemas.openxmlformats.org/officeDocument/2006/relationships/slideLayout" Target="../slideLayouts/slideLayout224.xml"/><Relationship Id="rId88" Type="http://schemas.openxmlformats.org/officeDocument/2006/relationships/slideLayout" Target="../slideLayouts/slideLayout229.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49" Type="http://schemas.openxmlformats.org/officeDocument/2006/relationships/slideLayout" Target="../slideLayouts/slideLayout190.xml"/><Relationship Id="rId57" Type="http://schemas.openxmlformats.org/officeDocument/2006/relationships/slideLayout" Target="../slideLayouts/slideLayout198.xml"/><Relationship Id="rId10" Type="http://schemas.openxmlformats.org/officeDocument/2006/relationships/slideLayout" Target="../slideLayouts/slideLayout151.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52" Type="http://schemas.openxmlformats.org/officeDocument/2006/relationships/slideLayout" Target="../slideLayouts/slideLayout193.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73" Type="http://schemas.openxmlformats.org/officeDocument/2006/relationships/slideLayout" Target="../slideLayouts/slideLayout214.xml"/><Relationship Id="rId78" Type="http://schemas.openxmlformats.org/officeDocument/2006/relationships/slideLayout" Target="../slideLayouts/slideLayout219.xml"/><Relationship Id="rId81" Type="http://schemas.openxmlformats.org/officeDocument/2006/relationships/slideLayout" Target="../slideLayouts/slideLayout222.xml"/><Relationship Id="rId86" Type="http://schemas.openxmlformats.org/officeDocument/2006/relationships/slideLayout" Target="../slideLayouts/slideLayout2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9" Type="http://schemas.openxmlformats.org/officeDocument/2006/relationships/slideLayout" Target="../slideLayouts/slideLayout269.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slideLayout" Target="../slideLayouts/slideLayout264.xml"/><Relationship Id="rId42" Type="http://schemas.openxmlformats.org/officeDocument/2006/relationships/slideLayout" Target="../slideLayouts/slideLayout272.xml"/><Relationship Id="rId47" Type="http://schemas.openxmlformats.org/officeDocument/2006/relationships/slideLayout" Target="../slideLayouts/slideLayout277.xml"/><Relationship Id="rId50" Type="http://schemas.openxmlformats.org/officeDocument/2006/relationships/theme" Target="../theme/theme4.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slideLayout" Target="../slideLayouts/slideLayout263.xml"/><Relationship Id="rId38" Type="http://schemas.openxmlformats.org/officeDocument/2006/relationships/slideLayout" Target="../slideLayouts/slideLayout268.xml"/><Relationship Id="rId46" Type="http://schemas.openxmlformats.org/officeDocument/2006/relationships/slideLayout" Target="../slideLayouts/slideLayout276.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41" Type="http://schemas.openxmlformats.org/officeDocument/2006/relationships/slideLayout" Target="../slideLayouts/slideLayout271.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37" Type="http://schemas.openxmlformats.org/officeDocument/2006/relationships/slideLayout" Target="../slideLayouts/slideLayout267.xml"/><Relationship Id="rId40" Type="http://schemas.openxmlformats.org/officeDocument/2006/relationships/slideLayout" Target="../slideLayouts/slideLayout270.xml"/><Relationship Id="rId45" Type="http://schemas.openxmlformats.org/officeDocument/2006/relationships/slideLayout" Target="../slideLayouts/slideLayout275.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36" Type="http://schemas.openxmlformats.org/officeDocument/2006/relationships/slideLayout" Target="../slideLayouts/slideLayout266.xml"/><Relationship Id="rId49" Type="http://schemas.openxmlformats.org/officeDocument/2006/relationships/slideLayout" Target="../slideLayouts/slideLayout279.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4" Type="http://schemas.openxmlformats.org/officeDocument/2006/relationships/slideLayout" Target="../slideLayouts/slideLayout274.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35" Type="http://schemas.openxmlformats.org/officeDocument/2006/relationships/slideLayout" Target="../slideLayouts/slideLayout265.xml"/><Relationship Id="rId43" Type="http://schemas.openxmlformats.org/officeDocument/2006/relationships/slideLayout" Target="../slideLayouts/slideLayout273.xml"/><Relationship Id="rId48" Type="http://schemas.openxmlformats.org/officeDocument/2006/relationships/slideLayout" Target="../slideLayouts/slideLayout278.xml"/><Relationship Id="rId8" Type="http://schemas.openxmlformats.org/officeDocument/2006/relationships/slideLayout" Target="../slideLayouts/slideLayout2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slideLayout" Target="../slideLayouts/slideLayout318.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34" Type="http://schemas.openxmlformats.org/officeDocument/2006/relationships/slideLayout" Target="../slideLayouts/slideLayout313.xml"/><Relationship Id="rId42" Type="http://schemas.openxmlformats.org/officeDocument/2006/relationships/slideLayout" Target="../slideLayouts/slideLayout321.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slideLayout" Target="../slideLayouts/slideLayout317.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41" Type="http://schemas.openxmlformats.org/officeDocument/2006/relationships/slideLayout" Target="../slideLayouts/slideLayout320.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slideLayout" Target="../slideLayouts/slideLayout316.xml"/><Relationship Id="rId40" Type="http://schemas.openxmlformats.org/officeDocument/2006/relationships/slideLayout" Target="../slideLayouts/slideLayout319.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slideLayout" Target="../slideLayouts/slideLayout315.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4" Type="http://schemas.openxmlformats.org/officeDocument/2006/relationships/theme" Target="../theme/theme5.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slideLayout" Target="../slideLayouts/slideLayout314.xml"/><Relationship Id="rId43" Type="http://schemas.openxmlformats.org/officeDocument/2006/relationships/slideLayout" Target="../slideLayouts/slideLayout32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42" Type="http://schemas.openxmlformats.org/officeDocument/2006/relationships/slideLayout" Target="../slideLayouts/slideLayout364.xml"/><Relationship Id="rId47" Type="http://schemas.openxmlformats.org/officeDocument/2006/relationships/slideLayout" Target="../slideLayouts/slideLayout369.xml"/><Relationship Id="rId50" Type="http://schemas.openxmlformats.org/officeDocument/2006/relationships/slideLayout" Target="../slideLayouts/slideLayout372.xml"/><Relationship Id="rId55" Type="http://schemas.openxmlformats.org/officeDocument/2006/relationships/slideLayout" Target="../slideLayouts/slideLayout377.xml"/><Relationship Id="rId63" Type="http://schemas.openxmlformats.org/officeDocument/2006/relationships/slideLayout" Target="../slideLayouts/slideLayout385.xml"/><Relationship Id="rId68" Type="http://schemas.openxmlformats.org/officeDocument/2006/relationships/slideLayout" Target="../slideLayouts/slideLayout390.xml"/><Relationship Id="rId76" Type="http://schemas.openxmlformats.org/officeDocument/2006/relationships/slideLayout" Target="../slideLayouts/slideLayout398.xml"/><Relationship Id="rId84" Type="http://schemas.openxmlformats.org/officeDocument/2006/relationships/slideLayout" Target="../slideLayouts/slideLayout406.xml"/><Relationship Id="rId7" Type="http://schemas.openxmlformats.org/officeDocument/2006/relationships/slideLayout" Target="../slideLayouts/slideLayout329.xml"/><Relationship Id="rId71" Type="http://schemas.openxmlformats.org/officeDocument/2006/relationships/slideLayout" Target="../slideLayouts/slideLayout393.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9" Type="http://schemas.openxmlformats.org/officeDocument/2006/relationships/slideLayout" Target="../slideLayouts/slideLayout351.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slideLayout" Target="../slideLayouts/slideLayout362.xml"/><Relationship Id="rId45" Type="http://schemas.openxmlformats.org/officeDocument/2006/relationships/slideLayout" Target="../slideLayouts/slideLayout367.xml"/><Relationship Id="rId53" Type="http://schemas.openxmlformats.org/officeDocument/2006/relationships/slideLayout" Target="../slideLayouts/slideLayout375.xml"/><Relationship Id="rId58" Type="http://schemas.openxmlformats.org/officeDocument/2006/relationships/slideLayout" Target="../slideLayouts/slideLayout380.xml"/><Relationship Id="rId66" Type="http://schemas.openxmlformats.org/officeDocument/2006/relationships/slideLayout" Target="../slideLayouts/slideLayout388.xml"/><Relationship Id="rId74" Type="http://schemas.openxmlformats.org/officeDocument/2006/relationships/slideLayout" Target="../slideLayouts/slideLayout396.xml"/><Relationship Id="rId79" Type="http://schemas.openxmlformats.org/officeDocument/2006/relationships/slideLayout" Target="../slideLayouts/slideLayout401.xml"/><Relationship Id="rId87" Type="http://schemas.openxmlformats.org/officeDocument/2006/relationships/slideLayout" Target="../slideLayouts/slideLayout409.xml"/><Relationship Id="rId5" Type="http://schemas.openxmlformats.org/officeDocument/2006/relationships/slideLayout" Target="../slideLayouts/slideLayout327.xml"/><Relationship Id="rId61" Type="http://schemas.openxmlformats.org/officeDocument/2006/relationships/slideLayout" Target="../slideLayouts/slideLayout383.xml"/><Relationship Id="rId82" Type="http://schemas.openxmlformats.org/officeDocument/2006/relationships/slideLayout" Target="../slideLayouts/slideLayout404.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43" Type="http://schemas.openxmlformats.org/officeDocument/2006/relationships/slideLayout" Target="../slideLayouts/slideLayout365.xml"/><Relationship Id="rId48" Type="http://schemas.openxmlformats.org/officeDocument/2006/relationships/slideLayout" Target="../slideLayouts/slideLayout370.xml"/><Relationship Id="rId56" Type="http://schemas.openxmlformats.org/officeDocument/2006/relationships/slideLayout" Target="../slideLayouts/slideLayout378.xml"/><Relationship Id="rId64" Type="http://schemas.openxmlformats.org/officeDocument/2006/relationships/slideLayout" Target="../slideLayouts/slideLayout386.xml"/><Relationship Id="rId69" Type="http://schemas.openxmlformats.org/officeDocument/2006/relationships/slideLayout" Target="../slideLayouts/slideLayout391.xml"/><Relationship Id="rId77" Type="http://schemas.openxmlformats.org/officeDocument/2006/relationships/slideLayout" Target="../slideLayouts/slideLayout399.xml"/><Relationship Id="rId8" Type="http://schemas.openxmlformats.org/officeDocument/2006/relationships/slideLayout" Target="../slideLayouts/slideLayout330.xml"/><Relationship Id="rId51" Type="http://schemas.openxmlformats.org/officeDocument/2006/relationships/slideLayout" Target="../slideLayouts/slideLayout373.xml"/><Relationship Id="rId72" Type="http://schemas.openxmlformats.org/officeDocument/2006/relationships/slideLayout" Target="../slideLayouts/slideLayout394.xml"/><Relationship Id="rId80" Type="http://schemas.openxmlformats.org/officeDocument/2006/relationships/slideLayout" Target="../slideLayouts/slideLayout402.xml"/><Relationship Id="rId85" Type="http://schemas.openxmlformats.org/officeDocument/2006/relationships/slideLayout" Target="../slideLayouts/slideLayout407.xml"/><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46" Type="http://schemas.openxmlformats.org/officeDocument/2006/relationships/slideLayout" Target="../slideLayouts/slideLayout368.xml"/><Relationship Id="rId59" Type="http://schemas.openxmlformats.org/officeDocument/2006/relationships/slideLayout" Target="../slideLayouts/slideLayout381.xml"/><Relationship Id="rId67" Type="http://schemas.openxmlformats.org/officeDocument/2006/relationships/slideLayout" Target="../slideLayouts/slideLayout389.xml"/><Relationship Id="rId20" Type="http://schemas.openxmlformats.org/officeDocument/2006/relationships/slideLayout" Target="../slideLayouts/slideLayout342.xml"/><Relationship Id="rId41" Type="http://schemas.openxmlformats.org/officeDocument/2006/relationships/slideLayout" Target="../slideLayouts/slideLayout363.xml"/><Relationship Id="rId54" Type="http://schemas.openxmlformats.org/officeDocument/2006/relationships/slideLayout" Target="../slideLayouts/slideLayout376.xml"/><Relationship Id="rId62" Type="http://schemas.openxmlformats.org/officeDocument/2006/relationships/slideLayout" Target="../slideLayouts/slideLayout384.xml"/><Relationship Id="rId70" Type="http://schemas.openxmlformats.org/officeDocument/2006/relationships/slideLayout" Target="../slideLayouts/slideLayout392.xml"/><Relationship Id="rId75" Type="http://schemas.openxmlformats.org/officeDocument/2006/relationships/slideLayout" Target="../slideLayouts/slideLayout397.xml"/><Relationship Id="rId83" Type="http://schemas.openxmlformats.org/officeDocument/2006/relationships/slideLayout" Target="../slideLayouts/slideLayout405.xml"/><Relationship Id="rId88" Type="http://schemas.openxmlformats.org/officeDocument/2006/relationships/theme" Target="../theme/theme6.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49" Type="http://schemas.openxmlformats.org/officeDocument/2006/relationships/slideLayout" Target="../slideLayouts/slideLayout371.xml"/><Relationship Id="rId57" Type="http://schemas.openxmlformats.org/officeDocument/2006/relationships/slideLayout" Target="../slideLayouts/slideLayout379.xml"/><Relationship Id="rId10" Type="http://schemas.openxmlformats.org/officeDocument/2006/relationships/slideLayout" Target="../slideLayouts/slideLayout332.xml"/><Relationship Id="rId31" Type="http://schemas.openxmlformats.org/officeDocument/2006/relationships/slideLayout" Target="../slideLayouts/slideLayout353.xml"/><Relationship Id="rId44" Type="http://schemas.openxmlformats.org/officeDocument/2006/relationships/slideLayout" Target="../slideLayouts/slideLayout366.xml"/><Relationship Id="rId52" Type="http://schemas.openxmlformats.org/officeDocument/2006/relationships/slideLayout" Target="../slideLayouts/slideLayout374.xml"/><Relationship Id="rId60" Type="http://schemas.openxmlformats.org/officeDocument/2006/relationships/slideLayout" Target="../slideLayouts/slideLayout382.xml"/><Relationship Id="rId65" Type="http://schemas.openxmlformats.org/officeDocument/2006/relationships/slideLayout" Target="../slideLayouts/slideLayout387.xml"/><Relationship Id="rId73" Type="http://schemas.openxmlformats.org/officeDocument/2006/relationships/slideLayout" Target="../slideLayouts/slideLayout395.xml"/><Relationship Id="rId78" Type="http://schemas.openxmlformats.org/officeDocument/2006/relationships/slideLayout" Target="../slideLayouts/slideLayout400.xml"/><Relationship Id="rId81" Type="http://schemas.openxmlformats.org/officeDocument/2006/relationships/slideLayout" Target="../slideLayouts/slideLayout403.xml"/><Relationship Id="rId86" Type="http://schemas.openxmlformats.org/officeDocument/2006/relationships/slideLayout" Target="../slideLayouts/slideLayout40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slideLayout" Target="../slideLayouts/slideLayout435.xml"/><Relationship Id="rId39" Type="http://schemas.openxmlformats.org/officeDocument/2006/relationships/slideLayout" Target="../slideLayouts/slideLayout448.xml"/><Relationship Id="rId21" Type="http://schemas.openxmlformats.org/officeDocument/2006/relationships/slideLayout" Target="../slideLayouts/slideLayout430.xml"/><Relationship Id="rId34" Type="http://schemas.openxmlformats.org/officeDocument/2006/relationships/slideLayout" Target="../slideLayouts/slideLayout443.xml"/><Relationship Id="rId42" Type="http://schemas.openxmlformats.org/officeDocument/2006/relationships/slideLayout" Target="../slideLayouts/slideLayout451.xml"/><Relationship Id="rId47" Type="http://schemas.openxmlformats.org/officeDocument/2006/relationships/slideLayout" Target="../slideLayouts/slideLayout456.xml"/><Relationship Id="rId50" Type="http://schemas.openxmlformats.org/officeDocument/2006/relationships/slideLayout" Target="../slideLayouts/slideLayout459.xml"/><Relationship Id="rId55" Type="http://schemas.openxmlformats.org/officeDocument/2006/relationships/slideLayout" Target="../slideLayouts/slideLayout464.xml"/><Relationship Id="rId63" Type="http://schemas.openxmlformats.org/officeDocument/2006/relationships/slideLayout" Target="../slideLayouts/slideLayout472.xml"/><Relationship Id="rId68" Type="http://schemas.openxmlformats.org/officeDocument/2006/relationships/slideLayout" Target="../slideLayouts/slideLayout477.xml"/><Relationship Id="rId76" Type="http://schemas.openxmlformats.org/officeDocument/2006/relationships/slideLayout" Target="../slideLayouts/slideLayout485.xml"/><Relationship Id="rId7" Type="http://schemas.openxmlformats.org/officeDocument/2006/relationships/slideLayout" Target="../slideLayouts/slideLayout416.xml"/><Relationship Id="rId71" Type="http://schemas.openxmlformats.org/officeDocument/2006/relationships/slideLayout" Target="../slideLayouts/slideLayout480.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9" Type="http://schemas.openxmlformats.org/officeDocument/2006/relationships/slideLayout" Target="../slideLayouts/slideLayout438.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slideLayout" Target="../slideLayouts/slideLayout441.xml"/><Relationship Id="rId37" Type="http://schemas.openxmlformats.org/officeDocument/2006/relationships/slideLayout" Target="../slideLayouts/slideLayout446.xml"/><Relationship Id="rId40" Type="http://schemas.openxmlformats.org/officeDocument/2006/relationships/slideLayout" Target="../slideLayouts/slideLayout449.xml"/><Relationship Id="rId45" Type="http://schemas.openxmlformats.org/officeDocument/2006/relationships/slideLayout" Target="../slideLayouts/slideLayout454.xml"/><Relationship Id="rId53" Type="http://schemas.openxmlformats.org/officeDocument/2006/relationships/slideLayout" Target="../slideLayouts/slideLayout462.xml"/><Relationship Id="rId58" Type="http://schemas.openxmlformats.org/officeDocument/2006/relationships/slideLayout" Target="../slideLayouts/slideLayout467.xml"/><Relationship Id="rId66" Type="http://schemas.openxmlformats.org/officeDocument/2006/relationships/slideLayout" Target="../slideLayouts/slideLayout475.xml"/><Relationship Id="rId74" Type="http://schemas.openxmlformats.org/officeDocument/2006/relationships/slideLayout" Target="../slideLayouts/slideLayout483.xml"/><Relationship Id="rId79" Type="http://schemas.openxmlformats.org/officeDocument/2006/relationships/slideLayout" Target="../slideLayouts/slideLayout488.xml"/><Relationship Id="rId5" Type="http://schemas.openxmlformats.org/officeDocument/2006/relationships/slideLayout" Target="../slideLayouts/slideLayout414.xml"/><Relationship Id="rId61" Type="http://schemas.openxmlformats.org/officeDocument/2006/relationships/slideLayout" Target="../slideLayouts/slideLayout470.xml"/><Relationship Id="rId82" Type="http://schemas.openxmlformats.org/officeDocument/2006/relationships/slideLayout" Target="../slideLayouts/slideLayout491.xml"/><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slideLayout" Target="../slideLayouts/slideLayout440.xml"/><Relationship Id="rId44" Type="http://schemas.openxmlformats.org/officeDocument/2006/relationships/slideLayout" Target="../slideLayouts/slideLayout453.xml"/><Relationship Id="rId52" Type="http://schemas.openxmlformats.org/officeDocument/2006/relationships/slideLayout" Target="../slideLayouts/slideLayout461.xml"/><Relationship Id="rId60" Type="http://schemas.openxmlformats.org/officeDocument/2006/relationships/slideLayout" Target="../slideLayouts/slideLayout469.xml"/><Relationship Id="rId65" Type="http://schemas.openxmlformats.org/officeDocument/2006/relationships/slideLayout" Target="../slideLayouts/slideLayout474.xml"/><Relationship Id="rId73" Type="http://schemas.openxmlformats.org/officeDocument/2006/relationships/slideLayout" Target="../slideLayouts/slideLayout482.xml"/><Relationship Id="rId78" Type="http://schemas.openxmlformats.org/officeDocument/2006/relationships/slideLayout" Target="../slideLayouts/slideLayout487.xml"/><Relationship Id="rId81" Type="http://schemas.openxmlformats.org/officeDocument/2006/relationships/slideLayout" Target="../slideLayouts/slideLayout490.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slideLayout" Target="../slideLayouts/slideLayout436.xml"/><Relationship Id="rId30" Type="http://schemas.openxmlformats.org/officeDocument/2006/relationships/slideLayout" Target="../slideLayouts/slideLayout439.xml"/><Relationship Id="rId35" Type="http://schemas.openxmlformats.org/officeDocument/2006/relationships/slideLayout" Target="../slideLayouts/slideLayout444.xml"/><Relationship Id="rId43" Type="http://schemas.openxmlformats.org/officeDocument/2006/relationships/slideLayout" Target="../slideLayouts/slideLayout452.xml"/><Relationship Id="rId48" Type="http://schemas.openxmlformats.org/officeDocument/2006/relationships/slideLayout" Target="../slideLayouts/slideLayout457.xml"/><Relationship Id="rId56" Type="http://schemas.openxmlformats.org/officeDocument/2006/relationships/slideLayout" Target="../slideLayouts/slideLayout465.xml"/><Relationship Id="rId64" Type="http://schemas.openxmlformats.org/officeDocument/2006/relationships/slideLayout" Target="../slideLayouts/slideLayout473.xml"/><Relationship Id="rId69" Type="http://schemas.openxmlformats.org/officeDocument/2006/relationships/slideLayout" Target="../slideLayouts/slideLayout478.xml"/><Relationship Id="rId77" Type="http://schemas.openxmlformats.org/officeDocument/2006/relationships/slideLayout" Target="../slideLayouts/slideLayout486.xml"/><Relationship Id="rId8" Type="http://schemas.openxmlformats.org/officeDocument/2006/relationships/slideLayout" Target="../slideLayouts/slideLayout417.xml"/><Relationship Id="rId51" Type="http://schemas.openxmlformats.org/officeDocument/2006/relationships/slideLayout" Target="../slideLayouts/slideLayout460.xml"/><Relationship Id="rId72" Type="http://schemas.openxmlformats.org/officeDocument/2006/relationships/slideLayout" Target="../slideLayouts/slideLayout481.xml"/><Relationship Id="rId80" Type="http://schemas.openxmlformats.org/officeDocument/2006/relationships/slideLayout" Target="../slideLayouts/slideLayout489.xml"/><Relationship Id="rId3" Type="http://schemas.openxmlformats.org/officeDocument/2006/relationships/slideLayout" Target="../slideLayouts/slideLayout412.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slideLayout" Target="../slideLayouts/slideLayout434.xml"/><Relationship Id="rId33" Type="http://schemas.openxmlformats.org/officeDocument/2006/relationships/slideLayout" Target="../slideLayouts/slideLayout442.xml"/><Relationship Id="rId38" Type="http://schemas.openxmlformats.org/officeDocument/2006/relationships/slideLayout" Target="../slideLayouts/slideLayout447.xml"/><Relationship Id="rId46" Type="http://schemas.openxmlformats.org/officeDocument/2006/relationships/slideLayout" Target="../slideLayouts/slideLayout455.xml"/><Relationship Id="rId59" Type="http://schemas.openxmlformats.org/officeDocument/2006/relationships/slideLayout" Target="../slideLayouts/slideLayout468.xml"/><Relationship Id="rId67" Type="http://schemas.openxmlformats.org/officeDocument/2006/relationships/slideLayout" Target="../slideLayouts/slideLayout476.xml"/><Relationship Id="rId20" Type="http://schemas.openxmlformats.org/officeDocument/2006/relationships/slideLayout" Target="../slideLayouts/slideLayout429.xml"/><Relationship Id="rId41" Type="http://schemas.openxmlformats.org/officeDocument/2006/relationships/slideLayout" Target="../slideLayouts/slideLayout450.xml"/><Relationship Id="rId54" Type="http://schemas.openxmlformats.org/officeDocument/2006/relationships/slideLayout" Target="../slideLayouts/slideLayout463.xml"/><Relationship Id="rId62" Type="http://schemas.openxmlformats.org/officeDocument/2006/relationships/slideLayout" Target="../slideLayouts/slideLayout471.xml"/><Relationship Id="rId70" Type="http://schemas.openxmlformats.org/officeDocument/2006/relationships/slideLayout" Target="../slideLayouts/slideLayout479.xml"/><Relationship Id="rId75" Type="http://schemas.openxmlformats.org/officeDocument/2006/relationships/slideLayout" Target="../slideLayouts/slideLayout484.xml"/><Relationship Id="rId83" Type="http://schemas.openxmlformats.org/officeDocument/2006/relationships/theme" Target="../theme/theme7.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slideLayout" Target="../slideLayouts/slideLayout437.xml"/><Relationship Id="rId36" Type="http://schemas.openxmlformats.org/officeDocument/2006/relationships/slideLayout" Target="../slideLayouts/slideLayout445.xml"/><Relationship Id="rId49" Type="http://schemas.openxmlformats.org/officeDocument/2006/relationships/slideLayout" Target="../slideLayouts/slideLayout458.xml"/><Relationship Id="rId57" Type="http://schemas.openxmlformats.org/officeDocument/2006/relationships/slideLayout" Target="../slideLayouts/slideLayout46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slideLayout" Target="../slideLayouts/slideLayout517.xml"/><Relationship Id="rId39" Type="http://schemas.openxmlformats.org/officeDocument/2006/relationships/slideLayout" Target="../slideLayouts/slideLayout530.xml"/><Relationship Id="rId21" Type="http://schemas.openxmlformats.org/officeDocument/2006/relationships/slideLayout" Target="../slideLayouts/slideLayout512.xml"/><Relationship Id="rId34" Type="http://schemas.openxmlformats.org/officeDocument/2006/relationships/slideLayout" Target="../slideLayouts/slideLayout525.xml"/><Relationship Id="rId42" Type="http://schemas.openxmlformats.org/officeDocument/2006/relationships/slideLayout" Target="../slideLayouts/slideLayout533.xml"/><Relationship Id="rId47" Type="http://schemas.openxmlformats.org/officeDocument/2006/relationships/slideLayout" Target="../slideLayouts/slideLayout538.xml"/><Relationship Id="rId50" Type="http://schemas.openxmlformats.org/officeDocument/2006/relationships/slideLayout" Target="../slideLayouts/slideLayout541.xml"/><Relationship Id="rId55" Type="http://schemas.openxmlformats.org/officeDocument/2006/relationships/slideLayout" Target="../slideLayouts/slideLayout546.xml"/><Relationship Id="rId63" Type="http://schemas.openxmlformats.org/officeDocument/2006/relationships/slideLayout" Target="../slideLayouts/slideLayout554.xml"/><Relationship Id="rId68" Type="http://schemas.openxmlformats.org/officeDocument/2006/relationships/slideLayout" Target="../slideLayouts/slideLayout559.xml"/><Relationship Id="rId76" Type="http://schemas.openxmlformats.org/officeDocument/2006/relationships/slideLayout" Target="../slideLayouts/slideLayout567.xml"/><Relationship Id="rId7" Type="http://schemas.openxmlformats.org/officeDocument/2006/relationships/slideLayout" Target="../slideLayouts/slideLayout498.xml"/><Relationship Id="rId71" Type="http://schemas.openxmlformats.org/officeDocument/2006/relationships/slideLayout" Target="../slideLayouts/slideLayout562.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9" Type="http://schemas.openxmlformats.org/officeDocument/2006/relationships/slideLayout" Target="../slideLayouts/slideLayout520.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32" Type="http://schemas.openxmlformats.org/officeDocument/2006/relationships/slideLayout" Target="../slideLayouts/slideLayout523.xml"/><Relationship Id="rId37" Type="http://schemas.openxmlformats.org/officeDocument/2006/relationships/slideLayout" Target="../slideLayouts/slideLayout528.xml"/><Relationship Id="rId40" Type="http://schemas.openxmlformats.org/officeDocument/2006/relationships/slideLayout" Target="../slideLayouts/slideLayout531.xml"/><Relationship Id="rId45" Type="http://schemas.openxmlformats.org/officeDocument/2006/relationships/slideLayout" Target="../slideLayouts/slideLayout536.xml"/><Relationship Id="rId53" Type="http://schemas.openxmlformats.org/officeDocument/2006/relationships/slideLayout" Target="../slideLayouts/slideLayout544.xml"/><Relationship Id="rId58" Type="http://schemas.openxmlformats.org/officeDocument/2006/relationships/slideLayout" Target="../slideLayouts/slideLayout549.xml"/><Relationship Id="rId66" Type="http://schemas.openxmlformats.org/officeDocument/2006/relationships/slideLayout" Target="../slideLayouts/slideLayout557.xml"/><Relationship Id="rId74" Type="http://schemas.openxmlformats.org/officeDocument/2006/relationships/slideLayout" Target="../slideLayouts/slideLayout565.xml"/><Relationship Id="rId79" Type="http://schemas.openxmlformats.org/officeDocument/2006/relationships/slideLayout" Target="../slideLayouts/slideLayout570.xml"/><Relationship Id="rId5" Type="http://schemas.openxmlformats.org/officeDocument/2006/relationships/slideLayout" Target="../slideLayouts/slideLayout496.xml"/><Relationship Id="rId61" Type="http://schemas.openxmlformats.org/officeDocument/2006/relationships/slideLayout" Target="../slideLayouts/slideLayout552.xml"/><Relationship Id="rId82" Type="http://schemas.openxmlformats.org/officeDocument/2006/relationships/slideLayout" Target="../slideLayouts/slideLayout573.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31" Type="http://schemas.openxmlformats.org/officeDocument/2006/relationships/slideLayout" Target="../slideLayouts/slideLayout522.xml"/><Relationship Id="rId44" Type="http://schemas.openxmlformats.org/officeDocument/2006/relationships/slideLayout" Target="../slideLayouts/slideLayout535.xml"/><Relationship Id="rId52" Type="http://schemas.openxmlformats.org/officeDocument/2006/relationships/slideLayout" Target="../slideLayouts/slideLayout543.xml"/><Relationship Id="rId60" Type="http://schemas.openxmlformats.org/officeDocument/2006/relationships/slideLayout" Target="../slideLayouts/slideLayout551.xml"/><Relationship Id="rId65" Type="http://schemas.openxmlformats.org/officeDocument/2006/relationships/slideLayout" Target="../slideLayouts/slideLayout556.xml"/><Relationship Id="rId73" Type="http://schemas.openxmlformats.org/officeDocument/2006/relationships/slideLayout" Target="../slideLayouts/slideLayout564.xml"/><Relationship Id="rId78" Type="http://schemas.openxmlformats.org/officeDocument/2006/relationships/slideLayout" Target="../slideLayouts/slideLayout569.xml"/><Relationship Id="rId81" Type="http://schemas.openxmlformats.org/officeDocument/2006/relationships/slideLayout" Target="../slideLayouts/slideLayout572.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 Id="rId27" Type="http://schemas.openxmlformats.org/officeDocument/2006/relationships/slideLayout" Target="../slideLayouts/slideLayout518.xml"/><Relationship Id="rId30" Type="http://schemas.openxmlformats.org/officeDocument/2006/relationships/slideLayout" Target="../slideLayouts/slideLayout521.xml"/><Relationship Id="rId35" Type="http://schemas.openxmlformats.org/officeDocument/2006/relationships/slideLayout" Target="../slideLayouts/slideLayout526.xml"/><Relationship Id="rId43" Type="http://schemas.openxmlformats.org/officeDocument/2006/relationships/slideLayout" Target="../slideLayouts/slideLayout534.xml"/><Relationship Id="rId48" Type="http://schemas.openxmlformats.org/officeDocument/2006/relationships/slideLayout" Target="../slideLayouts/slideLayout539.xml"/><Relationship Id="rId56" Type="http://schemas.openxmlformats.org/officeDocument/2006/relationships/slideLayout" Target="../slideLayouts/slideLayout547.xml"/><Relationship Id="rId64" Type="http://schemas.openxmlformats.org/officeDocument/2006/relationships/slideLayout" Target="../slideLayouts/slideLayout555.xml"/><Relationship Id="rId69" Type="http://schemas.openxmlformats.org/officeDocument/2006/relationships/slideLayout" Target="../slideLayouts/slideLayout560.xml"/><Relationship Id="rId77" Type="http://schemas.openxmlformats.org/officeDocument/2006/relationships/slideLayout" Target="../slideLayouts/slideLayout568.xml"/><Relationship Id="rId8" Type="http://schemas.openxmlformats.org/officeDocument/2006/relationships/slideLayout" Target="../slideLayouts/slideLayout499.xml"/><Relationship Id="rId51" Type="http://schemas.openxmlformats.org/officeDocument/2006/relationships/slideLayout" Target="../slideLayouts/slideLayout542.xml"/><Relationship Id="rId72" Type="http://schemas.openxmlformats.org/officeDocument/2006/relationships/slideLayout" Target="../slideLayouts/slideLayout563.xml"/><Relationship Id="rId80" Type="http://schemas.openxmlformats.org/officeDocument/2006/relationships/slideLayout" Target="../slideLayouts/slideLayout571.xml"/><Relationship Id="rId3" Type="http://schemas.openxmlformats.org/officeDocument/2006/relationships/slideLayout" Target="../slideLayouts/slideLayout494.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33" Type="http://schemas.openxmlformats.org/officeDocument/2006/relationships/slideLayout" Target="../slideLayouts/slideLayout524.xml"/><Relationship Id="rId38" Type="http://schemas.openxmlformats.org/officeDocument/2006/relationships/slideLayout" Target="../slideLayouts/slideLayout529.xml"/><Relationship Id="rId46" Type="http://schemas.openxmlformats.org/officeDocument/2006/relationships/slideLayout" Target="../slideLayouts/slideLayout537.xml"/><Relationship Id="rId59" Type="http://schemas.openxmlformats.org/officeDocument/2006/relationships/slideLayout" Target="../slideLayouts/slideLayout550.xml"/><Relationship Id="rId67" Type="http://schemas.openxmlformats.org/officeDocument/2006/relationships/slideLayout" Target="../slideLayouts/slideLayout558.xml"/><Relationship Id="rId20" Type="http://schemas.openxmlformats.org/officeDocument/2006/relationships/slideLayout" Target="../slideLayouts/slideLayout511.xml"/><Relationship Id="rId41" Type="http://schemas.openxmlformats.org/officeDocument/2006/relationships/slideLayout" Target="../slideLayouts/slideLayout532.xml"/><Relationship Id="rId54" Type="http://schemas.openxmlformats.org/officeDocument/2006/relationships/slideLayout" Target="../slideLayouts/slideLayout545.xml"/><Relationship Id="rId62" Type="http://schemas.openxmlformats.org/officeDocument/2006/relationships/slideLayout" Target="../slideLayouts/slideLayout553.xml"/><Relationship Id="rId70" Type="http://schemas.openxmlformats.org/officeDocument/2006/relationships/slideLayout" Target="../slideLayouts/slideLayout561.xml"/><Relationship Id="rId75" Type="http://schemas.openxmlformats.org/officeDocument/2006/relationships/slideLayout" Target="../slideLayouts/slideLayout566.xml"/><Relationship Id="rId83" Type="http://schemas.openxmlformats.org/officeDocument/2006/relationships/theme" Target="../theme/theme8.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28" Type="http://schemas.openxmlformats.org/officeDocument/2006/relationships/slideLayout" Target="../slideLayouts/slideLayout519.xml"/><Relationship Id="rId36" Type="http://schemas.openxmlformats.org/officeDocument/2006/relationships/slideLayout" Target="../slideLayouts/slideLayout527.xml"/><Relationship Id="rId49" Type="http://schemas.openxmlformats.org/officeDocument/2006/relationships/slideLayout" Target="../slideLayouts/slideLayout540.xml"/><Relationship Id="rId57" Type="http://schemas.openxmlformats.org/officeDocument/2006/relationships/slideLayout" Target="../slideLayouts/slideLayout5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slideLayout" Target="../slideLayouts/slideLayout591.xml"/><Relationship Id="rId26" Type="http://schemas.openxmlformats.org/officeDocument/2006/relationships/slideLayout" Target="../slideLayouts/slideLayout599.xml"/><Relationship Id="rId39" Type="http://schemas.openxmlformats.org/officeDocument/2006/relationships/slideLayout" Target="../slideLayouts/slideLayout612.xml"/><Relationship Id="rId3" Type="http://schemas.openxmlformats.org/officeDocument/2006/relationships/slideLayout" Target="../slideLayouts/slideLayout576.xml"/><Relationship Id="rId21" Type="http://schemas.openxmlformats.org/officeDocument/2006/relationships/slideLayout" Target="../slideLayouts/slideLayout594.xml"/><Relationship Id="rId34" Type="http://schemas.openxmlformats.org/officeDocument/2006/relationships/slideLayout" Target="../slideLayouts/slideLayout607.xml"/><Relationship Id="rId42" Type="http://schemas.openxmlformats.org/officeDocument/2006/relationships/slideLayout" Target="../slideLayouts/slideLayout615.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slideLayout" Target="../slideLayouts/slideLayout590.xml"/><Relationship Id="rId25" Type="http://schemas.openxmlformats.org/officeDocument/2006/relationships/slideLayout" Target="../slideLayouts/slideLayout598.xml"/><Relationship Id="rId33" Type="http://schemas.openxmlformats.org/officeDocument/2006/relationships/slideLayout" Target="../slideLayouts/slideLayout606.xml"/><Relationship Id="rId38" Type="http://schemas.openxmlformats.org/officeDocument/2006/relationships/slideLayout" Target="../slideLayouts/slideLayout611.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20" Type="http://schemas.openxmlformats.org/officeDocument/2006/relationships/slideLayout" Target="../slideLayouts/slideLayout593.xml"/><Relationship Id="rId29" Type="http://schemas.openxmlformats.org/officeDocument/2006/relationships/slideLayout" Target="../slideLayouts/slideLayout602.xml"/><Relationship Id="rId41" Type="http://schemas.openxmlformats.org/officeDocument/2006/relationships/slideLayout" Target="../slideLayouts/slideLayout614.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24" Type="http://schemas.openxmlformats.org/officeDocument/2006/relationships/slideLayout" Target="../slideLayouts/slideLayout597.xml"/><Relationship Id="rId32" Type="http://schemas.openxmlformats.org/officeDocument/2006/relationships/slideLayout" Target="../slideLayouts/slideLayout605.xml"/><Relationship Id="rId37" Type="http://schemas.openxmlformats.org/officeDocument/2006/relationships/slideLayout" Target="../slideLayouts/slideLayout610.xml"/><Relationship Id="rId40" Type="http://schemas.openxmlformats.org/officeDocument/2006/relationships/slideLayout" Target="../slideLayouts/slideLayout613.xml"/><Relationship Id="rId45" Type="http://schemas.openxmlformats.org/officeDocument/2006/relationships/theme" Target="../theme/theme9.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23" Type="http://schemas.openxmlformats.org/officeDocument/2006/relationships/slideLayout" Target="../slideLayouts/slideLayout596.xml"/><Relationship Id="rId28" Type="http://schemas.openxmlformats.org/officeDocument/2006/relationships/slideLayout" Target="../slideLayouts/slideLayout601.xml"/><Relationship Id="rId36" Type="http://schemas.openxmlformats.org/officeDocument/2006/relationships/slideLayout" Target="../slideLayouts/slideLayout609.xml"/><Relationship Id="rId10" Type="http://schemas.openxmlformats.org/officeDocument/2006/relationships/slideLayout" Target="../slideLayouts/slideLayout583.xml"/><Relationship Id="rId19" Type="http://schemas.openxmlformats.org/officeDocument/2006/relationships/slideLayout" Target="../slideLayouts/slideLayout592.xml"/><Relationship Id="rId31" Type="http://schemas.openxmlformats.org/officeDocument/2006/relationships/slideLayout" Target="../slideLayouts/slideLayout604.xml"/><Relationship Id="rId44" Type="http://schemas.openxmlformats.org/officeDocument/2006/relationships/slideLayout" Target="../slideLayouts/slideLayout617.xml"/><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 Id="rId22" Type="http://schemas.openxmlformats.org/officeDocument/2006/relationships/slideLayout" Target="../slideLayouts/slideLayout595.xml"/><Relationship Id="rId27" Type="http://schemas.openxmlformats.org/officeDocument/2006/relationships/slideLayout" Target="../slideLayouts/slideLayout600.xml"/><Relationship Id="rId30" Type="http://schemas.openxmlformats.org/officeDocument/2006/relationships/slideLayout" Target="../slideLayouts/slideLayout603.xml"/><Relationship Id="rId35" Type="http://schemas.openxmlformats.org/officeDocument/2006/relationships/slideLayout" Target="../slideLayouts/slideLayout608.xml"/><Relationship Id="rId43" Type="http://schemas.openxmlformats.org/officeDocument/2006/relationships/slideLayout" Target="../slideLayouts/slideLayout6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848664753"/>
      </p:ext>
    </p:extLst>
  </p:cSld>
  <p:clrMap bg1="lt1" tx1="dk1" bg2="lt2" tx2="dk2" accent1="accent1" accent2="accent2" accent3="accent3" accent4="accent4" accent5="accent5" accent6="accent6" hlink="hlink" folHlink="folHlink"/>
  <p:sldLayoutIdLst>
    <p:sldLayoutId id="2147487686" r:id="rId1"/>
    <p:sldLayoutId id="2147487687" r:id="rId2"/>
    <p:sldLayoutId id="2147487688" r:id="rId3"/>
    <p:sldLayoutId id="2147487689" r:id="rId4"/>
    <p:sldLayoutId id="2147487690" r:id="rId5"/>
    <p:sldLayoutId id="2147487691" r:id="rId6"/>
    <p:sldLayoutId id="2147487692" r:id="rId7"/>
    <p:sldLayoutId id="2147487693" r:id="rId8"/>
    <p:sldLayoutId id="2147487694" r:id="rId9"/>
    <p:sldLayoutId id="2147487695" r:id="rId10"/>
    <p:sldLayoutId id="2147487696" r:id="rId11"/>
    <p:sldLayoutId id="2147487697" r:id="rId12"/>
    <p:sldLayoutId id="2147487698" r:id="rId13"/>
    <p:sldLayoutId id="2147487699" r:id="rId14"/>
    <p:sldLayoutId id="2147487700" r:id="rId15"/>
    <p:sldLayoutId id="2147487701" r:id="rId16"/>
    <p:sldLayoutId id="2147487702" r:id="rId17"/>
    <p:sldLayoutId id="2147487703" r:id="rId18"/>
    <p:sldLayoutId id="2147487704" r:id="rId19"/>
    <p:sldLayoutId id="2147487705" r:id="rId20"/>
    <p:sldLayoutId id="2147487706" r:id="rId21"/>
    <p:sldLayoutId id="2147487707" r:id="rId22"/>
    <p:sldLayoutId id="2147487708" r:id="rId23"/>
    <p:sldLayoutId id="2147487709" r:id="rId24"/>
    <p:sldLayoutId id="2147487710" r:id="rId25"/>
    <p:sldLayoutId id="2147487711" r:id="rId26"/>
    <p:sldLayoutId id="2147487712" r:id="rId27"/>
    <p:sldLayoutId id="2147487713" r:id="rId28"/>
    <p:sldLayoutId id="2147487714" r:id="rId29"/>
    <p:sldLayoutId id="2147487715" r:id="rId30"/>
    <p:sldLayoutId id="2147487716" r:id="rId31"/>
    <p:sldLayoutId id="2147487717" r:id="rId32"/>
    <p:sldLayoutId id="2147487718" r:id="rId33"/>
    <p:sldLayoutId id="2147487719" r:id="rId34"/>
    <p:sldLayoutId id="2147487720" r:id="rId35"/>
    <p:sldLayoutId id="2147487721" r:id="rId36"/>
    <p:sldLayoutId id="2147487722" r:id="rId37"/>
    <p:sldLayoutId id="2147487723" r:id="rId38"/>
    <p:sldLayoutId id="2147487724" r:id="rId39"/>
    <p:sldLayoutId id="2147487725" r:id="rId40"/>
    <p:sldLayoutId id="2147487726" r:id="rId41"/>
    <p:sldLayoutId id="2147487727" r:id="rId42"/>
    <p:sldLayoutId id="2147487728" r:id="rId43"/>
    <p:sldLayoutId id="2147487729" r:id="rId44"/>
    <p:sldLayoutId id="2147487730" r:id="rId45"/>
    <p:sldLayoutId id="2147487731" r:id="rId46"/>
    <p:sldLayoutId id="2147487732" r:id="rId47"/>
    <p:sldLayoutId id="2147487733" r:id="rId48"/>
    <p:sldLayoutId id="2147487734" r:id="rId49"/>
    <p:sldLayoutId id="2147487735" r:id="rId50"/>
    <p:sldLayoutId id="2147487736" r:id="rId51"/>
    <p:sldLayoutId id="2147487737" r:id="rId52"/>
    <p:sldLayoutId id="2147487738" r:id="rId53"/>
    <p:sldLayoutId id="2147487739" r:id="rId54"/>
    <p:sldLayoutId id="2147487740" r:id="rId55"/>
    <p:sldLayoutId id="2147487741" r:id="rId56"/>
    <p:sldLayoutId id="2147487742" r:id="rId57"/>
    <p:sldLayoutId id="2147487743" r:id="rId58"/>
    <p:sldLayoutId id="2147487744" r:id="rId59"/>
    <p:sldLayoutId id="2147487745" r:id="rId60"/>
    <p:sldLayoutId id="2147487746" r:id="rId61"/>
    <p:sldLayoutId id="2147487747" r:id="rId62"/>
    <p:sldLayoutId id="2147487748" r:id="rId63"/>
    <p:sldLayoutId id="2147487749" r:id="rId64"/>
    <p:sldLayoutId id="2147487750" r:id="rId65"/>
    <p:sldLayoutId id="2147487751" r:id="rId66"/>
    <p:sldLayoutId id="2147487752" r:id="rId67"/>
    <p:sldLayoutId id="2147487753" r:id="rId68"/>
    <p:sldLayoutId id="2147487754" r:id="rId69"/>
    <p:sldLayoutId id="2147487755" r:id="rId70"/>
    <p:sldLayoutId id="2147487756" r:id="rId71"/>
    <p:sldLayoutId id="2147487757" r:id="rId72"/>
    <p:sldLayoutId id="2147487758" r:id="rId73"/>
    <p:sldLayoutId id="2147487759" r:id="rId74"/>
    <p:sldLayoutId id="2147487760" r:id="rId75"/>
    <p:sldLayoutId id="2147487761" r:id="rId76"/>
    <p:sldLayoutId id="2147487762" r:id="rId77"/>
    <p:sldLayoutId id="2147487763" r:id="rId78"/>
    <p:sldLayoutId id="2147487764" r:id="rId79"/>
    <p:sldLayoutId id="2147487765" r:id="rId80"/>
    <p:sldLayoutId id="2147487766" r:id="rId81"/>
    <p:sldLayoutId id="2147487767" r:id="rId82"/>
    <p:sldLayoutId id="2147487768" r:id="rId83"/>
    <p:sldLayoutId id="2147487769" r:id="rId84"/>
    <p:sldLayoutId id="2147487770" r:id="rId85"/>
    <p:sldLayoutId id="2147487771" r:id="rId86"/>
    <p:sldLayoutId id="2147487773" r:id="rId87"/>
    <p:sldLayoutId id="2147487774"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338257086"/>
      </p:ext>
    </p:extLst>
  </p:cSld>
  <p:clrMap bg1="lt1" tx1="dk1" bg2="lt2" tx2="dk2" accent1="accent1" accent2="accent2" accent3="accent3" accent4="accent4" accent5="accent5" accent6="accent6" hlink="hlink" folHlink="folHlink"/>
  <p:sldLayoutIdLst>
    <p:sldLayoutId id="2147487776" r:id="rId1"/>
    <p:sldLayoutId id="2147487777" r:id="rId2"/>
    <p:sldLayoutId id="2147487778" r:id="rId3"/>
    <p:sldLayoutId id="2147487779" r:id="rId4"/>
    <p:sldLayoutId id="2147487780" r:id="rId5"/>
    <p:sldLayoutId id="2147487781" r:id="rId6"/>
    <p:sldLayoutId id="2147487782" r:id="rId7"/>
    <p:sldLayoutId id="2147487783" r:id="rId8"/>
    <p:sldLayoutId id="2147487784" r:id="rId9"/>
    <p:sldLayoutId id="2147487785" r:id="rId10"/>
    <p:sldLayoutId id="2147487786" r:id="rId11"/>
    <p:sldLayoutId id="2147487787" r:id="rId12"/>
    <p:sldLayoutId id="2147487788" r:id="rId13"/>
    <p:sldLayoutId id="2147487789" r:id="rId14"/>
    <p:sldLayoutId id="2147487790" r:id="rId15"/>
    <p:sldLayoutId id="2147487791" r:id="rId16"/>
    <p:sldLayoutId id="2147487792" r:id="rId17"/>
    <p:sldLayoutId id="2147487793" r:id="rId18"/>
    <p:sldLayoutId id="2147487794" r:id="rId19"/>
    <p:sldLayoutId id="2147487795" r:id="rId20"/>
    <p:sldLayoutId id="2147487796" r:id="rId21"/>
    <p:sldLayoutId id="2147487797" r:id="rId22"/>
    <p:sldLayoutId id="2147487798" r:id="rId23"/>
    <p:sldLayoutId id="2147487799" r:id="rId24"/>
    <p:sldLayoutId id="2147487800" r:id="rId25"/>
    <p:sldLayoutId id="2147487801" r:id="rId26"/>
    <p:sldLayoutId id="2147487802" r:id="rId27"/>
    <p:sldLayoutId id="2147487803" r:id="rId28"/>
    <p:sldLayoutId id="2147487804" r:id="rId29"/>
    <p:sldLayoutId id="2147487805" r:id="rId30"/>
    <p:sldLayoutId id="2147487806" r:id="rId31"/>
    <p:sldLayoutId id="2147487807" r:id="rId32"/>
    <p:sldLayoutId id="2147487808" r:id="rId33"/>
    <p:sldLayoutId id="2147487809" r:id="rId34"/>
    <p:sldLayoutId id="2147487810" r:id="rId35"/>
    <p:sldLayoutId id="2147487811" r:id="rId36"/>
    <p:sldLayoutId id="2147487812" r:id="rId37"/>
    <p:sldLayoutId id="2147487813" r:id="rId38"/>
    <p:sldLayoutId id="2147487814" r:id="rId39"/>
    <p:sldLayoutId id="2147487815" r:id="rId40"/>
    <p:sldLayoutId id="2147487816" r:id="rId41"/>
    <p:sldLayoutId id="2147487817" r:id="rId42"/>
    <p:sldLayoutId id="2147487818" r:id="rId43"/>
    <p:sldLayoutId id="2147487819" r:id="rId44"/>
    <p:sldLayoutId id="2147487820" r:id="rId45"/>
    <p:sldLayoutId id="2147487821" r:id="rId46"/>
    <p:sldLayoutId id="2147487822" r:id="rId47"/>
    <p:sldLayoutId id="2147487823" r:id="rId48"/>
    <p:sldLayoutId id="2147487824" r:id="rId49"/>
    <p:sldLayoutId id="2147487825" r:id="rId50"/>
    <p:sldLayoutId id="2147487826" r:id="rId51"/>
    <p:sldLayoutId id="2147487827" r:id="rId52"/>
    <p:sldLayoutId id="2147487828" r:id="rId53"/>
    <p:sldLayoutId id="2147487829" r:id="rId54"/>
    <p:sldLayoutId id="2147487830" r:id="rId55"/>
    <p:sldLayoutId id="2147487831" r:id="rId56"/>
    <p:sldLayoutId id="2147487832" r:id="rId57"/>
    <p:sldLayoutId id="2147487833" r:id="rId58"/>
    <p:sldLayoutId id="2147487834" r:id="rId59"/>
    <p:sldLayoutId id="2147487835" r:id="rId60"/>
    <p:sldLayoutId id="2147487836" r:id="rId61"/>
    <p:sldLayoutId id="2147487837" r:id="rId62"/>
    <p:sldLayoutId id="2147487838" r:id="rId63"/>
    <p:sldLayoutId id="2147487839" r:id="rId64"/>
    <p:sldLayoutId id="2147487840" r:id="rId65"/>
    <p:sldLayoutId id="2147487841" r:id="rId66"/>
    <p:sldLayoutId id="2147487842" r:id="rId67"/>
    <p:sldLayoutId id="2147487843" r:id="rId68"/>
    <p:sldLayoutId id="2147487844" r:id="rId69"/>
    <p:sldLayoutId id="2147487845" r:id="rId70"/>
    <p:sldLayoutId id="2147487846" r:id="rId71"/>
    <p:sldLayoutId id="2147487847" r:id="rId72"/>
    <p:sldLayoutId id="2147487848" r:id="rId73"/>
    <p:sldLayoutId id="2147487849" r:id="rId74"/>
    <p:sldLayoutId id="2147487850" r:id="rId75"/>
    <p:sldLayoutId id="2147487851" r:id="rId76"/>
    <p:sldLayoutId id="2147487852" r:id="rId77"/>
    <p:sldLayoutId id="2147487853" r:id="rId78"/>
    <p:sldLayoutId id="2147487854" r:id="rId79"/>
    <p:sldLayoutId id="2147487855" r:id="rId80"/>
    <p:sldLayoutId id="2147487856" r:id="rId81"/>
    <p:sldLayoutId id="2147487857" r:id="rId82"/>
    <p:sldLayoutId id="2147488110" r:id="rId83"/>
    <p:sldLayoutId id="2147488298" r:id="rId84"/>
    <p:sldLayoutId id="2147488300" r:id="rId85"/>
    <p:sldLayoutId id="2147488301" r:id="rId8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1881817563"/>
      </p:ext>
    </p:extLst>
  </p:cSld>
  <p:clrMap bg1="lt1" tx1="dk1" bg2="lt2" tx2="dk2" accent1="accent1" accent2="accent2" accent3="accent3" accent4="accent4" accent5="accent5" accent6="accent6" hlink="hlink" folHlink="folHlink"/>
  <p:sldLayoutIdLst>
    <p:sldLayoutId id="2147487859" r:id="rId1"/>
    <p:sldLayoutId id="2147487860" r:id="rId2"/>
    <p:sldLayoutId id="2147487861" r:id="rId3"/>
    <p:sldLayoutId id="2147487862" r:id="rId4"/>
    <p:sldLayoutId id="2147487863" r:id="rId5"/>
    <p:sldLayoutId id="2147487864" r:id="rId6"/>
    <p:sldLayoutId id="2147487865" r:id="rId7"/>
    <p:sldLayoutId id="2147487866" r:id="rId8"/>
    <p:sldLayoutId id="2147487867" r:id="rId9"/>
    <p:sldLayoutId id="2147487868" r:id="rId10"/>
    <p:sldLayoutId id="2147487869" r:id="rId11"/>
    <p:sldLayoutId id="2147487870" r:id="rId12"/>
    <p:sldLayoutId id="2147487871" r:id="rId13"/>
    <p:sldLayoutId id="2147487872" r:id="rId14"/>
    <p:sldLayoutId id="2147487873" r:id="rId15"/>
    <p:sldLayoutId id="2147487874" r:id="rId16"/>
    <p:sldLayoutId id="2147487875" r:id="rId17"/>
    <p:sldLayoutId id="2147487876" r:id="rId18"/>
    <p:sldLayoutId id="2147487877" r:id="rId19"/>
    <p:sldLayoutId id="2147487878" r:id="rId20"/>
    <p:sldLayoutId id="2147487879" r:id="rId21"/>
    <p:sldLayoutId id="2147487880" r:id="rId22"/>
    <p:sldLayoutId id="2147487881" r:id="rId23"/>
    <p:sldLayoutId id="2147487882" r:id="rId24"/>
    <p:sldLayoutId id="2147487883" r:id="rId25"/>
    <p:sldLayoutId id="2147487884" r:id="rId26"/>
    <p:sldLayoutId id="2147487885" r:id="rId27"/>
    <p:sldLayoutId id="2147487886" r:id="rId28"/>
    <p:sldLayoutId id="2147487887" r:id="rId29"/>
    <p:sldLayoutId id="2147487888" r:id="rId30"/>
    <p:sldLayoutId id="2147487889" r:id="rId31"/>
    <p:sldLayoutId id="2147487890" r:id="rId32"/>
    <p:sldLayoutId id="2147487891" r:id="rId33"/>
    <p:sldLayoutId id="2147487892" r:id="rId34"/>
    <p:sldLayoutId id="2147487893" r:id="rId35"/>
    <p:sldLayoutId id="2147487894" r:id="rId36"/>
    <p:sldLayoutId id="2147487895" r:id="rId37"/>
    <p:sldLayoutId id="2147487896" r:id="rId38"/>
    <p:sldLayoutId id="2147487897" r:id="rId39"/>
    <p:sldLayoutId id="2147487898" r:id="rId40"/>
    <p:sldLayoutId id="2147487899" r:id="rId41"/>
    <p:sldLayoutId id="2147487900" r:id="rId42"/>
    <p:sldLayoutId id="2147487901" r:id="rId43"/>
    <p:sldLayoutId id="2147487902" r:id="rId44"/>
    <p:sldLayoutId id="2147487903" r:id="rId45"/>
    <p:sldLayoutId id="2147487904" r:id="rId46"/>
    <p:sldLayoutId id="2147487905" r:id="rId47"/>
    <p:sldLayoutId id="2147487906" r:id="rId48"/>
    <p:sldLayoutId id="2147487907" r:id="rId49"/>
    <p:sldLayoutId id="2147487908" r:id="rId50"/>
    <p:sldLayoutId id="2147487909" r:id="rId51"/>
    <p:sldLayoutId id="2147487910" r:id="rId52"/>
    <p:sldLayoutId id="2147487911" r:id="rId53"/>
    <p:sldLayoutId id="2147487912" r:id="rId54"/>
    <p:sldLayoutId id="2147487913" r:id="rId55"/>
    <p:sldLayoutId id="2147487914" r:id="rId56"/>
    <p:sldLayoutId id="2147487915" r:id="rId57"/>
    <p:sldLayoutId id="2147487916" r:id="rId58"/>
    <p:sldLayoutId id="2147487917" r:id="rId59"/>
    <p:sldLayoutId id="2147487918" r:id="rId60"/>
    <p:sldLayoutId id="2147487919" r:id="rId61"/>
    <p:sldLayoutId id="2147487920" r:id="rId62"/>
    <p:sldLayoutId id="2147487921" r:id="rId63"/>
    <p:sldLayoutId id="2147487922" r:id="rId64"/>
    <p:sldLayoutId id="2147487923" r:id="rId65"/>
    <p:sldLayoutId id="2147487924" r:id="rId66"/>
    <p:sldLayoutId id="2147487925" r:id="rId67"/>
    <p:sldLayoutId id="2147487926" r:id="rId68"/>
    <p:sldLayoutId id="2147487927" r:id="rId69"/>
    <p:sldLayoutId id="2147487928" r:id="rId70"/>
    <p:sldLayoutId id="2147487929" r:id="rId71"/>
    <p:sldLayoutId id="2147487930" r:id="rId72"/>
    <p:sldLayoutId id="2147487931" r:id="rId73"/>
    <p:sldLayoutId id="2147487932" r:id="rId74"/>
    <p:sldLayoutId id="2147487933" r:id="rId75"/>
    <p:sldLayoutId id="2147487934" r:id="rId76"/>
    <p:sldLayoutId id="2147487935" r:id="rId77"/>
    <p:sldLayoutId id="2147487936" r:id="rId78"/>
    <p:sldLayoutId id="2147487937" r:id="rId79"/>
    <p:sldLayoutId id="2147487938" r:id="rId80"/>
    <p:sldLayoutId id="2147487939" r:id="rId81"/>
    <p:sldLayoutId id="2147487940" r:id="rId82"/>
    <p:sldLayoutId id="2147487941"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288">
          <p15:clr>
            <a:srgbClr val="F26B43"/>
          </p15:clr>
        </p15:guide>
        <p15:guide id="6" pos="7368">
          <p15:clr>
            <a:srgbClr val="F26B43"/>
          </p15:clr>
        </p15:guide>
        <p15:guide id="7" orient="horz" pos="4104">
          <p15:clr>
            <a:srgbClr val="F26B43"/>
          </p15:clr>
        </p15:guide>
        <p15:guide id="8" orient="horz" pos="432">
          <p15:clr>
            <a:srgbClr val="F26B43"/>
          </p15:clr>
        </p15:guide>
        <p15:guide id="10" pos="754">
          <p15:clr>
            <a:srgbClr val="F26B43"/>
          </p15:clr>
        </p15:guide>
        <p15:guide id="11" pos="912">
          <p15:clr>
            <a:srgbClr val="F26B43"/>
          </p15:clr>
        </p15:guide>
        <p15:guide id="12" pos="1354">
          <p15:clr>
            <a:srgbClr val="F26B43"/>
          </p15:clr>
        </p15:guide>
        <p15:guide id="13" pos="1512">
          <p15:clr>
            <a:srgbClr val="F26B43"/>
          </p15:clr>
        </p15:guide>
        <p15:guide id="14" pos="1956">
          <p15:clr>
            <a:srgbClr val="F26B43"/>
          </p15:clr>
        </p15:guide>
        <p15:guide id="15" pos="2108">
          <p15:clr>
            <a:srgbClr val="F26B43"/>
          </p15:clr>
        </p15:guide>
        <p15:guide id="16" pos="2560">
          <p15:clr>
            <a:srgbClr val="F26B43"/>
          </p15:clr>
        </p15:guide>
        <p15:guide id="17" pos="2716">
          <p15:clr>
            <a:srgbClr val="F26B43"/>
          </p15:clr>
        </p15:guide>
        <p15:guide id="18" pos="3164">
          <p15:clr>
            <a:srgbClr val="F26B43"/>
          </p15:clr>
        </p15:guide>
        <p15:guide id="19" pos="3312">
          <p15:clr>
            <a:srgbClr val="F26B43"/>
          </p15:clr>
        </p15:guide>
        <p15:guide id="20" pos="3760">
          <p15:clr>
            <a:srgbClr val="F26B43"/>
          </p15:clr>
        </p15:guide>
        <p15:guide id="21" pos="3916">
          <p15:clr>
            <a:srgbClr val="F26B43"/>
          </p15:clr>
        </p15:guide>
        <p15:guide id="22" pos="4360">
          <p15:clr>
            <a:srgbClr val="F26B43"/>
          </p15:clr>
        </p15:guide>
        <p15:guide id="23" pos="4512">
          <p15:clr>
            <a:srgbClr val="F26B43"/>
          </p15:clr>
        </p15:guide>
        <p15:guide id="24" pos="4960">
          <p15:clr>
            <a:srgbClr val="F26B43"/>
          </p15:clr>
        </p15:guide>
        <p15:guide id="25" pos="5116">
          <p15:clr>
            <a:srgbClr val="F26B43"/>
          </p15:clr>
        </p15:guide>
        <p15:guide id="26" pos="5568">
          <p15:clr>
            <a:srgbClr val="F26B43"/>
          </p15:clr>
        </p15:guide>
        <p15:guide id="27" pos="5716">
          <p15:clr>
            <a:srgbClr val="F26B43"/>
          </p15:clr>
        </p15:guide>
        <p15:guide id="28" pos="6168">
          <p15:clr>
            <a:srgbClr val="F26B43"/>
          </p15:clr>
        </p15:guide>
        <p15:guide id="29" pos="6324">
          <p15:clr>
            <a:srgbClr val="F26B43"/>
          </p15:clr>
        </p15:guide>
        <p15:guide id="30" pos="6768">
          <p15:clr>
            <a:srgbClr val="F26B43"/>
          </p15:clr>
        </p15:guide>
        <p15:guide id="31" pos="6920">
          <p15:clr>
            <a:srgbClr val="F26B43"/>
          </p15:clr>
        </p15:guide>
        <p15:guide id="32" orient="horz" pos="216">
          <p15:clr>
            <a:srgbClr val="F26B43"/>
          </p15:clr>
        </p15:guide>
        <p15:guide id="33" orient="horz">
          <p15:clr>
            <a:srgbClr val="F26B43"/>
          </p15:clr>
        </p15:guide>
        <p15:guide id="34">
          <p15:clr>
            <a:srgbClr val="F26B43"/>
          </p15:clr>
        </p15:guide>
        <p15:guide id="35" orient="horz" pos="648">
          <p15:clr>
            <a:srgbClr val="F26B43"/>
          </p15:clr>
        </p15:guide>
        <p15:guide id="36" orient="horz" pos="864">
          <p15:clr>
            <a:srgbClr val="F26B43"/>
          </p15:clr>
        </p15:guide>
        <p15:guide id="37" orient="horz" pos="1296">
          <p15:clr>
            <a:srgbClr val="F26B43"/>
          </p15:clr>
        </p15:guide>
        <p15:guide id="38" orient="horz" pos="1512">
          <p15:clr>
            <a:srgbClr val="F26B43"/>
          </p15:clr>
        </p15:guide>
        <p15:guide id="39" orient="horz" pos="1724">
          <p15:clr>
            <a:srgbClr val="F26B43"/>
          </p15:clr>
        </p15:guide>
        <p15:guide id="40" orient="horz" pos="1944">
          <p15:clr>
            <a:srgbClr val="F26B43"/>
          </p15:clr>
        </p15:guide>
        <p15:guide id="41" orient="horz" pos="2160">
          <p15:clr>
            <a:srgbClr val="F26B43"/>
          </p15:clr>
        </p15:guide>
        <p15:guide id="42" orient="horz" pos="2376">
          <p15:clr>
            <a:srgbClr val="F26B43"/>
          </p15:clr>
        </p15:guide>
        <p15:guide id="43" orient="horz" pos="2592">
          <p15:clr>
            <a:srgbClr val="F26B43"/>
          </p15:clr>
        </p15:guide>
        <p15:guide id="44" orient="horz" pos="2808">
          <p15:clr>
            <a:srgbClr val="F26B43"/>
          </p15:clr>
        </p15:guide>
        <p15:guide id="45" orient="horz" pos="3024">
          <p15:clr>
            <a:srgbClr val="F26B43"/>
          </p15:clr>
        </p15:guide>
        <p15:guide id="46" orient="horz" pos="3240">
          <p15:clr>
            <a:srgbClr val="F26B43"/>
          </p15:clr>
        </p15:guide>
        <p15:guide id="47" orient="horz" pos="3452">
          <p15:clr>
            <a:srgbClr val="F26B43"/>
          </p15:clr>
        </p15:guide>
        <p15:guide id="48" orient="horz" pos="3672">
          <p15:clr>
            <a:srgbClr val="F26B43"/>
          </p15:clr>
        </p15:guide>
        <p15:guide id="49" orient="horz" pos="3884">
          <p15:clr>
            <a:srgbClr val="F26B43"/>
          </p15:clr>
        </p15:guide>
        <p15:guide id="50" orient="horz" pos="4320">
          <p15:clr>
            <a:srgbClr val="F26B43"/>
          </p15:clr>
        </p15:guide>
        <p15:guide id="51" pos="768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484036164"/>
      </p:ext>
    </p:extLst>
  </p:cSld>
  <p:clrMap bg1="lt1" tx1="dk1" bg2="lt2" tx2="dk2" accent1="accent1" accent2="accent2" accent3="accent3" accent4="accent4" accent5="accent5" accent6="accent6" hlink="hlink" folHlink="folHlink"/>
  <p:sldLayoutIdLst>
    <p:sldLayoutId id="2147488113" r:id="rId1"/>
    <p:sldLayoutId id="2147488114" r:id="rId2"/>
    <p:sldLayoutId id="2147488115" r:id="rId3"/>
    <p:sldLayoutId id="2147488116" r:id="rId4"/>
    <p:sldLayoutId id="2147488117" r:id="rId5"/>
    <p:sldLayoutId id="2147488118" r:id="rId6"/>
    <p:sldLayoutId id="2147488119" r:id="rId7"/>
    <p:sldLayoutId id="2147488120" r:id="rId8"/>
    <p:sldLayoutId id="2147488121" r:id="rId9"/>
    <p:sldLayoutId id="2147488122" r:id="rId10"/>
    <p:sldLayoutId id="2147488123" r:id="rId11"/>
    <p:sldLayoutId id="2147488124" r:id="rId12"/>
    <p:sldLayoutId id="2147488125" r:id="rId13"/>
    <p:sldLayoutId id="2147488126" r:id="rId14"/>
    <p:sldLayoutId id="2147488127" r:id="rId15"/>
    <p:sldLayoutId id="2147488128" r:id="rId16"/>
    <p:sldLayoutId id="2147488129" r:id="rId17"/>
    <p:sldLayoutId id="2147488130" r:id="rId18"/>
    <p:sldLayoutId id="2147488131" r:id="rId19"/>
    <p:sldLayoutId id="2147488132" r:id="rId20"/>
    <p:sldLayoutId id="2147488133" r:id="rId21"/>
    <p:sldLayoutId id="2147488134" r:id="rId22"/>
    <p:sldLayoutId id="2147488135" r:id="rId23"/>
    <p:sldLayoutId id="2147488136" r:id="rId24"/>
    <p:sldLayoutId id="2147488137" r:id="rId25"/>
    <p:sldLayoutId id="2147488138" r:id="rId26"/>
    <p:sldLayoutId id="2147488139" r:id="rId27"/>
    <p:sldLayoutId id="2147488140" r:id="rId28"/>
    <p:sldLayoutId id="2147488141" r:id="rId29"/>
    <p:sldLayoutId id="2147488142" r:id="rId30"/>
    <p:sldLayoutId id="2147488143" r:id="rId31"/>
    <p:sldLayoutId id="2147488144" r:id="rId32"/>
    <p:sldLayoutId id="2147488145" r:id="rId33"/>
    <p:sldLayoutId id="2147488146" r:id="rId34"/>
    <p:sldLayoutId id="2147488147" r:id="rId35"/>
    <p:sldLayoutId id="2147488148" r:id="rId36"/>
    <p:sldLayoutId id="2147488149" r:id="rId37"/>
    <p:sldLayoutId id="2147488150" r:id="rId38"/>
    <p:sldLayoutId id="2147488151" r:id="rId39"/>
    <p:sldLayoutId id="2147488152" r:id="rId40"/>
    <p:sldLayoutId id="2147488153" r:id="rId41"/>
    <p:sldLayoutId id="2147488154" r:id="rId42"/>
    <p:sldLayoutId id="2147488155" r:id="rId43"/>
    <p:sldLayoutId id="2147488156" r:id="rId44"/>
    <p:sldLayoutId id="2147488157" r:id="rId45"/>
    <p:sldLayoutId id="2147488158" r:id="rId46"/>
    <p:sldLayoutId id="2147488159" r:id="rId47"/>
    <p:sldLayoutId id="2147488160" r:id="rId48"/>
    <p:sldLayoutId id="2147488161" r:id="rId49"/>
    <p:sldLayoutId id="2147488162" r:id="rId50"/>
    <p:sldLayoutId id="2147488163" r:id="rId51"/>
    <p:sldLayoutId id="2147488164" r:id="rId52"/>
    <p:sldLayoutId id="2147488165" r:id="rId53"/>
    <p:sldLayoutId id="2147488166" r:id="rId54"/>
    <p:sldLayoutId id="2147488167" r:id="rId55"/>
    <p:sldLayoutId id="2147488168" r:id="rId56"/>
    <p:sldLayoutId id="2147488169" r:id="rId57"/>
    <p:sldLayoutId id="2147488170" r:id="rId58"/>
    <p:sldLayoutId id="2147488171" r:id="rId59"/>
    <p:sldLayoutId id="2147488172" r:id="rId60"/>
    <p:sldLayoutId id="2147488173" r:id="rId61"/>
    <p:sldLayoutId id="2147488174" r:id="rId62"/>
    <p:sldLayoutId id="2147488175" r:id="rId63"/>
    <p:sldLayoutId id="2147488176" r:id="rId64"/>
    <p:sldLayoutId id="2147488177" r:id="rId65"/>
    <p:sldLayoutId id="2147488178" r:id="rId66"/>
    <p:sldLayoutId id="2147488179" r:id="rId67"/>
    <p:sldLayoutId id="2147488180" r:id="rId68"/>
    <p:sldLayoutId id="2147488181" r:id="rId69"/>
    <p:sldLayoutId id="2147488182" r:id="rId70"/>
    <p:sldLayoutId id="2147488183" r:id="rId71"/>
    <p:sldLayoutId id="2147488184" r:id="rId72"/>
    <p:sldLayoutId id="2147488185" r:id="rId73"/>
    <p:sldLayoutId id="2147488186" r:id="rId74"/>
    <p:sldLayoutId id="2147488187" r:id="rId75"/>
    <p:sldLayoutId id="2147488188" r:id="rId76"/>
    <p:sldLayoutId id="2147488189" r:id="rId77"/>
    <p:sldLayoutId id="2147488190" r:id="rId78"/>
    <p:sldLayoutId id="2147488191" r:id="rId79"/>
    <p:sldLayoutId id="2147488192" r:id="rId80"/>
    <p:sldLayoutId id="2147488193" r:id="rId81"/>
    <p:sldLayoutId id="2147488194" r:id="rId82"/>
    <p:sldLayoutId id="2147488196" r:id="rId83"/>
    <p:sldLayoutId id="2147488197" r:id="rId84"/>
    <p:sldLayoutId id="2147488198" r:id="rId85"/>
    <p:sldLayoutId id="2147488199" r:id="rId86"/>
    <p:sldLayoutId id="2147488200" r:id="rId87"/>
    <p:sldLayoutId id="2147488201" r:id="rId88"/>
    <p:sldLayoutId id="2147488202" r:id="rId89"/>
    <p:sldLayoutId id="2147488203" r:id="rId9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endParaRPr lang="en-US" dirty="0"/>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endParaRPr lang="en-US" dirty="0"/>
          </a:p>
        </p:txBody>
      </p:sp>
    </p:spTree>
    <p:extLst>
      <p:ext uri="{BB962C8B-B14F-4D97-AF65-F5344CB8AC3E}">
        <p14:creationId xmlns:p14="http://schemas.microsoft.com/office/powerpoint/2010/main" val="1296092387"/>
      </p:ext>
    </p:extLst>
  </p:cSld>
  <p:clrMap bg1="lt1" tx1="dk1" bg2="lt2" tx2="dk2" accent1="accent1" accent2="accent2" accent3="accent3" accent4="accent4" accent5="accent5" accent6="accent6" hlink="hlink" folHlink="folHlink"/>
  <p:sldLayoutIdLst>
    <p:sldLayoutId id="2147488206" r:id="rId1"/>
    <p:sldLayoutId id="2147488207" r:id="rId2"/>
    <p:sldLayoutId id="2147488208" r:id="rId3"/>
    <p:sldLayoutId id="2147488209" r:id="rId4"/>
    <p:sldLayoutId id="2147488210" r:id="rId5"/>
    <p:sldLayoutId id="2147488211" r:id="rId6"/>
    <p:sldLayoutId id="2147488212" r:id="rId7"/>
    <p:sldLayoutId id="2147488213" r:id="rId8"/>
    <p:sldLayoutId id="2147488214" r:id="rId9"/>
    <p:sldLayoutId id="2147488215" r:id="rId10"/>
    <p:sldLayoutId id="2147488216" r:id="rId11"/>
    <p:sldLayoutId id="2147488217" r:id="rId12"/>
    <p:sldLayoutId id="2147488218" r:id="rId13"/>
    <p:sldLayoutId id="2147488219" r:id="rId14"/>
    <p:sldLayoutId id="2147488220" r:id="rId15"/>
    <p:sldLayoutId id="2147488221" r:id="rId16"/>
    <p:sldLayoutId id="2147488222" r:id="rId17"/>
    <p:sldLayoutId id="2147488223" r:id="rId18"/>
    <p:sldLayoutId id="2147488224" r:id="rId19"/>
    <p:sldLayoutId id="2147488225" r:id="rId20"/>
    <p:sldLayoutId id="2147488226" r:id="rId21"/>
    <p:sldLayoutId id="2147488227" r:id="rId22"/>
    <p:sldLayoutId id="2147488228" r:id="rId23"/>
    <p:sldLayoutId id="2147488229" r:id="rId24"/>
    <p:sldLayoutId id="2147488230" r:id="rId25"/>
    <p:sldLayoutId id="2147488231" r:id="rId26"/>
    <p:sldLayoutId id="2147488232" r:id="rId27"/>
    <p:sldLayoutId id="2147488233" r:id="rId28"/>
    <p:sldLayoutId id="2147488234" r:id="rId29"/>
    <p:sldLayoutId id="2147488235" r:id="rId30"/>
    <p:sldLayoutId id="2147488236" r:id="rId31"/>
    <p:sldLayoutId id="2147488237" r:id="rId32"/>
    <p:sldLayoutId id="2147488238" r:id="rId33"/>
    <p:sldLayoutId id="2147488239" r:id="rId34"/>
    <p:sldLayoutId id="2147488240" r:id="rId35"/>
    <p:sldLayoutId id="2147488241" r:id="rId36"/>
    <p:sldLayoutId id="2147488242" r:id="rId37"/>
    <p:sldLayoutId id="2147488243" r:id="rId38"/>
    <p:sldLayoutId id="2147488244" r:id="rId39"/>
    <p:sldLayoutId id="2147488245" r:id="rId40"/>
    <p:sldLayoutId id="2147488246" r:id="rId41"/>
    <p:sldLayoutId id="2147488247" r:id="rId42"/>
    <p:sldLayoutId id="2147488248" r:id="rId43"/>
    <p:sldLayoutId id="2147488249" r:id="rId44"/>
    <p:sldLayoutId id="2147488250" r:id="rId45"/>
    <p:sldLayoutId id="2147488251" r:id="rId46"/>
    <p:sldLayoutId id="2147488252" r:id="rId47"/>
    <p:sldLayoutId id="2147488253" r:id="rId48"/>
    <p:sldLayoutId id="2147488254" r:id="rId49"/>
    <p:sldLayoutId id="2147488255" r:id="rId50"/>
    <p:sldLayoutId id="2147488256" r:id="rId51"/>
    <p:sldLayoutId id="2147488257" r:id="rId52"/>
    <p:sldLayoutId id="2147488258" r:id="rId53"/>
    <p:sldLayoutId id="2147488259" r:id="rId54"/>
    <p:sldLayoutId id="2147488260" r:id="rId55"/>
    <p:sldLayoutId id="2147488261" r:id="rId56"/>
    <p:sldLayoutId id="2147488262" r:id="rId57"/>
    <p:sldLayoutId id="2147488263" r:id="rId58"/>
    <p:sldLayoutId id="2147488264" r:id="rId59"/>
    <p:sldLayoutId id="2147488265" r:id="rId60"/>
    <p:sldLayoutId id="2147488266" r:id="rId61"/>
    <p:sldLayoutId id="2147488267" r:id="rId62"/>
    <p:sldLayoutId id="2147488268" r:id="rId63"/>
    <p:sldLayoutId id="2147488269" r:id="rId64"/>
    <p:sldLayoutId id="2147488270" r:id="rId65"/>
    <p:sldLayoutId id="2147488271" r:id="rId66"/>
    <p:sldLayoutId id="2147488272" r:id="rId67"/>
    <p:sldLayoutId id="2147488273" r:id="rId68"/>
    <p:sldLayoutId id="2147488274" r:id="rId69"/>
    <p:sldLayoutId id="2147488275" r:id="rId70"/>
    <p:sldLayoutId id="2147488276" r:id="rId71"/>
    <p:sldLayoutId id="2147488277" r:id="rId72"/>
    <p:sldLayoutId id="2147488278" r:id="rId73"/>
    <p:sldLayoutId id="2147488279" r:id="rId74"/>
    <p:sldLayoutId id="2147488280" r:id="rId75"/>
    <p:sldLayoutId id="2147488281" r:id="rId76"/>
    <p:sldLayoutId id="2147488282" r:id="rId77"/>
    <p:sldLayoutId id="2147488283" r:id="rId78"/>
    <p:sldLayoutId id="2147488284" r:id="rId79"/>
    <p:sldLayoutId id="2147488285" r:id="rId80"/>
    <p:sldLayoutId id="2147488286" r:id="rId81"/>
    <p:sldLayoutId id="2147488287" r:id="rId82"/>
    <p:sldLayoutId id="2147488288" r:id="rId83"/>
    <p:sldLayoutId id="2147488289" r:id="rId84"/>
    <p:sldLayoutId id="2147488290" r:id="rId85"/>
    <p:sldLayoutId id="2147488291" r:id="rId86"/>
    <p:sldLayoutId id="2147488292" r:id="rId87"/>
    <p:sldLayoutId id="2147488293" r:id="rId88"/>
    <p:sldLayoutId id="2147488294" r:id="rId89"/>
    <p:sldLayoutId id="2147488295" r:id="rId90"/>
    <p:sldLayoutId id="2147488296" r:id="rId91"/>
    <p:sldLayoutId id="2147488297" r:id="rId92"/>
    <p:sldLayoutId id="2147488299" r:id="rId93"/>
    <p:sldLayoutId id="2147488861" r:id="rId9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endParaRPr lang="en-US" dirty="0"/>
          </a:p>
        </p:txBody>
      </p:sp>
      <p:sp>
        <p:nvSpPr>
          <p:cNvPr id="6" name="TextBox 5">
            <a:extLst>
              <a:ext uri="{FF2B5EF4-FFF2-40B4-BE49-F238E27FC236}">
                <a16:creationId xmlns:a16="http://schemas.microsoft.com/office/drawing/2014/main" id="{71F88E0A-636B-0D47-AC95-D4F0E44882E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94885244"/>
      </p:ext>
    </p:extLst>
  </p:cSld>
  <p:clrMap bg1="lt1" tx1="dk1" bg2="lt2" tx2="dk2" accent1="accent1" accent2="accent2" accent3="accent3" accent4="accent4" accent5="accent5" accent6="accent6" hlink="hlink" folHlink="folHlink"/>
  <p:sldLayoutIdLst>
    <p:sldLayoutId id="2147488303" r:id="rId1"/>
    <p:sldLayoutId id="2147488304" r:id="rId2"/>
    <p:sldLayoutId id="2147488305" r:id="rId3"/>
    <p:sldLayoutId id="2147488306" r:id="rId4"/>
    <p:sldLayoutId id="2147488307" r:id="rId5"/>
    <p:sldLayoutId id="2147488308" r:id="rId6"/>
    <p:sldLayoutId id="2147488309" r:id="rId7"/>
    <p:sldLayoutId id="2147488310" r:id="rId8"/>
    <p:sldLayoutId id="2147488311" r:id="rId9"/>
    <p:sldLayoutId id="2147488312" r:id="rId10"/>
    <p:sldLayoutId id="2147488313" r:id="rId11"/>
    <p:sldLayoutId id="2147488314" r:id="rId12"/>
    <p:sldLayoutId id="2147488315" r:id="rId13"/>
    <p:sldLayoutId id="2147488316" r:id="rId14"/>
    <p:sldLayoutId id="2147488317" r:id="rId15"/>
    <p:sldLayoutId id="2147488318" r:id="rId16"/>
    <p:sldLayoutId id="2147488319" r:id="rId17"/>
    <p:sldLayoutId id="2147488320" r:id="rId18"/>
    <p:sldLayoutId id="2147488321" r:id="rId19"/>
    <p:sldLayoutId id="2147488322" r:id="rId20"/>
    <p:sldLayoutId id="2147488323" r:id="rId21"/>
    <p:sldLayoutId id="2147488324" r:id="rId22"/>
    <p:sldLayoutId id="2147488325" r:id="rId23"/>
    <p:sldLayoutId id="2147488326" r:id="rId24"/>
    <p:sldLayoutId id="2147488327" r:id="rId25"/>
    <p:sldLayoutId id="2147488328" r:id="rId26"/>
    <p:sldLayoutId id="2147488329" r:id="rId27"/>
    <p:sldLayoutId id="2147488330" r:id="rId28"/>
    <p:sldLayoutId id="2147488331" r:id="rId29"/>
    <p:sldLayoutId id="2147488332" r:id="rId30"/>
    <p:sldLayoutId id="2147488333" r:id="rId31"/>
    <p:sldLayoutId id="2147488334" r:id="rId32"/>
    <p:sldLayoutId id="2147488335" r:id="rId33"/>
    <p:sldLayoutId id="2147488336" r:id="rId34"/>
    <p:sldLayoutId id="2147488337" r:id="rId35"/>
    <p:sldLayoutId id="2147488338" r:id="rId36"/>
    <p:sldLayoutId id="2147488339" r:id="rId37"/>
    <p:sldLayoutId id="2147488340" r:id="rId38"/>
    <p:sldLayoutId id="2147488341" r:id="rId39"/>
    <p:sldLayoutId id="2147488342" r:id="rId40"/>
    <p:sldLayoutId id="2147488343" r:id="rId41"/>
    <p:sldLayoutId id="2147488344" r:id="rId42"/>
    <p:sldLayoutId id="2147488345" r:id="rId43"/>
    <p:sldLayoutId id="2147488346" r:id="rId44"/>
    <p:sldLayoutId id="2147488347" r:id="rId45"/>
    <p:sldLayoutId id="2147488348" r:id="rId46"/>
    <p:sldLayoutId id="2147488349" r:id="rId47"/>
    <p:sldLayoutId id="2147488350" r:id="rId48"/>
    <p:sldLayoutId id="2147488351" r:id="rId49"/>
    <p:sldLayoutId id="2147488352" r:id="rId50"/>
    <p:sldLayoutId id="2147488353" r:id="rId51"/>
    <p:sldLayoutId id="2147488354" r:id="rId52"/>
    <p:sldLayoutId id="2147488355" r:id="rId53"/>
    <p:sldLayoutId id="2147488356" r:id="rId54"/>
    <p:sldLayoutId id="2147488357" r:id="rId55"/>
    <p:sldLayoutId id="2147488358" r:id="rId56"/>
    <p:sldLayoutId id="2147488359" r:id="rId57"/>
    <p:sldLayoutId id="2147488360" r:id="rId58"/>
    <p:sldLayoutId id="2147488361" r:id="rId59"/>
    <p:sldLayoutId id="2147488362" r:id="rId60"/>
    <p:sldLayoutId id="2147488363" r:id="rId61"/>
    <p:sldLayoutId id="2147488364" r:id="rId62"/>
    <p:sldLayoutId id="2147488365" r:id="rId63"/>
    <p:sldLayoutId id="2147488366" r:id="rId64"/>
    <p:sldLayoutId id="2147488367" r:id="rId65"/>
    <p:sldLayoutId id="2147488368" r:id="rId66"/>
    <p:sldLayoutId id="2147488369" r:id="rId67"/>
    <p:sldLayoutId id="2147488370" r:id="rId68"/>
    <p:sldLayoutId id="2147488371" r:id="rId69"/>
    <p:sldLayoutId id="2147488372" r:id="rId70"/>
    <p:sldLayoutId id="2147488373" r:id="rId71"/>
    <p:sldLayoutId id="2147488374" r:id="rId72"/>
    <p:sldLayoutId id="2147488375" r:id="rId73"/>
    <p:sldLayoutId id="2147488376" r:id="rId74"/>
    <p:sldLayoutId id="2147488377" r:id="rId75"/>
    <p:sldLayoutId id="2147488378" r:id="rId76"/>
    <p:sldLayoutId id="2147488379" r:id="rId77"/>
    <p:sldLayoutId id="2147488380" r:id="rId78"/>
    <p:sldLayoutId id="2147488381" r:id="rId79"/>
    <p:sldLayoutId id="2147488382" r:id="rId80"/>
    <p:sldLayoutId id="2147488383" r:id="rId81"/>
    <p:sldLayoutId id="2147488384" r:id="rId82"/>
    <p:sldLayoutId id="2147488385" r:id="rId83"/>
    <p:sldLayoutId id="2147488386" r:id="rId84"/>
    <p:sldLayoutId id="2147488387" r:id="rId85"/>
    <p:sldLayoutId id="2147488388" r:id="rId86"/>
    <p:sldLayoutId id="2147488389" r:id="rId87"/>
    <p:sldLayoutId id="2147488390" r:id="rId88"/>
    <p:sldLayoutId id="2147488391" r:id="rId89"/>
    <p:sldLayoutId id="2147488392" r:id="rId90"/>
    <p:sldLayoutId id="2147488393" r:id="rId91"/>
    <p:sldLayoutId id="2147488394" r:id="rId92"/>
    <p:sldLayoutId id="2147488395" r:id="rId93"/>
    <p:sldLayoutId id="2147488396" r:id="rId94"/>
    <p:sldLayoutId id="2147488397" r:id="rId95"/>
    <p:sldLayoutId id="2147488398" r:id="rId96"/>
    <p:sldLayoutId id="2147488399" r:id="rId97"/>
    <p:sldLayoutId id="2147488400" r:id="rId98"/>
    <p:sldLayoutId id="2147488401" r:id="rId99"/>
    <p:sldLayoutId id="2147488402" r:id="rId100"/>
    <p:sldLayoutId id="2147488403" r:id="rId101"/>
    <p:sldLayoutId id="2147488404" r:id="rId102"/>
    <p:sldLayoutId id="2147488405" r:id="rId103"/>
    <p:sldLayoutId id="2147488406" r:id="rId104"/>
    <p:sldLayoutId id="2147488407" r:id="rId105"/>
    <p:sldLayoutId id="2147488408" r:id="rId106"/>
    <p:sldLayoutId id="2147488409" r:id="rId107"/>
    <p:sldLayoutId id="2147488410" r:id="rId108"/>
    <p:sldLayoutId id="2147488411" r:id="rId109"/>
    <p:sldLayoutId id="2147488412" r:id="rId110"/>
    <p:sldLayoutId id="2147488413" r:id="rId111"/>
    <p:sldLayoutId id="2147488414" r:id="rId112"/>
    <p:sldLayoutId id="2147488415" r:id="rId113"/>
    <p:sldLayoutId id="2147488416" r:id="rId114"/>
    <p:sldLayoutId id="2147488417" r:id="rId115"/>
    <p:sldLayoutId id="2147488418" r:id="rId116"/>
    <p:sldLayoutId id="2147488419" r:id="rId117"/>
    <p:sldLayoutId id="2147488420" r:id="rId118"/>
    <p:sldLayoutId id="2147488421" r:id="rId119"/>
    <p:sldLayoutId id="2147488422" r:id="rId120"/>
    <p:sldLayoutId id="2147488423" r:id="rId121"/>
    <p:sldLayoutId id="2147488424" r:id="rId122"/>
    <p:sldLayoutId id="2147488425" r:id="rId123"/>
    <p:sldLayoutId id="2147488426" r:id="rId124"/>
    <p:sldLayoutId id="2147488427" r:id="rId125"/>
    <p:sldLayoutId id="2147488428" r:id="rId126"/>
    <p:sldLayoutId id="2147488429" r:id="rId127"/>
    <p:sldLayoutId id="2147488430" r:id="rId128"/>
    <p:sldLayoutId id="2147488431" r:id="rId129"/>
    <p:sldLayoutId id="2147488432" r:id="rId130"/>
    <p:sldLayoutId id="2147488433" r:id="rId131"/>
    <p:sldLayoutId id="2147488434" r:id="rId132"/>
    <p:sldLayoutId id="2147488435" r:id="rId133"/>
    <p:sldLayoutId id="2147488436" r:id="rId134"/>
    <p:sldLayoutId id="2147488437" r:id="rId135"/>
    <p:sldLayoutId id="2147488438" r:id="rId136"/>
    <p:sldLayoutId id="2147488439" r:id="rId137"/>
    <p:sldLayoutId id="2147488440" r:id="rId138"/>
    <p:sldLayoutId id="2147488441" r:id="rId139"/>
    <p:sldLayoutId id="2147488442" r:id="rId140"/>
    <p:sldLayoutId id="2147488443" r:id="rId141"/>
    <p:sldLayoutId id="2147488444" r:id="rId142"/>
    <p:sldLayoutId id="2147488445" r:id="rId143"/>
    <p:sldLayoutId id="2147488446" r:id="rId144"/>
    <p:sldLayoutId id="2147488447" r:id="rId145"/>
    <p:sldLayoutId id="2147488448" r:id="rId146"/>
    <p:sldLayoutId id="2147488449" r:id="rId147"/>
    <p:sldLayoutId id="2147488450" r:id="rId148"/>
    <p:sldLayoutId id="2147488451" r:id="rId149"/>
    <p:sldLayoutId id="2147488452" r:id="rId150"/>
    <p:sldLayoutId id="2147488453" r:id="rId151"/>
    <p:sldLayoutId id="2147488454" r:id="rId152"/>
    <p:sldLayoutId id="2147488455" r:id="rId153"/>
    <p:sldLayoutId id="2147488456" r:id="rId154"/>
    <p:sldLayoutId id="2147488457" r:id="rId155"/>
    <p:sldLayoutId id="2147488458" r:id="rId156"/>
    <p:sldLayoutId id="2147488459" r:id="rId157"/>
    <p:sldLayoutId id="2147488460" r:id="rId158"/>
    <p:sldLayoutId id="2147488461" r:id="rId159"/>
    <p:sldLayoutId id="2147488462" r:id="rId160"/>
    <p:sldLayoutId id="2147488463" r:id="rId161"/>
    <p:sldLayoutId id="2147488464" r:id="rId162"/>
    <p:sldLayoutId id="2147488465" r:id="rId163"/>
    <p:sldLayoutId id="2147488466" r:id="rId164"/>
    <p:sldLayoutId id="2147488467" r:id="rId165"/>
    <p:sldLayoutId id="2147488468" r:id="rId166"/>
    <p:sldLayoutId id="2147488469" r:id="rId167"/>
    <p:sldLayoutId id="2147488470" r:id="rId168"/>
    <p:sldLayoutId id="2147488471" r:id="rId169"/>
    <p:sldLayoutId id="2147488472" r:id="rId170"/>
    <p:sldLayoutId id="2147488473" r:id="rId171"/>
    <p:sldLayoutId id="2147488474" r:id="rId172"/>
    <p:sldLayoutId id="2147488475" r:id="rId173"/>
    <p:sldLayoutId id="2147488476" r:id="rId174"/>
    <p:sldLayoutId id="2147488477" r:id="rId175"/>
    <p:sldLayoutId id="2147488478" r:id="rId176"/>
    <p:sldLayoutId id="2147488479" r:id="rId177"/>
    <p:sldLayoutId id="2147488480" r:id="rId178"/>
    <p:sldLayoutId id="2147488481" r:id="rId179"/>
    <p:sldLayoutId id="2147488482" r:id="rId180"/>
    <p:sldLayoutId id="2147488483" r:id="rId181"/>
    <p:sldLayoutId id="2147488484" r:id="rId182"/>
    <p:sldLayoutId id="2147488485" r:id="rId183"/>
    <p:sldLayoutId id="2147488486" r:id="rId184"/>
    <p:sldLayoutId id="2147488487" r:id="rId185"/>
    <p:sldLayoutId id="2147488488" r:id="rId186"/>
    <p:sldLayoutId id="2147488489" r:id="rId187"/>
    <p:sldLayoutId id="2147488490" r:id="rId188"/>
    <p:sldLayoutId id="2147488491" r:id="rId189"/>
    <p:sldLayoutId id="2147488492" r:id="rId190"/>
    <p:sldLayoutId id="2147488493" r:id="rId191"/>
    <p:sldLayoutId id="2147488494" r:id="rId192"/>
    <p:sldLayoutId id="2147488495" r:id="rId193"/>
    <p:sldLayoutId id="2147488496" r:id="rId194"/>
    <p:sldLayoutId id="2147488497" r:id="rId195"/>
    <p:sldLayoutId id="2147488498" r:id="rId196"/>
    <p:sldLayoutId id="2147488499" r:id="rId197"/>
    <p:sldLayoutId id="2147488500" r:id="rId198"/>
    <p:sldLayoutId id="2147488501" r:id="rId199"/>
    <p:sldLayoutId id="2147488502" r:id="rId200"/>
    <p:sldLayoutId id="2147488503" r:id="rId201"/>
    <p:sldLayoutId id="2147488504" r:id="rId202"/>
    <p:sldLayoutId id="2147488505" r:id="rId203"/>
    <p:sldLayoutId id="2147488506" r:id="rId204"/>
    <p:sldLayoutId id="2147488507" r:id="rId205"/>
    <p:sldLayoutId id="2147488508" r:id="rId206"/>
    <p:sldLayoutId id="2147488509" r:id="rId207"/>
    <p:sldLayoutId id="2147488510" r:id="rId208"/>
    <p:sldLayoutId id="2147488511" r:id="rId209"/>
    <p:sldLayoutId id="2147488512" r:id="rId210"/>
    <p:sldLayoutId id="2147488513" r:id="rId2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12001955"/>
      </p:ext>
    </p:extLst>
  </p:cSld>
  <p:clrMap bg1="lt1" tx1="dk1" bg2="lt2" tx2="dk2" accent1="accent1" accent2="accent2" accent3="accent3" accent4="accent4" accent5="accent5" accent6="accent6" hlink="hlink" folHlink="folHlink"/>
  <p:sldLayoutIdLst>
    <p:sldLayoutId id="2147488515" r:id="rId1"/>
    <p:sldLayoutId id="2147488516" r:id="rId2"/>
    <p:sldLayoutId id="2147488517" r:id="rId3"/>
    <p:sldLayoutId id="2147488518" r:id="rId4"/>
    <p:sldLayoutId id="2147488519" r:id="rId5"/>
    <p:sldLayoutId id="2147488520" r:id="rId6"/>
    <p:sldLayoutId id="2147488521" r:id="rId7"/>
    <p:sldLayoutId id="2147488522" r:id="rId8"/>
    <p:sldLayoutId id="2147488523" r:id="rId9"/>
    <p:sldLayoutId id="2147488524" r:id="rId10"/>
    <p:sldLayoutId id="2147488525" r:id="rId11"/>
    <p:sldLayoutId id="2147488526" r:id="rId12"/>
    <p:sldLayoutId id="2147488527" r:id="rId13"/>
    <p:sldLayoutId id="2147488528" r:id="rId14"/>
    <p:sldLayoutId id="2147488529" r:id="rId15"/>
    <p:sldLayoutId id="2147488530" r:id="rId16"/>
    <p:sldLayoutId id="2147488531" r:id="rId17"/>
    <p:sldLayoutId id="2147488532" r:id="rId18"/>
    <p:sldLayoutId id="2147488533" r:id="rId19"/>
    <p:sldLayoutId id="2147488534" r:id="rId20"/>
    <p:sldLayoutId id="2147488535" r:id="rId21"/>
    <p:sldLayoutId id="2147488536" r:id="rId22"/>
    <p:sldLayoutId id="2147488537" r:id="rId23"/>
    <p:sldLayoutId id="2147488538" r:id="rId24"/>
    <p:sldLayoutId id="2147488539" r:id="rId25"/>
    <p:sldLayoutId id="2147488540" r:id="rId26"/>
    <p:sldLayoutId id="2147488541" r:id="rId27"/>
    <p:sldLayoutId id="2147488542" r:id="rId28"/>
    <p:sldLayoutId id="2147488543" r:id="rId29"/>
    <p:sldLayoutId id="2147488544" r:id="rId30"/>
    <p:sldLayoutId id="2147488545" r:id="rId31"/>
    <p:sldLayoutId id="2147488546" r:id="rId32"/>
    <p:sldLayoutId id="2147488547" r:id="rId33"/>
    <p:sldLayoutId id="2147488548" r:id="rId34"/>
    <p:sldLayoutId id="2147488549" r:id="rId35"/>
    <p:sldLayoutId id="2147488550" r:id="rId36"/>
    <p:sldLayoutId id="2147488551" r:id="rId37"/>
    <p:sldLayoutId id="2147488552" r:id="rId38"/>
    <p:sldLayoutId id="2147488553" r:id="rId39"/>
    <p:sldLayoutId id="2147488554" r:id="rId40"/>
    <p:sldLayoutId id="2147488555" r:id="rId41"/>
    <p:sldLayoutId id="2147488556" r:id="rId42"/>
    <p:sldLayoutId id="2147488557" r:id="rId43"/>
    <p:sldLayoutId id="2147488558" r:id="rId44"/>
    <p:sldLayoutId id="2147488559" r:id="rId45"/>
    <p:sldLayoutId id="2147488560" r:id="rId46"/>
    <p:sldLayoutId id="2147488561" r:id="rId47"/>
    <p:sldLayoutId id="2147488562" r:id="rId48"/>
    <p:sldLayoutId id="2147488563" r:id="rId49"/>
    <p:sldLayoutId id="2147488564" r:id="rId50"/>
    <p:sldLayoutId id="2147488565" r:id="rId51"/>
    <p:sldLayoutId id="2147488566" r:id="rId52"/>
    <p:sldLayoutId id="2147488567" r:id="rId53"/>
    <p:sldLayoutId id="2147488568" r:id="rId54"/>
    <p:sldLayoutId id="2147488569" r:id="rId55"/>
    <p:sldLayoutId id="2147488570" r:id="rId56"/>
    <p:sldLayoutId id="2147488571" r:id="rId57"/>
    <p:sldLayoutId id="2147488572" r:id="rId58"/>
    <p:sldLayoutId id="2147488573" r:id="rId59"/>
    <p:sldLayoutId id="2147488574" r:id="rId60"/>
    <p:sldLayoutId id="2147488575" r:id="rId61"/>
    <p:sldLayoutId id="2147488576" r:id="rId62"/>
    <p:sldLayoutId id="2147488577" r:id="rId63"/>
    <p:sldLayoutId id="2147488578" r:id="rId64"/>
    <p:sldLayoutId id="2147488579" r:id="rId65"/>
    <p:sldLayoutId id="2147488580" r:id="rId66"/>
    <p:sldLayoutId id="2147488581" r:id="rId67"/>
    <p:sldLayoutId id="2147488582" r:id="rId68"/>
    <p:sldLayoutId id="2147488583" r:id="rId69"/>
    <p:sldLayoutId id="2147488584" r:id="rId70"/>
    <p:sldLayoutId id="2147488585" r:id="rId71"/>
    <p:sldLayoutId id="2147488586" r:id="rId72"/>
    <p:sldLayoutId id="2147488587" r:id="rId73"/>
    <p:sldLayoutId id="2147488588" r:id="rId74"/>
    <p:sldLayoutId id="2147488589" r:id="rId75"/>
    <p:sldLayoutId id="2147488590" r:id="rId76"/>
    <p:sldLayoutId id="2147488591" r:id="rId77"/>
    <p:sldLayoutId id="2147488592" r:id="rId78"/>
    <p:sldLayoutId id="2147488593" r:id="rId79"/>
    <p:sldLayoutId id="2147488594" r:id="rId80"/>
    <p:sldLayoutId id="2147488595" r:id="rId81"/>
    <p:sldLayoutId id="2147488596" r:id="rId82"/>
    <p:sldLayoutId id="2147488597" r:id="rId83"/>
    <p:sldLayoutId id="2147488598" r:id="rId84"/>
    <p:sldLayoutId id="2147488599" r:id="rId85"/>
    <p:sldLayoutId id="2147488600" r:id="rId86"/>
    <p:sldLayoutId id="2147488601" r:id="rId87"/>
    <p:sldLayoutId id="2147488602" r:id="rId88"/>
    <p:sldLayoutId id="2147488603" r:id="rId89"/>
    <p:sldLayoutId id="2147488604" r:id="rId90"/>
    <p:sldLayoutId id="2147488605" r:id="rId91"/>
    <p:sldLayoutId id="2147488606" r:id="rId92"/>
    <p:sldLayoutId id="2147488607" r:id="rId93"/>
    <p:sldLayoutId id="2147488608" r:id="rId94"/>
    <p:sldLayoutId id="2147488609" r:id="rId95"/>
    <p:sldLayoutId id="2147488610" r:id="rId96"/>
    <p:sldLayoutId id="2147488611" r:id="rId97"/>
    <p:sldLayoutId id="2147488612" r:id="rId98"/>
    <p:sldLayoutId id="2147488613" r:id="rId99"/>
    <p:sldLayoutId id="2147488614" r:id="rId100"/>
    <p:sldLayoutId id="2147488615" r:id="rId101"/>
    <p:sldLayoutId id="2147488616" r:id="rId102"/>
    <p:sldLayoutId id="2147488617" r:id="rId103"/>
    <p:sldLayoutId id="2147488618" r:id="rId104"/>
    <p:sldLayoutId id="2147488619" r:id="rId105"/>
    <p:sldLayoutId id="2147488620" r:id="rId106"/>
    <p:sldLayoutId id="2147488621" r:id="rId107"/>
    <p:sldLayoutId id="2147488622" r:id="rId108"/>
    <p:sldLayoutId id="2147488623" r:id="rId109"/>
    <p:sldLayoutId id="2147488624" r:id="rId110"/>
    <p:sldLayoutId id="2147488625" r:id="rId111"/>
    <p:sldLayoutId id="2147488626" r:id="rId112"/>
    <p:sldLayoutId id="2147488627" r:id="rId113"/>
    <p:sldLayoutId id="2147488628" r:id="rId114"/>
    <p:sldLayoutId id="2147488629" r:id="rId115"/>
    <p:sldLayoutId id="2147488630" r:id="rId116"/>
    <p:sldLayoutId id="2147488631" r:id="rId117"/>
    <p:sldLayoutId id="2147488632" r:id="rId118"/>
    <p:sldLayoutId id="2147488633" r:id="rId119"/>
    <p:sldLayoutId id="2147488634" r:id="rId120"/>
    <p:sldLayoutId id="2147488635" r:id="rId121"/>
    <p:sldLayoutId id="2147488636" r:id="rId122"/>
    <p:sldLayoutId id="2147488637" r:id="rId123"/>
    <p:sldLayoutId id="2147488638" r:id="rId124"/>
    <p:sldLayoutId id="2147488639" r:id="rId125"/>
    <p:sldLayoutId id="2147488640" r:id="rId126"/>
    <p:sldLayoutId id="2147488641" r:id="rId127"/>
    <p:sldLayoutId id="2147488642" r:id="rId128"/>
    <p:sldLayoutId id="2147488643" r:id="rId129"/>
    <p:sldLayoutId id="2147488644" r:id="rId130"/>
    <p:sldLayoutId id="2147488645" r:id="rId131"/>
    <p:sldLayoutId id="2147488646" r:id="rId132"/>
    <p:sldLayoutId id="2147488647" r:id="rId133"/>
    <p:sldLayoutId id="2147488648" r:id="rId134"/>
    <p:sldLayoutId id="2147488649" r:id="rId135"/>
    <p:sldLayoutId id="2147488650" r:id="rId136"/>
    <p:sldLayoutId id="2147488651" r:id="rId137"/>
    <p:sldLayoutId id="2147488652" r:id="rId138"/>
    <p:sldLayoutId id="2147488653" r:id="rId139"/>
    <p:sldLayoutId id="2147488654" r:id="rId140"/>
    <p:sldLayoutId id="2147488655" r:id="rId141"/>
    <p:sldLayoutId id="2147488656" r:id="rId142"/>
    <p:sldLayoutId id="2147488657" r:id="rId143"/>
    <p:sldLayoutId id="2147488658" r:id="rId144"/>
    <p:sldLayoutId id="2147488659" r:id="rId145"/>
    <p:sldLayoutId id="2147488660" r:id="rId146"/>
    <p:sldLayoutId id="2147488661" r:id="rId147"/>
    <p:sldLayoutId id="2147488662" r:id="rId148"/>
    <p:sldLayoutId id="2147488663" r:id="rId149"/>
    <p:sldLayoutId id="2147488664" r:id="rId150"/>
    <p:sldLayoutId id="2147488665" r:id="rId151"/>
    <p:sldLayoutId id="2147488666" r:id="rId152"/>
    <p:sldLayoutId id="2147488667" r:id="rId153"/>
    <p:sldLayoutId id="2147488668" r:id="rId154"/>
    <p:sldLayoutId id="2147488669" r:id="rId155"/>
    <p:sldLayoutId id="2147488670" r:id="rId156"/>
    <p:sldLayoutId id="2147488671" r:id="rId157"/>
    <p:sldLayoutId id="2147488672" r:id="rId158"/>
    <p:sldLayoutId id="2147488673" r:id="rId159"/>
    <p:sldLayoutId id="2147488674" r:id="rId160"/>
    <p:sldLayoutId id="2147488675" r:id="rId161"/>
    <p:sldLayoutId id="2147488676" r:id="rId162"/>
    <p:sldLayoutId id="2147488677" r:id="rId163"/>
    <p:sldLayoutId id="2147488678" r:id="rId164"/>
    <p:sldLayoutId id="2147488679" r:id="rId165"/>
    <p:sldLayoutId id="2147488680" r:id="rId166"/>
    <p:sldLayoutId id="2147488681" r:id="rId167"/>
    <p:sldLayoutId id="2147488682" r:id="rId168"/>
    <p:sldLayoutId id="2147488683" r:id="rId169"/>
    <p:sldLayoutId id="2147488684" r:id="rId170"/>
    <p:sldLayoutId id="2147488685" r:id="rId171"/>
    <p:sldLayoutId id="2147488686" r:id="rId172"/>
    <p:sldLayoutId id="2147488687" r:id="rId173"/>
    <p:sldLayoutId id="2147488688" r:id="rId174"/>
    <p:sldLayoutId id="2147488689" r:id="rId175"/>
    <p:sldLayoutId id="2147488690" r:id="rId176"/>
    <p:sldLayoutId id="2147488691" r:id="rId177"/>
    <p:sldLayoutId id="2147488692" r:id="rId178"/>
    <p:sldLayoutId id="2147488693" r:id="rId179"/>
    <p:sldLayoutId id="2147488694" r:id="rId180"/>
    <p:sldLayoutId id="2147488695" r:id="rId181"/>
    <p:sldLayoutId id="2147488696" r:id="rId182"/>
    <p:sldLayoutId id="2147488697" r:id="rId183"/>
    <p:sldLayoutId id="2147488698" r:id="rId184"/>
    <p:sldLayoutId id="2147488699" r:id="rId185"/>
    <p:sldLayoutId id="2147488700" r:id="rId186"/>
    <p:sldLayoutId id="2147488701" r:id="rId187"/>
    <p:sldLayoutId id="2147488702" r:id="rId188"/>
    <p:sldLayoutId id="2147488703" r:id="rId189"/>
    <p:sldLayoutId id="2147488704" r:id="rId190"/>
    <p:sldLayoutId id="2147488705" r:id="rId191"/>
    <p:sldLayoutId id="2147488706" r:id="rId192"/>
    <p:sldLayoutId id="2147488707" r:id="rId193"/>
    <p:sldLayoutId id="2147488708" r:id="rId194"/>
    <p:sldLayoutId id="2147488709" r:id="rId195"/>
    <p:sldLayoutId id="2147488710" r:id="rId196"/>
    <p:sldLayoutId id="2147488711" r:id="rId197"/>
    <p:sldLayoutId id="2147488712" r:id="rId198"/>
    <p:sldLayoutId id="2147488713" r:id="rId199"/>
    <p:sldLayoutId id="2147488714" r:id="rId200"/>
    <p:sldLayoutId id="2147488715" r:id="rId201"/>
    <p:sldLayoutId id="2147488716" r:id="rId202"/>
    <p:sldLayoutId id="2147488717" r:id="rId203"/>
    <p:sldLayoutId id="2147488718" r:id="rId204"/>
    <p:sldLayoutId id="2147488719" r:id="rId205"/>
    <p:sldLayoutId id="2147488720" r:id="rId206"/>
    <p:sldLayoutId id="2147488721" r:id="rId207"/>
    <p:sldLayoutId id="2147488722" r:id="rId208"/>
    <p:sldLayoutId id="2147488723" r:id="rId209"/>
    <p:sldLayoutId id="2147488724" r:id="rId210"/>
    <p:sldLayoutId id="2147488725" r:id="rId211"/>
    <p:sldLayoutId id="2147488726" r:id="rId2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006318488"/>
      </p:ext>
    </p:extLst>
  </p:cSld>
  <p:clrMap bg1="lt1" tx1="dk1" bg2="lt2" tx2="dk2" accent1="accent1" accent2="accent2" accent3="accent3" accent4="accent4" accent5="accent5" accent6="accent6" hlink="hlink" folHlink="folHlink"/>
  <p:sldLayoutIdLst>
    <p:sldLayoutId id="2147488728" r:id="rId1"/>
    <p:sldLayoutId id="2147488729" r:id="rId2"/>
    <p:sldLayoutId id="2147488730" r:id="rId3"/>
    <p:sldLayoutId id="2147488731" r:id="rId4"/>
    <p:sldLayoutId id="2147488732" r:id="rId5"/>
    <p:sldLayoutId id="2147488733" r:id="rId6"/>
    <p:sldLayoutId id="2147488734" r:id="rId7"/>
    <p:sldLayoutId id="2147488735" r:id="rId8"/>
    <p:sldLayoutId id="2147488736" r:id="rId9"/>
    <p:sldLayoutId id="2147488737" r:id="rId10"/>
    <p:sldLayoutId id="2147488738" r:id="rId11"/>
    <p:sldLayoutId id="2147488739" r:id="rId12"/>
    <p:sldLayoutId id="2147488740" r:id="rId13"/>
    <p:sldLayoutId id="2147488741" r:id="rId14"/>
    <p:sldLayoutId id="2147488742" r:id="rId15"/>
    <p:sldLayoutId id="2147488743" r:id="rId16"/>
    <p:sldLayoutId id="2147488744" r:id="rId17"/>
    <p:sldLayoutId id="2147488745" r:id="rId18"/>
    <p:sldLayoutId id="2147488746" r:id="rId19"/>
    <p:sldLayoutId id="2147488747" r:id="rId20"/>
    <p:sldLayoutId id="2147488748" r:id="rId21"/>
    <p:sldLayoutId id="2147488749" r:id="rId22"/>
    <p:sldLayoutId id="2147488750" r:id="rId23"/>
    <p:sldLayoutId id="2147488751" r:id="rId24"/>
    <p:sldLayoutId id="2147488752" r:id="rId25"/>
    <p:sldLayoutId id="2147488753" r:id="rId26"/>
    <p:sldLayoutId id="2147488754" r:id="rId27"/>
    <p:sldLayoutId id="2147488755" r:id="rId28"/>
    <p:sldLayoutId id="2147488756" r:id="rId29"/>
    <p:sldLayoutId id="2147488757" r:id="rId30"/>
    <p:sldLayoutId id="2147488758" r:id="rId31"/>
    <p:sldLayoutId id="2147488759" r:id="rId32"/>
    <p:sldLayoutId id="2147488760" r:id="rId33"/>
    <p:sldLayoutId id="2147488761" r:id="rId34"/>
    <p:sldLayoutId id="2147488762" r:id="rId35"/>
    <p:sldLayoutId id="2147488763" r:id="rId36"/>
    <p:sldLayoutId id="2147488764" r:id="rId37"/>
    <p:sldLayoutId id="2147488765" r:id="rId38"/>
    <p:sldLayoutId id="2147488766" r:id="rId39"/>
    <p:sldLayoutId id="2147488767" r:id="rId40"/>
    <p:sldLayoutId id="2147488768" r:id="rId41"/>
    <p:sldLayoutId id="2147488769" r:id="rId42"/>
    <p:sldLayoutId id="2147488770" r:id="rId43"/>
    <p:sldLayoutId id="2147488771" r:id="rId44"/>
    <p:sldLayoutId id="2147488772" r:id="rId45"/>
    <p:sldLayoutId id="2147488773" r:id="rId46"/>
    <p:sldLayoutId id="2147488774" r:id="rId47"/>
    <p:sldLayoutId id="2147488775" r:id="rId48"/>
    <p:sldLayoutId id="2147488776" r:id="rId49"/>
    <p:sldLayoutId id="2147488777" r:id="rId50"/>
    <p:sldLayoutId id="2147488778" r:id="rId51"/>
    <p:sldLayoutId id="2147488779" r:id="rId52"/>
    <p:sldLayoutId id="2147488780" r:id="rId53"/>
    <p:sldLayoutId id="2147488781" r:id="rId54"/>
    <p:sldLayoutId id="2147488782" r:id="rId55"/>
    <p:sldLayoutId id="2147488783" r:id="rId56"/>
    <p:sldLayoutId id="2147488784" r:id="rId57"/>
    <p:sldLayoutId id="2147488785" r:id="rId58"/>
    <p:sldLayoutId id="2147488786" r:id="rId59"/>
    <p:sldLayoutId id="2147488787" r:id="rId60"/>
    <p:sldLayoutId id="2147488788" r:id="rId61"/>
    <p:sldLayoutId id="2147488789" r:id="rId62"/>
    <p:sldLayoutId id="2147488790" r:id="rId63"/>
    <p:sldLayoutId id="2147488791" r:id="rId64"/>
    <p:sldLayoutId id="2147488792" r:id="rId65"/>
    <p:sldLayoutId id="2147488793" r:id="rId66"/>
    <p:sldLayoutId id="2147488794" r:id="rId67"/>
    <p:sldLayoutId id="2147488795" r:id="rId68"/>
    <p:sldLayoutId id="2147488796" r:id="rId69"/>
    <p:sldLayoutId id="2147488797" r:id="rId70"/>
    <p:sldLayoutId id="2147488798" r:id="rId71"/>
    <p:sldLayoutId id="2147488799" r:id="rId72"/>
    <p:sldLayoutId id="2147488800" r:id="rId73"/>
    <p:sldLayoutId id="2147488801" r:id="rId74"/>
    <p:sldLayoutId id="2147488802" r:id="rId75"/>
    <p:sldLayoutId id="2147488803" r:id="rId76"/>
    <p:sldLayoutId id="2147488804" r:id="rId77"/>
    <p:sldLayoutId id="2147488805" r:id="rId78"/>
    <p:sldLayoutId id="2147488806" r:id="rId79"/>
    <p:sldLayoutId id="2147488807" r:id="rId80"/>
    <p:sldLayoutId id="2147488808" r:id="rId81"/>
    <p:sldLayoutId id="2147488809" r:id="rId82"/>
    <p:sldLayoutId id="2147488810" r:id="rId83"/>
    <p:sldLayoutId id="2147488811" r:id="rId84"/>
    <p:sldLayoutId id="2147488812" r:id="rId85"/>
    <p:sldLayoutId id="2147488813" r:id="rId86"/>
    <p:sldLayoutId id="2147488814" r:id="rId87"/>
    <p:sldLayoutId id="2147488815" r:id="rId88"/>
    <p:sldLayoutId id="2147488816" r:id="rId89"/>
    <p:sldLayoutId id="2147488817" r:id="rId90"/>
    <p:sldLayoutId id="2147488818" r:id="rId91"/>
    <p:sldLayoutId id="2147488819" r:id="rId92"/>
    <p:sldLayoutId id="2147488820" r:id="rId93"/>
    <p:sldLayoutId id="2147488821" r:id="rId94"/>
    <p:sldLayoutId id="2147488822" r:id="rId95"/>
    <p:sldLayoutId id="2147488823" r:id="rId96"/>
    <p:sldLayoutId id="2147488824" r:id="rId97"/>
    <p:sldLayoutId id="2147488825" r:id="rId98"/>
    <p:sldLayoutId id="2147488826" r:id="rId99"/>
    <p:sldLayoutId id="2147488827" r:id="rId100"/>
    <p:sldLayoutId id="2147488828" r:id="rId101"/>
    <p:sldLayoutId id="2147488829" r:id="rId102"/>
    <p:sldLayoutId id="2147488830" r:id="rId103"/>
    <p:sldLayoutId id="2147488831" r:id="rId104"/>
    <p:sldLayoutId id="2147488832" r:id="rId105"/>
    <p:sldLayoutId id="2147488833" r:id="rId106"/>
    <p:sldLayoutId id="2147488834" r:id="rId107"/>
    <p:sldLayoutId id="2147488835" r:id="rId108"/>
    <p:sldLayoutId id="2147488836" r:id="rId109"/>
    <p:sldLayoutId id="2147488837" r:id="rId110"/>
    <p:sldLayoutId id="2147488838" r:id="rId111"/>
    <p:sldLayoutId id="2147488839" r:id="rId112"/>
    <p:sldLayoutId id="2147488840" r:id="rId113"/>
    <p:sldLayoutId id="2147488841" r:id="rId114"/>
    <p:sldLayoutId id="2147488842" r:id="rId115"/>
    <p:sldLayoutId id="2147488843" r:id="rId116"/>
    <p:sldLayoutId id="2147488844" r:id="rId117"/>
    <p:sldLayoutId id="2147488845" r:id="rId118"/>
    <p:sldLayoutId id="2147488846" r:id="rId119"/>
    <p:sldLayoutId id="2147488847" r:id="rId120"/>
    <p:sldLayoutId id="2147488848" r:id="rId121"/>
    <p:sldLayoutId id="2147488849" r:id="rId122"/>
    <p:sldLayoutId id="2147488850" r:id="rId123"/>
    <p:sldLayoutId id="2147488851" r:id="rId124"/>
    <p:sldLayoutId id="2147488852" r:id="rId125"/>
    <p:sldLayoutId id="2147488853" r:id="rId126"/>
    <p:sldLayoutId id="2147488854" r:id="rId127"/>
    <p:sldLayoutId id="2147488855" r:id="rId128"/>
    <p:sldLayoutId id="2147488856" r:id="rId129"/>
    <p:sldLayoutId id="2147488857" r:id="rId130"/>
    <p:sldLayoutId id="2147488858" r:id="rId131"/>
    <p:sldLayoutId id="2147488859" r:id="rId132"/>
    <p:sldLayoutId id="2147488860" r:id="rId1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90500" indent="-190500"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98463"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69913" indent="-163513"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tabLst/>
        <a:defRPr lang="en-US" sz="1600" kern="1200" dirty="0" smtClean="0">
          <a:solidFill>
            <a:schemeClr val="tx1"/>
          </a:solidFill>
          <a:latin typeface="+mn-lt"/>
          <a:ea typeface="+mn-ea"/>
          <a:cs typeface="+mn-cs"/>
        </a:defRPr>
      </a:lvl3pPr>
      <a:lvl4pPr marL="742950" indent="-163513"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478972605"/>
      </p:ext>
    </p:extLst>
  </p:cSld>
  <p:clrMap bg1="lt1" tx1="dk1" bg2="lt2" tx2="dk2" accent1="accent1" accent2="accent2" accent3="accent3" accent4="accent4" accent5="accent5" accent6="accent6" hlink="hlink" folHlink="folHlink"/>
  <p:sldLayoutIdLst>
    <p:sldLayoutId id="2147485957" r:id="rId1"/>
    <p:sldLayoutId id="2147485958" r:id="rId2"/>
    <p:sldLayoutId id="2147485959" r:id="rId3"/>
    <p:sldLayoutId id="2147485960" r:id="rId4"/>
    <p:sldLayoutId id="2147485961" r:id="rId5"/>
    <p:sldLayoutId id="2147485962" r:id="rId6"/>
    <p:sldLayoutId id="2147485963" r:id="rId7"/>
    <p:sldLayoutId id="2147485964" r:id="rId8"/>
    <p:sldLayoutId id="2147485965" r:id="rId9"/>
    <p:sldLayoutId id="2147485966" r:id="rId10"/>
    <p:sldLayoutId id="2147485967" r:id="rId11"/>
    <p:sldLayoutId id="2147485968" r:id="rId12"/>
    <p:sldLayoutId id="2147485969" r:id="rId13"/>
    <p:sldLayoutId id="2147485970" r:id="rId14"/>
    <p:sldLayoutId id="2147485971" r:id="rId15"/>
    <p:sldLayoutId id="2147485972" r:id="rId16"/>
    <p:sldLayoutId id="2147485973" r:id="rId17"/>
    <p:sldLayoutId id="2147485974" r:id="rId18"/>
    <p:sldLayoutId id="2147485975" r:id="rId19"/>
    <p:sldLayoutId id="2147485976" r:id="rId20"/>
    <p:sldLayoutId id="2147485977" r:id="rId21"/>
    <p:sldLayoutId id="2147485978" r:id="rId22"/>
    <p:sldLayoutId id="2147485979" r:id="rId23"/>
    <p:sldLayoutId id="2147485980" r:id="rId24"/>
    <p:sldLayoutId id="2147485981" r:id="rId25"/>
    <p:sldLayoutId id="2147485982" r:id="rId26"/>
    <p:sldLayoutId id="2147485983" r:id="rId27"/>
    <p:sldLayoutId id="2147485984" r:id="rId28"/>
    <p:sldLayoutId id="2147485985" r:id="rId29"/>
    <p:sldLayoutId id="2147485986" r:id="rId30"/>
    <p:sldLayoutId id="2147485987" r:id="rId31"/>
    <p:sldLayoutId id="2147485988" r:id="rId32"/>
    <p:sldLayoutId id="2147485989" r:id="rId33"/>
    <p:sldLayoutId id="2147485990" r:id="rId34"/>
    <p:sldLayoutId id="2147485991" r:id="rId35"/>
    <p:sldLayoutId id="2147485992" r:id="rId36"/>
    <p:sldLayoutId id="2147485993" r:id="rId37"/>
    <p:sldLayoutId id="2147485994" r:id="rId38"/>
    <p:sldLayoutId id="2147485995" r:id="rId39"/>
    <p:sldLayoutId id="2147485996" r:id="rId40"/>
    <p:sldLayoutId id="2147485997" r:id="rId41"/>
    <p:sldLayoutId id="2147485998" r:id="rId42"/>
    <p:sldLayoutId id="2147485999" r:id="rId43"/>
    <p:sldLayoutId id="2147486000" r:id="rId44"/>
    <p:sldLayoutId id="2147486001" r:id="rId45"/>
    <p:sldLayoutId id="2147486002" r:id="rId46"/>
    <p:sldLayoutId id="2147486003" r:id="rId47"/>
    <p:sldLayoutId id="2147486004" r:id="rId48"/>
    <p:sldLayoutId id="2147486005" r:id="rId49"/>
    <p:sldLayoutId id="2147486006" r:id="rId50"/>
    <p:sldLayoutId id="2147486007" r:id="rId51"/>
    <p:sldLayoutId id="2147486008" r:id="rId52"/>
    <p:sldLayoutId id="2147486009" r:id="rId53"/>
    <p:sldLayoutId id="2147486010" r:id="rId54"/>
    <p:sldLayoutId id="2147486011" r:id="rId55"/>
    <p:sldLayoutId id="2147486012" r:id="rId56"/>
    <p:sldLayoutId id="2147486013" r:id="rId57"/>
    <p:sldLayoutId id="2147486014" r:id="rId58"/>
    <p:sldLayoutId id="2147486015" r:id="rId59"/>
    <p:sldLayoutId id="2147486016" r:id="rId60"/>
    <p:sldLayoutId id="2147486017" r:id="rId61"/>
    <p:sldLayoutId id="2147486018" r:id="rId62"/>
    <p:sldLayoutId id="2147486019" r:id="rId63"/>
    <p:sldLayoutId id="2147486020" r:id="rId64"/>
    <p:sldLayoutId id="2147486021" r:id="rId65"/>
    <p:sldLayoutId id="2147486022" r:id="rId66"/>
    <p:sldLayoutId id="2147486023" r:id="rId67"/>
    <p:sldLayoutId id="2147486024" r:id="rId68"/>
    <p:sldLayoutId id="2147486025" r:id="rId69"/>
    <p:sldLayoutId id="2147486026" r:id="rId70"/>
    <p:sldLayoutId id="2147486027" r:id="rId71"/>
    <p:sldLayoutId id="2147486028" r:id="rId72"/>
    <p:sldLayoutId id="2147486029" r:id="rId73"/>
    <p:sldLayoutId id="2147486030" r:id="rId74"/>
    <p:sldLayoutId id="2147486031" r:id="rId75"/>
    <p:sldLayoutId id="2147486032" r:id="rId76"/>
    <p:sldLayoutId id="2147486033" r:id="rId77"/>
    <p:sldLayoutId id="2147486034" r:id="rId78"/>
    <p:sldLayoutId id="2147486035" r:id="rId79"/>
    <p:sldLayoutId id="2147486036" r:id="rId80"/>
    <p:sldLayoutId id="2147486037" r:id="rId81"/>
    <p:sldLayoutId id="2147486038" r:id="rId82"/>
    <p:sldLayoutId id="2147486039" r:id="rId83"/>
    <p:sldLayoutId id="2147486040" r:id="rId84"/>
    <p:sldLayoutId id="2147486041" r:id="rId85"/>
    <p:sldLayoutId id="2147486042" r:id="rId86"/>
    <p:sldLayoutId id="2147486043" r:id="rId87"/>
    <p:sldLayoutId id="2147486044" r:id="rId88"/>
    <p:sldLayoutId id="2147486045" r:id="rId89"/>
    <p:sldLayoutId id="2147486046" r:id="rId90"/>
    <p:sldLayoutId id="2147486047" r:id="rId91"/>
    <p:sldLayoutId id="2147486048" r:id="rId92"/>
    <p:sldLayoutId id="2147486049" r:id="rId93"/>
    <p:sldLayoutId id="2147486050" r:id="rId94"/>
    <p:sldLayoutId id="2147486051" r:id="rId95"/>
    <p:sldLayoutId id="2147486052" r:id="rId96"/>
    <p:sldLayoutId id="2147486053" r:id="rId97"/>
    <p:sldLayoutId id="2147486054" r:id="rId9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None/>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482159839"/>
      </p:ext>
    </p:extLst>
  </p:cSld>
  <p:clrMap bg1="lt1" tx1="dk1" bg2="lt2" tx2="dk2" accent1="accent1" accent2="accent2" accent3="accent3" accent4="accent4" accent5="accent5" accent6="accent6" hlink="hlink" folHlink="folHlink"/>
  <p:sldLayoutIdLst>
    <p:sldLayoutId id="2147486551" r:id="rId1"/>
    <p:sldLayoutId id="2147486552" r:id="rId2"/>
    <p:sldLayoutId id="2147486553" r:id="rId3"/>
    <p:sldLayoutId id="2147486554" r:id="rId4"/>
    <p:sldLayoutId id="2147486555" r:id="rId5"/>
    <p:sldLayoutId id="2147486556" r:id="rId6"/>
    <p:sldLayoutId id="2147486557" r:id="rId7"/>
    <p:sldLayoutId id="2147486558" r:id="rId8"/>
    <p:sldLayoutId id="2147486559" r:id="rId9"/>
    <p:sldLayoutId id="2147486560" r:id="rId10"/>
    <p:sldLayoutId id="2147486561" r:id="rId11"/>
    <p:sldLayoutId id="2147486562" r:id="rId12"/>
    <p:sldLayoutId id="2147486563" r:id="rId13"/>
    <p:sldLayoutId id="2147486564" r:id="rId14"/>
    <p:sldLayoutId id="2147486565" r:id="rId15"/>
    <p:sldLayoutId id="2147486566" r:id="rId16"/>
    <p:sldLayoutId id="2147486567" r:id="rId17"/>
    <p:sldLayoutId id="2147486568" r:id="rId18"/>
    <p:sldLayoutId id="2147486569" r:id="rId19"/>
    <p:sldLayoutId id="2147486570" r:id="rId20"/>
    <p:sldLayoutId id="2147486571" r:id="rId21"/>
    <p:sldLayoutId id="2147486572" r:id="rId22"/>
    <p:sldLayoutId id="2147486573" r:id="rId23"/>
    <p:sldLayoutId id="2147486574" r:id="rId24"/>
    <p:sldLayoutId id="2147486575" r:id="rId25"/>
    <p:sldLayoutId id="2147486576" r:id="rId26"/>
    <p:sldLayoutId id="2147486577" r:id="rId27"/>
    <p:sldLayoutId id="2147486578" r:id="rId28"/>
    <p:sldLayoutId id="2147486579" r:id="rId29"/>
    <p:sldLayoutId id="2147486580" r:id="rId30"/>
    <p:sldLayoutId id="2147486581" r:id="rId31"/>
    <p:sldLayoutId id="2147486582" r:id="rId32"/>
    <p:sldLayoutId id="2147486583" r:id="rId33"/>
    <p:sldLayoutId id="2147486584" r:id="rId34"/>
    <p:sldLayoutId id="2147486585" r:id="rId35"/>
    <p:sldLayoutId id="2147486586" r:id="rId36"/>
    <p:sldLayoutId id="2147486587" r:id="rId37"/>
    <p:sldLayoutId id="2147486588" r:id="rId38"/>
    <p:sldLayoutId id="2147486589" r:id="rId39"/>
    <p:sldLayoutId id="2147486590" r:id="rId40"/>
    <p:sldLayoutId id="2147486591" r:id="rId41"/>
    <p:sldLayoutId id="2147486592" r:id="rId42"/>
    <p:sldLayoutId id="2147486593" r:id="rId43"/>
    <p:sldLayoutId id="2147486594" r:id="rId44"/>
    <p:sldLayoutId id="2147486595" r:id="rId45"/>
    <p:sldLayoutId id="2147486596" r:id="rId46"/>
    <p:sldLayoutId id="2147486597" r:id="rId47"/>
    <p:sldLayoutId id="2147486598" r:id="rId48"/>
    <p:sldLayoutId id="2147486599" r:id="rId49"/>
    <p:sldLayoutId id="2147486600" r:id="rId50"/>
    <p:sldLayoutId id="2147486601" r:id="rId51"/>
    <p:sldLayoutId id="2147486602" r:id="rId52"/>
    <p:sldLayoutId id="2147486603" r:id="rId53"/>
    <p:sldLayoutId id="2147486604" r:id="rId54"/>
    <p:sldLayoutId id="2147486605" r:id="rId55"/>
    <p:sldLayoutId id="2147486606" r:id="rId56"/>
    <p:sldLayoutId id="2147486607" r:id="rId57"/>
    <p:sldLayoutId id="2147486608" r:id="rId58"/>
    <p:sldLayoutId id="2147486609" r:id="rId59"/>
    <p:sldLayoutId id="2147486610" r:id="rId60"/>
    <p:sldLayoutId id="2147486611" r:id="rId61"/>
    <p:sldLayoutId id="2147486612" r:id="rId62"/>
    <p:sldLayoutId id="2147486613" r:id="rId63"/>
    <p:sldLayoutId id="2147486614" r:id="rId64"/>
    <p:sldLayoutId id="2147486615" r:id="rId65"/>
    <p:sldLayoutId id="2147486616" r:id="rId66"/>
    <p:sldLayoutId id="2147486617" r:id="rId67"/>
    <p:sldLayoutId id="2147486618" r:id="rId68"/>
    <p:sldLayoutId id="2147486619" r:id="rId69"/>
    <p:sldLayoutId id="2147486620" r:id="rId70"/>
    <p:sldLayoutId id="2147486621" r:id="rId71"/>
    <p:sldLayoutId id="2147486622" r:id="rId72"/>
    <p:sldLayoutId id="2147486623" r:id="rId73"/>
    <p:sldLayoutId id="2147486624" r:id="rId74"/>
    <p:sldLayoutId id="2147486625" r:id="rId75"/>
    <p:sldLayoutId id="2147486626" r:id="rId76"/>
    <p:sldLayoutId id="2147486627" r:id="rId77"/>
    <p:sldLayoutId id="2147486628" r:id="rId78"/>
    <p:sldLayoutId id="2147486629" r:id="rId79"/>
    <p:sldLayoutId id="2147486630" r:id="rId80"/>
    <p:sldLayoutId id="2147486631" r:id="rId81"/>
    <p:sldLayoutId id="2147486632" r:id="rId82"/>
    <p:sldLayoutId id="2147486633" r:id="rId83"/>
    <p:sldLayoutId id="2147486634" r:id="rId84"/>
    <p:sldLayoutId id="2147486635" r:id="rId85"/>
    <p:sldLayoutId id="2147486639" r:id="rId86"/>
    <p:sldLayoutId id="2147486640" r:id="rId87"/>
    <p:sldLayoutId id="2147487288" r:id="rId88"/>
    <p:sldLayoutId id="2147488204" r:id="rId8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575576"/>
            <a:ext cx="11201400" cy="429028"/>
          </a:xfrm>
          <a:prstGeom prst="rect">
            <a:avLst/>
          </a:prstGeom>
        </p:spPr>
        <p:txBody>
          <a:bodyPr vert="horz" wrap="square" lIns="0" tIns="0" rIns="0" bIns="0" rtlCol="0" anchor="b">
            <a:noAutofit/>
          </a:bodyPr>
          <a:lstStyle/>
          <a:p>
            <a:r>
              <a:rPr lang="en-US"/>
              <a:t>Click to edit Master title style</a:t>
            </a:r>
          </a:p>
        </p:txBody>
      </p:sp>
      <p:sp>
        <p:nvSpPr>
          <p:cNvPr id="12" name="Text Placeholder 11"/>
          <p:cNvSpPr>
            <a:spLocks noGrp="1"/>
          </p:cNvSpPr>
          <p:nvPr>
            <p:ph type="body" idx="1"/>
          </p:nvPr>
        </p:nvSpPr>
        <p:spPr>
          <a:xfrm>
            <a:off x="495300" y="1719071"/>
            <a:ext cx="11201400" cy="468172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8" name="TextBox 97"/>
          <p:cNvSpPr txBox="1"/>
          <p:nvPr userDrawn="1"/>
        </p:nvSpPr>
        <p:spPr>
          <a:xfrm>
            <a:off x="11571666" y="6498186"/>
            <a:ext cx="125034" cy="15388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2003200247"/>
      </p:ext>
    </p:extLst>
  </p:cSld>
  <p:clrMap bg1="lt1" tx1="dk1" bg2="lt2" tx2="dk2" accent1="accent1" accent2="accent2" accent3="accent3" accent4="accent4" accent5="accent5" accent6="accent6" hlink="hlink" folHlink="folHlink"/>
  <p:sldLayoutIdLst>
    <p:sldLayoutId id="2147486754" r:id="rId1"/>
    <p:sldLayoutId id="2147486755" r:id="rId2"/>
    <p:sldLayoutId id="2147486756" r:id="rId3"/>
    <p:sldLayoutId id="2147486757" r:id="rId4"/>
    <p:sldLayoutId id="2147486758" r:id="rId5"/>
    <p:sldLayoutId id="2147486759" r:id="rId6"/>
    <p:sldLayoutId id="2147486760" r:id="rId7"/>
    <p:sldLayoutId id="2147486761" r:id="rId8"/>
    <p:sldLayoutId id="2147486762" r:id="rId9"/>
    <p:sldLayoutId id="2147486763" r:id="rId10"/>
    <p:sldLayoutId id="2147486764" r:id="rId11"/>
    <p:sldLayoutId id="2147486765" r:id="rId12"/>
    <p:sldLayoutId id="2147486766" r:id="rId13"/>
    <p:sldLayoutId id="2147486767" r:id="rId14"/>
    <p:sldLayoutId id="2147486768" r:id="rId15"/>
    <p:sldLayoutId id="2147486769" r:id="rId16"/>
    <p:sldLayoutId id="2147486770" r:id="rId17"/>
    <p:sldLayoutId id="2147486771" r:id="rId18"/>
    <p:sldLayoutId id="2147486772" r:id="rId19"/>
    <p:sldLayoutId id="2147486773" r:id="rId20"/>
    <p:sldLayoutId id="2147486774" r:id="rId21"/>
    <p:sldLayoutId id="2147486775" r:id="rId22"/>
    <p:sldLayoutId id="2147486776" r:id="rId23"/>
    <p:sldLayoutId id="2147486777" r:id="rId24"/>
    <p:sldLayoutId id="2147486778" r:id="rId25"/>
    <p:sldLayoutId id="2147486779" r:id="rId26"/>
    <p:sldLayoutId id="2147486780" r:id="rId27"/>
    <p:sldLayoutId id="2147486781" r:id="rId28"/>
    <p:sldLayoutId id="2147486782" r:id="rId29"/>
    <p:sldLayoutId id="2147486783" r:id="rId30"/>
    <p:sldLayoutId id="2147486784" r:id="rId31"/>
    <p:sldLayoutId id="2147486785" r:id="rId32"/>
    <p:sldLayoutId id="2147486786" r:id="rId33"/>
    <p:sldLayoutId id="2147486787" r:id="rId34"/>
    <p:sldLayoutId id="2147486788" r:id="rId35"/>
    <p:sldLayoutId id="2147486789" r:id="rId36"/>
    <p:sldLayoutId id="2147486790" r:id="rId37"/>
    <p:sldLayoutId id="2147486791" r:id="rId38"/>
    <p:sldLayoutId id="2147486792" r:id="rId39"/>
    <p:sldLayoutId id="2147486793" r:id="rId40"/>
    <p:sldLayoutId id="2147486794" r:id="rId41"/>
    <p:sldLayoutId id="2147486795" r:id="rId42"/>
    <p:sldLayoutId id="2147486796" r:id="rId43"/>
    <p:sldLayoutId id="2147486797" r:id="rId44"/>
    <p:sldLayoutId id="2147486798" r:id="rId45"/>
    <p:sldLayoutId id="2147486799" r:id="rId46"/>
    <p:sldLayoutId id="2147486800" r:id="rId47"/>
    <p:sldLayoutId id="2147486801" r:id="rId48"/>
    <p:sldLayoutId id="2147486802"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4266456821"/>
      </p:ext>
    </p:extLst>
  </p:cSld>
  <p:clrMap bg1="lt1" tx1="dk1" bg2="lt2" tx2="dk2" accent1="accent1" accent2="accent2" accent3="accent3" accent4="accent4" accent5="accent5" accent6="accent6" hlink="hlink" folHlink="folHlink"/>
  <p:sldLayoutIdLst>
    <p:sldLayoutId id="2147487021" r:id="rId1"/>
    <p:sldLayoutId id="2147487022" r:id="rId2"/>
    <p:sldLayoutId id="2147487023" r:id="rId3"/>
    <p:sldLayoutId id="2147487024" r:id="rId4"/>
    <p:sldLayoutId id="2147487025" r:id="rId5"/>
    <p:sldLayoutId id="2147487026" r:id="rId6"/>
    <p:sldLayoutId id="2147487027" r:id="rId7"/>
    <p:sldLayoutId id="2147487028" r:id="rId8"/>
    <p:sldLayoutId id="2147487029" r:id="rId9"/>
    <p:sldLayoutId id="2147487030" r:id="rId10"/>
    <p:sldLayoutId id="2147487031" r:id="rId11"/>
    <p:sldLayoutId id="2147487032" r:id="rId12"/>
    <p:sldLayoutId id="2147487033" r:id="rId13"/>
    <p:sldLayoutId id="2147487034" r:id="rId14"/>
    <p:sldLayoutId id="2147487035" r:id="rId15"/>
    <p:sldLayoutId id="2147487036" r:id="rId16"/>
    <p:sldLayoutId id="2147487037" r:id="rId17"/>
    <p:sldLayoutId id="2147487038" r:id="rId18"/>
    <p:sldLayoutId id="2147487039" r:id="rId19"/>
    <p:sldLayoutId id="2147487040" r:id="rId20"/>
    <p:sldLayoutId id="2147487041" r:id="rId21"/>
    <p:sldLayoutId id="2147487042" r:id="rId22"/>
    <p:sldLayoutId id="2147487043" r:id="rId23"/>
    <p:sldLayoutId id="2147487044" r:id="rId24"/>
    <p:sldLayoutId id="2147487045" r:id="rId25"/>
    <p:sldLayoutId id="2147487046" r:id="rId26"/>
    <p:sldLayoutId id="2147487047" r:id="rId27"/>
    <p:sldLayoutId id="2147487048" r:id="rId28"/>
    <p:sldLayoutId id="2147487049" r:id="rId29"/>
    <p:sldLayoutId id="2147487050" r:id="rId30"/>
    <p:sldLayoutId id="2147487051" r:id="rId31"/>
    <p:sldLayoutId id="2147487052" r:id="rId32"/>
    <p:sldLayoutId id="2147487053" r:id="rId33"/>
    <p:sldLayoutId id="2147487054" r:id="rId34"/>
    <p:sldLayoutId id="2147487055" r:id="rId35"/>
    <p:sldLayoutId id="2147487056" r:id="rId36"/>
    <p:sldLayoutId id="2147487057" r:id="rId37"/>
    <p:sldLayoutId id="2147487058" r:id="rId38"/>
    <p:sldLayoutId id="2147487059" r:id="rId39"/>
    <p:sldLayoutId id="2147487060" r:id="rId40"/>
    <p:sldLayoutId id="2147487061" r:id="rId41"/>
    <p:sldLayoutId id="2147487062" r:id="rId42"/>
    <p:sldLayoutId id="214748706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233868645"/>
      </p:ext>
    </p:extLst>
  </p:cSld>
  <p:clrMap bg1="lt1" tx1="dk1" bg2="lt2" tx2="dk2" accent1="accent1" accent2="accent2" accent3="accent3" accent4="accent4" accent5="accent5" accent6="accent6" hlink="hlink" folHlink="folHlink"/>
  <p:sldLayoutIdLst>
    <p:sldLayoutId id="2147487179" r:id="rId1"/>
    <p:sldLayoutId id="2147487180" r:id="rId2"/>
    <p:sldLayoutId id="2147487181" r:id="rId3"/>
    <p:sldLayoutId id="2147487182" r:id="rId4"/>
    <p:sldLayoutId id="2147487183" r:id="rId5"/>
    <p:sldLayoutId id="2147487184" r:id="rId6"/>
    <p:sldLayoutId id="2147487185" r:id="rId7"/>
    <p:sldLayoutId id="2147487186" r:id="rId8"/>
    <p:sldLayoutId id="2147487187" r:id="rId9"/>
    <p:sldLayoutId id="2147487188" r:id="rId10"/>
    <p:sldLayoutId id="2147487189" r:id="rId11"/>
    <p:sldLayoutId id="2147487190" r:id="rId12"/>
    <p:sldLayoutId id="2147487191" r:id="rId13"/>
    <p:sldLayoutId id="2147487192" r:id="rId14"/>
    <p:sldLayoutId id="2147487193" r:id="rId15"/>
    <p:sldLayoutId id="2147487194" r:id="rId16"/>
    <p:sldLayoutId id="2147487195" r:id="rId17"/>
    <p:sldLayoutId id="2147487196" r:id="rId18"/>
    <p:sldLayoutId id="2147487197" r:id="rId19"/>
    <p:sldLayoutId id="2147487198" r:id="rId20"/>
    <p:sldLayoutId id="2147487199" r:id="rId21"/>
    <p:sldLayoutId id="2147487200" r:id="rId22"/>
    <p:sldLayoutId id="2147487201" r:id="rId23"/>
    <p:sldLayoutId id="2147487202" r:id="rId24"/>
    <p:sldLayoutId id="2147487203" r:id="rId25"/>
    <p:sldLayoutId id="2147487204" r:id="rId26"/>
    <p:sldLayoutId id="2147487205" r:id="rId27"/>
    <p:sldLayoutId id="2147487206" r:id="rId28"/>
    <p:sldLayoutId id="2147487207" r:id="rId29"/>
    <p:sldLayoutId id="2147487208" r:id="rId30"/>
    <p:sldLayoutId id="2147487209" r:id="rId31"/>
    <p:sldLayoutId id="2147487210" r:id="rId32"/>
    <p:sldLayoutId id="2147487211" r:id="rId33"/>
    <p:sldLayoutId id="2147487212" r:id="rId34"/>
    <p:sldLayoutId id="2147487213" r:id="rId35"/>
    <p:sldLayoutId id="2147487214" r:id="rId36"/>
    <p:sldLayoutId id="2147487215" r:id="rId37"/>
    <p:sldLayoutId id="2147487216" r:id="rId38"/>
    <p:sldLayoutId id="2147487217" r:id="rId39"/>
    <p:sldLayoutId id="2147487218" r:id="rId40"/>
    <p:sldLayoutId id="2147487219" r:id="rId41"/>
    <p:sldLayoutId id="2147487220" r:id="rId42"/>
    <p:sldLayoutId id="2147487221" r:id="rId43"/>
    <p:sldLayoutId id="2147487222" r:id="rId44"/>
    <p:sldLayoutId id="2147487223" r:id="rId45"/>
    <p:sldLayoutId id="2147487224" r:id="rId46"/>
    <p:sldLayoutId id="2147487225" r:id="rId47"/>
    <p:sldLayoutId id="2147487226" r:id="rId48"/>
    <p:sldLayoutId id="2147487227" r:id="rId49"/>
    <p:sldLayoutId id="2147487228" r:id="rId50"/>
    <p:sldLayoutId id="2147487229" r:id="rId51"/>
    <p:sldLayoutId id="2147487230" r:id="rId52"/>
    <p:sldLayoutId id="2147487231" r:id="rId53"/>
    <p:sldLayoutId id="2147487232" r:id="rId54"/>
    <p:sldLayoutId id="2147487233" r:id="rId55"/>
    <p:sldLayoutId id="2147487234" r:id="rId56"/>
    <p:sldLayoutId id="2147487235" r:id="rId57"/>
    <p:sldLayoutId id="2147487236" r:id="rId58"/>
    <p:sldLayoutId id="2147487237" r:id="rId59"/>
    <p:sldLayoutId id="2147487238" r:id="rId60"/>
    <p:sldLayoutId id="2147487239" r:id="rId61"/>
    <p:sldLayoutId id="2147487240" r:id="rId62"/>
    <p:sldLayoutId id="2147487241" r:id="rId63"/>
    <p:sldLayoutId id="2147487242" r:id="rId64"/>
    <p:sldLayoutId id="2147487243" r:id="rId65"/>
    <p:sldLayoutId id="2147487244" r:id="rId66"/>
    <p:sldLayoutId id="2147487245" r:id="rId67"/>
    <p:sldLayoutId id="2147487246" r:id="rId68"/>
    <p:sldLayoutId id="2147487247" r:id="rId69"/>
    <p:sldLayoutId id="2147487248" r:id="rId70"/>
    <p:sldLayoutId id="2147487249" r:id="rId71"/>
    <p:sldLayoutId id="2147487250" r:id="rId72"/>
    <p:sldLayoutId id="2147487251" r:id="rId73"/>
    <p:sldLayoutId id="2147487252" r:id="rId74"/>
    <p:sldLayoutId id="2147487253" r:id="rId75"/>
    <p:sldLayoutId id="2147487254" r:id="rId76"/>
    <p:sldLayoutId id="2147487255" r:id="rId77"/>
    <p:sldLayoutId id="2147487256" r:id="rId78"/>
    <p:sldLayoutId id="2147487257" r:id="rId79"/>
    <p:sldLayoutId id="2147487258" r:id="rId80"/>
    <p:sldLayoutId id="2147487259" r:id="rId81"/>
    <p:sldLayoutId id="2147487260" r:id="rId82"/>
    <p:sldLayoutId id="2147487261" r:id="rId83"/>
    <p:sldLayoutId id="2147487262" r:id="rId84"/>
    <p:sldLayoutId id="2147487264" r:id="rId85"/>
    <p:sldLayoutId id="2147487266" r:id="rId86"/>
    <p:sldLayoutId id="2147487267" r:id="rId8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IBC 2023</a:t>
            </a:r>
          </a:p>
        </p:txBody>
      </p:sp>
    </p:spTree>
    <p:extLst>
      <p:ext uri="{BB962C8B-B14F-4D97-AF65-F5344CB8AC3E}">
        <p14:creationId xmlns:p14="http://schemas.microsoft.com/office/powerpoint/2010/main" val="3479264877"/>
      </p:ext>
    </p:extLst>
  </p:cSld>
  <p:clrMap bg1="lt1" tx1="dk1" bg2="lt2" tx2="dk2" accent1="accent1" accent2="accent2" accent3="accent3" accent4="accent4" accent5="accent5" accent6="accent6" hlink="hlink" folHlink="folHlink"/>
  <p:sldLayoutIdLst>
    <p:sldLayoutId id="2147487475" r:id="rId1"/>
    <p:sldLayoutId id="2147487476" r:id="rId2"/>
    <p:sldLayoutId id="2147487477" r:id="rId3"/>
    <p:sldLayoutId id="2147487478" r:id="rId4"/>
    <p:sldLayoutId id="2147487479" r:id="rId5"/>
    <p:sldLayoutId id="2147487480" r:id="rId6"/>
    <p:sldLayoutId id="2147487481" r:id="rId7"/>
    <p:sldLayoutId id="2147487482" r:id="rId8"/>
    <p:sldLayoutId id="2147487483" r:id="rId9"/>
    <p:sldLayoutId id="2147487484" r:id="rId10"/>
    <p:sldLayoutId id="2147487485" r:id="rId11"/>
    <p:sldLayoutId id="2147487486" r:id="rId12"/>
    <p:sldLayoutId id="2147487487" r:id="rId13"/>
    <p:sldLayoutId id="2147487488" r:id="rId14"/>
    <p:sldLayoutId id="2147487489" r:id="rId15"/>
    <p:sldLayoutId id="2147487490" r:id="rId16"/>
    <p:sldLayoutId id="2147487491" r:id="rId17"/>
    <p:sldLayoutId id="2147487492" r:id="rId18"/>
    <p:sldLayoutId id="2147487493" r:id="rId19"/>
    <p:sldLayoutId id="2147487494" r:id="rId20"/>
    <p:sldLayoutId id="2147487495" r:id="rId21"/>
    <p:sldLayoutId id="2147487496" r:id="rId22"/>
    <p:sldLayoutId id="2147487497" r:id="rId23"/>
    <p:sldLayoutId id="2147487498" r:id="rId24"/>
    <p:sldLayoutId id="2147487499" r:id="rId25"/>
    <p:sldLayoutId id="2147487500" r:id="rId26"/>
    <p:sldLayoutId id="2147487501" r:id="rId27"/>
    <p:sldLayoutId id="2147487502" r:id="rId28"/>
    <p:sldLayoutId id="2147487503" r:id="rId29"/>
    <p:sldLayoutId id="2147487504" r:id="rId30"/>
    <p:sldLayoutId id="2147487505" r:id="rId31"/>
    <p:sldLayoutId id="2147487506" r:id="rId32"/>
    <p:sldLayoutId id="2147487507" r:id="rId33"/>
    <p:sldLayoutId id="2147487508" r:id="rId34"/>
    <p:sldLayoutId id="2147487509" r:id="rId35"/>
    <p:sldLayoutId id="2147487510" r:id="rId36"/>
    <p:sldLayoutId id="2147487511" r:id="rId37"/>
    <p:sldLayoutId id="2147487512" r:id="rId38"/>
    <p:sldLayoutId id="2147487513" r:id="rId39"/>
    <p:sldLayoutId id="2147487514" r:id="rId40"/>
    <p:sldLayoutId id="2147487515" r:id="rId41"/>
    <p:sldLayoutId id="2147487516" r:id="rId42"/>
    <p:sldLayoutId id="2147487517" r:id="rId43"/>
    <p:sldLayoutId id="2147487518" r:id="rId44"/>
    <p:sldLayoutId id="2147487519" r:id="rId45"/>
    <p:sldLayoutId id="2147487520" r:id="rId46"/>
    <p:sldLayoutId id="2147487521" r:id="rId47"/>
    <p:sldLayoutId id="2147487522" r:id="rId48"/>
    <p:sldLayoutId id="2147487523" r:id="rId49"/>
    <p:sldLayoutId id="2147487524" r:id="rId50"/>
    <p:sldLayoutId id="2147487525" r:id="rId51"/>
    <p:sldLayoutId id="2147487526" r:id="rId52"/>
    <p:sldLayoutId id="2147487527" r:id="rId53"/>
    <p:sldLayoutId id="2147487528" r:id="rId54"/>
    <p:sldLayoutId id="2147487529" r:id="rId55"/>
    <p:sldLayoutId id="2147487530" r:id="rId56"/>
    <p:sldLayoutId id="2147487531" r:id="rId57"/>
    <p:sldLayoutId id="2147487532" r:id="rId58"/>
    <p:sldLayoutId id="2147487533" r:id="rId59"/>
    <p:sldLayoutId id="2147487534" r:id="rId60"/>
    <p:sldLayoutId id="2147487535" r:id="rId61"/>
    <p:sldLayoutId id="2147487536" r:id="rId62"/>
    <p:sldLayoutId id="2147487537" r:id="rId63"/>
    <p:sldLayoutId id="2147487538" r:id="rId64"/>
    <p:sldLayoutId id="2147487539" r:id="rId65"/>
    <p:sldLayoutId id="2147487540" r:id="rId66"/>
    <p:sldLayoutId id="2147487541" r:id="rId67"/>
    <p:sldLayoutId id="2147487542" r:id="rId68"/>
    <p:sldLayoutId id="2147487543" r:id="rId69"/>
    <p:sldLayoutId id="2147487544" r:id="rId70"/>
    <p:sldLayoutId id="2147487545" r:id="rId71"/>
    <p:sldLayoutId id="2147487546" r:id="rId72"/>
    <p:sldLayoutId id="2147487547" r:id="rId73"/>
    <p:sldLayoutId id="2147487548" r:id="rId74"/>
    <p:sldLayoutId id="2147487549" r:id="rId75"/>
    <p:sldLayoutId id="2147487550" r:id="rId76"/>
    <p:sldLayoutId id="2147487551" r:id="rId77"/>
    <p:sldLayoutId id="2147487552" r:id="rId78"/>
    <p:sldLayoutId id="2147487553" r:id="rId79"/>
    <p:sldLayoutId id="2147487554" r:id="rId80"/>
    <p:sldLayoutId id="2147487555" r:id="rId81"/>
    <p:sldLayoutId id="2147487556" r:id="rId8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IBC 2023</a:t>
            </a:r>
          </a:p>
        </p:txBody>
      </p:sp>
    </p:spTree>
    <p:extLst>
      <p:ext uri="{BB962C8B-B14F-4D97-AF65-F5344CB8AC3E}">
        <p14:creationId xmlns:p14="http://schemas.microsoft.com/office/powerpoint/2010/main" val="2217652565"/>
      </p:ext>
    </p:extLst>
  </p:cSld>
  <p:clrMap bg1="lt1" tx1="dk1" bg2="lt2" tx2="dk2" accent1="accent1" accent2="accent2" accent3="accent3" accent4="accent4" accent5="accent5" accent6="accent6" hlink="hlink" folHlink="folHlink"/>
  <p:sldLayoutIdLst>
    <p:sldLayoutId id="2147487558" r:id="rId1"/>
    <p:sldLayoutId id="2147487559" r:id="rId2"/>
    <p:sldLayoutId id="2147487560" r:id="rId3"/>
    <p:sldLayoutId id="2147487561" r:id="rId4"/>
    <p:sldLayoutId id="2147487562" r:id="rId5"/>
    <p:sldLayoutId id="2147487563" r:id="rId6"/>
    <p:sldLayoutId id="2147487564" r:id="rId7"/>
    <p:sldLayoutId id="2147487565" r:id="rId8"/>
    <p:sldLayoutId id="2147487566" r:id="rId9"/>
    <p:sldLayoutId id="2147487567" r:id="rId10"/>
    <p:sldLayoutId id="2147487568" r:id="rId11"/>
    <p:sldLayoutId id="2147487569" r:id="rId12"/>
    <p:sldLayoutId id="2147487570" r:id="rId13"/>
    <p:sldLayoutId id="2147487571" r:id="rId14"/>
    <p:sldLayoutId id="2147487572" r:id="rId15"/>
    <p:sldLayoutId id="2147487573" r:id="rId16"/>
    <p:sldLayoutId id="2147487574" r:id="rId17"/>
    <p:sldLayoutId id="2147487575" r:id="rId18"/>
    <p:sldLayoutId id="2147487576" r:id="rId19"/>
    <p:sldLayoutId id="2147487577" r:id="rId20"/>
    <p:sldLayoutId id="2147487578" r:id="rId21"/>
    <p:sldLayoutId id="2147487579" r:id="rId22"/>
    <p:sldLayoutId id="2147487580" r:id="rId23"/>
    <p:sldLayoutId id="2147487581" r:id="rId24"/>
    <p:sldLayoutId id="2147487582" r:id="rId25"/>
    <p:sldLayoutId id="2147487583" r:id="rId26"/>
    <p:sldLayoutId id="2147487584" r:id="rId27"/>
    <p:sldLayoutId id="2147487585" r:id="rId28"/>
    <p:sldLayoutId id="2147487586" r:id="rId29"/>
    <p:sldLayoutId id="2147487587" r:id="rId30"/>
    <p:sldLayoutId id="2147487588" r:id="rId31"/>
    <p:sldLayoutId id="2147487589" r:id="rId32"/>
    <p:sldLayoutId id="2147487590" r:id="rId33"/>
    <p:sldLayoutId id="2147487591" r:id="rId34"/>
    <p:sldLayoutId id="2147487592" r:id="rId35"/>
    <p:sldLayoutId id="2147487593" r:id="rId36"/>
    <p:sldLayoutId id="2147487594" r:id="rId37"/>
    <p:sldLayoutId id="2147487595" r:id="rId38"/>
    <p:sldLayoutId id="2147487596" r:id="rId39"/>
    <p:sldLayoutId id="2147487597" r:id="rId40"/>
    <p:sldLayoutId id="2147487598" r:id="rId41"/>
    <p:sldLayoutId id="2147487599" r:id="rId42"/>
    <p:sldLayoutId id="2147487600" r:id="rId43"/>
    <p:sldLayoutId id="2147487601" r:id="rId44"/>
    <p:sldLayoutId id="2147487602" r:id="rId45"/>
    <p:sldLayoutId id="2147487603" r:id="rId46"/>
    <p:sldLayoutId id="2147487604" r:id="rId47"/>
    <p:sldLayoutId id="2147487605" r:id="rId48"/>
    <p:sldLayoutId id="2147487606" r:id="rId49"/>
    <p:sldLayoutId id="2147487607" r:id="rId50"/>
    <p:sldLayoutId id="2147487608" r:id="rId51"/>
    <p:sldLayoutId id="2147487609" r:id="rId52"/>
    <p:sldLayoutId id="2147487610" r:id="rId53"/>
    <p:sldLayoutId id="2147487611" r:id="rId54"/>
    <p:sldLayoutId id="2147487612" r:id="rId55"/>
    <p:sldLayoutId id="2147487613" r:id="rId56"/>
    <p:sldLayoutId id="2147487614" r:id="rId57"/>
    <p:sldLayoutId id="2147487615" r:id="rId58"/>
    <p:sldLayoutId id="2147487616" r:id="rId59"/>
    <p:sldLayoutId id="2147487617" r:id="rId60"/>
    <p:sldLayoutId id="2147487618" r:id="rId61"/>
    <p:sldLayoutId id="2147487619" r:id="rId62"/>
    <p:sldLayoutId id="2147487620" r:id="rId63"/>
    <p:sldLayoutId id="2147487621" r:id="rId64"/>
    <p:sldLayoutId id="2147487622" r:id="rId65"/>
    <p:sldLayoutId id="2147487623" r:id="rId66"/>
    <p:sldLayoutId id="2147487624" r:id="rId67"/>
    <p:sldLayoutId id="2147487625" r:id="rId68"/>
    <p:sldLayoutId id="2147487626" r:id="rId69"/>
    <p:sldLayoutId id="2147487627" r:id="rId70"/>
    <p:sldLayoutId id="2147487628" r:id="rId71"/>
    <p:sldLayoutId id="2147487629" r:id="rId72"/>
    <p:sldLayoutId id="2147487630" r:id="rId73"/>
    <p:sldLayoutId id="2147487631" r:id="rId74"/>
    <p:sldLayoutId id="2147487632" r:id="rId75"/>
    <p:sldLayoutId id="2147487633" r:id="rId76"/>
    <p:sldLayoutId id="2147487634" r:id="rId77"/>
    <p:sldLayoutId id="2147487635" r:id="rId78"/>
    <p:sldLayoutId id="2147487636" r:id="rId79"/>
    <p:sldLayoutId id="2147487637" r:id="rId80"/>
    <p:sldLayoutId id="2147487638" r:id="rId81"/>
    <p:sldLayoutId id="2147487639" r:id="rId8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b="0" kern="1200" baseline="0">
          <a:solidFill>
            <a:schemeClr val="tx1"/>
          </a:solidFill>
          <a:latin typeface="Qualcomm Next" pitchFamily="2" charset="0"/>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Qualcomm Next" pitchFamily="2" charset="0"/>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Qualcomm Next" pitchFamily="2" charset="0"/>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Qualcomm Next" pitchFamily="2" charset="0"/>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Qualcomm Next" pitchFamily="2" charset="0"/>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Qualcomm Next" pitchFamily="2" charset="0"/>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979133528"/>
      </p:ext>
    </p:extLst>
  </p:cSld>
  <p:clrMap bg1="lt1" tx1="dk1" bg2="lt2" tx2="dk2" accent1="accent1" accent2="accent2" accent3="accent3" accent4="accent4" accent5="accent5" accent6="accent6" hlink="hlink" folHlink="folHlink"/>
  <p:sldLayoutIdLst>
    <p:sldLayoutId id="2147487641" r:id="rId1"/>
    <p:sldLayoutId id="2147487642" r:id="rId2"/>
    <p:sldLayoutId id="2147487643" r:id="rId3"/>
    <p:sldLayoutId id="2147487644" r:id="rId4"/>
    <p:sldLayoutId id="2147487645" r:id="rId5"/>
    <p:sldLayoutId id="2147487646" r:id="rId6"/>
    <p:sldLayoutId id="2147487647" r:id="rId7"/>
    <p:sldLayoutId id="2147487648" r:id="rId8"/>
    <p:sldLayoutId id="2147487649" r:id="rId9"/>
    <p:sldLayoutId id="2147487650" r:id="rId10"/>
    <p:sldLayoutId id="2147487651" r:id="rId11"/>
    <p:sldLayoutId id="2147487652" r:id="rId12"/>
    <p:sldLayoutId id="2147487653" r:id="rId13"/>
    <p:sldLayoutId id="2147487654" r:id="rId14"/>
    <p:sldLayoutId id="2147487655" r:id="rId15"/>
    <p:sldLayoutId id="2147487656" r:id="rId16"/>
    <p:sldLayoutId id="2147487657" r:id="rId17"/>
    <p:sldLayoutId id="2147487658" r:id="rId18"/>
    <p:sldLayoutId id="2147487659" r:id="rId19"/>
    <p:sldLayoutId id="2147487660" r:id="rId20"/>
    <p:sldLayoutId id="2147487661" r:id="rId21"/>
    <p:sldLayoutId id="2147487662" r:id="rId22"/>
    <p:sldLayoutId id="2147487663" r:id="rId23"/>
    <p:sldLayoutId id="2147487664" r:id="rId24"/>
    <p:sldLayoutId id="2147487665" r:id="rId25"/>
    <p:sldLayoutId id="2147487666" r:id="rId26"/>
    <p:sldLayoutId id="2147487667" r:id="rId27"/>
    <p:sldLayoutId id="2147487668" r:id="rId28"/>
    <p:sldLayoutId id="2147487669" r:id="rId29"/>
    <p:sldLayoutId id="2147487670" r:id="rId30"/>
    <p:sldLayoutId id="2147487671" r:id="rId31"/>
    <p:sldLayoutId id="2147487672" r:id="rId32"/>
    <p:sldLayoutId id="2147487673" r:id="rId33"/>
    <p:sldLayoutId id="2147487674" r:id="rId34"/>
    <p:sldLayoutId id="2147487675" r:id="rId35"/>
    <p:sldLayoutId id="2147487676" r:id="rId36"/>
    <p:sldLayoutId id="2147487677" r:id="rId37"/>
    <p:sldLayoutId id="2147487678" r:id="rId38"/>
    <p:sldLayoutId id="2147487679" r:id="rId39"/>
    <p:sldLayoutId id="2147487680" r:id="rId40"/>
    <p:sldLayoutId id="2147487681" r:id="rId41"/>
    <p:sldLayoutId id="2147487682" r:id="rId42"/>
    <p:sldLayoutId id="2147487683" r:id="rId43"/>
    <p:sldLayoutId id="214748768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89.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3" Type="http://schemas.openxmlformats.org/officeDocument/2006/relationships/hyperlink" Target="https://www.nakolos.com/ibc2023/" TargetMode="External"/><Relationship Id="rId7" Type="http://schemas.openxmlformats.org/officeDocument/2006/relationships/image" Target="../media/image60.jpeg"/><Relationship Id="rId2" Type="http://schemas.openxmlformats.org/officeDocument/2006/relationships/hyperlink" Target="https://www.rohde-schwarz.com/th/about/news-press/all-news/rohde-schwarz-and-qualcomm-to-demonstrate-5g-broadcast-ecosystem-readiness-at-ibc2023-press-release-detailpage_229356-1405318.html" TargetMode="External"/><Relationship Id="rId1" Type="http://schemas.openxmlformats.org/officeDocument/2006/relationships/slideLayout" Target="../slideLayouts/slideLayout724.xml"/><Relationship Id="rId6" Type="http://schemas.openxmlformats.org/officeDocument/2006/relationships/image" Target="../media/image59.jpeg"/><Relationship Id="rId5" Type="http://schemas.openxmlformats.org/officeDocument/2006/relationships/hyperlink" Target="https://www.linkedin.com/company/syestransmitters/" TargetMode="External"/><Relationship Id="rId4" Type="http://schemas.openxmlformats.org/officeDocument/2006/relationships/hyperlink" Target="https://www.linkedin.com/company/5g-mag/"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39.xml"/></Relationships>
</file>

<file path=ppt/slides/_rels/slide1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Layout" Target="../slideLayouts/slideLayout957.xml"/><Relationship Id="rId6" Type="http://schemas.openxmlformats.org/officeDocument/2006/relationships/image" Target="../media/image63.png"/><Relationship Id="rId11" Type="http://schemas.openxmlformats.org/officeDocument/2006/relationships/hyperlink" Target="https://portal.3gpp.org/desktopmodules/Specifications/SpecificationDetails.aspx?specificationId=2427" TargetMode="External"/><Relationship Id="rId5" Type="http://schemas.openxmlformats.org/officeDocument/2006/relationships/hyperlink" Target="https://www.3gpp.org/DynaReport/36976.htm" TargetMode="External"/><Relationship Id="rId10" Type="http://schemas.openxmlformats.org/officeDocument/2006/relationships/hyperlink" Target="https://portal.3gpp.org/desktopmodules/Specifications/SpecificationDetails.aspx?specificationId=2426" TargetMode="External"/><Relationship Id="rId4" Type="http://schemas.openxmlformats.org/officeDocument/2006/relationships/hyperlink" Target="https://www.etsi.org/deliver/etsi_ts/103700_103799/103720/01.01.01_60/ts_103720v010101p.pdf" TargetMode="External"/><Relationship Id="rId9" Type="http://schemas.openxmlformats.org/officeDocument/2006/relationships/hyperlink" Target="https://www.3gpp.org/DynaReport/36211.htm" TargetMode="Externa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2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88.xml"/><Relationship Id="rId5" Type="http://schemas.openxmlformats.org/officeDocument/2006/relationships/image" Target="../media/image69.pn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29.xml"/></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98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8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73.xml"/></Relationships>
</file>

<file path=ppt/slides/_rels/slide2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1052.xml"/><Relationship Id="rId1" Type="http://schemas.openxmlformats.org/officeDocument/2006/relationships/tags" Target="../tags/tag4.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98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55.xml"/></Relationships>
</file>

<file path=ppt/slides/_rels/slide23.xml.rels><?xml version="1.0" encoding="UTF-8" standalone="yes"?>
<Relationships xmlns="http://schemas.openxmlformats.org/package/2006/relationships"><Relationship Id="rId3" Type="http://schemas.openxmlformats.org/officeDocument/2006/relationships/hyperlink" Target="https://developer.android.com/reference/android/telephony/MbmsStreamingSession" TargetMode="External"/><Relationship Id="rId2" Type="http://schemas.openxmlformats.org/officeDocument/2006/relationships/hyperlink" Target="https://developer.android.com/reference/android/telephony/MbmsGroupCallSession" TargetMode="External"/><Relationship Id="rId1" Type="http://schemas.openxmlformats.org/officeDocument/2006/relationships/slideLayout" Target="../slideLayouts/slideLayout98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5.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linkedin.com/feed/update/urn:li:activity:6963786733624692736/?utm_source=linkedin_share&amp;utm_medium=member_desktop_web" TargetMode="External"/><Relationship Id="rId1" Type="http://schemas.openxmlformats.org/officeDocument/2006/relationships/slideLayout" Target="../slideLayouts/slideLayout893.xml"/><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893.xml"/><Relationship Id="rId5" Type="http://schemas.openxmlformats.org/officeDocument/2006/relationships/image" Target="../media/image87.png"/><Relationship Id="rId4" Type="http://schemas.openxmlformats.org/officeDocument/2006/relationships/image" Target="../media/image86.jpeg"/></Relationships>
</file>

<file path=ppt/slides/_rels/slide2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724.xml"/><Relationship Id="rId6" Type="http://schemas.openxmlformats.org/officeDocument/2006/relationships/image" Target="../media/image91.emf"/><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85.jpeg"/></Relationships>
</file>

<file path=ppt/slides/_rels/slide2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53.xml"/></Relationships>
</file>

<file path=ppt/slides/_rels/slide2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23.xml"/><Relationship Id="rId4" Type="http://schemas.openxmlformats.org/officeDocument/2006/relationships/image" Target="../media/image97.png"/></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158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 Id="rId9" Type="http://schemas.openxmlformats.org/officeDocument/2006/relationships/image" Target="../media/image3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90.xml"/></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24.xml"/><Relationship Id="rId5" Type="http://schemas.openxmlformats.org/officeDocument/2006/relationships/image" Target="../media/image101.png"/><Relationship Id="rId4" Type="http://schemas.openxmlformats.org/officeDocument/2006/relationships/image" Target="../media/image10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0.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2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24.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724.xml"/></Relationships>
</file>

<file path=ppt/slides/_rels/slide3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724.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724.xml"/></Relationships>
</file>

<file path=ppt/slides/_rels/slide3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24.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226.xml"/></Relationships>
</file>

<file path=ppt/slides/_rels/slide4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724.xml"/></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724.xml"/></Relationships>
</file>

<file path=ppt/slides/_rels/slide42.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openxmlformats.org/officeDocument/2006/relationships/image" Target="../media/image128.png"/><Relationship Id="rId3" Type="http://schemas.openxmlformats.org/officeDocument/2006/relationships/image" Target="../media/image113.png"/><Relationship Id="rId21" Type="http://schemas.openxmlformats.org/officeDocument/2006/relationships/image" Target="../media/image131.pn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png"/><Relationship Id="rId2" Type="http://schemas.openxmlformats.org/officeDocument/2006/relationships/image" Target="../media/image112.png"/><Relationship Id="rId16" Type="http://schemas.openxmlformats.org/officeDocument/2006/relationships/image" Target="../media/image126.png"/><Relationship Id="rId20" Type="http://schemas.openxmlformats.org/officeDocument/2006/relationships/image" Target="../media/image130.png"/><Relationship Id="rId1" Type="http://schemas.openxmlformats.org/officeDocument/2006/relationships/slideLayout" Target="../slideLayouts/slideLayout724.xml"/><Relationship Id="rId6" Type="http://schemas.openxmlformats.org/officeDocument/2006/relationships/image" Target="../media/image116.png"/><Relationship Id="rId11" Type="http://schemas.openxmlformats.org/officeDocument/2006/relationships/image" Target="../media/image121.png"/><Relationship Id="rId24" Type="http://schemas.openxmlformats.org/officeDocument/2006/relationships/image" Target="../media/image134.png"/><Relationship Id="rId5" Type="http://schemas.openxmlformats.org/officeDocument/2006/relationships/image" Target="../media/image115.png"/><Relationship Id="rId15" Type="http://schemas.openxmlformats.org/officeDocument/2006/relationships/image" Target="../media/image125.png"/><Relationship Id="rId23" Type="http://schemas.openxmlformats.org/officeDocument/2006/relationships/image" Target="../media/image133.png"/><Relationship Id="rId10" Type="http://schemas.openxmlformats.org/officeDocument/2006/relationships/image" Target="../media/image120.png"/><Relationship Id="rId19" Type="http://schemas.openxmlformats.org/officeDocument/2006/relationships/image" Target="../media/image129.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 Id="rId22" Type="http://schemas.openxmlformats.org/officeDocument/2006/relationships/image" Target="../media/image132.png"/></Relationships>
</file>

<file path=ppt/slides/_rels/slide43.xml.rels><?xml version="1.0" encoding="UTF-8" standalone="yes"?>
<Relationships xmlns="http://schemas.openxmlformats.org/package/2006/relationships"><Relationship Id="rId2" Type="http://schemas.microsoft.com/office/2018/10/relationships/comments" Target="../comments/modernComment_7FB477FF_2D3065A9.xml"/><Relationship Id="rId1" Type="http://schemas.openxmlformats.org/officeDocument/2006/relationships/slideLayout" Target="../slideLayouts/slideLayout724.xml"/></Relationships>
</file>

<file path=ppt/slides/_rels/slide44.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724.xml"/></Relationships>
</file>

<file path=ppt/slides/_rels/slide4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1083.xml"/></Relationships>
</file>

<file path=ppt/slides/_rels/slide46.xml.rels><?xml version="1.0" encoding="UTF-8" standalone="yes"?>
<Relationships xmlns="http://schemas.openxmlformats.org/package/2006/relationships"><Relationship Id="rId2" Type="http://schemas.openxmlformats.org/officeDocument/2006/relationships/image" Target="../media/image138.emf"/><Relationship Id="rId1" Type="http://schemas.openxmlformats.org/officeDocument/2006/relationships/slideLayout" Target="../slideLayouts/slideLayout129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84.xml"/></Relationships>
</file>

<file path=ppt/slides/_rels/slide48.xml.rels><?xml version="1.0" encoding="UTF-8" standalone="yes"?>
<Relationships xmlns="http://schemas.openxmlformats.org/package/2006/relationships"><Relationship Id="rId3" Type="http://schemas.openxmlformats.org/officeDocument/2006/relationships/hyperlink" Target="https://www.3gpp.org/ftp/tsg_ran/WG1_RL1/TSGR1_99/Docs/R1-1913439.zip" TargetMode="External"/><Relationship Id="rId2" Type="http://schemas.openxmlformats.org/officeDocument/2006/relationships/image" Target="../media/image69.png"/><Relationship Id="rId1" Type="http://schemas.openxmlformats.org/officeDocument/2006/relationships/slideLayout" Target="../slideLayouts/slideLayout108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29.xml"/></Relationships>
</file>

<file path=ppt/slides/_rels/slide5.xml.rels><?xml version="1.0" encoding="UTF-8" standalone="yes"?>
<Relationships xmlns="http://schemas.openxmlformats.org/package/2006/relationships"><Relationship Id="rId8" Type="http://schemas.openxmlformats.org/officeDocument/2006/relationships/hyperlink" Target="https://github.com/haudiobe" TargetMode="External"/><Relationship Id="rId13" Type="http://schemas.openxmlformats.org/officeDocument/2006/relationships/image" Target="../media/image43.png"/><Relationship Id="rId3" Type="http://schemas.openxmlformats.org/officeDocument/2006/relationships/image" Target="../media/image38.jpg"/><Relationship Id="rId7" Type="http://schemas.openxmlformats.org/officeDocument/2006/relationships/image" Target="../media/image40.png"/><Relationship Id="rId12" Type="http://schemas.openxmlformats.org/officeDocument/2006/relationships/hyperlink" Target="https://wa.me/491725702667" TargetMode="External"/><Relationship Id="rId2" Type="http://schemas.openxmlformats.org/officeDocument/2006/relationships/notesSlide" Target="../notesSlides/notesSlide3.xml"/><Relationship Id="rId1" Type="http://schemas.openxmlformats.org/officeDocument/2006/relationships/slideLayout" Target="../slideLayouts/slideLayout160.xml"/><Relationship Id="rId6" Type="http://schemas.openxmlformats.org/officeDocument/2006/relationships/hyperlink" Target="https://www.facebook.com/tstockhammer" TargetMode="External"/><Relationship Id="rId11" Type="http://schemas.openxmlformats.org/officeDocument/2006/relationships/image" Target="../media/image42.png"/><Relationship Id="rId5" Type="http://schemas.openxmlformats.org/officeDocument/2006/relationships/image" Target="../media/image39.png"/><Relationship Id="rId10" Type="http://schemas.openxmlformats.org/officeDocument/2006/relationships/hyperlink" Target="https://discord.com/channels/thomassto#6183" TargetMode="External"/><Relationship Id="rId4" Type="http://schemas.openxmlformats.org/officeDocument/2006/relationships/hyperlink" Target="http://www.linkedin.com/in/stockhammer" TargetMode="External"/><Relationship Id="rId9" Type="http://schemas.openxmlformats.org/officeDocument/2006/relationships/image" Target="../media/image41.png"/></Relationships>
</file>

<file path=ppt/slides/_rels/slide5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054.xml"/></Relationships>
</file>

<file path=ppt/slides/_rels/slide51.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8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83.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01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42.png"/><Relationship Id="rId4" Type="http://schemas.openxmlformats.org/officeDocument/2006/relationships/image" Target="../media/image141.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5.xml"/></Relationships>
</file>

<file path=ppt/slides/_rels/slide55.xml.rels><?xml version="1.0" encoding="UTF-8" standalone="yes"?>
<Relationships xmlns="http://schemas.openxmlformats.org/package/2006/relationships"><Relationship Id="rId3" Type="http://schemas.openxmlformats.org/officeDocument/2006/relationships/image" Target="cid:image001.png@01D8A107.21C23B90" TargetMode="External"/><Relationship Id="rId2" Type="http://schemas.openxmlformats.org/officeDocument/2006/relationships/image" Target="../media/image143.png"/><Relationship Id="rId1" Type="http://schemas.openxmlformats.org/officeDocument/2006/relationships/slideLayout" Target="../slideLayouts/slideLayout983.xml"/></Relationships>
</file>

<file path=ppt/slides/_rels/slide56.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package" Target="../embeddings/Microsoft_Visio_Drawing.vsdx"/><Relationship Id="rId1" Type="http://schemas.openxmlformats.org/officeDocument/2006/relationships/slideLayout" Target="../slideLayouts/slideLayout983.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57.xml.rels><?xml version="1.0" encoding="UTF-8" standalone="yes"?>
<Relationships xmlns="http://schemas.openxmlformats.org/package/2006/relationships"><Relationship Id="rId3" Type="http://schemas.openxmlformats.org/officeDocument/2006/relationships/package" Target="../embeddings/Microsoft_Visio_Drawing1.vsdx"/><Relationship Id="rId2" Type="http://schemas.openxmlformats.org/officeDocument/2006/relationships/notesSlide" Target="../notesSlides/notesSlide11.xml"/><Relationship Id="rId1" Type="http://schemas.openxmlformats.org/officeDocument/2006/relationships/slideLayout" Target="../slideLayouts/slideLayout984.xml"/><Relationship Id="rId4" Type="http://schemas.openxmlformats.org/officeDocument/2006/relationships/image" Target="../media/image148.emf"/></Relationships>
</file>

<file path=ppt/slides/_rels/slide58.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983.xml"/></Relationships>
</file>

<file path=ppt/slides/_rels/slide5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2.xml"/><Relationship Id="rId1" Type="http://schemas.openxmlformats.org/officeDocument/2006/relationships/slideLayout" Target="../slideLayouts/slideLayout1055.xml"/><Relationship Id="rId5" Type="http://schemas.openxmlformats.org/officeDocument/2006/relationships/image" Target="../media/image152.png"/><Relationship Id="rId4" Type="http://schemas.openxmlformats.org/officeDocument/2006/relationships/image" Target="../media/image15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60.xml.rels><?xml version="1.0" encoding="UTF-8" standalone="yes"?>
<Relationships xmlns="http://schemas.openxmlformats.org/package/2006/relationships"><Relationship Id="rId3" Type="http://schemas.openxmlformats.org/officeDocument/2006/relationships/hyperlink" Target="https://developer.5g-mag.com/" TargetMode="External"/><Relationship Id="rId7" Type="http://schemas.openxmlformats.org/officeDocument/2006/relationships/image" Target="../media/image157.png"/><Relationship Id="rId2" Type="http://schemas.openxmlformats.org/officeDocument/2006/relationships/image" Target="../media/image153.png"/><Relationship Id="rId1" Type="http://schemas.openxmlformats.org/officeDocument/2006/relationships/slideLayout" Target="../slideLayouts/slideLayout1057.xml"/><Relationship Id="rId6" Type="http://schemas.openxmlformats.org/officeDocument/2006/relationships/image" Target="../media/image156.png"/><Relationship Id="rId5" Type="http://schemas.openxmlformats.org/officeDocument/2006/relationships/image" Target="../media/image155.svg"/><Relationship Id="rId4" Type="http://schemas.openxmlformats.org/officeDocument/2006/relationships/image" Target="../media/image154.png"/></Relationships>
</file>

<file path=ppt/slides/_rels/slide61.xml.rels><?xml version="1.0" encoding="UTF-8" standalone="yes"?>
<Relationships xmlns="http://schemas.openxmlformats.org/package/2006/relationships"><Relationship Id="rId8" Type="http://schemas.openxmlformats.org/officeDocument/2006/relationships/hyperlink" Target="https://www.5g-mag.com/post/27-01-23-5g-mag-reference-tools-xchange-demos" TargetMode="External"/><Relationship Id="rId13" Type="http://schemas.openxmlformats.org/officeDocument/2006/relationships/image" Target="../media/image163.png"/><Relationship Id="rId3" Type="http://schemas.openxmlformats.org/officeDocument/2006/relationships/hyperlink" Target="https://www.youtube.com/@5gmag" TargetMode="External"/><Relationship Id="rId7" Type="http://schemas.openxmlformats.org/officeDocument/2006/relationships/hyperlink" Target="https://github.com/5G-MAG/Getting-Started/wiki" TargetMode="External"/><Relationship Id="rId12" Type="http://schemas.openxmlformats.org/officeDocument/2006/relationships/image" Target="../media/image162.png"/><Relationship Id="rId2" Type="http://schemas.openxmlformats.org/officeDocument/2006/relationships/hyperlink" Target="https://developer.5g-mag.com/" TargetMode="External"/><Relationship Id="rId1" Type="http://schemas.openxmlformats.org/officeDocument/2006/relationships/slideLayout" Target="../slideLayouts/slideLayout1058.xml"/><Relationship Id="rId6" Type="http://schemas.openxmlformats.org/officeDocument/2006/relationships/image" Target="../media/image160.png"/><Relationship Id="rId11" Type="http://schemas.openxmlformats.org/officeDocument/2006/relationships/hyperlink" Target="https://www.youtube.com/watch?v=4RZ_cON5bfo" TargetMode="External"/><Relationship Id="rId5" Type="http://schemas.openxmlformats.org/officeDocument/2006/relationships/image" Target="../media/image159.png"/><Relationship Id="rId10" Type="http://schemas.openxmlformats.org/officeDocument/2006/relationships/image" Target="../media/image161.png"/><Relationship Id="rId4" Type="http://schemas.openxmlformats.org/officeDocument/2006/relationships/image" Target="../media/image158.png"/><Relationship Id="rId9" Type="http://schemas.openxmlformats.org/officeDocument/2006/relationships/hyperlink" Target="http://www.5g-mag.com/tutorials" TargetMode="External"/><Relationship Id="rId14" Type="http://schemas.openxmlformats.org/officeDocument/2006/relationships/image" Target="../media/image164.png"/></Relationships>
</file>

<file path=ppt/slides/_rels/slide6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hyperlink" Target="https://hub.5g-mag.com/" TargetMode="External"/><Relationship Id="rId1" Type="http://schemas.openxmlformats.org/officeDocument/2006/relationships/slideLayout" Target="../slideLayouts/slideLayout1057.xml"/><Relationship Id="rId4" Type="http://schemas.openxmlformats.org/officeDocument/2006/relationships/image" Target="../media/image166.png"/></Relationships>
</file>

<file path=ppt/slides/_rels/slide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hyperlink" Target="https://hub.5g-mag.com/" TargetMode="External"/><Relationship Id="rId1" Type="http://schemas.openxmlformats.org/officeDocument/2006/relationships/slideLayout" Target="../slideLayouts/slideLayout1057.xml"/><Relationship Id="rId4" Type="http://schemas.openxmlformats.org/officeDocument/2006/relationships/image" Target="../media/image167.png"/></Relationships>
</file>

<file path=ppt/slides/_rels/slide64.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image" Target="../media/image168.jpeg"/><Relationship Id="rId1" Type="http://schemas.openxmlformats.org/officeDocument/2006/relationships/slideLayout" Target="../slideLayouts/slideLayout1057.xml"/><Relationship Id="rId4" Type="http://schemas.openxmlformats.org/officeDocument/2006/relationships/image" Target="../media/image170.jpeg"/></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2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8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9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94.xml"/></Relationships>
</file>

<file path=ppt/slides/_rels/slide69.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177.png"/><Relationship Id="rId1" Type="http://schemas.openxmlformats.org/officeDocument/2006/relationships/slideLayout" Target="../slideLayouts/slideLayout1294.xml"/></Relationships>
</file>

<file path=ppt/slides/_rels/slide7.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diagramLayout" Target="../diagrams/layout1.xml"/><Relationship Id="rId3" Type="http://schemas.openxmlformats.org/officeDocument/2006/relationships/notesSlide" Target="../notesSlides/notesSlide4.xml"/><Relationship Id="rId7" Type="http://schemas.openxmlformats.org/officeDocument/2006/relationships/image" Target="../media/image47.png"/><Relationship Id="rId12" Type="http://schemas.openxmlformats.org/officeDocument/2006/relationships/diagramData" Target="../diagrams/data1.xml"/><Relationship Id="rId17" Type="http://schemas.openxmlformats.org/officeDocument/2006/relationships/image" Target="../media/image58.png"/><Relationship Id="rId2" Type="http://schemas.openxmlformats.org/officeDocument/2006/relationships/slideLayout" Target="../slideLayouts/slideLayout229.xml"/><Relationship Id="rId16" Type="http://schemas.microsoft.com/office/2007/relationships/diagramDrawing" Target="../diagrams/drawing1.xml"/><Relationship Id="rId1" Type="http://schemas.openxmlformats.org/officeDocument/2006/relationships/tags" Target="../tags/tag2.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png"/><Relationship Id="rId15" Type="http://schemas.openxmlformats.org/officeDocument/2006/relationships/diagramColors" Target="../diagrams/colors1.xml"/><Relationship Id="rId10" Type="http://schemas.openxmlformats.org/officeDocument/2006/relationships/image" Target="../media/image50.sv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diagramQuickStyle" Target="../diagrams/quickStyle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9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9DD38F-15E5-4926-9A6E-F50C71118940}"/>
              </a:ext>
            </a:extLst>
          </p:cNvPr>
          <p:cNvPicPr>
            <a:picLocks noChangeAspect="1"/>
          </p:cNvPicPr>
          <p:nvPr/>
        </p:nvPicPr>
        <p:blipFill>
          <a:blip r:embed="rId3"/>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D0A6C69-DC25-46B3-83FE-D668C146E2A2}"/>
              </a:ext>
            </a:extLst>
          </p:cNvPr>
          <p:cNvSpPr/>
          <p:nvPr/>
        </p:nvSpPr>
        <p:spPr>
          <a:xfrm>
            <a:off x="1" y="0"/>
            <a:ext cx="12191999" cy="6858000"/>
          </a:xfrm>
          <a:prstGeom prst="rect">
            <a:avLst/>
          </a:prstGeom>
          <a:gradFill>
            <a:gsLst>
              <a:gs pos="17000">
                <a:srgbClr val="151831">
                  <a:alpha val="70000"/>
                </a:srgbClr>
              </a:gs>
              <a:gs pos="36000">
                <a:srgbClr val="222346">
                  <a:alpha val="38824"/>
                </a:srgbClr>
              </a:gs>
              <a:gs pos="92000">
                <a:schemeClr val="bg1">
                  <a:alpha val="0"/>
                </a:schemeClr>
              </a:gs>
              <a:gs pos="58000">
                <a:srgbClr val="3B223E">
                  <a:alpha val="11765"/>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a:xfrm>
            <a:off x="3350218" y="366133"/>
            <a:ext cx="2608489"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September 15 - 18, 2023</a:t>
            </a:r>
          </a:p>
        </p:txBody>
      </p:sp>
      <p:sp>
        <p:nvSpPr>
          <p:cNvPr id="12"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a:xfrm>
            <a:off x="5958707" y="386990"/>
            <a:ext cx="3985393"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IBC 2023</a:t>
            </a:r>
          </a:p>
        </p:txBody>
      </p:sp>
      <p:sp>
        <p:nvSpPr>
          <p:cNvPr id="3" name="Title 2">
            <a:extLst>
              <a:ext uri="{FF2B5EF4-FFF2-40B4-BE49-F238E27FC236}">
                <a16:creationId xmlns:a16="http://schemas.microsoft.com/office/drawing/2014/main" id="{2584845F-75C2-415A-8317-9BE337A0A649}"/>
              </a:ext>
            </a:extLst>
          </p:cNvPr>
          <p:cNvSpPr>
            <a:spLocks noGrp="1"/>
          </p:cNvSpPr>
          <p:nvPr>
            <p:ph type="title"/>
          </p:nvPr>
        </p:nvSpPr>
        <p:spPr>
          <a:xfrm>
            <a:off x="431636" y="1565179"/>
            <a:ext cx="9352444" cy="2650919"/>
          </a:xfrm>
        </p:spPr>
        <p:txBody>
          <a:bodyPr/>
          <a:lstStyle/>
          <a:p>
            <a:r>
              <a:rPr lang="en-US" sz="6600" dirty="0"/>
              <a:t>5G Broadcast –Technologies, Standards and Productization</a:t>
            </a:r>
            <a:endParaRPr lang="en-US" sz="2000" dirty="0"/>
          </a:p>
        </p:txBody>
      </p:sp>
      <p:sp>
        <p:nvSpPr>
          <p:cNvPr id="16" name="Freeform 5">
            <a:extLst>
              <a:ext uri="{FF2B5EF4-FFF2-40B4-BE49-F238E27FC236}">
                <a16:creationId xmlns:a16="http://schemas.microsoft.com/office/drawing/2014/main" id="{06C7F0AE-140D-4634-92AC-2929EC1FBE2C}"/>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7" name="Text Placeholder 7">
            <a:extLst>
              <a:ext uri="{FF2B5EF4-FFF2-40B4-BE49-F238E27FC236}">
                <a16:creationId xmlns:a16="http://schemas.microsoft.com/office/drawing/2014/main" id="{BE281CEE-A427-9343-B066-3987258CBC3E}"/>
              </a:ext>
            </a:extLst>
          </p:cNvPr>
          <p:cNvSpPr txBox="1">
            <a:spLocks/>
          </p:cNvSpPr>
          <p:nvPr/>
        </p:nvSpPr>
        <p:spPr bwMode="black">
          <a:xfrm>
            <a:off x="9076177" y="366133"/>
            <a:ext cx="2620523" cy="443198"/>
          </a:xfrm>
          <a:prstGeom prst="rect">
            <a:avLst/>
          </a:prstGeom>
        </p:spPr>
        <p:txBody>
          <a:bodyPr vert="horz" wrap="square" lIns="0" tIns="0" rIns="0" bIns="0" rtlCol="0" anchor="b">
            <a:spAutoFit/>
          </a:bodyPr>
          <a:lstStyle>
            <a:lvl1pPr marL="0" marR="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kern="1200" baseline="0">
                <a:solidFill>
                  <a:schemeClr val="bg1"/>
                </a:solidFill>
                <a:latin typeface="+mn-lt"/>
                <a:ea typeface="+mn-ea"/>
                <a:cs typeface="+mn-cs"/>
              </a:defRPr>
            </a:lvl1pPr>
            <a:lvl2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baseline="0">
                <a:solidFill>
                  <a:schemeClr val="bg1"/>
                </a:solidFill>
                <a:latin typeface="+mn-lt"/>
                <a:ea typeface="+mn-ea"/>
                <a:cs typeface="+mn-cs"/>
              </a:defRPr>
            </a:lvl2pPr>
            <a:lvl3pPr marL="0" indent="0" algn="r" defTabSz="914400" rtl="0" eaLnBrk="1" latinLnBrk="0" hangingPunct="1">
              <a:lnSpc>
                <a:spcPct val="90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a:solidFill>
                  <a:schemeClr val="bg1"/>
                </a:solidFill>
                <a:latin typeface="+mn-lt"/>
                <a:ea typeface="+mn-ea"/>
                <a:cs typeface="+mn-cs"/>
              </a:defRPr>
            </a:lvl4pPr>
            <a:lvl5pPr marL="0" indent="0" algn="r" defTabSz="914400" rtl="0" eaLnBrk="1" latinLnBrk="0" hangingPunct="1">
              <a:lnSpc>
                <a:spcPct val="90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r>
              <a:rPr kumimoji="0" lang="en-US" sz="1600" b="1" i="0" u="none" strike="noStrike" kern="1200" cap="none" spc="0" normalizeH="0" baseline="0" noProof="0">
                <a:ln>
                  <a:noFill/>
                </a:ln>
                <a:solidFill>
                  <a:srgbClr val="F7F8FA"/>
                </a:solidFill>
                <a:effectLst/>
                <a:uLnTx/>
                <a:uFillTx/>
                <a:latin typeface="Microsoft Sans Serif"/>
                <a:ea typeface="+mn-ea"/>
                <a:cs typeface="+mn-cs"/>
              </a:rPr>
              <a:t>@</a:t>
            </a:r>
            <a:r>
              <a:rPr kumimoji="0" lang="en-US" sz="1600" b="1" i="0" u="none" strike="noStrike" kern="1200" cap="none" spc="0" normalizeH="0" baseline="0" noProof="0" err="1">
                <a:ln>
                  <a:noFill/>
                </a:ln>
                <a:solidFill>
                  <a:srgbClr val="F7F8FA"/>
                </a:solidFill>
                <a:effectLst/>
                <a:uLnTx/>
                <a:uFillTx/>
                <a:latin typeface="Microsoft Sans Serif"/>
                <a:ea typeface="+mn-ea"/>
                <a:cs typeface="+mn-cs"/>
              </a:rPr>
              <a:t>qualcomm</a:t>
            </a:r>
            <a:r>
              <a:rPr kumimoji="0" lang="en-US" sz="1600" b="1" i="0" u="none" strike="noStrike" kern="1200" cap="none" spc="0" normalizeH="0" baseline="0" noProof="0">
                <a:ln>
                  <a:noFill/>
                </a:ln>
                <a:solidFill>
                  <a:srgbClr val="F7F8FA"/>
                </a:solidFill>
                <a:effectLst/>
                <a:uLnTx/>
                <a:uFillTx/>
                <a:latin typeface="Microsoft Sans Serif"/>
                <a:ea typeface="+mn-ea"/>
                <a:cs typeface="+mn-cs"/>
              </a:rPr>
              <a:t>_tech</a:t>
            </a:r>
          </a:p>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endParaRPr kumimoji="0" lang="en-US" sz="1600" b="1"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0" name="Text Placeholder 7">
            <a:extLst>
              <a:ext uri="{FF2B5EF4-FFF2-40B4-BE49-F238E27FC236}">
                <a16:creationId xmlns:a16="http://schemas.microsoft.com/office/drawing/2014/main" id="{6DA8A551-B5C8-40AD-8A71-D58C6F83DACC}"/>
              </a:ext>
            </a:extLst>
          </p:cNvPr>
          <p:cNvSpPr>
            <a:spLocks noGrp="1"/>
          </p:cNvSpPr>
          <p:nvPr>
            <p:ph type="body" sz="quarter" idx="10"/>
          </p:nvPr>
        </p:nvSpPr>
        <p:spPr>
          <a:xfrm>
            <a:off x="495299" y="4944712"/>
            <a:ext cx="8580878" cy="1342830"/>
          </a:xfrm>
        </p:spPr>
        <p:txBody>
          <a:bodyPr/>
          <a:lstStyle/>
          <a:p>
            <a:r>
              <a:rPr lang="en-US" dirty="0"/>
              <a:t>George Tsirtsis and Thomas Stockhammer</a:t>
            </a:r>
          </a:p>
          <a:p>
            <a:r>
              <a:rPr lang="en-US" dirty="0"/>
              <a:t>Qualcomm Technologies</a:t>
            </a:r>
          </a:p>
        </p:txBody>
      </p:sp>
    </p:spTree>
    <p:extLst>
      <p:ext uri="{BB962C8B-B14F-4D97-AF65-F5344CB8AC3E}">
        <p14:creationId xmlns:p14="http://schemas.microsoft.com/office/powerpoint/2010/main" val="347840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24BB888-51B6-0478-66B4-944249E32159}"/>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295A8771-7039-D1A7-51B3-296BAEF5D539}"/>
              </a:ext>
            </a:extLst>
          </p:cNvPr>
          <p:cNvSpPr>
            <a:spLocks noGrp="1"/>
          </p:cNvSpPr>
          <p:nvPr>
            <p:ph type="title"/>
          </p:nvPr>
        </p:nvSpPr>
        <p:spPr>
          <a:xfrm>
            <a:off x="495300" y="565125"/>
            <a:ext cx="11187112" cy="439479"/>
          </a:xfrm>
        </p:spPr>
        <p:txBody>
          <a:bodyPr/>
          <a:lstStyle/>
          <a:p>
            <a:r>
              <a:rPr kumimoji="0" lang="en-US" sz="3400" b="0" i="0" u="none" strike="noStrike" kern="1200" cap="none" spc="0" normalizeH="0" baseline="0" noProof="0" dirty="0">
                <a:ln>
                  <a:noFill/>
                </a:ln>
                <a:effectLst/>
                <a:uLnTx/>
                <a:uFillTx/>
                <a:latin typeface="Microsoft Sans Serif"/>
                <a:ea typeface="+mj-ea"/>
                <a:cs typeface="+mj-cs"/>
              </a:rPr>
              <a:t>5G Broadcast – Core Features for multiple use cases</a:t>
            </a:r>
            <a:endParaRPr lang="en-US" dirty="0"/>
          </a:p>
        </p:txBody>
      </p:sp>
      <p:graphicFrame>
        <p:nvGraphicFramePr>
          <p:cNvPr id="6" name="Diagram 5">
            <a:extLst>
              <a:ext uri="{FF2B5EF4-FFF2-40B4-BE49-F238E27FC236}">
                <a16:creationId xmlns:a16="http://schemas.microsoft.com/office/drawing/2014/main" id="{89CB6858-B8F1-3E4D-8ADF-877D8E6F4CA7}"/>
              </a:ext>
            </a:extLst>
          </p:cNvPr>
          <p:cNvGraphicFramePr/>
          <p:nvPr>
            <p:extLst>
              <p:ext uri="{D42A27DB-BD31-4B8C-83A1-F6EECF244321}">
                <p14:modId xmlns:p14="http://schemas.microsoft.com/office/powerpoint/2010/main" val="1649698756"/>
              </p:ext>
            </p:extLst>
          </p:nvPr>
        </p:nvGraphicFramePr>
        <p:xfrm>
          <a:off x="849311" y="1181100"/>
          <a:ext cx="10489691" cy="526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2609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Freeform 142">
            <a:extLst>
              <a:ext uri="{FF2B5EF4-FFF2-40B4-BE49-F238E27FC236}">
                <a16:creationId xmlns:a16="http://schemas.microsoft.com/office/drawing/2014/main" id="{32161727-FCDD-7D43-A62E-240C4224DAD7}"/>
              </a:ext>
            </a:extLst>
          </p:cNvPr>
          <p:cNvSpPr>
            <a:spLocks noChangeArrowheads="1"/>
          </p:cNvSpPr>
          <p:nvPr/>
        </p:nvSpPr>
        <p:spPr bwMode="auto">
          <a:xfrm>
            <a:off x="7981772" y="3050387"/>
            <a:ext cx="1802801" cy="1244524"/>
          </a:xfrm>
          <a:custGeom>
            <a:avLst/>
            <a:gdLst>
              <a:gd name="T0" fmla="*/ 5451 w 5652"/>
              <a:gd name="T1" fmla="*/ 700 h 3901"/>
              <a:gd name="T2" fmla="*/ 5176 w 5652"/>
              <a:gd name="T3" fmla="*/ 550 h 3901"/>
              <a:gd name="T4" fmla="*/ 4901 w 5652"/>
              <a:gd name="T5" fmla="*/ 325 h 3901"/>
              <a:gd name="T6" fmla="*/ 4626 w 5652"/>
              <a:gd name="T7" fmla="*/ 25 h 3901"/>
              <a:gd name="T8" fmla="*/ 4275 w 5652"/>
              <a:gd name="T9" fmla="*/ 100 h 3901"/>
              <a:gd name="T10" fmla="*/ 4176 w 5652"/>
              <a:gd name="T11" fmla="*/ 399 h 3901"/>
              <a:gd name="T12" fmla="*/ 3926 w 5652"/>
              <a:gd name="T13" fmla="*/ 450 h 3901"/>
              <a:gd name="T14" fmla="*/ 3926 w 5652"/>
              <a:gd name="T15" fmla="*/ 700 h 3901"/>
              <a:gd name="T16" fmla="*/ 4126 w 5652"/>
              <a:gd name="T17" fmla="*/ 850 h 3901"/>
              <a:gd name="T18" fmla="*/ 3676 w 5652"/>
              <a:gd name="T19" fmla="*/ 1025 h 3901"/>
              <a:gd name="T20" fmla="*/ 3350 w 5652"/>
              <a:gd name="T21" fmla="*/ 1275 h 3901"/>
              <a:gd name="T22" fmla="*/ 2725 w 5652"/>
              <a:gd name="T23" fmla="*/ 1400 h 3901"/>
              <a:gd name="T24" fmla="*/ 2125 w 5652"/>
              <a:gd name="T25" fmla="*/ 1300 h 3901"/>
              <a:gd name="T26" fmla="*/ 1825 w 5652"/>
              <a:gd name="T27" fmla="*/ 1075 h 3901"/>
              <a:gd name="T28" fmla="*/ 1575 w 5652"/>
              <a:gd name="T29" fmla="*/ 800 h 3901"/>
              <a:gd name="T30" fmla="*/ 1275 w 5652"/>
              <a:gd name="T31" fmla="*/ 550 h 3901"/>
              <a:gd name="T32" fmla="*/ 1175 w 5652"/>
              <a:gd name="T33" fmla="*/ 575 h 3901"/>
              <a:gd name="T34" fmla="*/ 1000 w 5652"/>
              <a:gd name="T35" fmla="*/ 800 h 3901"/>
              <a:gd name="T36" fmla="*/ 800 w 5652"/>
              <a:gd name="T37" fmla="*/ 1025 h 3901"/>
              <a:gd name="T38" fmla="*/ 600 w 5652"/>
              <a:gd name="T39" fmla="*/ 1125 h 3901"/>
              <a:gd name="T40" fmla="*/ 500 w 5652"/>
              <a:gd name="T41" fmla="*/ 1400 h 3901"/>
              <a:gd name="T42" fmla="*/ 225 w 5652"/>
              <a:gd name="T43" fmla="*/ 1550 h 3901"/>
              <a:gd name="T44" fmla="*/ 0 w 5652"/>
              <a:gd name="T45" fmla="*/ 1625 h 3901"/>
              <a:gd name="T46" fmla="*/ 100 w 5652"/>
              <a:gd name="T47" fmla="*/ 1800 h 3901"/>
              <a:gd name="T48" fmla="*/ 250 w 5652"/>
              <a:gd name="T49" fmla="*/ 2075 h 3901"/>
              <a:gd name="T50" fmla="*/ 400 w 5652"/>
              <a:gd name="T51" fmla="*/ 2125 h 3901"/>
              <a:gd name="T52" fmla="*/ 475 w 5652"/>
              <a:gd name="T53" fmla="*/ 2250 h 3901"/>
              <a:gd name="T54" fmla="*/ 450 w 5652"/>
              <a:gd name="T55" fmla="*/ 2450 h 3901"/>
              <a:gd name="T56" fmla="*/ 650 w 5652"/>
              <a:gd name="T57" fmla="*/ 2675 h 3901"/>
              <a:gd name="T58" fmla="*/ 975 w 5652"/>
              <a:gd name="T59" fmla="*/ 2801 h 3901"/>
              <a:gd name="T60" fmla="*/ 1325 w 5652"/>
              <a:gd name="T61" fmla="*/ 2875 h 3901"/>
              <a:gd name="T62" fmla="*/ 1450 w 5652"/>
              <a:gd name="T63" fmla="*/ 2875 h 3901"/>
              <a:gd name="T64" fmla="*/ 1700 w 5652"/>
              <a:gd name="T65" fmla="*/ 2875 h 3901"/>
              <a:gd name="T66" fmla="*/ 2000 w 5652"/>
              <a:gd name="T67" fmla="*/ 2775 h 3901"/>
              <a:gd name="T68" fmla="*/ 2150 w 5652"/>
              <a:gd name="T69" fmla="*/ 2875 h 3901"/>
              <a:gd name="T70" fmla="*/ 2125 w 5652"/>
              <a:gd name="T71" fmla="*/ 3249 h 3901"/>
              <a:gd name="T72" fmla="*/ 2276 w 5652"/>
              <a:gd name="T73" fmla="*/ 3424 h 3901"/>
              <a:gd name="T74" fmla="*/ 2425 w 5652"/>
              <a:gd name="T75" fmla="*/ 3524 h 3901"/>
              <a:gd name="T76" fmla="*/ 2576 w 5652"/>
              <a:gd name="T77" fmla="*/ 3424 h 3901"/>
              <a:gd name="T78" fmla="*/ 2850 w 5652"/>
              <a:gd name="T79" fmla="*/ 3374 h 3901"/>
              <a:gd name="T80" fmla="*/ 3076 w 5652"/>
              <a:gd name="T81" fmla="*/ 3549 h 3901"/>
              <a:gd name="T82" fmla="*/ 3250 w 5652"/>
              <a:gd name="T83" fmla="*/ 3574 h 3901"/>
              <a:gd name="T84" fmla="*/ 3626 w 5652"/>
              <a:gd name="T85" fmla="*/ 3424 h 3901"/>
              <a:gd name="T86" fmla="*/ 3976 w 5652"/>
              <a:gd name="T87" fmla="*/ 3300 h 3901"/>
              <a:gd name="T88" fmla="*/ 4201 w 5652"/>
              <a:gd name="T89" fmla="*/ 3125 h 3901"/>
              <a:gd name="T90" fmla="*/ 4301 w 5652"/>
              <a:gd name="T91" fmla="*/ 2925 h 3901"/>
              <a:gd name="T92" fmla="*/ 4426 w 5652"/>
              <a:gd name="T93" fmla="*/ 2701 h 3901"/>
              <a:gd name="T94" fmla="*/ 4401 w 5652"/>
              <a:gd name="T95" fmla="*/ 2601 h 3901"/>
              <a:gd name="T96" fmla="*/ 4401 w 5652"/>
              <a:gd name="T97" fmla="*/ 2500 h 3901"/>
              <a:gd name="T98" fmla="*/ 4150 w 5652"/>
              <a:gd name="T99" fmla="*/ 2175 h 3901"/>
              <a:gd name="T100" fmla="*/ 4351 w 5652"/>
              <a:gd name="T101" fmla="*/ 1975 h 3901"/>
              <a:gd name="T102" fmla="*/ 4201 w 5652"/>
              <a:gd name="T103" fmla="*/ 1925 h 3901"/>
              <a:gd name="T104" fmla="*/ 4150 w 5652"/>
              <a:gd name="T105" fmla="*/ 1675 h 3901"/>
              <a:gd name="T106" fmla="*/ 4351 w 5652"/>
              <a:gd name="T107" fmla="*/ 1725 h 3901"/>
              <a:gd name="T108" fmla="*/ 4651 w 5652"/>
              <a:gd name="T109" fmla="*/ 1575 h 3901"/>
              <a:gd name="T110" fmla="*/ 5026 w 5652"/>
              <a:gd name="T111" fmla="*/ 1425 h 3901"/>
              <a:gd name="T112" fmla="*/ 5251 w 5652"/>
              <a:gd name="T113" fmla="*/ 1300 h 3901"/>
              <a:gd name="T114" fmla="*/ 5276 w 5652"/>
              <a:gd name="T115" fmla="*/ 1125 h 3901"/>
              <a:gd name="T116" fmla="*/ 5501 w 5652"/>
              <a:gd name="T117" fmla="*/ 950 h 3901"/>
              <a:gd name="T118" fmla="*/ 4250 w 5652"/>
              <a:gd name="T119" fmla="*/ 3324 h 3901"/>
              <a:gd name="T120" fmla="*/ 4250 w 5652"/>
              <a:gd name="T121" fmla="*/ 3324 h 3901"/>
              <a:gd name="T122" fmla="*/ 3325 w 5652"/>
              <a:gd name="T123" fmla="*/ 3825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52" h="3901">
                <a:moveTo>
                  <a:pt x="5601" y="675"/>
                </a:moveTo>
                <a:lnTo>
                  <a:pt x="5601" y="675"/>
                </a:lnTo>
                <a:cubicBezTo>
                  <a:pt x="5601" y="625"/>
                  <a:pt x="5551" y="650"/>
                  <a:pt x="5526" y="675"/>
                </a:cubicBezTo>
                <a:cubicBezTo>
                  <a:pt x="5526" y="675"/>
                  <a:pt x="5451" y="675"/>
                  <a:pt x="5451" y="700"/>
                </a:cubicBezTo>
                <a:cubicBezTo>
                  <a:pt x="5426" y="725"/>
                  <a:pt x="5401" y="725"/>
                  <a:pt x="5351" y="725"/>
                </a:cubicBezTo>
                <a:cubicBezTo>
                  <a:pt x="5326" y="725"/>
                  <a:pt x="5276" y="700"/>
                  <a:pt x="5276" y="675"/>
                </a:cubicBezTo>
                <a:cubicBezTo>
                  <a:pt x="5276" y="650"/>
                  <a:pt x="5251" y="625"/>
                  <a:pt x="5251" y="600"/>
                </a:cubicBezTo>
                <a:cubicBezTo>
                  <a:pt x="5251" y="575"/>
                  <a:pt x="5201" y="575"/>
                  <a:pt x="5176" y="550"/>
                </a:cubicBezTo>
                <a:cubicBezTo>
                  <a:pt x="5151" y="525"/>
                  <a:pt x="5101" y="499"/>
                  <a:pt x="5076" y="525"/>
                </a:cubicBezTo>
                <a:cubicBezTo>
                  <a:pt x="5076" y="525"/>
                  <a:pt x="5051" y="475"/>
                  <a:pt x="5001" y="475"/>
                </a:cubicBezTo>
                <a:cubicBezTo>
                  <a:pt x="4951" y="475"/>
                  <a:pt x="4951" y="450"/>
                  <a:pt x="4951" y="425"/>
                </a:cubicBezTo>
                <a:cubicBezTo>
                  <a:pt x="4976" y="399"/>
                  <a:pt x="4926" y="350"/>
                  <a:pt x="4901" y="325"/>
                </a:cubicBezTo>
                <a:cubicBezTo>
                  <a:pt x="4901" y="275"/>
                  <a:pt x="4876" y="275"/>
                  <a:pt x="4851" y="200"/>
                </a:cubicBezTo>
                <a:cubicBezTo>
                  <a:pt x="4851" y="125"/>
                  <a:pt x="4801" y="150"/>
                  <a:pt x="4801" y="125"/>
                </a:cubicBezTo>
                <a:cubicBezTo>
                  <a:pt x="4826" y="74"/>
                  <a:pt x="4776" y="74"/>
                  <a:pt x="4751" y="50"/>
                </a:cubicBezTo>
                <a:cubicBezTo>
                  <a:pt x="4726" y="25"/>
                  <a:pt x="4676" y="50"/>
                  <a:pt x="4626" y="25"/>
                </a:cubicBezTo>
                <a:cubicBezTo>
                  <a:pt x="4601" y="0"/>
                  <a:pt x="4576" y="0"/>
                  <a:pt x="4526" y="0"/>
                </a:cubicBezTo>
                <a:cubicBezTo>
                  <a:pt x="4501" y="0"/>
                  <a:pt x="4401" y="0"/>
                  <a:pt x="4401" y="0"/>
                </a:cubicBezTo>
                <a:cubicBezTo>
                  <a:pt x="4376" y="0"/>
                  <a:pt x="4301" y="0"/>
                  <a:pt x="4275" y="50"/>
                </a:cubicBezTo>
                <a:cubicBezTo>
                  <a:pt x="4226" y="100"/>
                  <a:pt x="4275" y="100"/>
                  <a:pt x="4275" y="100"/>
                </a:cubicBezTo>
                <a:cubicBezTo>
                  <a:pt x="4301" y="100"/>
                  <a:pt x="4301" y="150"/>
                  <a:pt x="4301" y="174"/>
                </a:cubicBezTo>
                <a:cubicBezTo>
                  <a:pt x="4301" y="174"/>
                  <a:pt x="4275" y="200"/>
                  <a:pt x="4275" y="225"/>
                </a:cubicBezTo>
                <a:cubicBezTo>
                  <a:pt x="4250" y="225"/>
                  <a:pt x="4226" y="275"/>
                  <a:pt x="4201" y="300"/>
                </a:cubicBezTo>
                <a:cubicBezTo>
                  <a:pt x="4201" y="325"/>
                  <a:pt x="4150" y="375"/>
                  <a:pt x="4176" y="399"/>
                </a:cubicBezTo>
                <a:cubicBezTo>
                  <a:pt x="4176" y="425"/>
                  <a:pt x="4150" y="450"/>
                  <a:pt x="4126" y="450"/>
                </a:cubicBezTo>
                <a:cubicBezTo>
                  <a:pt x="4101" y="450"/>
                  <a:pt x="4050" y="475"/>
                  <a:pt x="4026" y="499"/>
                </a:cubicBezTo>
                <a:lnTo>
                  <a:pt x="3950" y="475"/>
                </a:lnTo>
                <a:cubicBezTo>
                  <a:pt x="3950" y="450"/>
                  <a:pt x="3926" y="450"/>
                  <a:pt x="3926" y="450"/>
                </a:cubicBezTo>
                <a:cubicBezTo>
                  <a:pt x="3850" y="600"/>
                  <a:pt x="3850" y="600"/>
                  <a:pt x="3850" y="600"/>
                </a:cubicBezTo>
                <a:cubicBezTo>
                  <a:pt x="3850" y="650"/>
                  <a:pt x="3850" y="650"/>
                  <a:pt x="3850" y="650"/>
                </a:cubicBezTo>
                <a:cubicBezTo>
                  <a:pt x="3850" y="650"/>
                  <a:pt x="3801" y="650"/>
                  <a:pt x="3826" y="700"/>
                </a:cubicBezTo>
                <a:cubicBezTo>
                  <a:pt x="3876" y="725"/>
                  <a:pt x="3876" y="700"/>
                  <a:pt x="3926" y="700"/>
                </a:cubicBezTo>
                <a:cubicBezTo>
                  <a:pt x="3976" y="700"/>
                  <a:pt x="4001" y="750"/>
                  <a:pt x="4026" y="700"/>
                </a:cubicBezTo>
                <a:cubicBezTo>
                  <a:pt x="4026" y="675"/>
                  <a:pt x="4076" y="675"/>
                  <a:pt x="4101" y="700"/>
                </a:cubicBezTo>
                <a:cubicBezTo>
                  <a:pt x="4126" y="725"/>
                  <a:pt x="4226" y="800"/>
                  <a:pt x="4226" y="825"/>
                </a:cubicBezTo>
                <a:cubicBezTo>
                  <a:pt x="4226" y="850"/>
                  <a:pt x="4176" y="850"/>
                  <a:pt x="4126" y="850"/>
                </a:cubicBezTo>
                <a:cubicBezTo>
                  <a:pt x="4101" y="825"/>
                  <a:pt x="4050" y="875"/>
                  <a:pt x="4001" y="875"/>
                </a:cubicBezTo>
                <a:cubicBezTo>
                  <a:pt x="3976" y="875"/>
                  <a:pt x="3926" y="875"/>
                  <a:pt x="3901" y="900"/>
                </a:cubicBezTo>
                <a:cubicBezTo>
                  <a:pt x="3850" y="950"/>
                  <a:pt x="3876" y="975"/>
                  <a:pt x="3801" y="1000"/>
                </a:cubicBezTo>
                <a:cubicBezTo>
                  <a:pt x="3750" y="1000"/>
                  <a:pt x="3726" y="1000"/>
                  <a:pt x="3676" y="1025"/>
                </a:cubicBezTo>
                <a:cubicBezTo>
                  <a:pt x="3601" y="1075"/>
                  <a:pt x="3550" y="1050"/>
                  <a:pt x="3526" y="1050"/>
                </a:cubicBezTo>
                <a:cubicBezTo>
                  <a:pt x="3501" y="1025"/>
                  <a:pt x="3450" y="1025"/>
                  <a:pt x="3425" y="1075"/>
                </a:cubicBezTo>
                <a:cubicBezTo>
                  <a:pt x="3401" y="1100"/>
                  <a:pt x="3450" y="1125"/>
                  <a:pt x="3450" y="1175"/>
                </a:cubicBezTo>
                <a:cubicBezTo>
                  <a:pt x="3450" y="1225"/>
                  <a:pt x="3376" y="1225"/>
                  <a:pt x="3350" y="1275"/>
                </a:cubicBezTo>
                <a:cubicBezTo>
                  <a:pt x="3301" y="1325"/>
                  <a:pt x="3201" y="1350"/>
                  <a:pt x="3176" y="1350"/>
                </a:cubicBezTo>
                <a:cubicBezTo>
                  <a:pt x="3125" y="1325"/>
                  <a:pt x="3025" y="1300"/>
                  <a:pt x="2950" y="1350"/>
                </a:cubicBezTo>
                <a:cubicBezTo>
                  <a:pt x="2876" y="1375"/>
                  <a:pt x="2825" y="1450"/>
                  <a:pt x="2801" y="1425"/>
                </a:cubicBezTo>
                <a:cubicBezTo>
                  <a:pt x="2776" y="1425"/>
                  <a:pt x="2776" y="1400"/>
                  <a:pt x="2725" y="1400"/>
                </a:cubicBezTo>
                <a:cubicBezTo>
                  <a:pt x="2676" y="1400"/>
                  <a:pt x="2650" y="1400"/>
                  <a:pt x="2625" y="1375"/>
                </a:cubicBezTo>
                <a:cubicBezTo>
                  <a:pt x="2601" y="1350"/>
                  <a:pt x="2576" y="1375"/>
                  <a:pt x="2525" y="1350"/>
                </a:cubicBezTo>
                <a:cubicBezTo>
                  <a:pt x="2476" y="1300"/>
                  <a:pt x="2400" y="1325"/>
                  <a:pt x="2350" y="1300"/>
                </a:cubicBezTo>
                <a:cubicBezTo>
                  <a:pt x="2325" y="1300"/>
                  <a:pt x="2176" y="1300"/>
                  <a:pt x="2125" y="1300"/>
                </a:cubicBezTo>
                <a:cubicBezTo>
                  <a:pt x="2076" y="1300"/>
                  <a:pt x="2000" y="1325"/>
                  <a:pt x="2000" y="1300"/>
                </a:cubicBezTo>
                <a:cubicBezTo>
                  <a:pt x="2000" y="1275"/>
                  <a:pt x="1976" y="1250"/>
                  <a:pt x="1950" y="1200"/>
                </a:cubicBezTo>
                <a:cubicBezTo>
                  <a:pt x="1950" y="1150"/>
                  <a:pt x="1900" y="1125"/>
                  <a:pt x="1876" y="1125"/>
                </a:cubicBezTo>
                <a:cubicBezTo>
                  <a:pt x="1850" y="1100"/>
                  <a:pt x="1850" y="1075"/>
                  <a:pt x="1825" y="1075"/>
                </a:cubicBezTo>
                <a:cubicBezTo>
                  <a:pt x="1800" y="1075"/>
                  <a:pt x="1800" y="1025"/>
                  <a:pt x="1750" y="1025"/>
                </a:cubicBezTo>
                <a:cubicBezTo>
                  <a:pt x="1700" y="1025"/>
                  <a:pt x="1550" y="1025"/>
                  <a:pt x="1525" y="975"/>
                </a:cubicBezTo>
                <a:cubicBezTo>
                  <a:pt x="1525" y="950"/>
                  <a:pt x="1550" y="950"/>
                  <a:pt x="1550" y="900"/>
                </a:cubicBezTo>
                <a:cubicBezTo>
                  <a:pt x="1550" y="875"/>
                  <a:pt x="1575" y="825"/>
                  <a:pt x="1575" y="800"/>
                </a:cubicBezTo>
                <a:cubicBezTo>
                  <a:pt x="1550" y="800"/>
                  <a:pt x="1525" y="775"/>
                  <a:pt x="1525" y="750"/>
                </a:cubicBezTo>
                <a:cubicBezTo>
                  <a:pt x="1500" y="700"/>
                  <a:pt x="1475" y="675"/>
                  <a:pt x="1425" y="675"/>
                </a:cubicBezTo>
                <a:cubicBezTo>
                  <a:pt x="1400" y="675"/>
                  <a:pt x="1375" y="650"/>
                  <a:pt x="1350" y="625"/>
                </a:cubicBezTo>
                <a:cubicBezTo>
                  <a:pt x="1325" y="600"/>
                  <a:pt x="1300" y="600"/>
                  <a:pt x="1275" y="550"/>
                </a:cubicBezTo>
                <a:cubicBezTo>
                  <a:pt x="1275" y="525"/>
                  <a:pt x="1275" y="525"/>
                  <a:pt x="1275" y="525"/>
                </a:cubicBezTo>
                <a:lnTo>
                  <a:pt x="1250" y="525"/>
                </a:lnTo>
                <a:cubicBezTo>
                  <a:pt x="1225" y="525"/>
                  <a:pt x="1225" y="525"/>
                  <a:pt x="1225" y="499"/>
                </a:cubicBezTo>
                <a:cubicBezTo>
                  <a:pt x="1200" y="525"/>
                  <a:pt x="1175" y="550"/>
                  <a:pt x="1175" y="575"/>
                </a:cubicBezTo>
                <a:cubicBezTo>
                  <a:pt x="1175" y="600"/>
                  <a:pt x="1175" y="625"/>
                  <a:pt x="1150" y="625"/>
                </a:cubicBezTo>
                <a:cubicBezTo>
                  <a:pt x="1125" y="625"/>
                  <a:pt x="1075" y="650"/>
                  <a:pt x="1075" y="700"/>
                </a:cubicBezTo>
                <a:cubicBezTo>
                  <a:pt x="1075" y="750"/>
                  <a:pt x="1100" y="750"/>
                  <a:pt x="1100" y="775"/>
                </a:cubicBezTo>
                <a:cubicBezTo>
                  <a:pt x="1075" y="800"/>
                  <a:pt x="1025" y="800"/>
                  <a:pt x="1000" y="800"/>
                </a:cubicBezTo>
                <a:cubicBezTo>
                  <a:pt x="1000" y="800"/>
                  <a:pt x="950" y="800"/>
                  <a:pt x="925" y="800"/>
                </a:cubicBezTo>
                <a:cubicBezTo>
                  <a:pt x="900" y="800"/>
                  <a:pt x="875" y="750"/>
                  <a:pt x="850" y="800"/>
                </a:cubicBezTo>
                <a:cubicBezTo>
                  <a:pt x="850" y="825"/>
                  <a:pt x="775" y="950"/>
                  <a:pt x="800" y="975"/>
                </a:cubicBezTo>
                <a:cubicBezTo>
                  <a:pt x="825" y="975"/>
                  <a:pt x="825" y="1025"/>
                  <a:pt x="800" y="1025"/>
                </a:cubicBezTo>
                <a:cubicBezTo>
                  <a:pt x="775" y="1025"/>
                  <a:pt x="750" y="1025"/>
                  <a:pt x="725" y="1000"/>
                </a:cubicBezTo>
                <a:cubicBezTo>
                  <a:pt x="725" y="975"/>
                  <a:pt x="675" y="1025"/>
                  <a:pt x="650" y="1025"/>
                </a:cubicBezTo>
                <a:cubicBezTo>
                  <a:pt x="625" y="1025"/>
                  <a:pt x="575" y="1050"/>
                  <a:pt x="600" y="1050"/>
                </a:cubicBezTo>
                <a:cubicBezTo>
                  <a:pt x="600" y="1075"/>
                  <a:pt x="600" y="1125"/>
                  <a:pt x="600" y="1125"/>
                </a:cubicBezTo>
                <a:cubicBezTo>
                  <a:pt x="600" y="1150"/>
                  <a:pt x="650" y="1225"/>
                  <a:pt x="650" y="1250"/>
                </a:cubicBezTo>
                <a:cubicBezTo>
                  <a:pt x="650" y="1250"/>
                  <a:pt x="600" y="1275"/>
                  <a:pt x="600" y="1300"/>
                </a:cubicBezTo>
                <a:cubicBezTo>
                  <a:pt x="600" y="1350"/>
                  <a:pt x="600" y="1375"/>
                  <a:pt x="600" y="1375"/>
                </a:cubicBezTo>
                <a:cubicBezTo>
                  <a:pt x="575" y="1375"/>
                  <a:pt x="525" y="1400"/>
                  <a:pt x="500" y="1400"/>
                </a:cubicBezTo>
                <a:cubicBezTo>
                  <a:pt x="475" y="1425"/>
                  <a:pt x="450" y="1425"/>
                  <a:pt x="425" y="1450"/>
                </a:cubicBezTo>
                <a:cubicBezTo>
                  <a:pt x="425" y="1475"/>
                  <a:pt x="400" y="1500"/>
                  <a:pt x="350" y="1500"/>
                </a:cubicBezTo>
                <a:cubicBezTo>
                  <a:pt x="325" y="1500"/>
                  <a:pt x="300" y="1475"/>
                  <a:pt x="275" y="1525"/>
                </a:cubicBezTo>
                <a:cubicBezTo>
                  <a:pt x="250" y="1550"/>
                  <a:pt x="250" y="1550"/>
                  <a:pt x="225" y="1550"/>
                </a:cubicBezTo>
                <a:cubicBezTo>
                  <a:pt x="200" y="1575"/>
                  <a:pt x="174" y="1550"/>
                  <a:pt x="150" y="1550"/>
                </a:cubicBezTo>
                <a:cubicBezTo>
                  <a:pt x="150" y="1525"/>
                  <a:pt x="125" y="1550"/>
                  <a:pt x="100" y="1550"/>
                </a:cubicBezTo>
                <a:cubicBezTo>
                  <a:pt x="100" y="1550"/>
                  <a:pt x="75" y="1575"/>
                  <a:pt x="50" y="1600"/>
                </a:cubicBezTo>
                <a:cubicBezTo>
                  <a:pt x="25" y="1600"/>
                  <a:pt x="0" y="1600"/>
                  <a:pt x="0" y="1625"/>
                </a:cubicBezTo>
                <a:lnTo>
                  <a:pt x="0" y="1650"/>
                </a:lnTo>
                <a:lnTo>
                  <a:pt x="0" y="1650"/>
                </a:lnTo>
                <a:cubicBezTo>
                  <a:pt x="0" y="1750"/>
                  <a:pt x="0" y="1750"/>
                  <a:pt x="0" y="1750"/>
                </a:cubicBezTo>
                <a:cubicBezTo>
                  <a:pt x="0" y="1750"/>
                  <a:pt x="100" y="1775"/>
                  <a:pt x="100" y="1800"/>
                </a:cubicBezTo>
                <a:cubicBezTo>
                  <a:pt x="100" y="1825"/>
                  <a:pt x="125" y="1925"/>
                  <a:pt x="125" y="1925"/>
                </a:cubicBezTo>
                <a:lnTo>
                  <a:pt x="125" y="1925"/>
                </a:lnTo>
                <a:cubicBezTo>
                  <a:pt x="150" y="1950"/>
                  <a:pt x="200" y="1975"/>
                  <a:pt x="200" y="2000"/>
                </a:cubicBezTo>
                <a:cubicBezTo>
                  <a:pt x="200" y="2000"/>
                  <a:pt x="200" y="2050"/>
                  <a:pt x="250" y="2075"/>
                </a:cubicBezTo>
                <a:cubicBezTo>
                  <a:pt x="275" y="2075"/>
                  <a:pt x="300" y="2100"/>
                  <a:pt x="325" y="2100"/>
                </a:cubicBezTo>
                <a:lnTo>
                  <a:pt x="325" y="2100"/>
                </a:lnTo>
                <a:cubicBezTo>
                  <a:pt x="375" y="2100"/>
                  <a:pt x="375" y="2100"/>
                  <a:pt x="375" y="2100"/>
                </a:cubicBezTo>
                <a:cubicBezTo>
                  <a:pt x="375" y="2100"/>
                  <a:pt x="375" y="2100"/>
                  <a:pt x="400" y="2125"/>
                </a:cubicBezTo>
                <a:cubicBezTo>
                  <a:pt x="400" y="2075"/>
                  <a:pt x="450" y="2050"/>
                  <a:pt x="500" y="2050"/>
                </a:cubicBezTo>
                <a:cubicBezTo>
                  <a:pt x="525" y="2050"/>
                  <a:pt x="600" y="2125"/>
                  <a:pt x="600" y="2150"/>
                </a:cubicBezTo>
                <a:cubicBezTo>
                  <a:pt x="600" y="2175"/>
                  <a:pt x="525" y="2250"/>
                  <a:pt x="500" y="2250"/>
                </a:cubicBezTo>
                <a:lnTo>
                  <a:pt x="475" y="2250"/>
                </a:lnTo>
                <a:cubicBezTo>
                  <a:pt x="475" y="2275"/>
                  <a:pt x="475" y="2275"/>
                  <a:pt x="475" y="2300"/>
                </a:cubicBezTo>
                <a:cubicBezTo>
                  <a:pt x="475" y="2300"/>
                  <a:pt x="500" y="2350"/>
                  <a:pt x="525" y="2375"/>
                </a:cubicBezTo>
                <a:cubicBezTo>
                  <a:pt x="525" y="2400"/>
                  <a:pt x="475" y="2425"/>
                  <a:pt x="450" y="2400"/>
                </a:cubicBezTo>
                <a:cubicBezTo>
                  <a:pt x="425" y="2375"/>
                  <a:pt x="425" y="2425"/>
                  <a:pt x="450" y="2450"/>
                </a:cubicBezTo>
                <a:cubicBezTo>
                  <a:pt x="450" y="2475"/>
                  <a:pt x="450" y="2525"/>
                  <a:pt x="475" y="2525"/>
                </a:cubicBezTo>
                <a:cubicBezTo>
                  <a:pt x="500" y="2525"/>
                  <a:pt x="525" y="2575"/>
                  <a:pt x="550" y="2575"/>
                </a:cubicBezTo>
                <a:cubicBezTo>
                  <a:pt x="575" y="2575"/>
                  <a:pt x="600" y="2625"/>
                  <a:pt x="600" y="2625"/>
                </a:cubicBezTo>
                <a:cubicBezTo>
                  <a:pt x="600" y="2625"/>
                  <a:pt x="650" y="2650"/>
                  <a:pt x="650" y="2675"/>
                </a:cubicBezTo>
                <a:lnTo>
                  <a:pt x="650" y="2675"/>
                </a:lnTo>
                <a:cubicBezTo>
                  <a:pt x="675" y="2675"/>
                  <a:pt x="700" y="2675"/>
                  <a:pt x="700" y="2650"/>
                </a:cubicBezTo>
                <a:cubicBezTo>
                  <a:pt x="700" y="2650"/>
                  <a:pt x="750" y="2650"/>
                  <a:pt x="775" y="2675"/>
                </a:cubicBezTo>
                <a:cubicBezTo>
                  <a:pt x="800" y="2701"/>
                  <a:pt x="925" y="2775"/>
                  <a:pt x="975" y="2801"/>
                </a:cubicBezTo>
                <a:cubicBezTo>
                  <a:pt x="1000" y="2850"/>
                  <a:pt x="1125" y="2875"/>
                  <a:pt x="1150" y="2875"/>
                </a:cubicBezTo>
                <a:cubicBezTo>
                  <a:pt x="1175" y="2875"/>
                  <a:pt x="1225" y="2901"/>
                  <a:pt x="1275" y="2901"/>
                </a:cubicBezTo>
                <a:cubicBezTo>
                  <a:pt x="1275" y="2901"/>
                  <a:pt x="1275" y="2901"/>
                  <a:pt x="1300" y="2901"/>
                </a:cubicBezTo>
                <a:cubicBezTo>
                  <a:pt x="1300" y="2901"/>
                  <a:pt x="1325" y="2901"/>
                  <a:pt x="1325" y="2875"/>
                </a:cubicBezTo>
                <a:cubicBezTo>
                  <a:pt x="1350" y="2850"/>
                  <a:pt x="1350" y="2901"/>
                  <a:pt x="1350" y="2925"/>
                </a:cubicBezTo>
                <a:cubicBezTo>
                  <a:pt x="1350" y="2950"/>
                  <a:pt x="1350" y="2950"/>
                  <a:pt x="1350" y="2975"/>
                </a:cubicBezTo>
                <a:cubicBezTo>
                  <a:pt x="1375" y="2950"/>
                  <a:pt x="1375" y="2950"/>
                  <a:pt x="1375" y="2925"/>
                </a:cubicBezTo>
                <a:cubicBezTo>
                  <a:pt x="1400" y="2875"/>
                  <a:pt x="1425" y="2901"/>
                  <a:pt x="1450" y="2875"/>
                </a:cubicBezTo>
                <a:cubicBezTo>
                  <a:pt x="1475" y="2850"/>
                  <a:pt x="1475" y="2875"/>
                  <a:pt x="1525" y="2875"/>
                </a:cubicBezTo>
                <a:cubicBezTo>
                  <a:pt x="1550" y="2901"/>
                  <a:pt x="1575" y="2875"/>
                  <a:pt x="1625" y="2925"/>
                </a:cubicBezTo>
                <a:cubicBezTo>
                  <a:pt x="1650" y="2901"/>
                  <a:pt x="1650" y="2901"/>
                  <a:pt x="1675" y="2901"/>
                </a:cubicBezTo>
                <a:lnTo>
                  <a:pt x="1700" y="2875"/>
                </a:lnTo>
                <a:cubicBezTo>
                  <a:pt x="1725" y="2850"/>
                  <a:pt x="1725" y="2825"/>
                  <a:pt x="1750" y="2825"/>
                </a:cubicBezTo>
                <a:cubicBezTo>
                  <a:pt x="1776" y="2825"/>
                  <a:pt x="1776" y="2801"/>
                  <a:pt x="1825" y="2775"/>
                </a:cubicBezTo>
                <a:cubicBezTo>
                  <a:pt x="1876" y="2750"/>
                  <a:pt x="1925" y="2801"/>
                  <a:pt x="1950" y="2775"/>
                </a:cubicBezTo>
                <a:cubicBezTo>
                  <a:pt x="1950" y="2750"/>
                  <a:pt x="2000" y="2750"/>
                  <a:pt x="2000" y="2775"/>
                </a:cubicBezTo>
                <a:cubicBezTo>
                  <a:pt x="2000" y="2775"/>
                  <a:pt x="2025" y="2801"/>
                  <a:pt x="2025" y="2825"/>
                </a:cubicBezTo>
                <a:cubicBezTo>
                  <a:pt x="2025" y="2850"/>
                  <a:pt x="2076" y="2850"/>
                  <a:pt x="2076" y="2850"/>
                </a:cubicBezTo>
                <a:lnTo>
                  <a:pt x="2100" y="2850"/>
                </a:lnTo>
                <a:cubicBezTo>
                  <a:pt x="2125" y="2825"/>
                  <a:pt x="2150" y="2850"/>
                  <a:pt x="2150" y="2875"/>
                </a:cubicBezTo>
                <a:cubicBezTo>
                  <a:pt x="2150" y="2901"/>
                  <a:pt x="2150" y="2925"/>
                  <a:pt x="2176" y="2925"/>
                </a:cubicBezTo>
                <a:cubicBezTo>
                  <a:pt x="2200" y="2925"/>
                  <a:pt x="2225" y="2925"/>
                  <a:pt x="2225" y="2975"/>
                </a:cubicBezTo>
                <a:cubicBezTo>
                  <a:pt x="2225" y="3025"/>
                  <a:pt x="2225" y="3075"/>
                  <a:pt x="2200" y="3101"/>
                </a:cubicBezTo>
                <a:cubicBezTo>
                  <a:pt x="2150" y="3150"/>
                  <a:pt x="2100" y="3224"/>
                  <a:pt x="2125" y="3249"/>
                </a:cubicBezTo>
                <a:cubicBezTo>
                  <a:pt x="2125" y="3249"/>
                  <a:pt x="2100" y="3300"/>
                  <a:pt x="2125" y="3274"/>
                </a:cubicBezTo>
                <a:cubicBezTo>
                  <a:pt x="2150" y="3274"/>
                  <a:pt x="2225" y="3274"/>
                  <a:pt x="2225" y="3300"/>
                </a:cubicBezTo>
                <a:cubicBezTo>
                  <a:pt x="2200" y="3324"/>
                  <a:pt x="2225" y="3374"/>
                  <a:pt x="2250" y="3374"/>
                </a:cubicBezTo>
                <a:cubicBezTo>
                  <a:pt x="2276" y="3374"/>
                  <a:pt x="2300" y="3400"/>
                  <a:pt x="2276" y="3424"/>
                </a:cubicBezTo>
                <a:cubicBezTo>
                  <a:pt x="2276" y="3449"/>
                  <a:pt x="2250" y="3474"/>
                  <a:pt x="2276" y="3474"/>
                </a:cubicBezTo>
                <a:cubicBezTo>
                  <a:pt x="2300" y="3474"/>
                  <a:pt x="2350" y="3474"/>
                  <a:pt x="2325" y="3500"/>
                </a:cubicBezTo>
                <a:cubicBezTo>
                  <a:pt x="2325" y="3524"/>
                  <a:pt x="2350" y="3549"/>
                  <a:pt x="2400" y="3549"/>
                </a:cubicBezTo>
                <a:cubicBezTo>
                  <a:pt x="2425" y="3524"/>
                  <a:pt x="2425" y="3524"/>
                  <a:pt x="2425" y="3524"/>
                </a:cubicBezTo>
                <a:cubicBezTo>
                  <a:pt x="2450" y="3524"/>
                  <a:pt x="2450" y="3574"/>
                  <a:pt x="2476" y="3574"/>
                </a:cubicBezTo>
                <a:cubicBezTo>
                  <a:pt x="2500" y="3574"/>
                  <a:pt x="2500" y="3500"/>
                  <a:pt x="2476" y="3500"/>
                </a:cubicBezTo>
                <a:lnTo>
                  <a:pt x="2500" y="3449"/>
                </a:lnTo>
                <a:cubicBezTo>
                  <a:pt x="2500" y="3474"/>
                  <a:pt x="2550" y="3449"/>
                  <a:pt x="2576" y="3424"/>
                </a:cubicBezTo>
                <a:cubicBezTo>
                  <a:pt x="2576" y="3400"/>
                  <a:pt x="2625" y="3449"/>
                  <a:pt x="2625" y="3424"/>
                </a:cubicBezTo>
                <a:cubicBezTo>
                  <a:pt x="2650" y="3400"/>
                  <a:pt x="2676" y="3449"/>
                  <a:pt x="2725" y="3424"/>
                </a:cubicBezTo>
                <a:cubicBezTo>
                  <a:pt x="2750" y="3400"/>
                  <a:pt x="2776" y="3449"/>
                  <a:pt x="2776" y="3400"/>
                </a:cubicBezTo>
                <a:cubicBezTo>
                  <a:pt x="2801" y="3374"/>
                  <a:pt x="2850" y="3349"/>
                  <a:pt x="2850" y="3374"/>
                </a:cubicBezTo>
                <a:cubicBezTo>
                  <a:pt x="2876" y="3374"/>
                  <a:pt x="2876" y="3400"/>
                  <a:pt x="2925" y="3400"/>
                </a:cubicBezTo>
                <a:cubicBezTo>
                  <a:pt x="3001" y="3400"/>
                  <a:pt x="2950" y="3449"/>
                  <a:pt x="2950" y="3449"/>
                </a:cubicBezTo>
                <a:cubicBezTo>
                  <a:pt x="2950" y="3474"/>
                  <a:pt x="3025" y="3524"/>
                  <a:pt x="3050" y="3524"/>
                </a:cubicBezTo>
                <a:cubicBezTo>
                  <a:pt x="3050" y="3524"/>
                  <a:pt x="3050" y="3524"/>
                  <a:pt x="3076" y="3549"/>
                </a:cubicBezTo>
                <a:cubicBezTo>
                  <a:pt x="3076" y="3524"/>
                  <a:pt x="3125" y="3549"/>
                  <a:pt x="3125" y="3524"/>
                </a:cubicBezTo>
                <a:cubicBezTo>
                  <a:pt x="3125" y="3500"/>
                  <a:pt x="3176" y="3524"/>
                  <a:pt x="3176" y="3524"/>
                </a:cubicBezTo>
                <a:cubicBezTo>
                  <a:pt x="3201" y="3549"/>
                  <a:pt x="3201" y="3549"/>
                  <a:pt x="3225" y="3524"/>
                </a:cubicBezTo>
                <a:cubicBezTo>
                  <a:pt x="3250" y="3500"/>
                  <a:pt x="3276" y="3549"/>
                  <a:pt x="3250" y="3574"/>
                </a:cubicBezTo>
                <a:cubicBezTo>
                  <a:pt x="3250" y="3574"/>
                  <a:pt x="3250" y="3624"/>
                  <a:pt x="3276" y="3649"/>
                </a:cubicBezTo>
                <a:cubicBezTo>
                  <a:pt x="3301" y="3674"/>
                  <a:pt x="3301" y="3649"/>
                  <a:pt x="3301" y="3624"/>
                </a:cubicBezTo>
                <a:cubicBezTo>
                  <a:pt x="3301" y="3600"/>
                  <a:pt x="3350" y="3574"/>
                  <a:pt x="3425" y="3524"/>
                </a:cubicBezTo>
                <a:cubicBezTo>
                  <a:pt x="3526" y="3500"/>
                  <a:pt x="3626" y="3449"/>
                  <a:pt x="3626" y="3424"/>
                </a:cubicBezTo>
                <a:cubicBezTo>
                  <a:pt x="3626" y="3424"/>
                  <a:pt x="3676" y="3449"/>
                  <a:pt x="3701" y="3424"/>
                </a:cubicBezTo>
                <a:cubicBezTo>
                  <a:pt x="3750" y="3400"/>
                  <a:pt x="3850" y="3400"/>
                  <a:pt x="3876" y="3400"/>
                </a:cubicBezTo>
                <a:cubicBezTo>
                  <a:pt x="3901" y="3400"/>
                  <a:pt x="3901" y="3374"/>
                  <a:pt x="3926" y="3349"/>
                </a:cubicBezTo>
                <a:cubicBezTo>
                  <a:pt x="3950" y="3324"/>
                  <a:pt x="3950" y="3324"/>
                  <a:pt x="3976" y="3300"/>
                </a:cubicBezTo>
                <a:cubicBezTo>
                  <a:pt x="4026" y="3300"/>
                  <a:pt x="4026" y="3274"/>
                  <a:pt x="4026" y="3249"/>
                </a:cubicBezTo>
                <a:lnTo>
                  <a:pt x="4101" y="3224"/>
                </a:lnTo>
                <a:cubicBezTo>
                  <a:pt x="4101" y="3199"/>
                  <a:pt x="4150" y="3199"/>
                  <a:pt x="4150" y="3174"/>
                </a:cubicBezTo>
                <a:cubicBezTo>
                  <a:pt x="4150" y="3150"/>
                  <a:pt x="4176" y="3150"/>
                  <a:pt x="4201" y="3125"/>
                </a:cubicBezTo>
                <a:cubicBezTo>
                  <a:pt x="4201" y="3125"/>
                  <a:pt x="4176" y="3075"/>
                  <a:pt x="4201" y="3050"/>
                </a:cubicBezTo>
                <a:cubicBezTo>
                  <a:pt x="4226" y="3050"/>
                  <a:pt x="4201" y="3025"/>
                  <a:pt x="4201" y="3025"/>
                </a:cubicBezTo>
                <a:cubicBezTo>
                  <a:pt x="4176" y="3001"/>
                  <a:pt x="4226" y="3001"/>
                  <a:pt x="4250" y="2975"/>
                </a:cubicBezTo>
                <a:cubicBezTo>
                  <a:pt x="4275" y="2975"/>
                  <a:pt x="4301" y="2950"/>
                  <a:pt x="4301" y="2925"/>
                </a:cubicBezTo>
                <a:cubicBezTo>
                  <a:pt x="4301" y="2901"/>
                  <a:pt x="4351" y="2875"/>
                  <a:pt x="4351" y="2875"/>
                </a:cubicBezTo>
                <a:cubicBezTo>
                  <a:pt x="4376" y="2850"/>
                  <a:pt x="4376" y="2825"/>
                  <a:pt x="4376" y="2775"/>
                </a:cubicBezTo>
                <a:cubicBezTo>
                  <a:pt x="4376" y="2750"/>
                  <a:pt x="4401" y="2775"/>
                  <a:pt x="4401" y="2750"/>
                </a:cubicBezTo>
                <a:cubicBezTo>
                  <a:pt x="4376" y="2750"/>
                  <a:pt x="4401" y="2701"/>
                  <a:pt x="4426" y="2701"/>
                </a:cubicBezTo>
                <a:cubicBezTo>
                  <a:pt x="4475" y="2675"/>
                  <a:pt x="4401" y="2675"/>
                  <a:pt x="4401" y="2675"/>
                </a:cubicBezTo>
                <a:cubicBezTo>
                  <a:pt x="4376" y="2701"/>
                  <a:pt x="4351" y="2650"/>
                  <a:pt x="4351" y="2675"/>
                </a:cubicBezTo>
                <a:cubicBezTo>
                  <a:pt x="4326" y="2675"/>
                  <a:pt x="4275" y="2650"/>
                  <a:pt x="4301" y="2650"/>
                </a:cubicBezTo>
                <a:cubicBezTo>
                  <a:pt x="4326" y="2625"/>
                  <a:pt x="4376" y="2601"/>
                  <a:pt x="4401" y="2601"/>
                </a:cubicBezTo>
                <a:cubicBezTo>
                  <a:pt x="4426" y="2601"/>
                  <a:pt x="4376" y="2550"/>
                  <a:pt x="4351" y="2550"/>
                </a:cubicBezTo>
                <a:cubicBezTo>
                  <a:pt x="4326" y="2550"/>
                  <a:pt x="4301" y="2475"/>
                  <a:pt x="4275" y="2475"/>
                </a:cubicBezTo>
                <a:cubicBezTo>
                  <a:pt x="4226" y="2475"/>
                  <a:pt x="4275" y="2475"/>
                  <a:pt x="4326" y="2475"/>
                </a:cubicBezTo>
                <a:cubicBezTo>
                  <a:pt x="4351" y="2500"/>
                  <a:pt x="4376" y="2500"/>
                  <a:pt x="4401" y="2500"/>
                </a:cubicBezTo>
                <a:cubicBezTo>
                  <a:pt x="4426" y="2475"/>
                  <a:pt x="4351" y="2425"/>
                  <a:pt x="4326" y="2400"/>
                </a:cubicBezTo>
                <a:cubicBezTo>
                  <a:pt x="4301" y="2400"/>
                  <a:pt x="4326" y="2350"/>
                  <a:pt x="4301" y="2350"/>
                </a:cubicBezTo>
                <a:cubicBezTo>
                  <a:pt x="4301" y="2350"/>
                  <a:pt x="4250" y="2275"/>
                  <a:pt x="4250" y="2225"/>
                </a:cubicBezTo>
                <a:cubicBezTo>
                  <a:pt x="4226" y="2200"/>
                  <a:pt x="4176" y="2200"/>
                  <a:pt x="4150" y="2175"/>
                </a:cubicBezTo>
                <a:cubicBezTo>
                  <a:pt x="4150" y="2150"/>
                  <a:pt x="4176" y="2100"/>
                  <a:pt x="4201" y="2100"/>
                </a:cubicBezTo>
                <a:cubicBezTo>
                  <a:pt x="4250" y="2075"/>
                  <a:pt x="4226" y="2025"/>
                  <a:pt x="4250" y="2050"/>
                </a:cubicBezTo>
                <a:cubicBezTo>
                  <a:pt x="4275" y="2050"/>
                  <a:pt x="4275" y="2025"/>
                  <a:pt x="4301" y="2000"/>
                </a:cubicBezTo>
                <a:cubicBezTo>
                  <a:pt x="4326" y="1975"/>
                  <a:pt x="4351" y="2000"/>
                  <a:pt x="4351" y="1975"/>
                </a:cubicBezTo>
                <a:cubicBezTo>
                  <a:pt x="4376" y="1950"/>
                  <a:pt x="4451" y="1950"/>
                  <a:pt x="4475" y="1950"/>
                </a:cubicBezTo>
                <a:cubicBezTo>
                  <a:pt x="4501" y="1925"/>
                  <a:pt x="4451" y="1875"/>
                  <a:pt x="4401" y="1875"/>
                </a:cubicBezTo>
                <a:cubicBezTo>
                  <a:pt x="4376" y="1900"/>
                  <a:pt x="4351" y="1875"/>
                  <a:pt x="4326" y="1850"/>
                </a:cubicBezTo>
                <a:cubicBezTo>
                  <a:pt x="4301" y="1825"/>
                  <a:pt x="4250" y="1900"/>
                  <a:pt x="4201" y="1925"/>
                </a:cubicBezTo>
                <a:cubicBezTo>
                  <a:pt x="4150" y="1950"/>
                  <a:pt x="4126" y="1900"/>
                  <a:pt x="4126" y="1850"/>
                </a:cubicBezTo>
                <a:cubicBezTo>
                  <a:pt x="4150" y="1825"/>
                  <a:pt x="4101" y="1825"/>
                  <a:pt x="4050" y="1825"/>
                </a:cubicBezTo>
                <a:cubicBezTo>
                  <a:pt x="3976" y="1825"/>
                  <a:pt x="4001" y="1700"/>
                  <a:pt x="4050" y="1700"/>
                </a:cubicBezTo>
                <a:cubicBezTo>
                  <a:pt x="4076" y="1700"/>
                  <a:pt x="4126" y="1750"/>
                  <a:pt x="4150" y="1675"/>
                </a:cubicBezTo>
                <a:cubicBezTo>
                  <a:pt x="4176" y="1600"/>
                  <a:pt x="4201" y="1650"/>
                  <a:pt x="4275" y="1600"/>
                </a:cubicBezTo>
                <a:cubicBezTo>
                  <a:pt x="4326" y="1525"/>
                  <a:pt x="4376" y="1500"/>
                  <a:pt x="4426" y="1525"/>
                </a:cubicBezTo>
                <a:cubicBezTo>
                  <a:pt x="4475" y="1575"/>
                  <a:pt x="4376" y="1625"/>
                  <a:pt x="4351" y="1650"/>
                </a:cubicBezTo>
                <a:cubicBezTo>
                  <a:pt x="4351" y="1700"/>
                  <a:pt x="4376" y="1700"/>
                  <a:pt x="4351" y="1725"/>
                </a:cubicBezTo>
                <a:cubicBezTo>
                  <a:pt x="4326" y="1750"/>
                  <a:pt x="4351" y="1775"/>
                  <a:pt x="4401" y="1725"/>
                </a:cubicBezTo>
                <a:cubicBezTo>
                  <a:pt x="4475" y="1700"/>
                  <a:pt x="4526" y="1650"/>
                  <a:pt x="4576" y="1625"/>
                </a:cubicBezTo>
                <a:cubicBezTo>
                  <a:pt x="4601" y="1625"/>
                  <a:pt x="4626" y="1625"/>
                  <a:pt x="4626" y="1625"/>
                </a:cubicBezTo>
                <a:cubicBezTo>
                  <a:pt x="4651" y="1600"/>
                  <a:pt x="4651" y="1600"/>
                  <a:pt x="4651" y="1575"/>
                </a:cubicBezTo>
                <a:cubicBezTo>
                  <a:pt x="4701" y="1575"/>
                  <a:pt x="4826" y="1500"/>
                  <a:pt x="4826" y="1475"/>
                </a:cubicBezTo>
                <a:cubicBezTo>
                  <a:pt x="4851" y="1475"/>
                  <a:pt x="4876" y="1425"/>
                  <a:pt x="4901" y="1425"/>
                </a:cubicBezTo>
                <a:cubicBezTo>
                  <a:pt x="4926" y="1425"/>
                  <a:pt x="4926" y="1450"/>
                  <a:pt x="4951" y="1450"/>
                </a:cubicBezTo>
                <a:cubicBezTo>
                  <a:pt x="5001" y="1450"/>
                  <a:pt x="5026" y="1450"/>
                  <a:pt x="5026" y="1425"/>
                </a:cubicBezTo>
                <a:cubicBezTo>
                  <a:pt x="5001" y="1400"/>
                  <a:pt x="5001" y="1400"/>
                  <a:pt x="5051" y="1400"/>
                </a:cubicBezTo>
                <a:cubicBezTo>
                  <a:pt x="5101" y="1375"/>
                  <a:pt x="5076" y="1350"/>
                  <a:pt x="5126" y="1350"/>
                </a:cubicBezTo>
                <a:cubicBezTo>
                  <a:pt x="5151" y="1350"/>
                  <a:pt x="5151" y="1275"/>
                  <a:pt x="5176" y="1275"/>
                </a:cubicBezTo>
                <a:cubicBezTo>
                  <a:pt x="5201" y="1275"/>
                  <a:pt x="5226" y="1300"/>
                  <a:pt x="5251" y="1300"/>
                </a:cubicBezTo>
                <a:lnTo>
                  <a:pt x="5276" y="1300"/>
                </a:lnTo>
                <a:cubicBezTo>
                  <a:pt x="5276" y="1300"/>
                  <a:pt x="5301" y="1300"/>
                  <a:pt x="5301" y="1275"/>
                </a:cubicBezTo>
                <a:cubicBezTo>
                  <a:pt x="5301" y="1250"/>
                  <a:pt x="5301" y="1225"/>
                  <a:pt x="5301" y="1200"/>
                </a:cubicBezTo>
                <a:cubicBezTo>
                  <a:pt x="5276" y="1175"/>
                  <a:pt x="5301" y="1150"/>
                  <a:pt x="5276" y="1125"/>
                </a:cubicBezTo>
                <a:cubicBezTo>
                  <a:pt x="5276" y="1100"/>
                  <a:pt x="5276" y="1050"/>
                  <a:pt x="5301" y="1050"/>
                </a:cubicBezTo>
                <a:cubicBezTo>
                  <a:pt x="5326" y="1050"/>
                  <a:pt x="5351" y="1000"/>
                  <a:pt x="5376" y="1025"/>
                </a:cubicBezTo>
                <a:cubicBezTo>
                  <a:pt x="5401" y="1025"/>
                  <a:pt x="5451" y="1050"/>
                  <a:pt x="5451" y="1025"/>
                </a:cubicBezTo>
                <a:cubicBezTo>
                  <a:pt x="5451" y="1000"/>
                  <a:pt x="5501" y="1000"/>
                  <a:pt x="5501" y="950"/>
                </a:cubicBezTo>
                <a:cubicBezTo>
                  <a:pt x="5501" y="925"/>
                  <a:pt x="5551" y="925"/>
                  <a:pt x="5551" y="875"/>
                </a:cubicBezTo>
                <a:cubicBezTo>
                  <a:pt x="5576" y="850"/>
                  <a:pt x="5576" y="775"/>
                  <a:pt x="5601" y="775"/>
                </a:cubicBezTo>
                <a:cubicBezTo>
                  <a:pt x="5651" y="750"/>
                  <a:pt x="5601" y="725"/>
                  <a:pt x="5601" y="675"/>
                </a:cubicBezTo>
                <a:close/>
                <a:moveTo>
                  <a:pt x="4250" y="3324"/>
                </a:moveTo>
                <a:lnTo>
                  <a:pt x="4250" y="3324"/>
                </a:lnTo>
                <a:cubicBezTo>
                  <a:pt x="4226" y="3424"/>
                  <a:pt x="4301" y="3474"/>
                  <a:pt x="4301" y="3474"/>
                </a:cubicBezTo>
                <a:cubicBezTo>
                  <a:pt x="4326" y="3449"/>
                  <a:pt x="4451" y="3224"/>
                  <a:pt x="4426" y="3174"/>
                </a:cubicBezTo>
                <a:cubicBezTo>
                  <a:pt x="4401" y="3150"/>
                  <a:pt x="4275" y="3199"/>
                  <a:pt x="4250" y="3324"/>
                </a:cubicBezTo>
                <a:close/>
                <a:moveTo>
                  <a:pt x="3250" y="3700"/>
                </a:moveTo>
                <a:lnTo>
                  <a:pt x="3250" y="3700"/>
                </a:lnTo>
                <a:cubicBezTo>
                  <a:pt x="3225" y="3700"/>
                  <a:pt x="3125" y="3749"/>
                  <a:pt x="3176" y="3825"/>
                </a:cubicBezTo>
                <a:cubicBezTo>
                  <a:pt x="3201" y="3900"/>
                  <a:pt x="3325" y="3849"/>
                  <a:pt x="3325" y="3825"/>
                </a:cubicBezTo>
                <a:cubicBezTo>
                  <a:pt x="3325" y="3774"/>
                  <a:pt x="3376" y="3724"/>
                  <a:pt x="3376" y="3700"/>
                </a:cubicBezTo>
                <a:cubicBezTo>
                  <a:pt x="3376" y="3674"/>
                  <a:pt x="3301" y="3700"/>
                  <a:pt x="3250" y="3700"/>
                </a:cubicBezTo>
                <a:close/>
              </a:path>
            </a:pathLst>
          </a:custGeom>
          <a:solidFill>
            <a:schemeClr val="accent3">
              <a:lumMod val="75000"/>
            </a:schemeClr>
          </a:solidFill>
          <a:ln w="317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66" name="Freeform 240">
            <a:extLst>
              <a:ext uri="{FF2B5EF4-FFF2-40B4-BE49-F238E27FC236}">
                <a16:creationId xmlns:a16="http://schemas.microsoft.com/office/drawing/2014/main" id="{7B5F6298-D3B3-3040-AA5F-217F6C766104}"/>
              </a:ext>
            </a:extLst>
          </p:cNvPr>
          <p:cNvSpPr>
            <a:spLocks noChangeArrowheads="1"/>
          </p:cNvSpPr>
          <p:nvPr/>
        </p:nvSpPr>
        <p:spPr bwMode="auto">
          <a:xfrm>
            <a:off x="9513165" y="3617104"/>
            <a:ext cx="119531" cy="143437"/>
          </a:xfrm>
          <a:custGeom>
            <a:avLst/>
            <a:gdLst>
              <a:gd name="T0" fmla="*/ 100 w 376"/>
              <a:gd name="T1" fmla="*/ 50 h 451"/>
              <a:gd name="T2" fmla="*/ 100 w 376"/>
              <a:gd name="T3" fmla="*/ 50 h 451"/>
              <a:gd name="T4" fmla="*/ 50 w 376"/>
              <a:gd name="T5" fmla="*/ 75 h 451"/>
              <a:gd name="T6" fmla="*/ 75 w 376"/>
              <a:gd name="T7" fmla="*/ 125 h 451"/>
              <a:gd name="T8" fmla="*/ 75 w 376"/>
              <a:gd name="T9" fmla="*/ 175 h 451"/>
              <a:gd name="T10" fmla="*/ 50 w 376"/>
              <a:gd name="T11" fmla="*/ 250 h 451"/>
              <a:gd name="T12" fmla="*/ 25 w 376"/>
              <a:gd name="T13" fmla="*/ 375 h 451"/>
              <a:gd name="T14" fmla="*/ 50 w 376"/>
              <a:gd name="T15" fmla="*/ 425 h 451"/>
              <a:gd name="T16" fmla="*/ 225 w 376"/>
              <a:gd name="T17" fmla="*/ 375 h 451"/>
              <a:gd name="T18" fmla="*/ 325 w 376"/>
              <a:gd name="T19" fmla="*/ 350 h 451"/>
              <a:gd name="T20" fmla="*/ 350 w 376"/>
              <a:gd name="T21" fmla="*/ 300 h 451"/>
              <a:gd name="T22" fmla="*/ 325 w 376"/>
              <a:gd name="T23" fmla="*/ 175 h 451"/>
              <a:gd name="T24" fmla="*/ 225 w 376"/>
              <a:gd name="T25" fmla="*/ 0 h 451"/>
              <a:gd name="T26" fmla="*/ 175 w 376"/>
              <a:gd name="T27" fmla="*/ 25 h 451"/>
              <a:gd name="T28" fmla="*/ 100 w 376"/>
              <a:gd name="T29" fmla="*/ 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6" h="451">
                <a:moveTo>
                  <a:pt x="100" y="50"/>
                </a:moveTo>
                <a:lnTo>
                  <a:pt x="100" y="50"/>
                </a:lnTo>
                <a:lnTo>
                  <a:pt x="50" y="75"/>
                </a:lnTo>
                <a:cubicBezTo>
                  <a:pt x="50" y="100"/>
                  <a:pt x="50" y="125"/>
                  <a:pt x="75" y="125"/>
                </a:cubicBezTo>
                <a:cubicBezTo>
                  <a:pt x="100" y="125"/>
                  <a:pt x="100" y="175"/>
                  <a:pt x="75" y="175"/>
                </a:cubicBezTo>
                <a:cubicBezTo>
                  <a:pt x="25" y="175"/>
                  <a:pt x="25" y="225"/>
                  <a:pt x="50" y="250"/>
                </a:cubicBezTo>
                <a:cubicBezTo>
                  <a:pt x="100" y="300"/>
                  <a:pt x="0" y="350"/>
                  <a:pt x="25" y="375"/>
                </a:cubicBezTo>
                <a:cubicBezTo>
                  <a:pt x="50" y="400"/>
                  <a:pt x="25" y="425"/>
                  <a:pt x="50" y="425"/>
                </a:cubicBezTo>
                <a:cubicBezTo>
                  <a:pt x="50" y="450"/>
                  <a:pt x="175" y="425"/>
                  <a:pt x="225" y="375"/>
                </a:cubicBezTo>
                <a:cubicBezTo>
                  <a:pt x="275" y="325"/>
                  <a:pt x="300" y="325"/>
                  <a:pt x="325" y="350"/>
                </a:cubicBezTo>
                <a:cubicBezTo>
                  <a:pt x="350" y="350"/>
                  <a:pt x="375" y="325"/>
                  <a:pt x="350" y="300"/>
                </a:cubicBezTo>
                <a:cubicBezTo>
                  <a:pt x="350" y="275"/>
                  <a:pt x="325" y="225"/>
                  <a:pt x="325" y="175"/>
                </a:cubicBezTo>
                <a:cubicBezTo>
                  <a:pt x="325" y="125"/>
                  <a:pt x="275" y="50"/>
                  <a:pt x="225" y="0"/>
                </a:cubicBezTo>
                <a:cubicBezTo>
                  <a:pt x="225" y="25"/>
                  <a:pt x="200" y="25"/>
                  <a:pt x="175" y="25"/>
                </a:cubicBezTo>
                <a:cubicBezTo>
                  <a:pt x="150" y="25"/>
                  <a:pt x="100" y="25"/>
                  <a:pt x="100" y="50"/>
                </a:cubicBezTo>
              </a:path>
            </a:pathLst>
          </a:custGeom>
          <a:solidFill>
            <a:schemeClr val="accent3">
              <a:lumMod val="75000"/>
            </a:schemeClr>
          </a:solidFill>
          <a:ln w="317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57" name="Freeform 45">
            <a:extLst>
              <a:ext uri="{FF2B5EF4-FFF2-40B4-BE49-F238E27FC236}">
                <a16:creationId xmlns:a16="http://schemas.microsoft.com/office/drawing/2014/main" id="{235F139C-5DBC-8E4B-8210-B22B7E44EA0D}"/>
              </a:ext>
            </a:extLst>
          </p:cNvPr>
          <p:cNvSpPr>
            <a:spLocks noChangeArrowheads="1"/>
          </p:cNvSpPr>
          <p:nvPr/>
        </p:nvSpPr>
        <p:spPr bwMode="auto">
          <a:xfrm>
            <a:off x="7814427" y="3721167"/>
            <a:ext cx="838120" cy="877495"/>
          </a:xfrm>
          <a:custGeom>
            <a:avLst/>
            <a:gdLst>
              <a:gd name="T0" fmla="*/ 1875 w 2626"/>
              <a:gd name="T1" fmla="*/ 1249 h 2750"/>
              <a:gd name="T2" fmla="*/ 1900 w 2626"/>
              <a:gd name="T3" fmla="*/ 1050 h 2750"/>
              <a:gd name="T4" fmla="*/ 1900 w 2626"/>
              <a:gd name="T5" fmla="*/ 975 h 2750"/>
              <a:gd name="T6" fmla="*/ 2025 w 2626"/>
              <a:gd name="T7" fmla="*/ 1074 h 2750"/>
              <a:gd name="T8" fmla="*/ 2200 w 2626"/>
              <a:gd name="T9" fmla="*/ 1099 h 2750"/>
              <a:gd name="T10" fmla="*/ 2100 w 2626"/>
              <a:gd name="T11" fmla="*/ 1300 h 2750"/>
              <a:gd name="T12" fmla="*/ 2225 w 2626"/>
              <a:gd name="T13" fmla="*/ 1400 h 2750"/>
              <a:gd name="T14" fmla="*/ 2250 w 2626"/>
              <a:gd name="T15" fmla="*/ 1300 h 2750"/>
              <a:gd name="T16" fmla="*/ 2350 w 2626"/>
              <a:gd name="T17" fmla="*/ 1200 h 2750"/>
              <a:gd name="T18" fmla="*/ 2401 w 2626"/>
              <a:gd name="T19" fmla="*/ 975 h 2750"/>
              <a:gd name="T20" fmla="*/ 2550 w 2626"/>
              <a:gd name="T21" fmla="*/ 875 h 2750"/>
              <a:gd name="T22" fmla="*/ 2575 w 2626"/>
              <a:gd name="T23" fmla="*/ 801 h 2750"/>
              <a:gd name="T24" fmla="*/ 2550 w 2626"/>
              <a:gd name="T25" fmla="*/ 725 h 2750"/>
              <a:gd name="T26" fmla="*/ 2475 w 2626"/>
              <a:gd name="T27" fmla="*/ 675 h 2750"/>
              <a:gd name="T28" fmla="*/ 2275 w 2626"/>
              <a:gd name="T29" fmla="*/ 725 h 2750"/>
              <a:gd name="T30" fmla="*/ 2200 w 2626"/>
              <a:gd name="T31" fmla="*/ 801 h 2750"/>
              <a:gd name="T32" fmla="*/ 2150 w 2626"/>
              <a:gd name="T33" fmla="*/ 901 h 2750"/>
              <a:gd name="T34" fmla="*/ 1975 w 2626"/>
              <a:gd name="T35" fmla="*/ 901 h 2750"/>
              <a:gd name="T36" fmla="*/ 1875 w 2626"/>
              <a:gd name="T37" fmla="*/ 825 h 2750"/>
              <a:gd name="T38" fmla="*/ 1800 w 2626"/>
              <a:gd name="T39" fmla="*/ 825 h 2750"/>
              <a:gd name="T40" fmla="*/ 1650 w 2626"/>
              <a:gd name="T41" fmla="*/ 925 h 2750"/>
              <a:gd name="T42" fmla="*/ 1475 w 2626"/>
              <a:gd name="T43" fmla="*/ 825 h 2750"/>
              <a:gd name="T44" fmla="*/ 1300 w 2626"/>
              <a:gd name="T45" fmla="*/ 801 h 2750"/>
              <a:gd name="T46" fmla="*/ 1150 w 2626"/>
              <a:gd name="T47" fmla="*/ 725 h 2750"/>
              <a:gd name="T48" fmla="*/ 1125 w 2626"/>
              <a:gd name="T49" fmla="*/ 625 h 2750"/>
              <a:gd name="T50" fmla="*/ 1125 w 2626"/>
              <a:gd name="T51" fmla="*/ 525 h 2750"/>
              <a:gd name="T52" fmla="*/ 1000 w 2626"/>
              <a:gd name="T53" fmla="*/ 425 h 2750"/>
              <a:gd name="T54" fmla="*/ 975 w 2626"/>
              <a:gd name="T55" fmla="*/ 300 h 2750"/>
              <a:gd name="T56" fmla="*/ 1000 w 2626"/>
              <a:gd name="T57" fmla="*/ 200 h 2750"/>
              <a:gd name="T58" fmla="*/ 925 w 2626"/>
              <a:gd name="T59" fmla="*/ 50 h 2750"/>
              <a:gd name="T60" fmla="*/ 850 w 2626"/>
              <a:gd name="T61" fmla="*/ 0 h 2750"/>
              <a:gd name="T62" fmla="*/ 725 w 2626"/>
              <a:gd name="T63" fmla="*/ 100 h 2750"/>
              <a:gd name="T64" fmla="*/ 525 w 2626"/>
              <a:gd name="T65" fmla="*/ 125 h 2750"/>
              <a:gd name="T66" fmla="*/ 600 w 2626"/>
              <a:gd name="T67" fmla="*/ 300 h 2750"/>
              <a:gd name="T68" fmla="*/ 600 w 2626"/>
              <a:gd name="T69" fmla="*/ 425 h 2750"/>
              <a:gd name="T70" fmla="*/ 550 w 2626"/>
              <a:gd name="T71" fmla="*/ 550 h 2750"/>
              <a:gd name="T72" fmla="*/ 450 w 2626"/>
              <a:gd name="T73" fmla="*/ 675 h 2750"/>
              <a:gd name="T74" fmla="*/ 325 w 2626"/>
              <a:gd name="T75" fmla="*/ 801 h 2750"/>
              <a:gd name="T76" fmla="*/ 174 w 2626"/>
              <a:gd name="T77" fmla="*/ 801 h 2750"/>
              <a:gd name="T78" fmla="*/ 174 w 2626"/>
              <a:gd name="T79" fmla="*/ 950 h 2750"/>
              <a:gd name="T80" fmla="*/ 250 w 2626"/>
              <a:gd name="T81" fmla="*/ 1149 h 2750"/>
              <a:gd name="T82" fmla="*/ 74 w 2626"/>
              <a:gd name="T83" fmla="*/ 1149 h 2750"/>
              <a:gd name="T84" fmla="*/ 0 w 2626"/>
              <a:gd name="T85" fmla="*/ 1224 h 2750"/>
              <a:gd name="T86" fmla="*/ 174 w 2626"/>
              <a:gd name="T87" fmla="*/ 1300 h 2750"/>
              <a:gd name="T88" fmla="*/ 250 w 2626"/>
              <a:gd name="T89" fmla="*/ 1524 h 2750"/>
              <a:gd name="T90" fmla="*/ 374 w 2626"/>
              <a:gd name="T91" fmla="*/ 1374 h 2750"/>
              <a:gd name="T92" fmla="*/ 400 w 2626"/>
              <a:gd name="T93" fmla="*/ 1549 h 2750"/>
              <a:gd name="T94" fmla="*/ 475 w 2626"/>
              <a:gd name="T95" fmla="*/ 1874 h 2750"/>
              <a:gd name="T96" fmla="*/ 650 w 2626"/>
              <a:gd name="T97" fmla="*/ 2374 h 2750"/>
              <a:gd name="T98" fmla="*/ 825 w 2626"/>
              <a:gd name="T99" fmla="*/ 2749 h 2750"/>
              <a:gd name="T100" fmla="*/ 1000 w 2626"/>
              <a:gd name="T101" fmla="*/ 2600 h 2750"/>
              <a:gd name="T102" fmla="*/ 1075 w 2626"/>
              <a:gd name="T103" fmla="*/ 2474 h 2750"/>
              <a:gd name="T104" fmla="*/ 1100 w 2626"/>
              <a:gd name="T105" fmla="*/ 2200 h 2750"/>
              <a:gd name="T106" fmla="*/ 1150 w 2626"/>
              <a:gd name="T107" fmla="*/ 2000 h 2750"/>
              <a:gd name="T108" fmla="*/ 1375 w 2626"/>
              <a:gd name="T109" fmla="*/ 1825 h 2750"/>
              <a:gd name="T110" fmla="*/ 1675 w 2626"/>
              <a:gd name="T111" fmla="*/ 1574 h 2750"/>
              <a:gd name="T112" fmla="*/ 1875 w 2626"/>
              <a:gd name="T113" fmla="*/ 1424 h 2750"/>
              <a:gd name="T114" fmla="*/ 1875 w 2626"/>
              <a:gd name="T115" fmla="*/ 1249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26" h="2750">
                <a:moveTo>
                  <a:pt x="1875" y="1249"/>
                </a:moveTo>
                <a:lnTo>
                  <a:pt x="1875" y="1249"/>
                </a:lnTo>
                <a:cubicBezTo>
                  <a:pt x="1850" y="1200"/>
                  <a:pt x="1825" y="1124"/>
                  <a:pt x="1850" y="1099"/>
                </a:cubicBezTo>
                <a:cubicBezTo>
                  <a:pt x="1850" y="1074"/>
                  <a:pt x="1875" y="1099"/>
                  <a:pt x="1900" y="1050"/>
                </a:cubicBezTo>
                <a:cubicBezTo>
                  <a:pt x="1900" y="1025"/>
                  <a:pt x="1800" y="1025"/>
                  <a:pt x="1825" y="975"/>
                </a:cubicBezTo>
                <a:cubicBezTo>
                  <a:pt x="1875" y="925"/>
                  <a:pt x="1875" y="975"/>
                  <a:pt x="1900" y="975"/>
                </a:cubicBezTo>
                <a:cubicBezTo>
                  <a:pt x="1950" y="975"/>
                  <a:pt x="1975" y="1001"/>
                  <a:pt x="1975" y="1025"/>
                </a:cubicBezTo>
                <a:cubicBezTo>
                  <a:pt x="1975" y="1050"/>
                  <a:pt x="2025" y="1074"/>
                  <a:pt x="2025" y="1074"/>
                </a:cubicBezTo>
                <a:cubicBezTo>
                  <a:pt x="2025" y="1074"/>
                  <a:pt x="2100" y="1074"/>
                  <a:pt x="2125" y="1074"/>
                </a:cubicBezTo>
                <a:cubicBezTo>
                  <a:pt x="2150" y="1074"/>
                  <a:pt x="2200" y="1074"/>
                  <a:pt x="2200" y="1099"/>
                </a:cubicBezTo>
                <a:cubicBezTo>
                  <a:pt x="2200" y="1124"/>
                  <a:pt x="2150" y="1200"/>
                  <a:pt x="2125" y="1200"/>
                </a:cubicBezTo>
                <a:cubicBezTo>
                  <a:pt x="2075" y="1200"/>
                  <a:pt x="2075" y="1274"/>
                  <a:pt x="2100" y="1300"/>
                </a:cubicBezTo>
                <a:cubicBezTo>
                  <a:pt x="2150" y="1300"/>
                  <a:pt x="2175" y="1224"/>
                  <a:pt x="2175" y="1224"/>
                </a:cubicBezTo>
                <a:cubicBezTo>
                  <a:pt x="2200" y="1224"/>
                  <a:pt x="2200" y="1300"/>
                  <a:pt x="2225" y="1400"/>
                </a:cubicBezTo>
                <a:lnTo>
                  <a:pt x="2225" y="1400"/>
                </a:lnTo>
                <a:cubicBezTo>
                  <a:pt x="2250" y="1400"/>
                  <a:pt x="2250" y="1300"/>
                  <a:pt x="2250" y="1300"/>
                </a:cubicBezTo>
                <a:cubicBezTo>
                  <a:pt x="2275" y="1274"/>
                  <a:pt x="2275" y="1200"/>
                  <a:pt x="2275" y="1200"/>
                </a:cubicBezTo>
                <a:cubicBezTo>
                  <a:pt x="2275" y="1200"/>
                  <a:pt x="2350" y="1224"/>
                  <a:pt x="2350" y="1200"/>
                </a:cubicBezTo>
                <a:cubicBezTo>
                  <a:pt x="2350" y="1174"/>
                  <a:pt x="2401" y="1124"/>
                  <a:pt x="2375" y="1074"/>
                </a:cubicBezTo>
                <a:cubicBezTo>
                  <a:pt x="2375" y="1050"/>
                  <a:pt x="2401" y="1001"/>
                  <a:pt x="2401" y="975"/>
                </a:cubicBezTo>
                <a:cubicBezTo>
                  <a:pt x="2401" y="925"/>
                  <a:pt x="2450" y="925"/>
                  <a:pt x="2475" y="901"/>
                </a:cubicBezTo>
                <a:cubicBezTo>
                  <a:pt x="2501" y="875"/>
                  <a:pt x="2550" y="850"/>
                  <a:pt x="2550" y="875"/>
                </a:cubicBezTo>
                <a:cubicBezTo>
                  <a:pt x="2550" y="875"/>
                  <a:pt x="2625" y="901"/>
                  <a:pt x="2601" y="875"/>
                </a:cubicBezTo>
                <a:cubicBezTo>
                  <a:pt x="2575" y="825"/>
                  <a:pt x="2575" y="801"/>
                  <a:pt x="2575" y="801"/>
                </a:cubicBezTo>
                <a:cubicBezTo>
                  <a:pt x="2601" y="801"/>
                  <a:pt x="2601" y="750"/>
                  <a:pt x="2601" y="750"/>
                </a:cubicBezTo>
                <a:cubicBezTo>
                  <a:pt x="2601" y="750"/>
                  <a:pt x="2550" y="750"/>
                  <a:pt x="2550" y="725"/>
                </a:cubicBezTo>
                <a:cubicBezTo>
                  <a:pt x="2550" y="701"/>
                  <a:pt x="2525" y="675"/>
                  <a:pt x="2525" y="675"/>
                </a:cubicBezTo>
                <a:cubicBezTo>
                  <a:pt x="2525" y="650"/>
                  <a:pt x="2475" y="650"/>
                  <a:pt x="2475" y="675"/>
                </a:cubicBezTo>
                <a:cubicBezTo>
                  <a:pt x="2450" y="701"/>
                  <a:pt x="2401" y="650"/>
                  <a:pt x="2350" y="675"/>
                </a:cubicBezTo>
                <a:cubicBezTo>
                  <a:pt x="2301" y="701"/>
                  <a:pt x="2301" y="725"/>
                  <a:pt x="2275" y="725"/>
                </a:cubicBezTo>
                <a:cubicBezTo>
                  <a:pt x="2250" y="725"/>
                  <a:pt x="2250" y="750"/>
                  <a:pt x="2225" y="775"/>
                </a:cubicBezTo>
                <a:lnTo>
                  <a:pt x="2200" y="801"/>
                </a:lnTo>
                <a:cubicBezTo>
                  <a:pt x="2175" y="801"/>
                  <a:pt x="2150" y="825"/>
                  <a:pt x="2150" y="825"/>
                </a:cubicBezTo>
                <a:cubicBezTo>
                  <a:pt x="2150" y="825"/>
                  <a:pt x="2175" y="875"/>
                  <a:pt x="2150" y="901"/>
                </a:cubicBezTo>
                <a:cubicBezTo>
                  <a:pt x="2150" y="925"/>
                  <a:pt x="2100" y="901"/>
                  <a:pt x="2050" y="925"/>
                </a:cubicBezTo>
                <a:cubicBezTo>
                  <a:pt x="2025" y="925"/>
                  <a:pt x="2000" y="901"/>
                  <a:pt x="1975" y="901"/>
                </a:cubicBezTo>
                <a:cubicBezTo>
                  <a:pt x="1950" y="925"/>
                  <a:pt x="1925" y="901"/>
                  <a:pt x="1900" y="901"/>
                </a:cubicBezTo>
                <a:cubicBezTo>
                  <a:pt x="1900" y="901"/>
                  <a:pt x="1875" y="850"/>
                  <a:pt x="1875" y="825"/>
                </a:cubicBezTo>
                <a:cubicBezTo>
                  <a:pt x="1875" y="801"/>
                  <a:pt x="1875" y="750"/>
                  <a:pt x="1850" y="775"/>
                </a:cubicBezTo>
                <a:cubicBezTo>
                  <a:pt x="1825" y="801"/>
                  <a:pt x="1800" y="801"/>
                  <a:pt x="1800" y="825"/>
                </a:cubicBezTo>
                <a:cubicBezTo>
                  <a:pt x="1800" y="850"/>
                  <a:pt x="1825" y="901"/>
                  <a:pt x="1800" y="925"/>
                </a:cubicBezTo>
                <a:cubicBezTo>
                  <a:pt x="1775" y="950"/>
                  <a:pt x="1675" y="950"/>
                  <a:pt x="1650" y="925"/>
                </a:cubicBezTo>
                <a:cubicBezTo>
                  <a:pt x="1625" y="925"/>
                  <a:pt x="1525" y="901"/>
                  <a:pt x="1525" y="901"/>
                </a:cubicBezTo>
                <a:cubicBezTo>
                  <a:pt x="1525" y="875"/>
                  <a:pt x="1500" y="825"/>
                  <a:pt x="1475" y="825"/>
                </a:cubicBezTo>
                <a:cubicBezTo>
                  <a:pt x="1450" y="825"/>
                  <a:pt x="1400" y="875"/>
                  <a:pt x="1375" y="850"/>
                </a:cubicBezTo>
                <a:cubicBezTo>
                  <a:pt x="1375" y="850"/>
                  <a:pt x="1325" y="801"/>
                  <a:pt x="1300" y="801"/>
                </a:cubicBezTo>
                <a:cubicBezTo>
                  <a:pt x="1275" y="801"/>
                  <a:pt x="1225" y="775"/>
                  <a:pt x="1225" y="775"/>
                </a:cubicBezTo>
                <a:cubicBezTo>
                  <a:pt x="1225" y="750"/>
                  <a:pt x="1175" y="750"/>
                  <a:pt x="1150" y="725"/>
                </a:cubicBezTo>
                <a:cubicBezTo>
                  <a:pt x="1150" y="725"/>
                  <a:pt x="1100" y="725"/>
                  <a:pt x="1100" y="701"/>
                </a:cubicBezTo>
                <a:cubicBezTo>
                  <a:pt x="1100" y="675"/>
                  <a:pt x="1125" y="650"/>
                  <a:pt x="1125" y="625"/>
                </a:cubicBezTo>
                <a:cubicBezTo>
                  <a:pt x="1125" y="601"/>
                  <a:pt x="1175" y="575"/>
                  <a:pt x="1175" y="575"/>
                </a:cubicBezTo>
                <a:cubicBezTo>
                  <a:pt x="1175" y="550"/>
                  <a:pt x="1125" y="525"/>
                  <a:pt x="1125" y="525"/>
                </a:cubicBezTo>
                <a:cubicBezTo>
                  <a:pt x="1125" y="525"/>
                  <a:pt x="1100" y="475"/>
                  <a:pt x="1075" y="475"/>
                </a:cubicBezTo>
                <a:cubicBezTo>
                  <a:pt x="1050" y="475"/>
                  <a:pt x="1025" y="425"/>
                  <a:pt x="1000" y="425"/>
                </a:cubicBezTo>
                <a:cubicBezTo>
                  <a:pt x="975" y="425"/>
                  <a:pt x="975" y="375"/>
                  <a:pt x="975" y="350"/>
                </a:cubicBezTo>
                <a:cubicBezTo>
                  <a:pt x="950" y="325"/>
                  <a:pt x="950" y="275"/>
                  <a:pt x="975" y="300"/>
                </a:cubicBezTo>
                <a:cubicBezTo>
                  <a:pt x="1000" y="325"/>
                  <a:pt x="1050" y="300"/>
                  <a:pt x="1050" y="275"/>
                </a:cubicBezTo>
                <a:cubicBezTo>
                  <a:pt x="1025" y="250"/>
                  <a:pt x="1000" y="200"/>
                  <a:pt x="1000" y="200"/>
                </a:cubicBezTo>
                <a:cubicBezTo>
                  <a:pt x="1000" y="175"/>
                  <a:pt x="1000" y="125"/>
                  <a:pt x="975" y="100"/>
                </a:cubicBezTo>
                <a:cubicBezTo>
                  <a:pt x="950" y="100"/>
                  <a:pt x="925" y="75"/>
                  <a:pt x="925" y="50"/>
                </a:cubicBezTo>
                <a:cubicBezTo>
                  <a:pt x="925" y="25"/>
                  <a:pt x="900" y="0"/>
                  <a:pt x="900" y="0"/>
                </a:cubicBezTo>
                <a:cubicBezTo>
                  <a:pt x="850" y="0"/>
                  <a:pt x="850" y="0"/>
                  <a:pt x="850" y="0"/>
                </a:cubicBezTo>
                <a:cubicBezTo>
                  <a:pt x="850" y="0"/>
                  <a:pt x="825" y="50"/>
                  <a:pt x="825" y="75"/>
                </a:cubicBezTo>
                <a:cubicBezTo>
                  <a:pt x="800" y="75"/>
                  <a:pt x="750" y="75"/>
                  <a:pt x="725" y="100"/>
                </a:cubicBezTo>
                <a:cubicBezTo>
                  <a:pt x="699" y="125"/>
                  <a:pt x="625" y="75"/>
                  <a:pt x="575" y="75"/>
                </a:cubicBezTo>
                <a:cubicBezTo>
                  <a:pt x="550" y="75"/>
                  <a:pt x="525" y="125"/>
                  <a:pt x="525" y="125"/>
                </a:cubicBezTo>
                <a:cubicBezTo>
                  <a:pt x="550" y="150"/>
                  <a:pt x="550" y="225"/>
                  <a:pt x="550" y="225"/>
                </a:cubicBezTo>
                <a:cubicBezTo>
                  <a:pt x="550" y="225"/>
                  <a:pt x="575" y="325"/>
                  <a:pt x="600" y="300"/>
                </a:cubicBezTo>
                <a:cubicBezTo>
                  <a:pt x="650" y="300"/>
                  <a:pt x="675" y="350"/>
                  <a:pt x="650" y="350"/>
                </a:cubicBezTo>
                <a:cubicBezTo>
                  <a:pt x="625" y="350"/>
                  <a:pt x="600" y="400"/>
                  <a:pt x="600" y="425"/>
                </a:cubicBezTo>
                <a:cubicBezTo>
                  <a:pt x="600" y="450"/>
                  <a:pt x="600" y="475"/>
                  <a:pt x="575" y="501"/>
                </a:cubicBezTo>
                <a:cubicBezTo>
                  <a:pt x="550" y="501"/>
                  <a:pt x="550" y="501"/>
                  <a:pt x="550" y="550"/>
                </a:cubicBezTo>
                <a:cubicBezTo>
                  <a:pt x="550" y="575"/>
                  <a:pt x="499" y="575"/>
                  <a:pt x="475" y="575"/>
                </a:cubicBezTo>
                <a:cubicBezTo>
                  <a:pt x="475" y="601"/>
                  <a:pt x="450" y="675"/>
                  <a:pt x="450" y="675"/>
                </a:cubicBezTo>
                <a:cubicBezTo>
                  <a:pt x="425" y="701"/>
                  <a:pt x="374" y="701"/>
                  <a:pt x="374" y="725"/>
                </a:cubicBezTo>
                <a:cubicBezTo>
                  <a:pt x="374" y="775"/>
                  <a:pt x="325" y="801"/>
                  <a:pt x="325" y="801"/>
                </a:cubicBezTo>
                <a:cubicBezTo>
                  <a:pt x="300" y="801"/>
                  <a:pt x="274" y="775"/>
                  <a:pt x="250" y="801"/>
                </a:cubicBezTo>
                <a:cubicBezTo>
                  <a:pt x="250" y="825"/>
                  <a:pt x="200" y="801"/>
                  <a:pt x="174" y="801"/>
                </a:cubicBezTo>
                <a:cubicBezTo>
                  <a:pt x="174" y="801"/>
                  <a:pt x="125" y="850"/>
                  <a:pt x="125" y="901"/>
                </a:cubicBezTo>
                <a:cubicBezTo>
                  <a:pt x="125" y="925"/>
                  <a:pt x="174" y="925"/>
                  <a:pt x="174" y="950"/>
                </a:cubicBezTo>
                <a:cubicBezTo>
                  <a:pt x="174" y="1001"/>
                  <a:pt x="200" y="1025"/>
                  <a:pt x="225" y="1050"/>
                </a:cubicBezTo>
                <a:cubicBezTo>
                  <a:pt x="225" y="1074"/>
                  <a:pt x="250" y="1124"/>
                  <a:pt x="250" y="1149"/>
                </a:cubicBezTo>
                <a:cubicBezTo>
                  <a:pt x="225" y="1149"/>
                  <a:pt x="200" y="1174"/>
                  <a:pt x="174" y="1149"/>
                </a:cubicBezTo>
                <a:cubicBezTo>
                  <a:pt x="150" y="1149"/>
                  <a:pt x="150" y="1174"/>
                  <a:pt x="74" y="1149"/>
                </a:cubicBezTo>
                <a:cubicBezTo>
                  <a:pt x="25" y="1149"/>
                  <a:pt x="25" y="1200"/>
                  <a:pt x="0" y="1224"/>
                </a:cubicBezTo>
                <a:lnTo>
                  <a:pt x="0" y="1224"/>
                </a:lnTo>
                <a:cubicBezTo>
                  <a:pt x="25" y="1249"/>
                  <a:pt x="25" y="1300"/>
                  <a:pt x="74" y="1300"/>
                </a:cubicBezTo>
                <a:cubicBezTo>
                  <a:pt x="125" y="1324"/>
                  <a:pt x="174" y="1274"/>
                  <a:pt x="174" y="1300"/>
                </a:cubicBezTo>
                <a:cubicBezTo>
                  <a:pt x="174" y="1349"/>
                  <a:pt x="50" y="1349"/>
                  <a:pt x="50" y="1349"/>
                </a:cubicBezTo>
                <a:cubicBezTo>
                  <a:pt x="50" y="1374"/>
                  <a:pt x="174" y="1524"/>
                  <a:pt x="250" y="1524"/>
                </a:cubicBezTo>
                <a:cubicBezTo>
                  <a:pt x="325" y="1500"/>
                  <a:pt x="374" y="1424"/>
                  <a:pt x="350" y="1424"/>
                </a:cubicBezTo>
                <a:cubicBezTo>
                  <a:pt x="325" y="1400"/>
                  <a:pt x="374" y="1374"/>
                  <a:pt x="374" y="1374"/>
                </a:cubicBezTo>
                <a:cubicBezTo>
                  <a:pt x="400" y="1374"/>
                  <a:pt x="374" y="1449"/>
                  <a:pt x="400" y="1474"/>
                </a:cubicBezTo>
                <a:cubicBezTo>
                  <a:pt x="425" y="1474"/>
                  <a:pt x="425" y="1524"/>
                  <a:pt x="400" y="1549"/>
                </a:cubicBezTo>
                <a:cubicBezTo>
                  <a:pt x="400" y="1600"/>
                  <a:pt x="425" y="1674"/>
                  <a:pt x="425" y="1725"/>
                </a:cubicBezTo>
                <a:cubicBezTo>
                  <a:pt x="425" y="1749"/>
                  <a:pt x="450" y="1825"/>
                  <a:pt x="475" y="1874"/>
                </a:cubicBezTo>
                <a:cubicBezTo>
                  <a:pt x="475" y="1949"/>
                  <a:pt x="525" y="2074"/>
                  <a:pt x="550" y="2125"/>
                </a:cubicBezTo>
                <a:cubicBezTo>
                  <a:pt x="600" y="2200"/>
                  <a:pt x="625" y="2349"/>
                  <a:pt x="650" y="2374"/>
                </a:cubicBezTo>
                <a:cubicBezTo>
                  <a:pt x="675" y="2399"/>
                  <a:pt x="725" y="2525"/>
                  <a:pt x="725" y="2574"/>
                </a:cubicBezTo>
                <a:cubicBezTo>
                  <a:pt x="725" y="2649"/>
                  <a:pt x="800" y="2725"/>
                  <a:pt x="825" y="2749"/>
                </a:cubicBezTo>
                <a:cubicBezTo>
                  <a:pt x="850" y="2749"/>
                  <a:pt x="900" y="2725"/>
                  <a:pt x="925" y="2674"/>
                </a:cubicBezTo>
                <a:cubicBezTo>
                  <a:pt x="925" y="2649"/>
                  <a:pt x="1000" y="2625"/>
                  <a:pt x="1000" y="2600"/>
                </a:cubicBezTo>
                <a:cubicBezTo>
                  <a:pt x="1000" y="2574"/>
                  <a:pt x="1025" y="2525"/>
                  <a:pt x="1050" y="2525"/>
                </a:cubicBezTo>
                <a:cubicBezTo>
                  <a:pt x="1075" y="2525"/>
                  <a:pt x="1075" y="2499"/>
                  <a:pt x="1075" y="2474"/>
                </a:cubicBezTo>
                <a:cubicBezTo>
                  <a:pt x="1075" y="2425"/>
                  <a:pt x="1075" y="2374"/>
                  <a:pt x="1100" y="2349"/>
                </a:cubicBezTo>
                <a:cubicBezTo>
                  <a:pt x="1125" y="2325"/>
                  <a:pt x="1125" y="2225"/>
                  <a:pt x="1100" y="2200"/>
                </a:cubicBezTo>
                <a:cubicBezTo>
                  <a:pt x="1100" y="2149"/>
                  <a:pt x="1100" y="2100"/>
                  <a:pt x="1100" y="2074"/>
                </a:cubicBezTo>
                <a:cubicBezTo>
                  <a:pt x="1125" y="2049"/>
                  <a:pt x="1125" y="2000"/>
                  <a:pt x="1150" y="2000"/>
                </a:cubicBezTo>
                <a:cubicBezTo>
                  <a:pt x="1175" y="2000"/>
                  <a:pt x="1200" y="1974"/>
                  <a:pt x="1250" y="1925"/>
                </a:cubicBezTo>
                <a:cubicBezTo>
                  <a:pt x="1275" y="1900"/>
                  <a:pt x="1350" y="1849"/>
                  <a:pt x="1375" y="1825"/>
                </a:cubicBezTo>
                <a:cubicBezTo>
                  <a:pt x="1425" y="1800"/>
                  <a:pt x="1500" y="1725"/>
                  <a:pt x="1525" y="1674"/>
                </a:cubicBezTo>
                <a:cubicBezTo>
                  <a:pt x="1550" y="1624"/>
                  <a:pt x="1650" y="1600"/>
                  <a:pt x="1675" y="1574"/>
                </a:cubicBezTo>
                <a:cubicBezTo>
                  <a:pt x="1725" y="1524"/>
                  <a:pt x="1700" y="1500"/>
                  <a:pt x="1700" y="1474"/>
                </a:cubicBezTo>
                <a:cubicBezTo>
                  <a:pt x="1725" y="1424"/>
                  <a:pt x="1825" y="1424"/>
                  <a:pt x="1875" y="1424"/>
                </a:cubicBezTo>
                <a:cubicBezTo>
                  <a:pt x="1875" y="1424"/>
                  <a:pt x="1900" y="1424"/>
                  <a:pt x="1900" y="1400"/>
                </a:cubicBezTo>
                <a:cubicBezTo>
                  <a:pt x="1900" y="1349"/>
                  <a:pt x="1875" y="1274"/>
                  <a:pt x="1875" y="1249"/>
                </a:cubicBezTo>
              </a:path>
            </a:pathLst>
          </a:custGeom>
          <a:solidFill>
            <a:schemeClr val="accent3">
              <a:lumMod val="75000"/>
            </a:schemeClr>
          </a:solidFill>
          <a:ln w="317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53" name="Freeform 66">
            <a:extLst>
              <a:ext uri="{FF2B5EF4-FFF2-40B4-BE49-F238E27FC236}">
                <a16:creationId xmlns:a16="http://schemas.microsoft.com/office/drawing/2014/main" id="{E5FFAEF0-39E8-0943-9978-E19272CE012B}"/>
              </a:ext>
            </a:extLst>
          </p:cNvPr>
          <p:cNvSpPr>
            <a:spLocks noChangeArrowheads="1"/>
          </p:cNvSpPr>
          <p:nvPr/>
        </p:nvSpPr>
        <p:spPr bwMode="auto">
          <a:xfrm>
            <a:off x="6060846" y="3217731"/>
            <a:ext cx="223593" cy="104063"/>
          </a:xfrm>
          <a:custGeom>
            <a:avLst/>
            <a:gdLst>
              <a:gd name="T0" fmla="*/ 573 w 700"/>
              <a:gd name="T1" fmla="*/ 25 h 326"/>
              <a:gd name="T2" fmla="*/ 573 w 700"/>
              <a:gd name="T3" fmla="*/ 25 h 326"/>
              <a:gd name="T4" fmla="*/ 499 w 700"/>
              <a:gd name="T5" fmla="*/ 0 h 326"/>
              <a:gd name="T6" fmla="*/ 473 w 700"/>
              <a:gd name="T7" fmla="*/ 50 h 326"/>
              <a:gd name="T8" fmla="*/ 398 w 700"/>
              <a:gd name="T9" fmla="*/ 50 h 326"/>
              <a:gd name="T10" fmla="*/ 348 w 700"/>
              <a:gd name="T11" fmla="*/ 100 h 326"/>
              <a:gd name="T12" fmla="*/ 299 w 700"/>
              <a:gd name="T13" fmla="*/ 150 h 326"/>
              <a:gd name="T14" fmla="*/ 273 w 700"/>
              <a:gd name="T15" fmla="*/ 175 h 326"/>
              <a:gd name="T16" fmla="*/ 173 w 700"/>
              <a:gd name="T17" fmla="*/ 200 h 326"/>
              <a:gd name="T18" fmla="*/ 125 w 700"/>
              <a:gd name="T19" fmla="*/ 200 h 326"/>
              <a:gd name="T20" fmla="*/ 74 w 700"/>
              <a:gd name="T21" fmla="*/ 200 h 326"/>
              <a:gd name="T22" fmla="*/ 0 w 700"/>
              <a:gd name="T23" fmla="*/ 200 h 326"/>
              <a:gd name="T24" fmla="*/ 0 w 700"/>
              <a:gd name="T25" fmla="*/ 250 h 326"/>
              <a:gd name="T26" fmla="*/ 49 w 700"/>
              <a:gd name="T27" fmla="*/ 275 h 326"/>
              <a:gd name="T28" fmla="*/ 100 w 700"/>
              <a:gd name="T29" fmla="*/ 275 h 326"/>
              <a:gd name="T30" fmla="*/ 173 w 700"/>
              <a:gd name="T31" fmla="*/ 250 h 326"/>
              <a:gd name="T32" fmla="*/ 248 w 700"/>
              <a:gd name="T33" fmla="*/ 250 h 326"/>
              <a:gd name="T34" fmla="*/ 248 w 700"/>
              <a:gd name="T35" fmla="*/ 300 h 326"/>
              <a:gd name="T36" fmla="*/ 348 w 700"/>
              <a:gd name="T37" fmla="*/ 300 h 326"/>
              <a:gd name="T38" fmla="*/ 448 w 700"/>
              <a:gd name="T39" fmla="*/ 325 h 326"/>
              <a:gd name="T40" fmla="*/ 524 w 700"/>
              <a:gd name="T41" fmla="*/ 300 h 326"/>
              <a:gd name="T42" fmla="*/ 599 w 700"/>
              <a:gd name="T43" fmla="*/ 275 h 326"/>
              <a:gd name="T44" fmla="*/ 599 w 700"/>
              <a:gd name="T45" fmla="*/ 275 h 326"/>
              <a:gd name="T46" fmla="*/ 599 w 700"/>
              <a:gd name="T47" fmla="*/ 250 h 326"/>
              <a:gd name="T48" fmla="*/ 624 w 700"/>
              <a:gd name="T49" fmla="*/ 200 h 326"/>
              <a:gd name="T50" fmla="*/ 624 w 700"/>
              <a:gd name="T51" fmla="*/ 175 h 326"/>
              <a:gd name="T52" fmla="*/ 673 w 700"/>
              <a:gd name="T53" fmla="*/ 150 h 326"/>
              <a:gd name="T54" fmla="*/ 699 w 700"/>
              <a:gd name="T55" fmla="*/ 125 h 326"/>
              <a:gd name="T56" fmla="*/ 649 w 700"/>
              <a:gd name="T57" fmla="*/ 50 h 326"/>
              <a:gd name="T58" fmla="*/ 573 w 700"/>
              <a:gd name="T59"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0" h="326">
                <a:moveTo>
                  <a:pt x="573" y="25"/>
                </a:moveTo>
                <a:lnTo>
                  <a:pt x="573" y="25"/>
                </a:lnTo>
                <a:cubicBezTo>
                  <a:pt x="548" y="0"/>
                  <a:pt x="499" y="0"/>
                  <a:pt x="499" y="0"/>
                </a:cubicBezTo>
                <a:cubicBezTo>
                  <a:pt x="499" y="0"/>
                  <a:pt x="473" y="25"/>
                  <a:pt x="473" y="50"/>
                </a:cubicBezTo>
                <a:cubicBezTo>
                  <a:pt x="473" y="50"/>
                  <a:pt x="424" y="50"/>
                  <a:pt x="398" y="50"/>
                </a:cubicBezTo>
                <a:cubicBezTo>
                  <a:pt x="398" y="75"/>
                  <a:pt x="348" y="75"/>
                  <a:pt x="348" y="100"/>
                </a:cubicBezTo>
                <a:cubicBezTo>
                  <a:pt x="348" y="100"/>
                  <a:pt x="299" y="100"/>
                  <a:pt x="299" y="150"/>
                </a:cubicBezTo>
                <a:cubicBezTo>
                  <a:pt x="324" y="200"/>
                  <a:pt x="273" y="175"/>
                  <a:pt x="273" y="175"/>
                </a:cubicBezTo>
                <a:cubicBezTo>
                  <a:pt x="248" y="175"/>
                  <a:pt x="199" y="175"/>
                  <a:pt x="173" y="200"/>
                </a:cubicBezTo>
                <a:cubicBezTo>
                  <a:pt x="148" y="200"/>
                  <a:pt x="125" y="200"/>
                  <a:pt x="125" y="200"/>
                </a:cubicBezTo>
                <a:cubicBezTo>
                  <a:pt x="100" y="200"/>
                  <a:pt x="74" y="175"/>
                  <a:pt x="74" y="200"/>
                </a:cubicBezTo>
                <a:cubicBezTo>
                  <a:pt x="49" y="225"/>
                  <a:pt x="25" y="200"/>
                  <a:pt x="0" y="200"/>
                </a:cubicBezTo>
                <a:cubicBezTo>
                  <a:pt x="0" y="200"/>
                  <a:pt x="0" y="225"/>
                  <a:pt x="0" y="250"/>
                </a:cubicBezTo>
                <a:cubicBezTo>
                  <a:pt x="0" y="250"/>
                  <a:pt x="25" y="275"/>
                  <a:pt x="49" y="275"/>
                </a:cubicBezTo>
                <a:cubicBezTo>
                  <a:pt x="74" y="250"/>
                  <a:pt x="100" y="275"/>
                  <a:pt x="100" y="275"/>
                </a:cubicBezTo>
                <a:cubicBezTo>
                  <a:pt x="125" y="300"/>
                  <a:pt x="148" y="275"/>
                  <a:pt x="173" y="250"/>
                </a:cubicBezTo>
                <a:cubicBezTo>
                  <a:pt x="173" y="250"/>
                  <a:pt x="224" y="250"/>
                  <a:pt x="248" y="250"/>
                </a:cubicBezTo>
                <a:cubicBezTo>
                  <a:pt x="248" y="250"/>
                  <a:pt x="248" y="275"/>
                  <a:pt x="248" y="300"/>
                </a:cubicBezTo>
                <a:cubicBezTo>
                  <a:pt x="273" y="300"/>
                  <a:pt x="299" y="300"/>
                  <a:pt x="348" y="300"/>
                </a:cubicBezTo>
                <a:cubicBezTo>
                  <a:pt x="373" y="300"/>
                  <a:pt x="424" y="325"/>
                  <a:pt x="448" y="325"/>
                </a:cubicBezTo>
                <a:cubicBezTo>
                  <a:pt x="473" y="325"/>
                  <a:pt x="499" y="300"/>
                  <a:pt x="524" y="300"/>
                </a:cubicBezTo>
                <a:cubicBezTo>
                  <a:pt x="573" y="300"/>
                  <a:pt x="573" y="275"/>
                  <a:pt x="599" y="275"/>
                </a:cubicBezTo>
                <a:lnTo>
                  <a:pt x="599" y="275"/>
                </a:lnTo>
                <a:cubicBezTo>
                  <a:pt x="599" y="250"/>
                  <a:pt x="599" y="250"/>
                  <a:pt x="599" y="250"/>
                </a:cubicBezTo>
                <a:cubicBezTo>
                  <a:pt x="624" y="250"/>
                  <a:pt x="624" y="225"/>
                  <a:pt x="624" y="200"/>
                </a:cubicBezTo>
                <a:lnTo>
                  <a:pt x="624" y="175"/>
                </a:lnTo>
                <a:cubicBezTo>
                  <a:pt x="649" y="175"/>
                  <a:pt x="673" y="175"/>
                  <a:pt x="673" y="150"/>
                </a:cubicBezTo>
                <a:cubicBezTo>
                  <a:pt x="673" y="125"/>
                  <a:pt x="673" y="125"/>
                  <a:pt x="699" y="125"/>
                </a:cubicBezTo>
                <a:cubicBezTo>
                  <a:pt x="673" y="100"/>
                  <a:pt x="649" y="50"/>
                  <a:pt x="649" y="50"/>
                </a:cubicBezTo>
                <a:cubicBezTo>
                  <a:pt x="649" y="50"/>
                  <a:pt x="599" y="50"/>
                  <a:pt x="573" y="25"/>
                </a:cubicBezTo>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49" name="Freeform 102">
            <a:extLst>
              <a:ext uri="{FF2B5EF4-FFF2-40B4-BE49-F238E27FC236}">
                <a16:creationId xmlns:a16="http://schemas.microsoft.com/office/drawing/2014/main" id="{0EB955B2-DD32-4244-BC84-13BEA419E6C9}"/>
              </a:ext>
            </a:extLst>
          </p:cNvPr>
          <p:cNvSpPr>
            <a:spLocks noChangeArrowheads="1"/>
          </p:cNvSpPr>
          <p:nvPr/>
        </p:nvSpPr>
        <p:spPr bwMode="auto">
          <a:xfrm>
            <a:off x="3532423" y="4677410"/>
            <a:ext cx="1196712" cy="1220617"/>
          </a:xfrm>
          <a:custGeom>
            <a:avLst/>
            <a:gdLst>
              <a:gd name="T0" fmla="*/ 2051 w 3753"/>
              <a:gd name="T1" fmla="*/ 3675 h 3826"/>
              <a:gd name="T2" fmla="*/ 2151 w 3753"/>
              <a:gd name="T3" fmla="*/ 3550 h 3826"/>
              <a:gd name="T4" fmla="*/ 2376 w 3753"/>
              <a:gd name="T5" fmla="*/ 3300 h 3826"/>
              <a:gd name="T6" fmla="*/ 2427 w 3753"/>
              <a:gd name="T7" fmla="*/ 2950 h 3826"/>
              <a:gd name="T8" fmla="*/ 2727 w 3753"/>
              <a:gd name="T9" fmla="*/ 2775 h 3826"/>
              <a:gd name="T10" fmla="*/ 3027 w 3753"/>
              <a:gd name="T11" fmla="*/ 2700 h 3826"/>
              <a:gd name="T12" fmla="*/ 3176 w 3753"/>
              <a:gd name="T13" fmla="*/ 2500 h 3826"/>
              <a:gd name="T14" fmla="*/ 3252 w 3753"/>
              <a:gd name="T15" fmla="*/ 2250 h 3826"/>
              <a:gd name="T16" fmla="*/ 3327 w 3753"/>
              <a:gd name="T17" fmla="*/ 1900 h 3826"/>
              <a:gd name="T18" fmla="*/ 3352 w 3753"/>
              <a:gd name="T19" fmla="*/ 1700 h 3826"/>
              <a:gd name="T20" fmla="*/ 3576 w 3753"/>
              <a:gd name="T21" fmla="*/ 1500 h 3826"/>
              <a:gd name="T22" fmla="*/ 3601 w 3753"/>
              <a:gd name="T23" fmla="*/ 1000 h 3826"/>
              <a:gd name="T24" fmla="*/ 2927 w 3753"/>
              <a:gd name="T25" fmla="*/ 750 h 3826"/>
              <a:gd name="T26" fmla="*/ 2601 w 3753"/>
              <a:gd name="T27" fmla="*/ 574 h 3826"/>
              <a:gd name="T28" fmla="*/ 2327 w 3753"/>
              <a:gd name="T29" fmla="*/ 674 h 3826"/>
              <a:gd name="T30" fmla="*/ 2176 w 3753"/>
              <a:gd name="T31" fmla="*/ 574 h 3826"/>
              <a:gd name="T32" fmla="*/ 2201 w 3753"/>
              <a:gd name="T33" fmla="*/ 274 h 3826"/>
              <a:gd name="T34" fmla="*/ 1926 w 3753"/>
              <a:gd name="T35" fmla="*/ 300 h 3826"/>
              <a:gd name="T36" fmla="*/ 1701 w 3753"/>
              <a:gd name="T37" fmla="*/ 325 h 3826"/>
              <a:gd name="T38" fmla="*/ 1476 w 3753"/>
              <a:gd name="T39" fmla="*/ 374 h 3826"/>
              <a:gd name="T40" fmla="*/ 1351 w 3753"/>
              <a:gd name="T41" fmla="*/ 100 h 3826"/>
              <a:gd name="T42" fmla="*/ 1126 w 3753"/>
              <a:gd name="T43" fmla="*/ 100 h 3826"/>
              <a:gd name="T44" fmla="*/ 951 w 3753"/>
              <a:gd name="T45" fmla="*/ 125 h 3826"/>
              <a:gd name="T46" fmla="*/ 951 w 3753"/>
              <a:gd name="T47" fmla="*/ 250 h 3826"/>
              <a:gd name="T48" fmla="*/ 926 w 3753"/>
              <a:gd name="T49" fmla="*/ 350 h 3826"/>
              <a:gd name="T50" fmla="*/ 751 w 3753"/>
              <a:gd name="T51" fmla="*/ 425 h 3826"/>
              <a:gd name="T52" fmla="*/ 526 w 3753"/>
              <a:gd name="T53" fmla="*/ 350 h 3826"/>
              <a:gd name="T54" fmla="*/ 426 w 3753"/>
              <a:gd name="T55" fmla="*/ 450 h 3826"/>
              <a:gd name="T56" fmla="*/ 400 w 3753"/>
              <a:gd name="T57" fmla="*/ 774 h 3826"/>
              <a:gd name="T58" fmla="*/ 176 w 3753"/>
              <a:gd name="T59" fmla="*/ 950 h 3826"/>
              <a:gd name="T60" fmla="*/ 26 w 3753"/>
              <a:gd name="T61" fmla="*/ 1150 h 3826"/>
              <a:gd name="T62" fmla="*/ 76 w 3753"/>
              <a:gd name="T63" fmla="*/ 1375 h 3826"/>
              <a:gd name="T64" fmla="*/ 276 w 3753"/>
              <a:gd name="T65" fmla="*/ 1450 h 3826"/>
              <a:gd name="T66" fmla="*/ 451 w 3753"/>
              <a:gd name="T67" fmla="*/ 1550 h 3826"/>
              <a:gd name="T68" fmla="*/ 726 w 3753"/>
              <a:gd name="T69" fmla="*/ 1450 h 3826"/>
              <a:gd name="T70" fmla="*/ 951 w 3753"/>
              <a:gd name="T71" fmla="*/ 1700 h 3826"/>
              <a:gd name="T72" fmla="*/ 1151 w 3753"/>
              <a:gd name="T73" fmla="*/ 1775 h 3826"/>
              <a:gd name="T74" fmla="*/ 1301 w 3753"/>
              <a:gd name="T75" fmla="*/ 1950 h 3826"/>
              <a:gd name="T76" fmla="*/ 1476 w 3753"/>
              <a:gd name="T77" fmla="*/ 2125 h 3826"/>
              <a:gd name="T78" fmla="*/ 1501 w 3753"/>
              <a:gd name="T79" fmla="*/ 2400 h 3826"/>
              <a:gd name="T80" fmla="*/ 1576 w 3753"/>
              <a:gd name="T81" fmla="*/ 2625 h 3826"/>
              <a:gd name="T82" fmla="*/ 1776 w 3753"/>
              <a:gd name="T83" fmla="*/ 2825 h 3826"/>
              <a:gd name="T84" fmla="*/ 1901 w 3753"/>
              <a:gd name="T85" fmla="*/ 2975 h 3826"/>
              <a:gd name="T86" fmla="*/ 1626 w 3753"/>
              <a:gd name="T87" fmla="*/ 3350 h 3826"/>
              <a:gd name="T88" fmla="*/ 1651 w 3753"/>
              <a:gd name="T89" fmla="*/ 3475 h 3826"/>
              <a:gd name="T90" fmla="*/ 1851 w 3753"/>
              <a:gd name="T91" fmla="*/ 3625 h 3826"/>
              <a:gd name="T92" fmla="*/ 1976 w 3753"/>
              <a:gd name="T93" fmla="*/ 3801 h 3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53" h="3826">
                <a:moveTo>
                  <a:pt x="1976" y="3801"/>
                </a:moveTo>
                <a:lnTo>
                  <a:pt x="1976" y="3801"/>
                </a:lnTo>
                <a:cubicBezTo>
                  <a:pt x="2026" y="3750"/>
                  <a:pt x="2026" y="3725"/>
                  <a:pt x="2051" y="3675"/>
                </a:cubicBezTo>
                <a:cubicBezTo>
                  <a:pt x="2076" y="3625"/>
                  <a:pt x="2051" y="3601"/>
                  <a:pt x="2101" y="3550"/>
                </a:cubicBezTo>
                <a:cubicBezTo>
                  <a:pt x="2151" y="3525"/>
                  <a:pt x="2101" y="3475"/>
                  <a:pt x="2151" y="3450"/>
                </a:cubicBezTo>
                <a:cubicBezTo>
                  <a:pt x="2201" y="3425"/>
                  <a:pt x="2201" y="3475"/>
                  <a:pt x="2151" y="3550"/>
                </a:cubicBezTo>
                <a:cubicBezTo>
                  <a:pt x="2101" y="3601"/>
                  <a:pt x="2101" y="3625"/>
                  <a:pt x="2151" y="3575"/>
                </a:cubicBezTo>
                <a:cubicBezTo>
                  <a:pt x="2226" y="3525"/>
                  <a:pt x="2251" y="3475"/>
                  <a:pt x="2276" y="3400"/>
                </a:cubicBezTo>
                <a:cubicBezTo>
                  <a:pt x="2327" y="3325"/>
                  <a:pt x="2351" y="3300"/>
                  <a:pt x="2376" y="3300"/>
                </a:cubicBezTo>
                <a:cubicBezTo>
                  <a:pt x="2401" y="3275"/>
                  <a:pt x="2401" y="3200"/>
                  <a:pt x="2401" y="3150"/>
                </a:cubicBezTo>
                <a:cubicBezTo>
                  <a:pt x="2401" y="3100"/>
                  <a:pt x="2376" y="3050"/>
                  <a:pt x="2401" y="3025"/>
                </a:cubicBezTo>
                <a:cubicBezTo>
                  <a:pt x="2427" y="2975"/>
                  <a:pt x="2401" y="2950"/>
                  <a:pt x="2427" y="2950"/>
                </a:cubicBezTo>
                <a:cubicBezTo>
                  <a:pt x="2451" y="2950"/>
                  <a:pt x="2501" y="2900"/>
                  <a:pt x="2551" y="2850"/>
                </a:cubicBezTo>
                <a:cubicBezTo>
                  <a:pt x="2601" y="2800"/>
                  <a:pt x="2627" y="2800"/>
                  <a:pt x="2676" y="2800"/>
                </a:cubicBezTo>
                <a:cubicBezTo>
                  <a:pt x="2727" y="2800"/>
                  <a:pt x="2701" y="2775"/>
                  <a:pt x="2727" y="2775"/>
                </a:cubicBezTo>
                <a:cubicBezTo>
                  <a:pt x="2751" y="2775"/>
                  <a:pt x="2776" y="2725"/>
                  <a:pt x="2801" y="2725"/>
                </a:cubicBezTo>
                <a:cubicBezTo>
                  <a:pt x="2827" y="2700"/>
                  <a:pt x="2901" y="2725"/>
                  <a:pt x="2951" y="2725"/>
                </a:cubicBezTo>
                <a:cubicBezTo>
                  <a:pt x="3001" y="2725"/>
                  <a:pt x="3027" y="2725"/>
                  <a:pt x="3027" y="2700"/>
                </a:cubicBezTo>
                <a:cubicBezTo>
                  <a:pt x="3027" y="2650"/>
                  <a:pt x="3051" y="2625"/>
                  <a:pt x="3101" y="2625"/>
                </a:cubicBezTo>
                <a:cubicBezTo>
                  <a:pt x="3127" y="2625"/>
                  <a:pt x="3127" y="2625"/>
                  <a:pt x="3127" y="2575"/>
                </a:cubicBezTo>
                <a:cubicBezTo>
                  <a:pt x="3127" y="2550"/>
                  <a:pt x="3151" y="2525"/>
                  <a:pt x="3176" y="2500"/>
                </a:cubicBezTo>
                <a:cubicBezTo>
                  <a:pt x="3201" y="2475"/>
                  <a:pt x="3201" y="2450"/>
                  <a:pt x="3201" y="2425"/>
                </a:cubicBezTo>
                <a:cubicBezTo>
                  <a:pt x="3227" y="2375"/>
                  <a:pt x="3252" y="2400"/>
                  <a:pt x="3252" y="2375"/>
                </a:cubicBezTo>
                <a:cubicBezTo>
                  <a:pt x="3252" y="2325"/>
                  <a:pt x="3252" y="2275"/>
                  <a:pt x="3252" y="2250"/>
                </a:cubicBezTo>
                <a:cubicBezTo>
                  <a:pt x="3252" y="2225"/>
                  <a:pt x="3301" y="2225"/>
                  <a:pt x="3301" y="2199"/>
                </a:cubicBezTo>
                <a:cubicBezTo>
                  <a:pt x="3327" y="2175"/>
                  <a:pt x="3301" y="2150"/>
                  <a:pt x="3327" y="2075"/>
                </a:cubicBezTo>
                <a:cubicBezTo>
                  <a:pt x="3327" y="2025"/>
                  <a:pt x="3327" y="1950"/>
                  <a:pt x="3327" y="1900"/>
                </a:cubicBezTo>
                <a:cubicBezTo>
                  <a:pt x="3327" y="1850"/>
                  <a:pt x="3327" y="1775"/>
                  <a:pt x="3327" y="1750"/>
                </a:cubicBezTo>
                <a:cubicBezTo>
                  <a:pt x="3352" y="1750"/>
                  <a:pt x="3352" y="1725"/>
                  <a:pt x="3327" y="1725"/>
                </a:cubicBezTo>
                <a:cubicBezTo>
                  <a:pt x="3301" y="1725"/>
                  <a:pt x="3327" y="1700"/>
                  <a:pt x="3352" y="1700"/>
                </a:cubicBezTo>
                <a:cubicBezTo>
                  <a:pt x="3352" y="1700"/>
                  <a:pt x="3376" y="1725"/>
                  <a:pt x="3401" y="1725"/>
                </a:cubicBezTo>
                <a:cubicBezTo>
                  <a:pt x="3427" y="1700"/>
                  <a:pt x="3452" y="1625"/>
                  <a:pt x="3476" y="1575"/>
                </a:cubicBezTo>
                <a:cubicBezTo>
                  <a:pt x="3501" y="1500"/>
                  <a:pt x="3552" y="1525"/>
                  <a:pt x="3576" y="1500"/>
                </a:cubicBezTo>
                <a:cubicBezTo>
                  <a:pt x="3601" y="1500"/>
                  <a:pt x="3652" y="1425"/>
                  <a:pt x="3701" y="1325"/>
                </a:cubicBezTo>
                <a:cubicBezTo>
                  <a:pt x="3752" y="1225"/>
                  <a:pt x="3701" y="1125"/>
                  <a:pt x="3676" y="1050"/>
                </a:cubicBezTo>
                <a:cubicBezTo>
                  <a:pt x="3676" y="974"/>
                  <a:pt x="3652" y="974"/>
                  <a:pt x="3601" y="1000"/>
                </a:cubicBezTo>
                <a:cubicBezTo>
                  <a:pt x="3552" y="1000"/>
                  <a:pt x="3476" y="974"/>
                  <a:pt x="3376" y="874"/>
                </a:cubicBezTo>
                <a:cubicBezTo>
                  <a:pt x="3276" y="750"/>
                  <a:pt x="3176" y="774"/>
                  <a:pt x="3101" y="774"/>
                </a:cubicBezTo>
                <a:cubicBezTo>
                  <a:pt x="3027" y="799"/>
                  <a:pt x="2951" y="750"/>
                  <a:pt x="2927" y="750"/>
                </a:cubicBezTo>
                <a:cubicBezTo>
                  <a:pt x="2876" y="725"/>
                  <a:pt x="2827" y="774"/>
                  <a:pt x="2801" y="799"/>
                </a:cubicBezTo>
                <a:cubicBezTo>
                  <a:pt x="2751" y="799"/>
                  <a:pt x="2801" y="750"/>
                  <a:pt x="2801" y="700"/>
                </a:cubicBezTo>
                <a:cubicBezTo>
                  <a:pt x="2801" y="674"/>
                  <a:pt x="2676" y="625"/>
                  <a:pt x="2601" y="574"/>
                </a:cubicBezTo>
                <a:cubicBezTo>
                  <a:pt x="2501" y="550"/>
                  <a:pt x="2451" y="550"/>
                  <a:pt x="2451" y="625"/>
                </a:cubicBezTo>
                <a:cubicBezTo>
                  <a:pt x="2451" y="674"/>
                  <a:pt x="2427" y="600"/>
                  <a:pt x="2376" y="674"/>
                </a:cubicBezTo>
                <a:cubicBezTo>
                  <a:pt x="2351" y="725"/>
                  <a:pt x="2301" y="674"/>
                  <a:pt x="2327" y="674"/>
                </a:cubicBezTo>
                <a:cubicBezTo>
                  <a:pt x="2376" y="650"/>
                  <a:pt x="2401" y="600"/>
                  <a:pt x="2427" y="550"/>
                </a:cubicBezTo>
                <a:cubicBezTo>
                  <a:pt x="2427" y="525"/>
                  <a:pt x="2276" y="474"/>
                  <a:pt x="2226" y="500"/>
                </a:cubicBezTo>
                <a:cubicBezTo>
                  <a:pt x="2176" y="525"/>
                  <a:pt x="2201" y="600"/>
                  <a:pt x="2176" y="574"/>
                </a:cubicBezTo>
                <a:cubicBezTo>
                  <a:pt x="2126" y="550"/>
                  <a:pt x="2151" y="500"/>
                  <a:pt x="2201" y="500"/>
                </a:cubicBezTo>
                <a:cubicBezTo>
                  <a:pt x="2226" y="500"/>
                  <a:pt x="2276" y="425"/>
                  <a:pt x="2276" y="374"/>
                </a:cubicBezTo>
                <a:cubicBezTo>
                  <a:pt x="2301" y="325"/>
                  <a:pt x="2251" y="325"/>
                  <a:pt x="2201" y="274"/>
                </a:cubicBezTo>
                <a:cubicBezTo>
                  <a:pt x="2176" y="250"/>
                  <a:pt x="2176" y="125"/>
                  <a:pt x="2151" y="100"/>
                </a:cubicBezTo>
                <a:cubicBezTo>
                  <a:pt x="2101" y="150"/>
                  <a:pt x="2051" y="200"/>
                  <a:pt x="2026" y="250"/>
                </a:cubicBezTo>
                <a:cubicBezTo>
                  <a:pt x="2001" y="325"/>
                  <a:pt x="1976" y="274"/>
                  <a:pt x="1926" y="300"/>
                </a:cubicBezTo>
                <a:cubicBezTo>
                  <a:pt x="1876" y="325"/>
                  <a:pt x="1851" y="300"/>
                  <a:pt x="1851" y="274"/>
                </a:cubicBezTo>
                <a:cubicBezTo>
                  <a:pt x="1826" y="250"/>
                  <a:pt x="1776" y="274"/>
                  <a:pt x="1726" y="274"/>
                </a:cubicBezTo>
                <a:cubicBezTo>
                  <a:pt x="1701" y="274"/>
                  <a:pt x="1726" y="300"/>
                  <a:pt x="1701" y="325"/>
                </a:cubicBezTo>
                <a:cubicBezTo>
                  <a:pt x="1676" y="350"/>
                  <a:pt x="1601" y="300"/>
                  <a:pt x="1576" y="325"/>
                </a:cubicBezTo>
                <a:cubicBezTo>
                  <a:pt x="1551" y="350"/>
                  <a:pt x="1551" y="325"/>
                  <a:pt x="1526" y="350"/>
                </a:cubicBezTo>
                <a:cubicBezTo>
                  <a:pt x="1526" y="374"/>
                  <a:pt x="1476" y="350"/>
                  <a:pt x="1476" y="374"/>
                </a:cubicBezTo>
                <a:cubicBezTo>
                  <a:pt x="1451" y="374"/>
                  <a:pt x="1426" y="400"/>
                  <a:pt x="1376" y="325"/>
                </a:cubicBezTo>
                <a:cubicBezTo>
                  <a:pt x="1326" y="274"/>
                  <a:pt x="1326" y="174"/>
                  <a:pt x="1351" y="174"/>
                </a:cubicBezTo>
                <a:cubicBezTo>
                  <a:pt x="1376" y="150"/>
                  <a:pt x="1376" y="100"/>
                  <a:pt x="1351" y="100"/>
                </a:cubicBezTo>
                <a:cubicBezTo>
                  <a:pt x="1301" y="74"/>
                  <a:pt x="1351" y="25"/>
                  <a:pt x="1301" y="0"/>
                </a:cubicBezTo>
                <a:cubicBezTo>
                  <a:pt x="1276" y="0"/>
                  <a:pt x="1276" y="50"/>
                  <a:pt x="1251" y="74"/>
                </a:cubicBezTo>
                <a:cubicBezTo>
                  <a:pt x="1226" y="74"/>
                  <a:pt x="1151" y="125"/>
                  <a:pt x="1126" y="100"/>
                </a:cubicBezTo>
                <a:cubicBezTo>
                  <a:pt x="1101" y="100"/>
                  <a:pt x="1076" y="125"/>
                  <a:pt x="1076" y="150"/>
                </a:cubicBezTo>
                <a:cubicBezTo>
                  <a:pt x="1076" y="174"/>
                  <a:pt x="1026" y="174"/>
                  <a:pt x="1026" y="150"/>
                </a:cubicBezTo>
                <a:cubicBezTo>
                  <a:pt x="1026" y="125"/>
                  <a:pt x="951" y="125"/>
                  <a:pt x="951" y="125"/>
                </a:cubicBezTo>
                <a:cubicBezTo>
                  <a:pt x="926" y="100"/>
                  <a:pt x="851" y="100"/>
                  <a:pt x="876" y="125"/>
                </a:cubicBezTo>
                <a:cubicBezTo>
                  <a:pt x="926" y="150"/>
                  <a:pt x="926" y="174"/>
                  <a:pt x="926" y="200"/>
                </a:cubicBezTo>
                <a:cubicBezTo>
                  <a:pt x="926" y="225"/>
                  <a:pt x="951" y="225"/>
                  <a:pt x="951" y="250"/>
                </a:cubicBezTo>
                <a:cubicBezTo>
                  <a:pt x="951" y="300"/>
                  <a:pt x="976" y="274"/>
                  <a:pt x="1001" y="274"/>
                </a:cubicBezTo>
                <a:cubicBezTo>
                  <a:pt x="1026" y="274"/>
                  <a:pt x="1026" y="300"/>
                  <a:pt x="976" y="300"/>
                </a:cubicBezTo>
                <a:cubicBezTo>
                  <a:pt x="951" y="300"/>
                  <a:pt x="926" y="325"/>
                  <a:pt x="926" y="350"/>
                </a:cubicBezTo>
                <a:cubicBezTo>
                  <a:pt x="926" y="374"/>
                  <a:pt x="901" y="374"/>
                  <a:pt x="876" y="374"/>
                </a:cubicBezTo>
                <a:cubicBezTo>
                  <a:pt x="851" y="400"/>
                  <a:pt x="826" y="425"/>
                  <a:pt x="801" y="425"/>
                </a:cubicBezTo>
                <a:cubicBezTo>
                  <a:pt x="776" y="400"/>
                  <a:pt x="776" y="425"/>
                  <a:pt x="751" y="425"/>
                </a:cubicBezTo>
                <a:cubicBezTo>
                  <a:pt x="726" y="450"/>
                  <a:pt x="726" y="425"/>
                  <a:pt x="701" y="400"/>
                </a:cubicBezTo>
                <a:cubicBezTo>
                  <a:pt x="676" y="400"/>
                  <a:pt x="651" y="350"/>
                  <a:pt x="626" y="300"/>
                </a:cubicBezTo>
                <a:cubicBezTo>
                  <a:pt x="601" y="325"/>
                  <a:pt x="551" y="350"/>
                  <a:pt x="526" y="350"/>
                </a:cubicBezTo>
                <a:cubicBezTo>
                  <a:pt x="501" y="350"/>
                  <a:pt x="400" y="325"/>
                  <a:pt x="400" y="350"/>
                </a:cubicBezTo>
                <a:cubicBezTo>
                  <a:pt x="376" y="374"/>
                  <a:pt x="400" y="400"/>
                  <a:pt x="426" y="400"/>
                </a:cubicBezTo>
                <a:cubicBezTo>
                  <a:pt x="426" y="400"/>
                  <a:pt x="476" y="425"/>
                  <a:pt x="426" y="450"/>
                </a:cubicBezTo>
                <a:cubicBezTo>
                  <a:pt x="400" y="474"/>
                  <a:pt x="376" y="425"/>
                  <a:pt x="376" y="500"/>
                </a:cubicBezTo>
                <a:cubicBezTo>
                  <a:pt x="376" y="550"/>
                  <a:pt x="451" y="600"/>
                  <a:pt x="426" y="650"/>
                </a:cubicBezTo>
                <a:cubicBezTo>
                  <a:pt x="426" y="674"/>
                  <a:pt x="400" y="750"/>
                  <a:pt x="400" y="774"/>
                </a:cubicBezTo>
                <a:cubicBezTo>
                  <a:pt x="400" y="799"/>
                  <a:pt x="400" y="900"/>
                  <a:pt x="376" y="900"/>
                </a:cubicBezTo>
                <a:cubicBezTo>
                  <a:pt x="351" y="900"/>
                  <a:pt x="326" y="874"/>
                  <a:pt x="300" y="900"/>
                </a:cubicBezTo>
                <a:cubicBezTo>
                  <a:pt x="251" y="925"/>
                  <a:pt x="226" y="925"/>
                  <a:pt x="176" y="950"/>
                </a:cubicBezTo>
                <a:cubicBezTo>
                  <a:pt x="151" y="974"/>
                  <a:pt x="100" y="974"/>
                  <a:pt x="100" y="1000"/>
                </a:cubicBezTo>
                <a:cubicBezTo>
                  <a:pt x="100" y="1050"/>
                  <a:pt x="51" y="1050"/>
                  <a:pt x="76" y="1100"/>
                </a:cubicBezTo>
                <a:cubicBezTo>
                  <a:pt x="76" y="1125"/>
                  <a:pt x="51" y="1125"/>
                  <a:pt x="26" y="1150"/>
                </a:cubicBezTo>
                <a:cubicBezTo>
                  <a:pt x="0" y="1175"/>
                  <a:pt x="26" y="1175"/>
                  <a:pt x="0" y="1200"/>
                </a:cubicBezTo>
                <a:cubicBezTo>
                  <a:pt x="0" y="1225"/>
                  <a:pt x="26" y="1250"/>
                  <a:pt x="26" y="1275"/>
                </a:cubicBezTo>
                <a:cubicBezTo>
                  <a:pt x="51" y="1325"/>
                  <a:pt x="76" y="1325"/>
                  <a:pt x="76" y="1375"/>
                </a:cubicBezTo>
                <a:cubicBezTo>
                  <a:pt x="76" y="1400"/>
                  <a:pt x="100" y="1400"/>
                  <a:pt x="126" y="1400"/>
                </a:cubicBezTo>
                <a:cubicBezTo>
                  <a:pt x="151" y="1400"/>
                  <a:pt x="126" y="1450"/>
                  <a:pt x="176" y="1450"/>
                </a:cubicBezTo>
                <a:cubicBezTo>
                  <a:pt x="226" y="1450"/>
                  <a:pt x="251" y="1475"/>
                  <a:pt x="276" y="1450"/>
                </a:cubicBezTo>
                <a:cubicBezTo>
                  <a:pt x="276" y="1425"/>
                  <a:pt x="300" y="1400"/>
                  <a:pt x="300" y="1425"/>
                </a:cubicBezTo>
                <a:cubicBezTo>
                  <a:pt x="300" y="1475"/>
                  <a:pt x="300" y="1575"/>
                  <a:pt x="326" y="1550"/>
                </a:cubicBezTo>
                <a:cubicBezTo>
                  <a:pt x="376" y="1550"/>
                  <a:pt x="426" y="1550"/>
                  <a:pt x="451" y="1550"/>
                </a:cubicBezTo>
                <a:cubicBezTo>
                  <a:pt x="476" y="1575"/>
                  <a:pt x="526" y="1550"/>
                  <a:pt x="526" y="1525"/>
                </a:cubicBezTo>
                <a:cubicBezTo>
                  <a:pt x="551" y="1525"/>
                  <a:pt x="576" y="1525"/>
                  <a:pt x="626" y="1500"/>
                </a:cubicBezTo>
                <a:cubicBezTo>
                  <a:pt x="651" y="1475"/>
                  <a:pt x="701" y="1450"/>
                  <a:pt x="726" y="1450"/>
                </a:cubicBezTo>
                <a:cubicBezTo>
                  <a:pt x="776" y="1450"/>
                  <a:pt x="826" y="1425"/>
                  <a:pt x="826" y="1450"/>
                </a:cubicBezTo>
                <a:cubicBezTo>
                  <a:pt x="801" y="1475"/>
                  <a:pt x="801" y="1575"/>
                  <a:pt x="851" y="1625"/>
                </a:cubicBezTo>
                <a:cubicBezTo>
                  <a:pt x="901" y="1675"/>
                  <a:pt x="926" y="1700"/>
                  <a:pt x="951" y="1700"/>
                </a:cubicBezTo>
                <a:cubicBezTo>
                  <a:pt x="1001" y="1700"/>
                  <a:pt x="1001" y="1725"/>
                  <a:pt x="1026" y="1725"/>
                </a:cubicBezTo>
                <a:cubicBezTo>
                  <a:pt x="1051" y="1700"/>
                  <a:pt x="1026" y="1750"/>
                  <a:pt x="1076" y="1750"/>
                </a:cubicBezTo>
                <a:cubicBezTo>
                  <a:pt x="1101" y="1750"/>
                  <a:pt x="1151" y="1750"/>
                  <a:pt x="1151" y="1775"/>
                </a:cubicBezTo>
                <a:cubicBezTo>
                  <a:pt x="1151" y="1825"/>
                  <a:pt x="1226" y="1800"/>
                  <a:pt x="1251" y="1800"/>
                </a:cubicBezTo>
                <a:cubicBezTo>
                  <a:pt x="1276" y="1825"/>
                  <a:pt x="1276" y="1825"/>
                  <a:pt x="1276" y="1875"/>
                </a:cubicBezTo>
                <a:cubicBezTo>
                  <a:pt x="1276" y="1900"/>
                  <a:pt x="1326" y="1925"/>
                  <a:pt x="1301" y="1950"/>
                </a:cubicBezTo>
                <a:cubicBezTo>
                  <a:pt x="1276" y="1950"/>
                  <a:pt x="1301" y="1975"/>
                  <a:pt x="1301" y="2025"/>
                </a:cubicBezTo>
                <a:cubicBezTo>
                  <a:pt x="1301" y="2050"/>
                  <a:pt x="1351" y="2075"/>
                  <a:pt x="1401" y="2075"/>
                </a:cubicBezTo>
                <a:cubicBezTo>
                  <a:pt x="1476" y="2075"/>
                  <a:pt x="1476" y="2075"/>
                  <a:pt x="1476" y="2125"/>
                </a:cubicBezTo>
                <a:cubicBezTo>
                  <a:pt x="1476" y="2150"/>
                  <a:pt x="1526" y="2175"/>
                  <a:pt x="1551" y="2199"/>
                </a:cubicBezTo>
                <a:cubicBezTo>
                  <a:pt x="1551" y="2250"/>
                  <a:pt x="1526" y="2300"/>
                  <a:pt x="1526" y="2325"/>
                </a:cubicBezTo>
                <a:cubicBezTo>
                  <a:pt x="1526" y="2350"/>
                  <a:pt x="1526" y="2375"/>
                  <a:pt x="1501" y="2400"/>
                </a:cubicBezTo>
                <a:cubicBezTo>
                  <a:pt x="1526" y="2425"/>
                  <a:pt x="1526" y="2425"/>
                  <a:pt x="1501" y="2450"/>
                </a:cubicBezTo>
                <a:cubicBezTo>
                  <a:pt x="1476" y="2450"/>
                  <a:pt x="1551" y="2500"/>
                  <a:pt x="1526" y="2550"/>
                </a:cubicBezTo>
                <a:cubicBezTo>
                  <a:pt x="1501" y="2625"/>
                  <a:pt x="1501" y="2625"/>
                  <a:pt x="1576" y="2625"/>
                </a:cubicBezTo>
                <a:cubicBezTo>
                  <a:pt x="1626" y="2625"/>
                  <a:pt x="1626" y="2650"/>
                  <a:pt x="1651" y="2650"/>
                </a:cubicBezTo>
                <a:cubicBezTo>
                  <a:pt x="1676" y="2625"/>
                  <a:pt x="1701" y="2700"/>
                  <a:pt x="1726" y="2725"/>
                </a:cubicBezTo>
                <a:cubicBezTo>
                  <a:pt x="1726" y="2750"/>
                  <a:pt x="1751" y="2825"/>
                  <a:pt x="1776" y="2825"/>
                </a:cubicBezTo>
                <a:cubicBezTo>
                  <a:pt x="1776" y="2825"/>
                  <a:pt x="1801" y="2800"/>
                  <a:pt x="1851" y="2800"/>
                </a:cubicBezTo>
                <a:cubicBezTo>
                  <a:pt x="1876" y="2825"/>
                  <a:pt x="1826" y="2925"/>
                  <a:pt x="1826" y="2975"/>
                </a:cubicBezTo>
                <a:cubicBezTo>
                  <a:pt x="1851" y="2975"/>
                  <a:pt x="1876" y="2975"/>
                  <a:pt x="1901" y="2975"/>
                </a:cubicBezTo>
                <a:cubicBezTo>
                  <a:pt x="1901" y="3000"/>
                  <a:pt x="1926" y="3100"/>
                  <a:pt x="1901" y="3125"/>
                </a:cubicBezTo>
                <a:cubicBezTo>
                  <a:pt x="1901" y="3150"/>
                  <a:pt x="1826" y="3175"/>
                  <a:pt x="1801" y="3175"/>
                </a:cubicBezTo>
                <a:cubicBezTo>
                  <a:pt x="1751" y="3200"/>
                  <a:pt x="1676" y="3300"/>
                  <a:pt x="1626" y="3350"/>
                </a:cubicBezTo>
                <a:cubicBezTo>
                  <a:pt x="1601" y="3400"/>
                  <a:pt x="1576" y="3425"/>
                  <a:pt x="1551" y="3450"/>
                </a:cubicBezTo>
                <a:cubicBezTo>
                  <a:pt x="1576" y="3450"/>
                  <a:pt x="1576" y="3450"/>
                  <a:pt x="1576" y="3450"/>
                </a:cubicBezTo>
                <a:cubicBezTo>
                  <a:pt x="1601" y="3450"/>
                  <a:pt x="1626" y="3450"/>
                  <a:pt x="1651" y="3475"/>
                </a:cubicBezTo>
                <a:cubicBezTo>
                  <a:pt x="1701" y="3525"/>
                  <a:pt x="1701" y="3550"/>
                  <a:pt x="1701" y="3550"/>
                </a:cubicBezTo>
                <a:cubicBezTo>
                  <a:pt x="1726" y="3550"/>
                  <a:pt x="1726" y="3501"/>
                  <a:pt x="1751" y="3525"/>
                </a:cubicBezTo>
                <a:cubicBezTo>
                  <a:pt x="1776" y="3575"/>
                  <a:pt x="1851" y="3601"/>
                  <a:pt x="1851" y="3625"/>
                </a:cubicBezTo>
                <a:cubicBezTo>
                  <a:pt x="1876" y="3625"/>
                  <a:pt x="1926" y="3650"/>
                  <a:pt x="1926" y="3701"/>
                </a:cubicBezTo>
                <a:cubicBezTo>
                  <a:pt x="1926" y="3725"/>
                  <a:pt x="1901" y="3775"/>
                  <a:pt x="1926" y="3825"/>
                </a:cubicBezTo>
                <a:cubicBezTo>
                  <a:pt x="1951" y="3825"/>
                  <a:pt x="1951" y="3801"/>
                  <a:pt x="1976" y="3801"/>
                </a:cubicBezTo>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37" name="Freeform 125">
            <a:extLst>
              <a:ext uri="{FF2B5EF4-FFF2-40B4-BE49-F238E27FC236}">
                <a16:creationId xmlns:a16="http://schemas.microsoft.com/office/drawing/2014/main" id="{3EE3E069-5B4F-D34C-8027-E70644FA8943}"/>
              </a:ext>
            </a:extLst>
          </p:cNvPr>
          <p:cNvSpPr>
            <a:spLocks noChangeArrowheads="1"/>
          </p:cNvSpPr>
          <p:nvPr/>
        </p:nvSpPr>
        <p:spPr bwMode="auto">
          <a:xfrm>
            <a:off x="5487097" y="3425855"/>
            <a:ext cx="383904" cy="271404"/>
          </a:xfrm>
          <a:custGeom>
            <a:avLst/>
            <a:gdLst>
              <a:gd name="T0" fmla="*/ 1201 w 1202"/>
              <a:gd name="T1" fmla="*/ 150 h 851"/>
              <a:gd name="T2" fmla="*/ 1201 w 1202"/>
              <a:gd name="T3" fmla="*/ 150 h 851"/>
              <a:gd name="T4" fmla="*/ 1101 w 1202"/>
              <a:gd name="T5" fmla="*/ 150 h 851"/>
              <a:gd name="T6" fmla="*/ 975 w 1202"/>
              <a:gd name="T7" fmla="*/ 125 h 851"/>
              <a:gd name="T8" fmla="*/ 950 w 1202"/>
              <a:gd name="T9" fmla="*/ 100 h 851"/>
              <a:gd name="T10" fmla="*/ 875 w 1202"/>
              <a:gd name="T11" fmla="*/ 100 h 851"/>
              <a:gd name="T12" fmla="*/ 775 w 1202"/>
              <a:gd name="T13" fmla="*/ 75 h 851"/>
              <a:gd name="T14" fmla="*/ 725 w 1202"/>
              <a:gd name="T15" fmla="*/ 50 h 851"/>
              <a:gd name="T16" fmla="*/ 550 w 1202"/>
              <a:gd name="T17" fmla="*/ 25 h 851"/>
              <a:gd name="T18" fmla="*/ 250 w 1202"/>
              <a:gd name="T19" fmla="*/ 25 h 851"/>
              <a:gd name="T20" fmla="*/ 125 w 1202"/>
              <a:gd name="T21" fmla="*/ 0 h 851"/>
              <a:gd name="T22" fmla="*/ 50 w 1202"/>
              <a:gd name="T23" fmla="*/ 50 h 851"/>
              <a:gd name="T24" fmla="*/ 50 w 1202"/>
              <a:gd name="T25" fmla="*/ 100 h 851"/>
              <a:gd name="T26" fmla="*/ 50 w 1202"/>
              <a:gd name="T27" fmla="*/ 200 h 851"/>
              <a:gd name="T28" fmla="*/ 75 w 1202"/>
              <a:gd name="T29" fmla="*/ 175 h 851"/>
              <a:gd name="T30" fmla="*/ 125 w 1202"/>
              <a:gd name="T31" fmla="*/ 200 h 851"/>
              <a:gd name="T32" fmla="*/ 175 w 1202"/>
              <a:gd name="T33" fmla="*/ 200 h 851"/>
              <a:gd name="T34" fmla="*/ 200 w 1202"/>
              <a:gd name="T35" fmla="*/ 200 h 851"/>
              <a:gd name="T36" fmla="*/ 275 w 1202"/>
              <a:gd name="T37" fmla="*/ 225 h 851"/>
              <a:gd name="T38" fmla="*/ 300 w 1202"/>
              <a:gd name="T39" fmla="*/ 250 h 851"/>
              <a:gd name="T40" fmla="*/ 225 w 1202"/>
              <a:gd name="T41" fmla="*/ 300 h 851"/>
              <a:gd name="T42" fmla="*/ 225 w 1202"/>
              <a:gd name="T43" fmla="*/ 400 h 851"/>
              <a:gd name="T44" fmla="*/ 225 w 1202"/>
              <a:gd name="T45" fmla="*/ 450 h 851"/>
              <a:gd name="T46" fmla="*/ 200 w 1202"/>
              <a:gd name="T47" fmla="*/ 500 h 851"/>
              <a:gd name="T48" fmla="*/ 225 w 1202"/>
              <a:gd name="T49" fmla="*/ 550 h 851"/>
              <a:gd name="T50" fmla="*/ 200 w 1202"/>
              <a:gd name="T51" fmla="*/ 600 h 851"/>
              <a:gd name="T52" fmla="*/ 225 w 1202"/>
              <a:gd name="T53" fmla="*/ 650 h 851"/>
              <a:gd name="T54" fmla="*/ 175 w 1202"/>
              <a:gd name="T55" fmla="*/ 700 h 851"/>
              <a:gd name="T56" fmla="*/ 200 w 1202"/>
              <a:gd name="T57" fmla="*/ 725 h 851"/>
              <a:gd name="T58" fmla="*/ 250 w 1202"/>
              <a:gd name="T59" fmla="*/ 725 h 851"/>
              <a:gd name="T60" fmla="*/ 350 w 1202"/>
              <a:gd name="T61" fmla="*/ 850 h 851"/>
              <a:gd name="T62" fmla="*/ 375 w 1202"/>
              <a:gd name="T63" fmla="*/ 825 h 851"/>
              <a:gd name="T64" fmla="*/ 425 w 1202"/>
              <a:gd name="T65" fmla="*/ 800 h 851"/>
              <a:gd name="T66" fmla="*/ 525 w 1202"/>
              <a:gd name="T67" fmla="*/ 775 h 851"/>
              <a:gd name="T68" fmla="*/ 650 w 1202"/>
              <a:gd name="T69" fmla="*/ 775 h 851"/>
              <a:gd name="T70" fmla="*/ 700 w 1202"/>
              <a:gd name="T71" fmla="*/ 750 h 851"/>
              <a:gd name="T72" fmla="*/ 775 w 1202"/>
              <a:gd name="T73" fmla="*/ 700 h 851"/>
              <a:gd name="T74" fmla="*/ 825 w 1202"/>
              <a:gd name="T75" fmla="*/ 625 h 851"/>
              <a:gd name="T76" fmla="*/ 875 w 1202"/>
              <a:gd name="T77" fmla="*/ 550 h 851"/>
              <a:gd name="T78" fmla="*/ 900 w 1202"/>
              <a:gd name="T79" fmla="*/ 425 h 851"/>
              <a:gd name="T80" fmla="*/ 975 w 1202"/>
              <a:gd name="T81" fmla="*/ 325 h 851"/>
              <a:gd name="T82" fmla="*/ 1050 w 1202"/>
              <a:gd name="T83" fmla="*/ 275 h 851"/>
              <a:gd name="T84" fmla="*/ 1150 w 1202"/>
              <a:gd name="T85" fmla="*/ 225 h 851"/>
              <a:gd name="T86" fmla="*/ 1201 w 1202"/>
              <a:gd name="T87" fmla="*/ 150 h 851"/>
              <a:gd name="T88" fmla="*/ 1201 w 1202"/>
              <a:gd name="T89" fmla="*/ 450 h 851"/>
              <a:gd name="T90" fmla="*/ 1201 w 1202"/>
              <a:gd name="T91" fmla="*/ 450 h 851"/>
              <a:gd name="T92" fmla="*/ 1125 w 1202"/>
              <a:gd name="T93" fmla="*/ 475 h 851"/>
              <a:gd name="T94" fmla="*/ 1201 w 1202"/>
              <a:gd name="T9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851">
                <a:moveTo>
                  <a:pt x="1201" y="150"/>
                </a:moveTo>
                <a:lnTo>
                  <a:pt x="1201" y="150"/>
                </a:lnTo>
                <a:cubicBezTo>
                  <a:pt x="1150" y="150"/>
                  <a:pt x="1125" y="150"/>
                  <a:pt x="1101" y="150"/>
                </a:cubicBezTo>
                <a:cubicBezTo>
                  <a:pt x="1075" y="125"/>
                  <a:pt x="1001" y="125"/>
                  <a:pt x="975" y="125"/>
                </a:cubicBezTo>
                <a:cubicBezTo>
                  <a:pt x="975" y="100"/>
                  <a:pt x="950" y="75"/>
                  <a:pt x="950" y="100"/>
                </a:cubicBezTo>
                <a:cubicBezTo>
                  <a:pt x="950" y="125"/>
                  <a:pt x="900" y="125"/>
                  <a:pt x="875" y="100"/>
                </a:cubicBezTo>
                <a:cubicBezTo>
                  <a:pt x="850" y="100"/>
                  <a:pt x="801" y="75"/>
                  <a:pt x="775" y="75"/>
                </a:cubicBezTo>
                <a:cubicBezTo>
                  <a:pt x="775" y="50"/>
                  <a:pt x="750" y="50"/>
                  <a:pt x="725" y="50"/>
                </a:cubicBezTo>
                <a:cubicBezTo>
                  <a:pt x="700" y="50"/>
                  <a:pt x="625" y="25"/>
                  <a:pt x="550" y="25"/>
                </a:cubicBezTo>
                <a:cubicBezTo>
                  <a:pt x="500" y="25"/>
                  <a:pt x="325" y="25"/>
                  <a:pt x="250" y="25"/>
                </a:cubicBezTo>
                <a:cubicBezTo>
                  <a:pt x="175" y="25"/>
                  <a:pt x="175" y="0"/>
                  <a:pt x="125" y="0"/>
                </a:cubicBezTo>
                <a:cubicBezTo>
                  <a:pt x="100" y="0"/>
                  <a:pt x="125" y="25"/>
                  <a:pt x="50" y="50"/>
                </a:cubicBezTo>
                <a:cubicBezTo>
                  <a:pt x="0" y="50"/>
                  <a:pt x="0" y="75"/>
                  <a:pt x="50" y="100"/>
                </a:cubicBezTo>
                <a:cubicBezTo>
                  <a:pt x="50" y="125"/>
                  <a:pt x="50" y="150"/>
                  <a:pt x="50" y="200"/>
                </a:cubicBezTo>
                <a:cubicBezTo>
                  <a:pt x="75" y="200"/>
                  <a:pt x="75" y="200"/>
                  <a:pt x="75" y="175"/>
                </a:cubicBezTo>
                <a:cubicBezTo>
                  <a:pt x="100" y="175"/>
                  <a:pt x="125" y="175"/>
                  <a:pt x="125" y="200"/>
                </a:cubicBezTo>
                <a:cubicBezTo>
                  <a:pt x="125" y="200"/>
                  <a:pt x="150" y="200"/>
                  <a:pt x="175" y="200"/>
                </a:cubicBezTo>
                <a:cubicBezTo>
                  <a:pt x="200" y="200"/>
                  <a:pt x="175" y="225"/>
                  <a:pt x="200" y="200"/>
                </a:cubicBezTo>
                <a:cubicBezTo>
                  <a:pt x="225" y="175"/>
                  <a:pt x="275" y="200"/>
                  <a:pt x="275" y="225"/>
                </a:cubicBezTo>
                <a:cubicBezTo>
                  <a:pt x="275" y="225"/>
                  <a:pt x="325" y="225"/>
                  <a:pt x="300" y="250"/>
                </a:cubicBezTo>
                <a:cubicBezTo>
                  <a:pt x="250" y="275"/>
                  <a:pt x="225" y="275"/>
                  <a:pt x="225" y="300"/>
                </a:cubicBezTo>
                <a:cubicBezTo>
                  <a:pt x="225" y="325"/>
                  <a:pt x="250" y="375"/>
                  <a:pt x="225" y="400"/>
                </a:cubicBezTo>
                <a:cubicBezTo>
                  <a:pt x="200" y="425"/>
                  <a:pt x="250" y="450"/>
                  <a:pt x="225" y="450"/>
                </a:cubicBezTo>
                <a:cubicBezTo>
                  <a:pt x="200" y="450"/>
                  <a:pt x="175" y="475"/>
                  <a:pt x="200" y="500"/>
                </a:cubicBezTo>
                <a:cubicBezTo>
                  <a:pt x="225" y="525"/>
                  <a:pt x="250" y="550"/>
                  <a:pt x="225" y="550"/>
                </a:cubicBezTo>
                <a:cubicBezTo>
                  <a:pt x="200" y="550"/>
                  <a:pt x="200" y="575"/>
                  <a:pt x="200" y="600"/>
                </a:cubicBezTo>
                <a:cubicBezTo>
                  <a:pt x="200" y="600"/>
                  <a:pt x="250" y="625"/>
                  <a:pt x="225" y="650"/>
                </a:cubicBezTo>
                <a:cubicBezTo>
                  <a:pt x="175" y="650"/>
                  <a:pt x="175" y="675"/>
                  <a:pt x="175" y="700"/>
                </a:cubicBezTo>
                <a:cubicBezTo>
                  <a:pt x="175" y="700"/>
                  <a:pt x="175" y="725"/>
                  <a:pt x="200" y="725"/>
                </a:cubicBezTo>
                <a:cubicBezTo>
                  <a:pt x="200" y="725"/>
                  <a:pt x="225" y="725"/>
                  <a:pt x="250" y="725"/>
                </a:cubicBezTo>
                <a:cubicBezTo>
                  <a:pt x="275" y="750"/>
                  <a:pt x="300" y="850"/>
                  <a:pt x="350" y="850"/>
                </a:cubicBezTo>
                <a:cubicBezTo>
                  <a:pt x="375" y="850"/>
                  <a:pt x="375" y="825"/>
                  <a:pt x="375" y="825"/>
                </a:cubicBezTo>
                <a:cubicBezTo>
                  <a:pt x="400" y="800"/>
                  <a:pt x="425" y="800"/>
                  <a:pt x="425" y="800"/>
                </a:cubicBezTo>
                <a:cubicBezTo>
                  <a:pt x="450" y="800"/>
                  <a:pt x="475" y="775"/>
                  <a:pt x="525" y="775"/>
                </a:cubicBezTo>
                <a:cubicBezTo>
                  <a:pt x="575" y="775"/>
                  <a:pt x="601" y="775"/>
                  <a:pt x="650" y="775"/>
                </a:cubicBezTo>
                <a:cubicBezTo>
                  <a:pt x="675" y="775"/>
                  <a:pt x="700" y="775"/>
                  <a:pt x="700" y="750"/>
                </a:cubicBezTo>
                <a:cubicBezTo>
                  <a:pt x="725" y="725"/>
                  <a:pt x="750" y="700"/>
                  <a:pt x="775" y="700"/>
                </a:cubicBezTo>
                <a:cubicBezTo>
                  <a:pt x="825" y="675"/>
                  <a:pt x="825" y="650"/>
                  <a:pt x="825" y="625"/>
                </a:cubicBezTo>
                <a:cubicBezTo>
                  <a:pt x="825" y="600"/>
                  <a:pt x="875" y="575"/>
                  <a:pt x="875" y="550"/>
                </a:cubicBezTo>
                <a:cubicBezTo>
                  <a:pt x="900" y="525"/>
                  <a:pt x="850" y="475"/>
                  <a:pt x="900" y="425"/>
                </a:cubicBezTo>
                <a:cubicBezTo>
                  <a:pt x="925" y="350"/>
                  <a:pt x="975" y="350"/>
                  <a:pt x="975" y="325"/>
                </a:cubicBezTo>
                <a:cubicBezTo>
                  <a:pt x="975" y="300"/>
                  <a:pt x="1001" y="275"/>
                  <a:pt x="1050" y="275"/>
                </a:cubicBezTo>
                <a:cubicBezTo>
                  <a:pt x="1101" y="275"/>
                  <a:pt x="1125" y="250"/>
                  <a:pt x="1150" y="225"/>
                </a:cubicBezTo>
                <a:cubicBezTo>
                  <a:pt x="1201" y="200"/>
                  <a:pt x="1201" y="175"/>
                  <a:pt x="1201" y="150"/>
                </a:cubicBezTo>
                <a:close/>
                <a:moveTo>
                  <a:pt x="1201" y="450"/>
                </a:moveTo>
                <a:lnTo>
                  <a:pt x="1201" y="450"/>
                </a:lnTo>
                <a:cubicBezTo>
                  <a:pt x="1201" y="400"/>
                  <a:pt x="1101" y="450"/>
                  <a:pt x="1125" y="475"/>
                </a:cubicBezTo>
                <a:cubicBezTo>
                  <a:pt x="1150" y="500"/>
                  <a:pt x="1201" y="500"/>
                  <a:pt x="1201" y="450"/>
                </a:cubicBezTo>
                <a:close/>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32" name="Freeform 83">
            <a:extLst>
              <a:ext uri="{FF2B5EF4-FFF2-40B4-BE49-F238E27FC236}">
                <a16:creationId xmlns:a16="http://schemas.microsoft.com/office/drawing/2014/main" id="{76822E9E-4260-CB41-826E-1CD0129D1507}"/>
              </a:ext>
            </a:extLst>
          </p:cNvPr>
          <p:cNvSpPr>
            <a:spLocks noChangeArrowheads="1"/>
          </p:cNvSpPr>
          <p:nvPr/>
        </p:nvSpPr>
        <p:spPr bwMode="auto">
          <a:xfrm>
            <a:off x="5948344" y="2987107"/>
            <a:ext cx="271405" cy="303748"/>
          </a:xfrm>
          <a:custGeom>
            <a:avLst/>
            <a:gdLst>
              <a:gd name="T0" fmla="*/ 125 w 851"/>
              <a:gd name="T1" fmla="*/ 250 h 951"/>
              <a:gd name="T2" fmla="*/ 125 w 851"/>
              <a:gd name="T3" fmla="*/ 250 h 951"/>
              <a:gd name="T4" fmla="*/ 76 w 851"/>
              <a:gd name="T5" fmla="*/ 300 h 951"/>
              <a:gd name="T6" fmla="*/ 100 w 851"/>
              <a:gd name="T7" fmla="*/ 350 h 951"/>
              <a:gd name="T8" fmla="*/ 76 w 851"/>
              <a:gd name="T9" fmla="*/ 374 h 951"/>
              <a:gd name="T10" fmla="*/ 25 w 851"/>
              <a:gd name="T11" fmla="*/ 400 h 951"/>
              <a:gd name="T12" fmla="*/ 25 w 851"/>
              <a:gd name="T13" fmla="*/ 450 h 951"/>
              <a:gd name="T14" fmla="*/ 0 w 851"/>
              <a:gd name="T15" fmla="*/ 525 h 951"/>
              <a:gd name="T16" fmla="*/ 25 w 851"/>
              <a:gd name="T17" fmla="*/ 575 h 951"/>
              <a:gd name="T18" fmla="*/ 25 w 851"/>
              <a:gd name="T19" fmla="*/ 599 h 951"/>
              <a:gd name="T20" fmla="*/ 51 w 851"/>
              <a:gd name="T21" fmla="*/ 675 h 951"/>
              <a:gd name="T22" fmla="*/ 76 w 851"/>
              <a:gd name="T23" fmla="*/ 699 h 951"/>
              <a:gd name="T24" fmla="*/ 125 w 851"/>
              <a:gd name="T25" fmla="*/ 725 h 951"/>
              <a:gd name="T26" fmla="*/ 176 w 851"/>
              <a:gd name="T27" fmla="*/ 750 h 951"/>
              <a:gd name="T28" fmla="*/ 200 w 851"/>
              <a:gd name="T29" fmla="*/ 775 h 951"/>
              <a:gd name="T30" fmla="*/ 151 w 851"/>
              <a:gd name="T31" fmla="*/ 850 h 951"/>
              <a:gd name="T32" fmla="*/ 151 w 851"/>
              <a:gd name="T33" fmla="*/ 900 h 951"/>
              <a:gd name="T34" fmla="*/ 225 w 851"/>
              <a:gd name="T35" fmla="*/ 900 h 951"/>
              <a:gd name="T36" fmla="*/ 300 w 851"/>
              <a:gd name="T37" fmla="*/ 900 h 951"/>
              <a:gd name="T38" fmla="*/ 351 w 851"/>
              <a:gd name="T39" fmla="*/ 925 h 951"/>
              <a:gd name="T40" fmla="*/ 351 w 851"/>
              <a:gd name="T41" fmla="*/ 925 h 951"/>
              <a:gd name="T42" fmla="*/ 425 w 851"/>
              <a:gd name="T43" fmla="*/ 925 h 951"/>
              <a:gd name="T44" fmla="*/ 476 w 851"/>
              <a:gd name="T45" fmla="*/ 925 h 951"/>
              <a:gd name="T46" fmla="*/ 524 w 851"/>
              <a:gd name="T47" fmla="*/ 925 h 951"/>
              <a:gd name="T48" fmla="*/ 624 w 851"/>
              <a:gd name="T49" fmla="*/ 900 h 951"/>
              <a:gd name="T50" fmla="*/ 650 w 851"/>
              <a:gd name="T51" fmla="*/ 875 h 951"/>
              <a:gd name="T52" fmla="*/ 699 w 851"/>
              <a:gd name="T53" fmla="*/ 825 h 951"/>
              <a:gd name="T54" fmla="*/ 749 w 851"/>
              <a:gd name="T55" fmla="*/ 775 h 951"/>
              <a:gd name="T56" fmla="*/ 650 w 851"/>
              <a:gd name="T57" fmla="*/ 699 h 951"/>
              <a:gd name="T58" fmla="*/ 624 w 851"/>
              <a:gd name="T59" fmla="*/ 625 h 951"/>
              <a:gd name="T60" fmla="*/ 599 w 851"/>
              <a:gd name="T61" fmla="*/ 575 h 951"/>
              <a:gd name="T62" fmla="*/ 699 w 851"/>
              <a:gd name="T63" fmla="*/ 525 h 951"/>
              <a:gd name="T64" fmla="*/ 775 w 851"/>
              <a:gd name="T65" fmla="*/ 500 h 951"/>
              <a:gd name="T66" fmla="*/ 824 w 851"/>
              <a:gd name="T67" fmla="*/ 500 h 951"/>
              <a:gd name="T68" fmla="*/ 850 w 851"/>
              <a:gd name="T69" fmla="*/ 450 h 951"/>
              <a:gd name="T70" fmla="*/ 824 w 851"/>
              <a:gd name="T71" fmla="*/ 374 h 951"/>
              <a:gd name="T72" fmla="*/ 799 w 851"/>
              <a:gd name="T73" fmla="*/ 325 h 951"/>
              <a:gd name="T74" fmla="*/ 775 w 851"/>
              <a:gd name="T75" fmla="*/ 274 h 951"/>
              <a:gd name="T76" fmla="*/ 775 w 851"/>
              <a:gd name="T77" fmla="*/ 225 h 951"/>
              <a:gd name="T78" fmla="*/ 775 w 851"/>
              <a:gd name="T79" fmla="*/ 125 h 951"/>
              <a:gd name="T80" fmla="*/ 775 w 851"/>
              <a:gd name="T81" fmla="*/ 125 h 951"/>
              <a:gd name="T82" fmla="*/ 775 w 851"/>
              <a:gd name="T83" fmla="*/ 125 h 951"/>
              <a:gd name="T84" fmla="*/ 724 w 851"/>
              <a:gd name="T85" fmla="*/ 74 h 951"/>
              <a:gd name="T86" fmla="*/ 724 w 851"/>
              <a:gd name="T87" fmla="*/ 25 h 951"/>
              <a:gd name="T88" fmla="*/ 650 w 851"/>
              <a:gd name="T89" fmla="*/ 50 h 951"/>
              <a:gd name="T90" fmla="*/ 524 w 851"/>
              <a:gd name="T91" fmla="*/ 100 h 951"/>
              <a:gd name="T92" fmla="*/ 476 w 851"/>
              <a:gd name="T93" fmla="*/ 74 h 951"/>
              <a:gd name="T94" fmla="*/ 451 w 851"/>
              <a:gd name="T95" fmla="*/ 50 h 951"/>
              <a:gd name="T96" fmla="*/ 376 w 851"/>
              <a:gd name="T97" fmla="*/ 25 h 951"/>
              <a:gd name="T98" fmla="*/ 376 w 851"/>
              <a:gd name="T99" fmla="*/ 0 h 951"/>
              <a:gd name="T100" fmla="*/ 351 w 851"/>
              <a:gd name="T101" fmla="*/ 0 h 951"/>
              <a:gd name="T102" fmla="*/ 251 w 851"/>
              <a:gd name="T103" fmla="*/ 0 h 951"/>
              <a:gd name="T104" fmla="*/ 276 w 851"/>
              <a:gd name="T105" fmla="*/ 50 h 951"/>
              <a:gd name="T106" fmla="*/ 300 w 851"/>
              <a:gd name="T107" fmla="*/ 125 h 951"/>
              <a:gd name="T108" fmla="*/ 251 w 851"/>
              <a:gd name="T109" fmla="*/ 150 h 951"/>
              <a:gd name="T110" fmla="*/ 200 w 851"/>
              <a:gd name="T111" fmla="*/ 150 h 951"/>
              <a:gd name="T112" fmla="*/ 125 w 851"/>
              <a:gd name="T113" fmla="*/ 150 h 951"/>
              <a:gd name="T114" fmla="*/ 125 w 851"/>
              <a:gd name="T115" fmla="*/ 174 h 951"/>
              <a:gd name="T116" fmla="*/ 125 w 851"/>
              <a:gd name="T117" fmla="*/ 250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1" h="951">
                <a:moveTo>
                  <a:pt x="125" y="250"/>
                </a:moveTo>
                <a:lnTo>
                  <a:pt x="125" y="250"/>
                </a:lnTo>
                <a:cubicBezTo>
                  <a:pt x="100" y="274"/>
                  <a:pt x="76" y="274"/>
                  <a:pt x="76" y="300"/>
                </a:cubicBezTo>
                <a:cubicBezTo>
                  <a:pt x="76" y="300"/>
                  <a:pt x="100" y="325"/>
                  <a:pt x="100" y="350"/>
                </a:cubicBezTo>
                <a:cubicBezTo>
                  <a:pt x="100" y="350"/>
                  <a:pt x="76" y="350"/>
                  <a:pt x="76" y="374"/>
                </a:cubicBezTo>
                <a:cubicBezTo>
                  <a:pt x="76" y="400"/>
                  <a:pt x="51" y="400"/>
                  <a:pt x="25" y="400"/>
                </a:cubicBezTo>
                <a:cubicBezTo>
                  <a:pt x="25" y="400"/>
                  <a:pt x="25" y="425"/>
                  <a:pt x="25" y="450"/>
                </a:cubicBezTo>
                <a:cubicBezTo>
                  <a:pt x="25" y="450"/>
                  <a:pt x="25" y="500"/>
                  <a:pt x="0" y="525"/>
                </a:cubicBezTo>
                <a:cubicBezTo>
                  <a:pt x="0" y="525"/>
                  <a:pt x="51" y="550"/>
                  <a:pt x="25" y="575"/>
                </a:cubicBezTo>
                <a:cubicBezTo>
                  <a:pt x="25" y="575"/>
                  <a:pt x="0" y="599"/>
                  <a:pt x="25" y="599"/>
                </a:cubicBezTo>
                <a:cubicBezTo>
                  <a:pt x="25" y="625"/>
                  <a:pt x="51" y="625"/>
                  <a:pt x="51" y="675"/>
                </a:cubicBezTo>
                <a:cubicBezTo>
                  <a:pt x="51" y="699"/>
                  <a:pt x="76" y="699"/>
                  <a:pt x="76" y="699"/>
                </a:cubicBezTo>
                <a:cubicBezTo>
                  <a:pt x="76" y="725"/>
                  <a:pt x="100" y="725"/>
                  <a:pt x="125" y="725"/>
                </a:cubicBezTo>
                <a:cubicBezTo>
                  <a:pt x="151" y="725"/>
                  <a:pt x="176" y="750"/>
                  <a:pt x="176" y="750"/>
                </a:cubicBezTo>
                <a:cubicBezTo>
                  <a:pt x="200" y="750"/>
                  <a:pt x="225" y="750"/>
                  <a:pt x="200" y="775"/>
                </a:cubicBezTo>
                <a:cubicBezTo>
                  <a:pt x="176" y="800"/>
                  <a:pt x="176" y="825"/>
                  <a:pt x="151" y="850"/>
                </a:cubicBezTo>
                <a:cubicBezTo>
                  <a:pt x="151" y="875"/>
                  <a:pt x="151" y="900"/>
                  <a:pt x="151" y="900"/>
                </a:cubicBezTo>
                <a:cubicBezTo>
                  <a:pt x="176" y="900"/>
                  <a:pt x="225" y="900"/>
                  <a:pt x="225" y="900"/>
                </a:cubicBezTo>
                <a:cubicBezTo>
                  <a:pt x="251" y="900"/>
                  <a:pt x="276" y="900"/>
                  <a:pt x="300" y="900"/>
                </a:cubicBezTo>
                <a:cubicBezTo>
                  <a:pt x="300" y="900"/>
                  <a:pt x="325" y="925"/>
                  <a:pt x="351" y="925"/>
                </a:cubicBezTo>
                <a:lnTo>
                  <a:pt x="351" y="925"/>
                </a:lnTo>
                <a:cubicBezTo>
                  <a:pt x="376" y="925"/>
                  <a:pt x="400" y="950"/>
                  <a:pt x="425" y="925"/>
                </a:cubicBezTo>
                <a:cubicBezTo>
                  <a:pt x="425" y="900"/>
                  <a:pt x="451" y="925"/>
                  <a:pt x="476" y="925"/>
                </a:cubicBezTo>
                <a:cubicBezTo>
                  <a:pt x="476" y="925"/>
                  <a:pt x="499" y="925"/>
                  <a:pt x="524" y="925"/>
                </a:cubicBezTo>
                <a:cubicBezTo>
                  <a:pt x="550" y="900"/>
                  <a:pt x="599" y="900"/>
                  <a:pt x="624" y="900"/>
                </a:cubicBezTo>
                <a:cubicBezTo>
                  <a:pt x="624" y="900"/>
                  <a:pt x="675" y="925"/>
                  <a:pt x="650" y="875"/>
                </a:cubicBezTo>
                <a:cubicBezTo>
                  <a:pt x="650" y="825"/>
                  <a:pt x="699" y="825"/>
                  <a:pt x="699" y="825"/>
                </a:cubicBezTo>
                <a:cubicBezTo>
                  <a:pt x="699" y="800"/>
                  <a:pt x="749" y="775"/>
                  <a:pt x="749" y="775"/>
                </a:cubicBezTo>
                <a:cubicBezTo>
                  <a:pt x="749" y="750"/>
                  <a:pt x="675" y="725"/>
                  <a:pt x="650" y="699"/>
                </a:cubicBezTo>
                <a:cubicBezTo>
                  <a:pt x="624" y="675"/>
                  <a:pt x="624" y="650"/>
                  <a:pt x="624" y="625"/>
                </a:cubicBezTo>
                <a:cubicBezTo>
                  <a:pt x="599" y="599"/>
                  <a:pt x="575" y="575"/>
                  <a:pt x="599" y="575"/>
                </a:cubicBezTo>
                <a:cubicBezTo>
                  <a:pt x="650" y="575"/>
                  <a:pt x="675" y="550"/>
                  <a:pt x="699" y="525"/>
                </a:cubicBezTo>
                <a:cubicBezTo>
                  <a:pt x="724" y="500"/>
                  <a:pt x="775" y="500"/>
                  <a:pt x="775" y="500"/>
                </a:cubicBezTo>
                <a:cubicBezTo>
                  <a:pt x="799" y="475"/>
                  <a:pt x="824" y="500"/>
                  <a:pt x="824" y="500"/>
                </a:cubicBezTo>
                <a:cubicBezTo>
                  <a:pt x="850" y="475"/>
                  <a:pt x="850" y="450"/>
                  <a:pt x="850" y="450"/>
                </a:cubicBezTo>
                <a:cubicBezTo>
                  <a:pt x="824" y="425"/>
                  <a:pt x="824" y="400"/>
                  <a:pt x="824" y="374"/>
                </a:cubicBezTo>
                <a:cubicBezTo>
                  <a:pt x="824" y="325"/>
                  <a:pt x="799" y="325"/>
                  <a:pt x="799" y="325"/>
                </a:cubicBezTo>
                <a:cubicBezTo>
                  <a:pt x="799" y="300"/>
                  <a:pt x="799" y="274"/>
                  <a:pt x="775" y="274"/>
                </a:cubicBezTo>
                <a:cubicBezTo>
                  <a:pt x="775" y="274"/>
                  <a:pt x="749" y="250"/>
                  <a:pt x="775" y="225"/>
                </a:cubicBezTo>
                <a:cubicBezTo>
                  <a:pt x="799" y="200"/>
                  <a:pt x="775" y="150"/>
                  <a:pt x="775" y="125"/>
                </a:cubicBezTo>
                <a:lnTo>
                  <a:pt x="775" y="125"/>
                </a:lnTo>
                <a:lnTo>
                  <a:pt x="775" y="125"/>
                </a:lnTo>
                <a:cubicBezTo>
                  <a:pt x="775" y="100"/>
                  <a:pt x="749" y="74"/>
                  <a:pt x="724" y="74"/>
                </a:cubicBezTo>
                <a:cubicBezTo>
                  <a:pt x="675" y="74"/>
                  <a:pt x="724" y="50"/>
                  <a:pt x="724" y="25"/>
                </a:cubicBezTo>
                <a:cubicBezTo>
                  <a:pt x="699" y="0"/>
                  <a:pt x="675" y="50"/>
                  <a:pt x="650" y="50"/>
                </a:cubicBezTo>
                <a:cubicBezTo>
                  <a:pt x="599" y="50"/>
                  <a:pt x="575" y="100"/>
                  <a:pt x="524" y="100"/>
                </a:cubicBezTo>
                <a:cubicBezTo>
                  <a:pt x="499" y="125"/>
                  <a:pt x="476" y="100"/>
                  <a:pt x="476" y="74"/>
                </a:cubicBezTo>
                <a:cubicBezTo>
                  <a:pt x="499" y="50"/>
                  <a:pt x="476" y="50"/>
                  <a:pt x="451" y="50"/>
                </a:cubicBezTo>
                <a:cubicBezTo>
                  <a:pt x="425" y="74"/>
                  <a:pt x="376" y="50"/>
                  <a:pt x="376" y="25"/>
                </a:cubicBezTo>
                <a:lnTo>
                  <a:pt x="376" y="0"/>
                </a:lnTo>
                <a:cubicBezTo>
                  <a:pt x="351" y="0"/>
                  <a:pt x="351" y="0"/>
                  <a:pt x="351" y="0"/>
                </a:cubicBezTo>
                <a:cubicBezTo>
                  <a:pt x="325" y="0"/>
                  <a:pt x="300" y="0"/>
                  <a:pt x="251" y="0"/>
                </a:cubicBezTo>
                <a:cubicBezTo>
                  <a:pt x="276" y="0"/>
                  <a:pt x="276" y="25"/>
                  <a:pt x="276" y="50"/>
                </a:cubicBezTo>
                <a:cubicBezTo>
                  <a:pt x="251" y="74"/>
                  <a:pt x="276" y="74"/>
                  <a:pt x="300" y="125"/>
                </a:cubicBezTo>
                <a:cubicBezTo>
                  <a:pt x="325" y="150"/>
                  <a:pt x="251" y="125"/>
                  <a:pt x="251" y="150"/>
                </a:cubicBezTo>
                <a:cubicBezTo>
                  <a:pt x="251" y="174"/>
                  <a:pt x="200" y="150"/>
                  <a:pt x="200" y="150"/>
                </a:cubicBezTo>
                <a:cubicBezTo>
                  <a:pt x="176" y="150"/>
                  <a:pt x="125" y="150"/>
                  <a:pt x="125" y="150"/>
                </a:cubicBezTo>
                <a:cubicBezTo>
                  <a:pt x="125" y="174"/>
                  <a:pt x="125" y="174"/>
                  <a:pt x="125" y="174"/>
                </a:cubicBezTo>
                <a:cubicBezTo>
                  <a:pt x="125" y="200"/>
                  <a:pt x="125" y="225"/>
                  <a:pt x="125" y="250"/>
                </a:cubicBezTo>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51" name="Freeform 1">
            <a:extLst>
              <a:ext uri="{FF2B5EF4-FFF2-40B4-BE49-F238E27FC236}">
                <a16:creationId xmlns:a16="http://schemas.microsoft.com/office/drawing/2014/main" id="{103022F2-B92A-B24B-B727-1EFC0CF3FF0A}"/>
              </a:ext>
            </a:extLst>
          </p:cNvPr>
          <p:cNvSpPr>
            <a:spLocks noChangeArrowheads="1"/>
          </p:cNvSpPr>
          <p:nvPr/>
        </p:nvSpPr>
        <p:spPr bwMode="auto">
          <a:xfrm>
            <a:off x="6115690" y="5355220"/>
            <a:ext cx="382497" cy="382497"/>
          </a:xfrm>
          <a:custGeom>
            <a:avLst/>
            <a:gdLst>
              <a:gd name="T0" fmla="*/ 451 w 1201"/>
              <a:gd name="T1" fmla="*/ 1150 h 1201"/>
              <a:gd name="T2" fmla="*/ 451 w 1201"/>
              <a:gd name="T3" fmla="*/ 1150 h 1201"/>
              <a:gd name="T4" fmla="*/ 500 w 1201"/>
              <a:gd name="T5" fmla="*/ 1100 h 1201"/>
              <a:gd name="T6" fmla="*/ 551 w 1201"/>
              <a:gd name="T7" fmla="*/ 1175 h 1201"/>
              <a:gd name="T8" fmla="*/ 676 w 1201"/>
              <a:gd name="T9" fmla="*/ 1175 h 1201"/>
              <a:gd name="T10" fmla="*/ 726 w 1201"/>
              <a:gd name="T11" fmla="*/ 1125 h 1201"/>
              <a:gd name="T12" fmla="*/ 726 w 1201"/>
              <a:gd name="T13" fmla="*/ 500 h 1201"/>
              <a:gd name="T14" fmla="*/ 826 w 1201"/>
              <a:gd name="T15" fmla="*/ 450 h 1201"/>
              <a:gd name="T16" fmla="*/ 826 w 1201"/>
              <a:gd name="T17" fmla="*/ 125 h 1201"/>
              <a:gd name="T18" fmla="*/ 926 w 1201"/>
              <a:gd name="T19" fmla="*/ 125 h 1201"/>
              <a:gd name="T20" fmla="*/ 1026 w 1201"/>
              <a:gd name="T21" fmla="*/ 100 h 1201"/>
              <a:gd name="T22" fmla="*/ 1076 w 1201"/>
              <a:gd name="T23" fmla="*/ 125 h 1201"/>
              <a:gd name="T24" fmla="*/ 1151 w 1201"/>
              <a:gd name="T25" fmla="*/ 100 h 1201"/>
              <a:gd name="T26" fmla="*/ 1200 w 1201"/>
              <a:gd name="T27" fmla="*/ 74 h 1201"/>
              <a:gd name="T28" fmla="*/ 1200 w 1201"/>
              <a:gd name="T29" fmla="*/ 50 h 1201"/>
              <a:gd name="T30" fmla="*/ 1000 w 1201"/>
              <a:gd name="T31" fmla="*/ 74 h 1201"/>
              <a:gd name="T32" fmla="*/ 851 w 1201"/>
              <a:gd name="T33" fmla="*/ 74 h 1201"/>
              <a:gd name="T34" fmla="*/ 651 w 1201"/>
              <a:gd name="T35" fmla="*/ 74 h 1201"/>
              <a:gd name="T36" fmla="*/ 626 w 1201"/>
              <a:gd name="T37" fmla="*/ 50 h 1201"/>
              <a:gd name="T38" fmla="*/ 300 w 1201"/>
              <a:gd name="T39" fmla="*/ 50 h 1201"/>
              <a:gd name="T40" fmla="*/ 200 w 1201"/>
              <a:gd name="T41" fmla="*/ 25 h 1201"/>
              <a:gd name="T42" fmla="*/ 126 w 1201"/>
              <a:gd name="T43" fmla="*/ 25 h 1201"/>
              <a:gd name="T44" fmla="*/ 75 w 1201"/>
              <a:gd name="T45" fmla="*/ 0 h 1201"/>
              <a:gd name="T46" fmla="*/ 51 w 1201"/>
              <a:gd name="T47" fmla="*/ 25 h 1201"/>
              <a:gd name="T48" fmla="*/ 26 w 1201"/>
              <a:gd name="T49" fmla="*/ 25 h 1201"/>
              <a:gd name="T50" fmla="*/ 75 w 1201"/>
              <a:gd name="T51" fmla="*/ 150 h 1201"/>
              <a:gd name="T52" fmla="*/ 151 w 1201"/>
              <a:gd name="T53" fmla="*/ 350 h 1201"/>
              <a:gd name="T54" fmla="*/ 251 w 1201"/>
              <a:gd name="T55" fmla="*/ 550 h 1201"/>
              <a:gd name="T56" fmla="*/ 251 w 1201"/>
              <a:gd name="T57" fmla="*/ 700 h 1201"/>
              <a:gd name="T58" fmla="*/ 300 w 1201"/>
              <a:gd name="T59" fmla="*/ 850 h 1201"/>
              <a:gd name="T60" fmla="*/ 351 w 1201"/>
              <a:gd name="T61" fmla="*/ 1075 h 1201"/>
              <a:gd name="T62" fmla="*/ 426 w 1201"/>
              <a:gd name="T63" fmla="*/ 1150 h 1201"/>
              <a:gd name="T64" fmla="*/ 451 w 1201"/>
              <a:gd name="T65" fmla="*/ 1150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1" h="1201">
                <a:moveTo>
                  <a:pt x="451" y="1150"/>
                </a:moveTo>
                <a:lnTo>
                  <a:pt x="451" y="1150"/>
                </a:lnTo>
                <a:cubicBezTo>
                  <a:pt x="451" y="1125"/>
                  <a:pt x="476" y="1075"/>
                  <a:pt x="500" y="1100"/>
                </a:cubicBezTo>
                <a:cubicBezTo>
                  <a:pt x="526" y="1150"/>
                  <a:pt x="526" y="1175"/>
                  <a:pt x="551" y="1175"/>
                </a:cubicBezTo>
                <a:cubicBezTo>
                  <a:pt x="600" y="1175"/>
                  <a:pt x="676" y="1200"/>
                  <a:pt x="676" y="1175"/>
                </a:cubicBezTo>
                <a:cubicBezTo>
                  <a:pt x="676" y="1150"/>
                  <a:pt x="726" y="1150"/>
                  <a:pt x="726" y="1125"/>
                </a:cubicBezTo>
                <a:cubicBezTo>
                  <a:pt x="726" y="1075"/>
                  <a:pt x="726" y="525"/>
                  <a:pt x="726" y="500"/>
                </a:cubicBezTo>
                <a:cubicBezTo>
                  <a:pt x="726" y="475"/>
                  <a:pt x="826" y="500"/>
                  <a:pt x="826" y="450"/>
                </a:cubicBezTo>
                <a:cubicBezTo>
                  <a:pt x="826" y="425"/>
                  <a:pt x="826" y="125"/>
                  <a:pt x="826" y="125"/>
                </a:cubicBezTo>
                <a:cubicBezTo>
                  <a:pt x="826" y="125"/>
                  <a:pt x="900" y="125"/>
                  <a:pt x="926" y="125"/>
                </a:cubicBezTo>
                <a:cubicBezTo>
                  <a:pt x="951" y="125"/>
                  <a:pt x="1000" y="74"/>
                  <a:pt x="1026" y="100"/>
                </a:cubicBezTo>
                <a:cubicBezTo>
                  <a:pt x="1051" y="100"/>
                  <a:pt x="1076" y="150"/>
                  <a:pt x="1076" y="125"/>
                </a:cubicBezTo>
                <a:cubicBezTo>
                  <a:pt x="1076" y="125"/>
                  <a:pt x="1126" y="100"/>
                  <a:pt x="1151" y="100"/>
                </a:cubicBezTo>
                <a:cubicBezTo>
                  <a:pt x="1151" y="100"/>
                  <a:pt x="1176" y="74"/>
                  <a:pt x="1200" y="74"/>
                </a:cubicBezTo>
                <a:lnTo>
                  <a:pt x="1200" y="50"/>
                </a:lnTo>
                <a:cubicBezTo>
                  <a:pt x="1200" y="25"/>
                  <a:pt x="1026" y="50"/>
                  <a:pt x="1000" y="74"/>
                </a:cubicBezTo>
                <a:cubicBezTo>
                  <a:pt x="976" y="74"/>
                  <a:pt x="876" y="100"/>
                  <a:pt x="851" y="74"/>
                </a:cubicBezTo>
                <a:cubicBezTo>
                  <a:pt x="826" y="74"/>
                  <a:pt x="651" y="74"/>
                  <a:pt x="651" y="74"/>
                </a:cubicBezTo>
                <a:cubicBezTo>
                  <a:pt x="626" y="50"/>
                  <a:pt x="626" y="50"/>
                  <a:pt x="626" y="50"/>
                </a:cubicBezTo>
                <a:cubicBezTo>
                  <a:pt x="626" y="50"/>
                  <a:pt x="326" y="50"/>
                  <a:pt x="300" y="50"/>
                </a:cubicBezTo>
                <a:cubicBezTo>
                  <a:pt x="251" y="50"/>
                  <a:pt x="225" y="50"/>
                  <a:pt x="200" y="25"/>
                </a:cubicBezTo>
                <a:cubicBezTo>
                  <a:pt x="175" y="0"/>
                  <a:pt x="151" y="0"/>
                  <a:pt x="126" y="25"/>
                </a:cubicBezTo>
                <a:cubicBezTo>
                  <a:pt x="75" y="25"/>
                  <a:pt x="100" y="0"/>
                  <a:pt x="75" y="0"/>
                </a:cubicBezTo>
                <a:cubicBezTo>
                  <a:pt x="51" y="0"/>
                  <a:pt x="51" y="25"/>
                  <a:pt x="51" y="25"/>
                </a:cubicBezTo>
                <a:cubicBezTo>
                  <a:pt x="26" y="25"/>
                  <a:pt x="26" y="25"/>
                  <a:pt x="26" y="25"/>
                </a:cubicBezTo>
                <a:cubicBezTo>
                  <a:pt x="0" y="50"/>
                  <a:pt x="26" y="100"/>
                  <a:pt x="75" y="150"/>
                </a:cubicBezTo>
                <a:cubicBezTo>
                  <a:pt x="100" y="200"/>
                  <a:pt x="126" y="275"/>
                  <a:pt x="151" y="350"/>
                </a:cubicBezTo>
                <a:cubicBezTo>
                  <a:pt x="175" y="400"/>
                  <a:pt x="251" y="500"/>
                  <a:pt x="251" y="550"/>
                </a:cubicBezTo>
                <a:cubicBezTo>
                  <a:pt x="275" y="600"/>
                  <a:pt x="251" y="675"/>
                  <a:pt x="251" y="700"/>
                </a:cubicBezTo>
                <a:cubicBezTo>
                  <a:pt x="275" y="725"/>
                  <a:pt x="275" y="800"/>
                  <a:pt x="300" y="850"/>
                </a:cubicBezTo>
                <a:cubicBezTo>
                  <a:pt x="300" y="900"/>
                  <a:pt x="300" y="1025"/>
                  <a:pt x="351" y="1075"/>
                </a:cubicBezTo>
                <a:cubicBezTo>
                  <a:pt x="375" y="1100"/>
                  <a:pt x="400" y="1125"/>
                  <a:pt x="426" y="1150"/>
                </a:cubicBezTo>
                <a:lnTo>
                  <a:pt x="451" y="115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52" name="Freeform 2">
            <a:extLst>
              <a:ext uri="{FF2B5EF4-FFF2-40B4-BE49-F238E27FC236}">
                <a16:creationId xmlns:a16="http://schemas.microsoft.com/office/drawing/2014/main" id="{F1FE418F-46C6-EB44-82F0-4F500EBA2A7C}"/>
              </a:ext>
            </a:extLst>
          </p:cNvPr>
          <p:cNvSpPr>
            <a:spLocks noChangeArrowheads="1"/>
          </p:cNvSpPr>
          <p:nvPr/>
        </p:nvSpPr>
        <p:spPr bwMode="auto">
          <a:xfrm>
            <a:off x="6498185" y="5314435"/>
            <a:ext cx="240467" cy="208124"/>
          </a:xfrm>
          <a:custGeom>
            <a:avLst/>
            <a:gdLst>
              <a:gd name="T0" fmla="*/ 501 w 752"/>
              <a:gd name="T1" fmla="*/ 25 h 651"/>
              <a:gd name="T2" fmla="*/ 501 w 752"/>
              <a:gd name="T3" fmla="*/ 25 h 651"/>
              <a:gd name="T4" fmla="*/ 501 w 752"/>
              <a:gd name="T5" fmla="*/ 0 h 651"/>
              <a:gd name="T6" fmla="*/ 401 w 752"/>
              <a:gd name="T7" fmla="*/ 0 h 651"/>
              <a:gd name="T8" fmla="*/ 351 w 752"/>
              <a:gd name="T9" fmla="*/ 50 h 651"/>
              <a:gd name="T10" fmla="*/ 276 w 752"/>
              <a:gd name="T11" fmla="*/ 99 h 651"/>
              <a:gd name="T12" fmla="*/ 176 w 752"/>
              <a:gd name="T13" fmla="*/ 225 h 651"/>
              <a:gd name="T14" fmla="*/ 51 w 752"/>
              <a:gd name="T15" fmla="*/ 199 h 651"/>
              <a:gd name="T16" fmla="*/ 0 w 752"/>
              <a:gd name="T17" fmla="*/ 199 h 651"/>
              <a:gd name="T18" fmla="*/ 51 w 752"/>
              <a:gd name="T19" fmla="*/ 250 h 651"/>
              <a:gd name="T20" fmla="*/ 101 w 752"/>
              <a:gd name="T21" fmla="*/ 375 h 651"/>
              <a:gd name="T22" fmla="*/ 201 w 752"/>
              <a:gd name="T23" fmla="*/ 425 h 651"/>
              <a:gd name="T24" fmla="*/ 251 w 752"/>
              <a:gd name="T25" fmla="*/ 500 h 651"/>
              <a:gd name="T26" fmla="*/ 301 w 752"/>
              <a:gd name="T27" fmla="*/ 575 h 651"/>
              <a:gd name="T28" fmla="*/ 376 w 752"/>
              <a:gd name="T29" fmla="*/ 600 h 651"/>
              <a:gd name="T30" fmla="*/ 476 w 752"/>
              <a:gd name="T31" fmla="*/ 625 h 651"/>
              <a:gd name="T32" fmla="*/ 576 w 752"/>
              <a:gd name="T33" fmla="*/ 650 h 651"/>
              <a:gd name="T34" fmla="*/ 676 w 752"/>
              <a:gd name="T35" fmla="*/ 550 h 651"/>
              <a:gd name="T36" fmla="*/ 701 w 752"/>
              <a:gd name="T37" fmla="*/ 450 h 651"/>
              <a:gd name="T38" fmla="*/ 751 w 752"/>
              <a:gd name="T39" fmla="*/ 400 h 651"/>
              <a:gd name="T40" fmla="*/ 701 w 752"/>
              <a:gd name="T41" fmla="*/ 325 h 651"/>
              <a:gd name="T42" fmla="*/ 726 w 752"/>
              <a:gd name="T43" fmla="*/ 225 h 651"/>
              <a:gd name="T44" fmla="*/ 726 w 752"/>
              <a:gd name="T45" fmla="*/ 99 h 651"/>
              <a:gd name="T46" fmla="*/ 626 w 752"/>
              <a:gd name="T47" fmla="*/ 50 h 651"/>
              <a:gd name="T48" fmla="*/ 501 w 752"/>
              <a:gd name="T49" fmla="*/ 2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2" h="651">
                <a:moveTo>
                  <a:pt x="501" y="25"/>
                </a:moveTo>
                <a:lnTo>
                  <a:pt x="501" y="25"/>
                </a:lnTo>
                <a:cubicBezTo>
                  <a:pt x="501" y="0"/>
                  <a:pt x="501" y="0"/>
                  <a:pt x="501" y="0"/>
                </a:cubicBezTo>
                <a:cubicBezTo>
                  <a:pt x="401" y="0"/>
                  <a:pt x="401" y="0"/>
                  <a:pt x="401" y="0"/>
                </a:cubicBezTo>
                <a:cubicBezTo>
                  <a:pt x="351" y="0"/>
                  <a:pt x="351" y="25"/>
                  <a:pt x="351" y="50"/>
                </a:cubicBezTo>
                <a:cubicBezTo>
                  <a:pt x="351" y="50"/>
                  <a:pt x="301" y="99"/>
                  <a:pt x="276" y="99"/>
                </a:cubicBezTo>
                <a:cubicBezTo>
                  <a:pt x="226" y="125"/>
                  <a:pt x="201" y="199"/>
                  <a:pt x="176" y="225"/>
                </a:cubicBezTo>
                <a:cubicBezTo>
                  <a:pt x="151" y="225"/>
                  <a:pt x="76" y="199"/>
                  <a:pt x="51" y="199"/>
                </a:cubicBezTo>
                <a:cubicBezTo>
                  <a:pt x="51" y="199"/>
                  <a:pt x="26" y="199"/>
                  <a:pt x="0" y="199"/>
                </a:cubicBezTo>
                <a:cubicBezTo>
                  <a:pt x="26" y="225"/>
                  <a:pt x="51" y="250"/>
                  <a:pt x="51" y="250"/>
                </a:cubicBezTo>
                <a:cubicBezTo>
                  <a:pt x="76" y="250"/>
                  <a:pt x="76" y="350"/>
                  <a:pt x="101" y="375"/>
                </a:cubicBezTo>
                <a:cubicBezTo>
                  <a:pt x="151" y="375"/>
                  <a:pt x="201" y="425"/>
                  <a:pt x="201" y="425"/>
                </a:cubicBezTo>
                <a:cubicBezTo>
                  <a:pt x="201" y="450"/>
                  <a:pt x="251" y="475"/>
                  <a:pt x="251" y="500"/>
                </a:cubicBezTo>
                <a:cubicBezTo>
                  <a:pt x="251" y="525"/>
                  <a:pt x="276" y="575"/>
                  <a:pt x="301" y="575"/>
                </a:cubicBezTo>
                <a:cubicBezTo>
                  <a:pt x="376" y="575"/>
                  <a:pt x="376" y="600"/>
                  <a:pt x="376" y="600"/>
                </a:cubicBezTo>
                <a:cubicBezTo>
                  <a:pt x="376" y="625"/>
                  <a:pt x="451" y="600"/>
                  <a:pt x="476" y="625"/>
                </a:cubicBezTo>
                <a:cubicBezTo>
                  <a:pt x="476" y="650"/>
                  <a:pt x="551" y="625"/>
                  <a:pt x="576" y="650"/>
                </a:cubicBezTo>
                <a:cubicBezTo>
                  <a:pt x="601" y="625"/>
                  <a:pt x="651" y="575"/>
                  <a:pt x="676" y="550"/>
                </a:cubicBezTo>
                <a:cubicBezTo>
                  <a:pt x="701" y="525"/>
                  <a:pt x="676" y="475"/>
                  <a:pt x="701" y="450"/>
                </a:cubicBezTo>
                <a:lnTo>
                  <a:pt x="751" y="400"/>
                </a:lnTo>
                <a:cubicBezTo>
                  <a:pt x="726" y="375"/>
                  <a:pt x="726" y="350"/>
                  <a:pt x="701" y="325"/>
                </a:cubicBezTo>
                <a:cubicBezTo>
                  <a:pt x="676" y="300"/>
                  <a:pt x="751" y="275"/>
                  <a:pt x="726" y="225"/>
                </a:cubicBezTo>
                <a:cubicBezTo>
                  <a:pt x="726" y="199"/>
                  <a:pt x="751" y="99"/>
                  <a:pt x="726" y="99"/>
                </a:cubicBezTo>
                <a:cubicBezTo>
                  <a:pt x="726" y="75"/>
                  <a:pt x="651" y="75"/>
                  <a:pt x="626" y="50"/>
                </a:cubicBezTo>
                <a:cubicBezTo>
                  <a:pt x="576" y="25"/>
                  <a:pt x="501" y="25"/>
                  <a:pt x="501"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53" name="Freeform 3">
            <a:extLst>
              <a:ext uri="{FF2B5EF4-FFF2-40B4-BE49-F238E27FC236}">
                <a16:creationId xmlns:a16="http://schemas.microsoft.com/office/drawing/2014/main" id="{B1C8CD6D-28D8-F340-A7F8-213225D24828}"/>
              </a:ext>
            </a:extLst>
          </p:cNvPr>
          <p:cNvSpPr>
            <a:spLocks noChangeArrowheads="1"/>
          </p:cNvSpPr>
          <p:nvPr/>
        </p:nvSpPr>
        <p:spPr bwMode="auto">
          <a:xfrm>
            <a:off x="6347719" y="5379123"/>
            <a:ext cx="271405" cy="288280"/>
          </a:xfrm>
          <a:custGeom>
            <a:avLst/>
            <a:gdLst>
              <a:gd name="T0" fmla="*/ 775 w 851"/>
              <a:gd name="T1" fmla="*/ 376 h 902"/>
              <a:gd name="T2" fmla="*/ 775 w 851"/>
              <a:gd name="T3" fmla="*/ 376 h 902"/>
              <a:gd name="T4" fmla="*/ 725 w 851"/>
              <a:gd name="T5" fmla="*/ 301 h 902"/>
              <a:gd name="T6" fmla="*/ 675 w 851"/>
              <a:gd name="T7" fmla="*/ 226 h 902"/>
              <a:gd name="T8" fmla="*/ 575 w 851"/>
              <a:gd name="T9" fmla="*/ 176 h 902"/>
              <a:gd name="T10" fmla="*/ 525 w 851"/>
              <a:gd name="T11" fmla="*/ 51 h 902"/>
              <a:gd name="T12" fmla="*/ 474 w 851"/>
              <a:gd name="T13" fmla="*/ 0 h 902"/>
              <a:gd name="T14" fmla="*/ 425 w 851"/>
              <a:gd name="T15" fmla="*/ 26 h 902"/>
              <a:gd name="T16" fmla="*/ 350 w 851"/>
              <a:gd name="T17" fmla="*/ 51 h 902"/>
              <a:gd name="T18" fmla="*/ 300 w 851"/>
              <a:gd name="T19" fmla="*/ 26 h 902"/>
              <a:gd name="T20" fmla="*/ 200 w 851"/>
              <a:gd name="T21" fmla="*/ 51 h 902"/>
              <a:gd name="T22" fmla="*/ 100 w 851"/>
              <a:gd name="T23" fmla="*/ 51 h 902"/>
              <a:gd name="T24" fmla="*/ 100 w 851"/>
              <a:gd name="T25" fmla="*/ 376 h 902"/>
              <a:gd name="T26" fmla="*/ 0 w 851"/>
              <a:gd name="T27" fmla="*/ 426 h 902"/>
              <a:gd name="T28" fmla="*/ 0 w 851"/>
              <a:gd name="T29" fmla="*/ 701 h 902"/>
              <a:gd name="T30" fmla="*/ 50 w 851"/>
              <a:gd name="T31" fmla="*/ 726 h 902"/>
              <a:gd name="T32" fmla="*/ 74 w 851"/>
              <a:gd name="T33" fmla="*/ 826 h 902"/>
              <a:gd name="T34" fmla="*/ 74 w 851"/>
              <a:gd name="T35" fmla="*/ 851 h 902"/>
              <a:gd name="T36" fmla="*/ 74 w 851"/>
              <a:gd name="T37" fmla="*/ 901 h 902"/>
              <a:gd name="T38" fmla="*/ 174 w 851"/>
              <a:gd name="T39" fmla="*/ 901 h 902"/>
              <a:gd name="T40" fmla="*/ 274 w 851"/>
              <a:gd name="T41" fmla="*/ 801 h 902"/>
              <a:gd name="T42" fmla="*/ 325 w 851"/>
              <a:gd name="T43" fmla="*/ 751 h 902"/>
              <a:gd name="T44" fmla="*/ 450 w 851"/>
              <a:gd name="T45" fmla="*/ 776 h 902"/>
              <a:gd name="T46" fmla="*/ 525 w 851"/>
              <a:gd name="T47" fmla="*/ 726 h 902"/>
              <a:gd name="T48" fmla="*/ 575 w 851"/>
              <a:gd name="T49" fmla="*/ 676 h 902"/>
              <a:gd name="T50" fmla="*/ 650 w 851"/>
              <a:gd name="T51" fmla="*/ 601 h 902"/>
              <a:gd name="T52" fmla="*/ 675 w 851"/>
              <a:gd name="T53" fmla="*/ 551 h 902"/>
              <a:gd name="T54" fmla="*/ 750 w 851"/>
              <a:gd name="T55" fmla="*/ 501 h 902"/>
              <a:gd name="T56" fmla="*/ 825 w 851"/>
              <a:gd name="T57" fmla="*/ 451 h 902"/>
              <a:gd name="T58" fmla="*/ 850 w 851"/>
              <a:gd name="T59" fmla="*/ 401 h 902"/>
              <a:gd name="T60" fmla="*/ 850 w 851"/>
              <a:gd name="T61" fmla="*/ 401 h 902"/>
              <a:gd name="T62" fmla="*/ 775 w 851"/>
              <a:gd name="T63" fmla="*/ 376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1" h="902">
                <a:moveTo>
                  <a:pt x="775" y="376"/>
                </a:moveTo>
                <a:lnTo>
                  <a:pt x="775" y="376"/>
                </a:lnTo>
                <a:cubicBezTo>
                  <a:pt x="750" y="376"/>
                  <a:pt x="725" y="326"/>
                  <a:pt x="725" y="301"/>
                </a:cubicBezTo>
                <a:cubicBezTo>
                  <a:pt x="725" y="276"/>
                  <a:pt x="675" y="251"/>
                  <a:pt x="675" y="226"/>
                </a:cubicBezTo>
                <a:cubicBezTo>
                  <a:pt x="675" y="226"/>
                  <a:pt x="625" y="176"/>
                  <a:pt x="575" y="176"/>
                </a:cubicBezTo>
                <a:cubicBezTo>
                  <a:pt x="550" y="151"/>
                  <a:pt x="550" y="51"/>
                  <a:pt x="525" y="51"/>
                </a:cubicBezTo>
                <a:cubicBezTo>
                  <a:pt x="525" y="51"/>
                  <a:pt x="500" y="26"/>
                  <a:pt x="474" y="0"/>
                </a:cubicBezTo>
                <a:cubicBezTo>
                  <a:pt x="450" y="0"/>
                  <a:pt x="425" y="26"/>
                  <a:pt x="425" y="26"/>
                </a:cubicBezTo>
                <a:cubicBezTo>
                  <a:pt x="400" y="26"/>
                  <a:pt x="350" y="51"/>
                  <a:pt x="350" y="51"/>
                </a:cubicBezTo>
                <a:cubicBezTo>
                  <a:pt x="350" y="76"/>
                  <a:pt x="325" y="26"/>
                  <a:pt x="300" y="26"/>
                </a:cubicBezTo>
                <a:cubicBezTo>
                  <a:pt x="274" y="0"/>
                  <a:pt x="225" y="51"/>
                  <a:pt x="200" y="51"/>
                </a:cubicBezTo>
                <a:cubicBezTo>
                  <a:pt x="174" y="51"/>
                  <a:pt x="100" y="51"/>
                  <a:pt x="100" y="51"/>
                </a:cubicBezTo>
                <a:cubicBezTo>
                  <a:pt x="100" y="51"/>
                  <a:pt x="100" y="351"/>
                  <a:pt x="100" y="376"/>
                </a:cubicBezTo>
                <a:cubicBezTo>
                  <a:pt x="100" y="426"/>
                  <a:pt x="0" y="401"/>
                  <a:pt x="0" y="426"/>
                </a:cubicBezTo>
                <a:cubicBezTo>
                  <a:pt x="0" y="426"/>
                  <a:pt x="0" y="551"/>
                  <a:pt x="0" y="701"/>
                </a:cubicBezTo>
                <a:cubicBezTo>
                  <a:pt x="25" y="701"/>
                  <a:pt x="50" y="701"/>
                  <a:pt x="50" y="726"/>
                </a:cubicBezTo>
                <a:cubicBezTo>
                  <a:pt x="74" y="751"/>
                  <a:pt x="100" y="826"/>
                  <a:pt x="74" y="826"/>
                </a:cubicBezTo>
                <a:cubicBezTo>
                  <a:pt x="74" y="851"/>
                  <a:pt x="74" y="826"/>
                  <a:pt x="74" y="851"/>
                </a:cubicBezTo>
                <a:cubicBezTo>
                  <a:pt x="74" y="876"/>
                  <a:pt x="50" y="901"/>
                  <a:pt x="74" y="901"/>
                </a:cubicBezTo>
                <a:cubicBezTo>
                  <a:pt x="100" y="901"/>
                  <a:pt x="150" y="901"/>
                  <a:pt x="174" y="901"/>
                </a:cubicBezTo>
                <a:cubicBezTo>
                  <a:pt x="200" y="876"/>
                  <a:pt x="250" y="826"/>
                  <a:pt x="274" y="801"/>
                </a:cubicBezTo>
                <a:cubicBezTo>
                  <a:pt x="274" y="776"/>
                  <a:pt x="274" y="701"/>
                  <a:pt x="325" y="751"/>
                </a:cubicBezTo>
                <a:cubicBezTo>
                  <a:pt x="374" y="776"/>
                  <a:pt x="374" y="776"/>
                  <a:pt x="450" y="776"/>
                </a:cubicBezTo>
                <a:cubicBezTo>
                  <a:pt x="500" y="776"/>
                  <a:pt x="525" y="776"/>
                  <a:pt x="525" y="726"/>
                </a:cubicBezTo>
                <a:cubicBezTo>
                  <a:pt x="550" y="701"/>
                  <a:pt x="525" y="676"/>
                  <a:pt x="575" y="676"/>
                </a:cubicBezTo>
                <a:cubicBezTo>
                  <a:pt x="600" y="676"/>
                  <a:pt x="650" y="626"/>
                  <a:pt x="650" y="601"/>
                </a:cubicBezTo>
                <a:cubicBezTo>
                  <a:pt x="650" y="576"/>
                  <a:pt x="650" y="551"/>
                  <a:pt x="675" y="551"/>
                </a:cubicBezTo>
                <a:cubicBezTo>
                  <a:pt x="700" y="551"/>
                  <a:pt x="750" y="526"/>
                  <a:pt x="750" y="501"/>
                </a:cubicBezTo>
                <a:cubicBezTo>
                  <a:pt x="775" y="451"/>
                  <a:pt x="799" y="476"/>
                  <a:pt x="825" y="451"/>
                </a:cubicBezTo>
                <a:cubicBezTo>
                  <a:pt x="825" y="451"/>
                  <a:pt x="825" y="426"/>
                  <a:pt x="850" y="401"/>
                </a:cubicBezTo>
                <a:lnTo>
                  <a:pt x="850" y="401"/>
                </a:lnTo>
                <a:cubicBezTo>
                  <a:pt x="850" y="401"/>
                  <a:pt x="850" y="376"/>
                  <a:pt x="775" y="3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55" name="Freeform 4">
            <a:extLst>
              <a:ext uri="{FF2B5EF4-FFF2-40B4-BE49-F238E27FC236}">
                <a16:creationId xmlns:a16="http://schemas.microsoft.com/office/drawing/2014/main" id="{3A813E79-4583-BB4D-919B-6F712139C2DB}"/>
              </a:ext>
            </a:extLst>
          </p:cNvPr>
          <p:cNvSpPr>
            <a:spLocks noChangeArrowheads="1"/>
          </p:cNvSpPr>
          <p:nvPr/>
        </p:nvSpPr>
        <p:spPr bwMode="auto">
          <a:xfrm>
            <a:off x="6665528" y="5625217"/>
            <a:ext cx="40781" cy="56249"/>
          </a:xfrm>
          <a:custGeom>
            <a:avLst/>
            <a:gdLst>
              <a:gd name="T0" fmla="*/ 76 w 127"/>
              <a:gd name="T1" fmla="*/ 0 h 176"/>
              <a:gd name="T2" fmla="*/ 76 w 127"/>
              <a:gd name="T3" fmla="*/ 0 h 176"/>
              <a:gd name="T4" fmla="*/ 0 w 127"/>
              <a:gd name="T5" fmla="*/ 75 h 176"/>
              <a:gd name="T6" fmla="*/ 51 w 127"/>
              <a:gd name="T7" fmla="*/ 175 h 176"/>
              <a:gd name="T8" fmla="*/ 101 w 127"/>
              <a:gd name="T9" fmla="*/ 150 h 176"/>
              <a:gd name="T10" fmla="*/ 126 w 127"/>
              <a:gd name="T11" fmla="*/ 125 h 176"/>
              <a:gd name="T12" fmla="*/ 126 w 127"/>
              <a:gd name="T13" fmla="*/ 25 h 176"/>
              <a:gd name="T14" fmla="*/ 76 w 127"/>
              <a:gd name="T15" fmla="*/ 0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76">
                <a:moveTo>
                  <a:pt x="76" y="0"/>
                </a:moveTo>
                <a:lnTo>
                  <a:pt x="76" y="0"/>
                </a:lnTo>
                <a:cubicBezTo>
                  <a:pt x="51" y="0"/>
                  <a:pt x="0" y="75"/>
                  <a:pt x="0" y="75"/>
                </a:cubicBezTo>
                <a:cubicBezTo>
                  <a:pt x="0" y="100"/>
                  <a:pt x="26" y="150"/>
                  <a:pt x="51" y="175"/>
                </a:cubicBezTo>
                <a:cubicBezTo>
                  <a:pt x="76" y="175"/>
                  <a:pt x="101" y="175"/>
                  <a:pt x="101" y="150"/>
                </a:cubicBezTo>
                <a:cubicBezTo>
                  <a:pt x="101" y="125"/>
                  <a:pt x="126" y="125"/>
                  <a:pt x="126" y="125"/>
                </a:cubicBezTo>
                <a:cubicBezTo>
                  <a:pt x="126" y="100"/>
                  <a:pt x="126" y="50"/>
                  <a:pt x="126" y="25"/>
                </a:cubicBezTo>
                <a:cubicBezTo>
                  <a:pt x="101" y="25"/>
                  <a:pt x="76" y="0"/>
                  <a:pt x="76"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56" name="Freeform 5">
            <a:extLst>
              <a:ext uri="{FF2B5EF4-FFF2-40B4-BE49-F238E27FC236}">
                <a16:creationId xmlns:a16="http://schemas.microsoft.com/office/drawing/2014/main" id="{B2DFCCD2-631F-7449-A443-B5596A414639}"/>
              </a:ext>
            </a:extLst>
          </p:cNvPr>
          <p:cNvSpPr>
            <a:spLocks noChangeArrowheads="1"/>
          </p:cNvSpPr>
          <p:nvPr/>
        </p:nvSpPr>
        <p:spPr bwMode="auto">
          <a:xfrm>
            <a:off x="6554436" y="5713810"/>
            <a:ext cx="71717" cy="71719"/>
          </a:xfrm>
          <a:custGeom>
            <a:avLst/>
            <a:gdLst>
              <a:gd name="T0" fmla="*/ 149 w 226"/>
              <a:gd name="T1" fmla="*/ 25 h 226"/>
              <a:gd name="T2" fmla="*/ 149 w 226"/>
              <a:gd name="T3" fmla="*/ 25 h 226"/>
              <a:gd name="T4" fmla="*/ 75 w 226"/>
              <a:gd name="T5" fmla="*/ 75 h 226"/>
              <a:gd name="T6" fmla="*/ 0 w 226"/>
              <a:gd name="T7" fmla="*/ 150 h 226"/>
              <a:gd name="T8" fmla="*/ 75 w 226"/>
              <a:gd name="T9" fmla="*/ 225 h 226"/>
              <a:gd name="T10" fmla="*/ 100 w 226"/>
              <a:gd name="T11" fmla="*/ 225 h 226"/>
              <a:gd name="T12" fmla="*/ 125 w 226"/>
              <a:gd name="T13" fmla="*/ 175 h 226"/>
              <a:gd name="T14" fmla="*/ 175 w 226"/>
              <a:gd name="T15" fmla="*/ 175 h 226"/>
              <a:gd name="T16" fmla="*/ 225 w 226"/>
              <a:gd name="T17" fmla="*/ 100 h 226"/>
              <a:gd name="T18" fmla="*/ 149 w 226"/>
              <a:gd name="T19" fmla="*/ 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226">
                <a:moveTo>
                  <a:pt x="149" y="25"/>
                </a:moveTo>
                <a:lnTo>
                  <a:pt x="149" y="25"/>
                </a:lnTo>
                <a:cubicBezTo>
                  <a:pt x="149" y="0"/>
                  <a:pt x="75" y="50"/>
                  <a:pt x="75" y="75"/>
                </a:cubicBezTo>
                <a:cubicBezTo>
                  <a:pt x="50" y="75"/>
                  <a:pt x="0" y="150"/>
                  <a:pt x="0" y="150"/>
                </a:cubicBezTo>
                <a:cubicBezTo>
                  <a:pt x="75" y="225"/>
                  <a:pt x="75" y="225"/>
                  <a:pt x="75" y="225"/>
                </a:cubicBezTo>
                <a:cubicBezTo>
                  <a:pt x="100" y="225"/>
                  <a:pt x="100" y="225"/>
                  <a:pt x="100" y="225"/>
                </a:cubicBezTo>
                <a:cubicBezTo>
                  <a:pt x="100" y="225"/>
                  <a:pt x="125" y="200"/>
                  <a:pt x="125" y="175"/>
                </a:cubicBezTo>
                <a:cubicBezTo>
                  <a:pt x="125" y="150"/>
                  <a:pt x="175" y="175"/>
                  <a:pt x="175" y="175"/>
                </a:cubicBezTo>
                <a:cubicBezTo>
                  <a:pt x="175" y="150"/>
                  <a:pt x="225" y="125"/>
                  <a:pt x="225" y="100"/>
                </a:cubicBezTo>
                <a:cubicBezTo>
                  <a:pt x="225" y="75"/>
                  <a:pt x="175" y="50"/>
                  <a:pt x="149"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59" name="Freeform 7">
            <a:extLst>
              <a:ext uri="{FF2B5EF4-FFF2-40B4-BE49-F238E27FC236}">
                <a16:creationId xmlns:a16="http://schemas.microsoft.com/office/drawing/2014/main" id="{B9951C1F-D117-9F4C-9072-9700880F4068}"/>
              </a:ext>
            </a:extLst>
          </p:cNvPr>
          <p:cNvSpPr>
            <a:spLocks noChangeArrowheads="1"/>
          </p:cNvSpPr>
          <p:nvPr/>
        </p:nvSpPr>
        <p:spPr bwMode="auto">
          <a:xfrm>
            <a:off x="6124125" y="5012096"/>
            <a:ext cx="343123" cy="375465"/>
          </a:xfrm>
          <a:custGeom>
            <a:avLst/>
            <a:gdLst>
              <a:gd name="T0" fmla="*/ 49 w 1075"/>
              <a:gd name="T1" fmla="*/ 1075 h 1176"/>
              <a:gd name="T2" fmla="*/ 49 w 1075"/>
              <a:gd name="T3" fmla="*/ 1075 h 1176"/>
              <a:gd name="T4" fmla="*/ 100 w 1075"/>
              <a:gd name="T5" fmla="*/ 1100 h 1176"/>
              <a:gd name="T6" fmla="*/ 174 w 1075"/>
              <a:gd name="T7" fmla="*/ 1100 h 1176"/>
              <a:gd name="T8" fmla="*/ 274 w 1075"/>
              <a:gd name="T9" fmla="*/ 1125 h 1176"/>
              <a:gd name="T10" fmla="*/ 600 w 1075"/>
              <a:gd name="T11" fmla="*/ 1125 h 1176"/>
              <a:gd name="T12" fmla="*/ 625 w 1075"/>
              <a:gd name="T13" fmla="*/ 1149 h 1176"/>
              <a:gd name="T14" fmla="*/ 825 w 1075"/>
              <a:gd name="T15" fmla="*/ 1149 h 1176"/>
              <a:gd name="T16" fmla="*/ 974 w 1075"/>
              <a:gd name="T17" fmla="*/ 1149 h 1176"/>
              <a:gd name="T18" fmla="*/ 1000 w 1075"/>
              <a:gd name="T19" fmla="*/ 1125 h 1176"/>
              <a:gd name="T20" fmla="*/ 900 w 1075"/>
              <a:gd name="T21" fmla="*/ 1000 h 1176"/>
              <a:gd name="T22" fmla="*/ 900 w 1075"/>
              <a:gd name="T23" fmla="*/ 675 h 1176"/>
              <a:gd name="T24" fmla="*/ 1050 w 1075"/>
              <a:gd name="T25" fmla="*/ 675 h 1176"/>
              <a:gd name="T26" fmla="*/ 1074 w 1075"/>
              <a:gd name="T27" fmla="*/ 650 h 1176"/>
              <a:gd name="T28" fmla="*/ 1074 w 1075"/>
              <a:gd name="T29" fmla="*/ 475 h 1176"/>
              <a:gd name="T30" fmla="*/ 1050 w 1075"/>
              <a:gd name="T31" fmla="*/ 475 h 1176"/>
              <a:gd name="T32" fmla="*/ 974 w 1075"/>
              <a:gd name="T33" fmla="*/ 475 h 1176"/>
              <a:gd name="T34" fmla="*/ 925 w 1075"/>
              <a:gd name="T35" fmla="*/ 500 h 1176"/>
              <a:gd name="T36" fmla="*/ 925 w 1075"/>
              <a:gd name="T37" fmla="*/ 425 h 1176"/>
              <a:gd name="T38" fmla="*/ 874 w 1075"/>
              <a:gd name="T39" fmla="*/ 350 h 1176"/>
              <a:gd name="T40" fmla="*/ 900 w 1075"/>
              <a:gd name="T41" fmla="*/ 225 h 1176"/>
              <a:gd name="T42" fmla="*/ 874 w 1075"/>
              <a:gd name="T43" fmla="*/ 150 h 1176"/>
              <a:gd name="T44" fmla="*/ 825 w 1075"/>
              <a:gd name="T45" fmla="*/ 125 h 1176"/>
              <a:gd name="T46" fmla="*/ 774 w 1075"/>
              <a:gd name="T47" fmla="*/ 125 h 1176"/>
              <a:gd name="T48" fmla="*/ 700 w 1075"/>
              <a:gd name="T49" fmla="*/ 125 h 1176"/>
              <a:gd name="T50" fmla="*/ 650 w 1075"/>
              <a:gd name="T51" fmla="*/ 200 h 1176"/>
              <a:gd name="T52" fmla="*/ 550 w 1075"/>
              <a:gd name="T53" fmla="*/ 225 h 1176"/>
              <a:gd name="T54" fmla="*/ 474 w 1075"/>
              <a:gd name="T55" fmla="*/ 150 h 1176"/>
              <a:gd name="T56" fmla="*/ 425 w 1075"/>
              <a:gd name="T57" fmla="*/ 75 h 1176"/>
              <a:gd name="T58" fmla="*/ 425 w 1075"/>
              <a:gd name="T59" fmla="*/ 0 h 1176"/>
              <a:gd name="T60" fmla="*/ 100 w 1075"/>
              <a:gd name="T61" fmla="*/ 0 h 1176"/>
              <a:gd name="T62" fmla="*/ 49 w 1075"/>
              <a:gd name="T63" fmla="*/ 25 h 1176"/>
              <a:gd name="T64" fmla="*/ 149 w 1075"/>
              <a:gd name="T65" fmla="*/ 225 h 1176"/>
              <a:gd name="T66" fmla="*/ 125 w 1075"/>
              <a:gd name="T67" fmla="*/ 325 h 1176"/>
              <a:gd name="T68" fmla="*/ 174 w 1075"/>
              <a:gd name="T69" fmla="*/ 525 h 1176"/>
              <a:gd name="T70" fmla="*/ 125 w 1075"/>
              <a:gd name="T71" fmla="*/ 650 h 1176"/>
              <a:gd name="T72" fmla="*/ 49 w 1075"/>
              <a:gd name="T73" fmla="*/ 850 h 1176"/>
              <a:gd name="T74" fmla="*/ 0 w 1075"/>
              <a:gd name="T75" fmla="*/ 975 h 1176"/>
              <a:gd name="T76" fmla="*/ 0 w 1075"/>
              <a:gd name="T77" fmla="*/ 1100 h 1176"/>
              <a:gd name="T78" fmla="*/ 0 w 1075"/>
              <a:gd name="T79" fmla="*/ 1100 h 1176"/>
              <a:gd name="T80" fmla="*/ 25 w 1075"/>
              <a:gd name="T81" fmla="*/ 1100 h 1176"/>
              <a:gd name="T82" fmla="*/ 49 w 1075"/>
              <a:gd name="T83" fmla="*/ 107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5" h="1176">
                <a:moveTo>
                  <a:pt x="49" y="1075"/>
                </a:moveTo>
                <a:lnTo>
                  <a:pt x="49" y="1075"/>
                </a:lnTo>
                <a:cubicBezTo>
                  <a:pt x="74" y="1075"/>
                  <a:pt x="49" y="1100"/>
                  <a:pt x="100" y="1100"/>
                </a:cubicBezTo>
                <a:cubicBezTo>
                  <a:pt x="125" y="1075"/>
                  <a:pt x="149" y="1075"/>
                  <a:pt x="174" y="1100"/>
                </a:cubicBezTo>
                <a:cubicBezTo>
                  <a:pt x="199" y="1125"/>
                  <a:pt x="225" y="1125"/>
                  <a:pt x="274" y="1125"/>
                </a:cubicBezTo>
                <a:cubicBezTo>
                  <a:pt x="300" y="1125"/>
                  <a:pt x="600" y="1125"/>
                  <a:pt x="600" y="1125"/>
                </a:cubicBezTo>
                <a:cubicBezTo>
                  <a:pt x="625" y="1149"/>
                  <a:pt x="625" y="1149"/>
                  <a:pt x="625" y="1149"/>
                </a:cubicBezTo>
                <a:cubicBezTo>
                  <a:pt x="625" y="1149"/>
                  <a:pt x="800" y="1149"/>
                  <a:pt x="825" y="1149"/>
                </a:cubicBezTo>
                <a:cubicBezTo>
                  <a:pt x="850" y="1175"/>
                  <a:pt x="950" y="1149"/>
                  <a:pt x="974" y="1149"/>
                </a:cubicBezTo>
                <a:cubicBezTo>
                  <a:pt x="974" y="1149"/>
                  <a:pt x="1000" y="1149"/>
                  <a:pt x="1000" y="1125"/>
                </a:cubicBezTo>
                <a:cubicBezTo>
                  <a:pt x="900" y="1000"/>
                  <a:pt x="900" y="1000"/>
                  <a:pt x="900" y="1000"/>
                </a:cubicBezTo>
                <a:cubicBezTo>
                  <a:pt x="900" y="675"/>
                  <a:pt x="900" y="675"/>
                  <a:pt x="900" y="675"/>
                </a:cubicBezTo>
                <a:cubicBezTo>
                  <a:pt x="1050" y="675"/>
                  <a:pt x="1050" y="675"/>
                  <a:pt x="1050" y="675"/>
                </a:cubicBezTo>
                <a:cubicBezTo>
                  <a:pt x="1074" y="650"/>
                  <a:pt x="1074" y="650"/>
                  <a:pt x="1074" y="650"/>
                </a:cubicBezTo>
                <a:cubicBezTo>
                  <a:pt x="1074" y="475"/>
                  <a:pt x="1074" y="475"/>
                  <a:pt x="1074" y="475"/>
                </a:cubicBezTo>
                <a:cubicBezTo>
                  <a:pt x="1074" y="475"/>
                  <a:pt x="1074" y="475"/>
                  <a:pt x="1050" y="475"/>
                </a:cubicBezTo>
                <a:cubicBezTo>
                  <a:pt x="1025" y="475"/>
                  <a:pt x="1000" y="475"/>
                  <a:pt x="974" y="475"/>
                </a:cubicBezTo>
                <a:cubicBezTo>
                  <a:pt x="950" y="475"/>
                  <a:pt x="950" y="500"/>
                  <a:pt x="925" y="500"/>
                </a:cubicBezTo>
                <a:cubicBezTo>
                  <a:pt x="900" y="500"/>
                  <a:pt x="925" y="450"/>
                  <a:pt x="925" y="425"/>
                </a:cubicBezTo>
                <a:cubicBezTo>
                  <a:pt x="925" y="400"/>
                  <a:pt x="900" y="375"/>
                  <a:pt x="874" y="350"/>
                </a:cubicBezTo>
                <a:cubicBezTo>
                  <a:pt x="850" y="350"/>
                  <a:pt x="900" y="225"/>
                  <a:pt x="900" y="225"/>
                </a:cubicBezTo>
                <a:cubicBezTo>
                  <a:pt x="874" y="200"/>
                  <a:pt x="874" y="175"/>
                  <a:pt x="874" y="150"/>
                </a:cubicBezTo>
                <a:cubicBezTo>
                  <a:pt x="874" y="125"/>
                  <a:pt x="850" y="125"/>
                  <a:pt x="825" y="125"/>
                </a:cubicBezTo>
                <a:cubicBezTo>
                  <a:pt x="774" y="125"/>
                  <a:pt x="774" y="125"/>
                  <a:pt x="774" y="125"/>
                </a:cubicBezTo>
                <a:cubicBezTo>
                  <a:pt x="774" y="125"/>
                  <a:pt x="725" y="100"/>
                  <a:pt x="700" y="125"/>
                </a:cubicBezTo>
                <a:cubicBezTo>
                  <a:pt x="674" y="125"/>
                  <a:pt x="674" y="200"/>
                  <a:pt x="650" y="200"/>
                </a:cubicBezTo>
                <a:cubicBezTo>
                  <a:pt x="650" y="200"/>
                  <a:pt x="600" y="200"/>
                  <a:pt x="550" y="225"/>
                </a:cubicBezTo>
                <a:cubicBezTo>
                  <a:pt x="500" y="225"/>
                  <a:pt x="500" y="200"/>
                  <a:pt x="474" y="150"/>
                </a:cubicBezTo>
                <a:cubicBezTo>
                  <a:pt x="450" y="100"/>
                  <a:pt x="425" y="125"/>
                  <a:pt x="425" y="75"/>
                </a:cubicBezTo>
                <a:cubicBezTo>
                  <a:pt x="450" y="50"/>
                  <a:pt x="425" y="0"/>
                  <a:pt x="425" y="0"/>
                </a:cubicBezTo>
                <a:cubicBezTo>
                  <a:pt x="425" y="0"/>
                  <a:pt x="149" y="0"/>
                  <a:pt x="100" y="0"/>
                </a:cubicBezTo>
                <a:cubicBezTo>
                  <a:pt x="100" y="0"/>
                  <a:pt x="74" y="25"/>
                  <a:pt x="49" y="25"/>
                </a:cubicBezTo>
                <a:cubicBezTo>
                  <a:pt x="74" y="100"/>
                  <a:pt x="125" y="200"/>
                  <a:pt x="149" y="225"/>
                </a:cubicBezTo>
                <a:cubicBezTo>
                  <a:pt x="149" y="250"/>
                  <a:pt x="125" y="275"/>
                  <a:pt x="125" y="325"/>
                </a:cubicBezTo>
                <a:cubicBezTo>
                  <a:pt x="125" y="375"/>
                  <a:pt x="174" y="475"/>
                  <a:pt x="174" y="525"/>
                </a:cubicBezTo>
                <a:cubicBezTo>
                  <a:pt x="199" y="575"/>
                  <a:pt x="149" y="625"/>
                  <a:pt x="125" y="650"/>
                </a:cubicBezTo>
                <a:cubicBezTo>
                  <a:pt x="74" y="700"/>
                  <a:pt x="49" y="800"/>
                  <a:pt x="49" y="850"/>
                </a:cubicBezTo>
                <a:cubicBezTo>
                  <a:pt x="49" y="900"/>
                  <a:pt x="0" y="950"/>
                  <a:pt x="0" y="975"/>
                </a:cubicBezTo>
                <a:cubicBezTo>
                  <a:pt x="0" y="1000"/>
                  <a:pt x="0" y="1075"/>
                  <a:pt x="0" y="1100"/>
                </a:cubicBezTo>
                <a:lnTo>
                  <a:pt x="0" y="1100"/>
                </a:lnTo>
                <a:cubicBezTo>
                  <a:pt x="25" y="1100"/>
                  <a:pt x="25" y="1100"/>
                  <a:pt x="25" y="1100"/>
                </a:cubicBezTo>
                <a:cubicBezTo>
                  <a:pt x="25" y="1100"/>
                  <a:pt x="25" y="1075"/>
                  <a:pt x="49" y="10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0" name="Freeform 8">
            <a:extLst>
              <a:ext uri="{FF2B5EF4-FFF2-40B4-BE49-F238E27FC236}">
                <a16:creationId xmlns:a16="http://schemas.microsoft.com/office/drawing/2014/main" id="{9713BF79-CD6F-3C40-96CE-7A0816E0D3D7}"/>
              </a:ext>
            </a:extLst>
          </p:cNvPr>
          <p:cNvSpPr>
            <a:spLocks noChangeArrowheads="1"/>
          </p:cNvSpPr>
          <p:nvPr/>
        </p:nvSpPr>
        <p:spPr bwMode="auto">
          <a:xfrm>
            <a:off x="6411000" y="5083814"/>
            <a:ext cx="343123" cy="303748"/>
          </a:xfrm>
          <a:custGeom>
            <a:avLst/>
            <a:gdLst>
              <a:gd name="T0" fmla="*/ 825 w 1076"/>
              <a:gd name="T1" fmla="*/ 25 h 951"/>
              <a:gd name="T2" fmla="*/ 825 w 1076"/>
              <a:gd name="T3" fmla="*/ 25 h 951"/>
              <a:gd name="T4" fmla="*/ 750 w 1076"/>
              <a:gd name="T5" fmla="*/ 0 h 951"/>
              <a:gd name="T6" fmla="*/ 650 w 1076"/>
              <a:gd name="T7" fmla="*/ 25 h 951"/>
              <a:gd name="T8" fmla="*/ 625 w 1076"/>
              <a:gd name="T9" fmla="*/ 75 h 951"/>
              <a:gd name="T10" fmla="*/ 599 w 1076"/>
              <a:gd name="T11" fmla="*/ 125 h 951"/>
              <a:gd name="T12" fmla="*/ 599 w 1076"/>
              <a:gd name="T13" fmla="*/ 225 h 951"/>
              <a:gd name="T14" fmla="*/ 575 w 1076"/>
              <a:gd name="T15" fmla="*/ 325 h 951"/>
              <a:gd name="T16" fmla="*/ 650 w 1076"/>
              <a:gd name="T17" fmla="*/ 400 h 951"/>
              <a:gd name="T18" fmla="*/ 700 w 1076"/>
              <a:gd name="T19" fmla="*/ 375 h 951"/>
              <a:gd name="T20" fmla="*/ 725 w 1076"/>
              <a:gd name="T21" fmla="*/ 450 h 951"/>
              <a:gd name="T22" fmla="*/ 700 w 1076"/>
              <a:gd name="T23" fmla="*/ 475 h 951"/>
              <a:gd name="T24" fmla="*/ 625 w 1076"/>
              <a:gd name="T25" fmla="*/ 475 h 951"/>
              <a:gd name="T26" fmla="*/ 599 w 1076"/>
              <a:gd name="T27" fmla="*/ 400 h 951"/>
              <a:gd name="T28" fmla="*/ 525 w 1076"/>
              <a:gd name="T29" fmla="*/ 375 h 951"/>
              <a:gd name="T30" fmla="*/ 475 w 1076"/>
              <a:gd name="T31" fmla="*/ 325 h 951"/>
              <a:gd name="T32" fmla="*/ 450 w 1076"/>
              <a:gd name="T33" fmla="*/ 350 h 951"/>
              <a:gd name="T34" fmla="*/ 400 w 1076"/>
              <a:gd name="T35" fmla="*/ 350 h 951"/>
              <a:gd name="T36" fmla="*/ 325 w 1076"/>
              <a:gd name="T37" fmla="*/ 325 h 951"/>
              <a:gd name="T38" fmla="*/ 300 w 1076"/>
              <a:gd name="T39" fmla="*/ 300 h 951"/>
              <a:gd name="T40" fmla="*/ 225 w 1076"/>
              <a:gd name="T41" fmla="*/ 300 h 951"/>
              <a:gd name="T42" fmla="*/ 200 w 1076"/>
              <a:gd name="T43" fmla="*/ 275 h 951"/>
              <a:gd name="T44" fmla="*/ 174 w 1076"/>
              <a:gd name="T45" fmla="*/ 250 h 951"/>
              <a:gd name="T46" fmla="*/ 174 w 1076"/>
              <a:gd name="T47" fmla="*/ 425 h 951"/>
              <a:gd name="T48" fmla="*/ 150 w 1076"/>
              <a:gd name="T49" fmla="*/ 450 h 951"/>
              <a:gd name="T50" fmla="*/ 0 w 1076"/>
              <a:gd name="T51" fmla="*/ 450 h 951"/>
              <a:gd name="T52" fmla="*/ 0 w 1076"/>
              <a:gd name="T53" fmla="*/ 775 h 951"/>
              <a:gd name="T54" fmla="*/ 100 w 1076"/>
              <a:gd name="T55" fmla="*/ 900 h 951"/>
              <a:gd name="T56" fmla="*/ 274 w 1076"/>
              <a:gd name="T57" fmla="*/ 900 h 951"/>
              <a:gd name="T58" fmla="*/ 274 w 1076"/>
              <a:gd name="T59" fmla="*/ 924 h 951"/>
              <a:gd name="T60" fmla="*/ 325 w 1076"/>
              <a:gd name="T61" fmla="*/ 924 h 951"/>
              <a:gd name="T62" fmla="*/ 450 w 1076"/>
              <a:gd name="T63" fmla="*/ 950 h 951"/>
              <a:gd name="T64" fmla="*/ 550 w 1076"/>
              <a:gd name="T65" fmla="*/ 824 h 951"/>
              <a:gd name="T66" fmla="*/ 625 w 1076"/>
              <a:gd name="T67" fmla="*/ 775 h 951"/>
              <a:gd name="T68" fmla="*/ 675 w 1076"/>
              <a:gd name="T69" fmla="*/ 725 h 951"/>
              <a:gd name="T70" fmla="*/ 775 w 1076"/>
              <a:gd name="T71" fmla="*/ 725 h 951"/>
              <a:gd name="T72" fmla="*/ 775 w 1076"/>
              <a:gd name="T73" fmla="*/ 725 h 951"/>
              <a:gd name="T74" fmla="*/ 750 w 1076"/>
              <a:gd name="T75" fmla="*/ 650 h 951"/>
              <a:gd name="T76" fmla="*/ 1000 w 1076"/>
              <a:gd name="T77" fmla="*/ 550 h 951"/>
              <a:gd name="T78" fmla="*/ 1000 w 1076"/>
              <a:gd name="T79" fmla="*/ 500 h 951"/>
              <a:gd name="T80" fmla="*/ 1000 w 1076"/>
              <a:gd name="T81" fmla="*/ 425 h 951"/>
              <a:gd name="T82" fmla="*/ 1050 w 1076"/>
              <a:gd name="T83" fmla="*/ 400 h 951"/>
              <a:gd name="T84" fmla="*/ 1050 w 1076"/>
              <a:gd name="T85" fmla="*/ 250 h 951"/>
              <a:gd name="T86" fmla="*/ 1075 w 1076"/>
              <a:gd name="T87" fmla="*/ 225 h 951"/>
              <a:gd name="T88" fmla="*/ 1025 w 1076"/>
              <a:gd name="T89" fmla="*/ 125 h 951"/>
              <a:gd name="T90" fmla="*/ 900 w 1076"/>
              <a:gd name="T91" fmla="*/ 75 h 951"/>
              <a:gd name="T92" fmla="*/ 825 w 1076"/>
              <a:gd name="T93" fmla="*/ 2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6" h="951">
                <a:moveTo>
                  <a:pt x="825" y="25"/>
                </a:moveTo>
                <a:lnTo>
                  <a:pt x="825" y="25"/>
                </a:lnTo>
                <a:cubicBezTo>
                  <a:pt x="825" y="25"/>
                  <a:pt x="775" y="25"/>
                  <a:pt x="750" y="0"/>
                </a:cubicBezTo>
                <a:cubicBezTo>
                  <a:pt x="750" y="25"/>
                  <a:pt x="675" y="25"/>
                  <a:pt x="650" y="25"/>
                </a:cubicBezTo>
                <a:cubicBezTo>
                  <a:pt x="599" y="25"/>
                  <a:pt x="650" y="50"/>
                  <a:pt x="625" y="75"/>
                </a:cubicBezTo>
                <a:cubicBezTo>
                  <a:pt x="599" y="100"/>
                  <a:pt x="599" y="125"/>
                  <a:pt x="599" y="125"/>
                </a:cubicBezTo>
                <a:cubicBezTo>
                  <a:pt x="625" y="125"/>
                  <a:pt x="599" y="200"/>
                  <a:pt x="599" y="225"/>
                </a:cubicBezTo>
                <a:cubicBezTo>
                  <a:pt x="599" y="250"/>
                  <a:pt x="575" y="300"/>
                  <a:pt x="575" y="325"/>
                </a:cubicBezTo>
                <a:cubicBezTo>
                  <a:pt x="599" y="325"/>
                  <a:pt x="625" y="375"/>
                  <a:pt x="650" y="400"/>
                </a:cubicBezTo>
                <a:cubicBezTo>
                  <a:pt x="675" y="400"/>
                  <a:pt x="700" y="375"/>
                  <a:pt x="700" y="375"/>
                </a:cubicBezTo>
                <a:cubicBezTo>
                  <a:pt x="725" y="375"/>
                  <a:pt x="725" y="400"/>
                  <a:pt x="725" y="450"/>
                </a:cubicBezTo>
                <a:cubicBezTo>
                  <a:pt x="725" y="475"/>
                  <a:pt x="700" y="475"/>
                  <a:pt x="700" y="475"/>
                </a:cubicBezTo>
                <a:cubicBezTo>
                  <a:pt x="700" y="475"/>
                  <a:pt x="650" y="500"/>
                  <a:pt x="625" y="475"/>
                </a:cubicBezTo>
                <a:cubicBezTo>
                  <a:pt x="625" y="475"/>
                  <a:pt x="599" y="425"/>
                  <a:pt x="599" y="400"/>
                </a:cubicBezTo>
                <a:cubicBezTo>
                  <a:pt x="599" y="375"/>
                  <a:pt x="550" y="375"/>
                  <a:pt x="525" y="375"/>
                </a:cubicBezTo>
                <a:cubicBezTo>
                  <a:pt x="500" y="375"/>
                  <a:pt x="475" y="350"/>
                  <a:pt x="475" y="325"/>
                </a:cubicBezTo>
                <a:cubicBezTo>
                  <a:pt x="475" y="325"/>
                  <a:pt x="450" y="325"/>
                  <a:pt x="450" y="350"/>
                </a:cubicBezTo>
                <a:cubicBezTo>
                  <a:pt x="450" y="350"/>
                  <a:pt x="425" y="350"/>
                  <a:pt x="400" y="350"/>
                </a:cubicBezTo>
                <a:cubicBezTo>
                  <a:pt x="375" y="350"/>
                  <a:pt x="350" y="325"/>
                  <a:pt x="325" y="325"/>
                </a:cubicBezTo>
                <a:cubicBezTo>
                  <a:pt x="300" y="350"/>
                  <a:pt x="300" y="300"/>
                  <a:pt x="300" y="300"/>
                </a:cubicBezTo>
                <a:cubicBezTo>
                  <a:pt x="300" y="275"/>
                  <a:pt x="250" y="275"/>
                  <a:pt x="225" y="300"/>
                </a:cubicBezTo>
                <a:lnTo>
                  <a:pt x="200" y="275"/>
                </a:lnTo>
                <a:cubicBezTo>
                  <a:pt x="200" y="275"/>
                  <a:pt x="200" y="250"/>
                  <a:pt x="174" y="250"/>
                </a:cubicBezTo>
                <a:cubicBezTo>
                  <a:pt x="174" y="425"/>
                  <a:pt x="174" y="425"/>
                  <a:pt x="174" y="425"/>
                </a:cubicBezTo>
                <a:cubicBezTo>
                  <a:pt x="150" y="450"/>
                  <a:pt x="150" y="450"/>
                  <a:pt x="150" y="450"/>
                </a:cubicBezTo>
                <a:cubicBezTo>
                  <a:pt x="0" y="450"/>
                  <a:pt x="0" y="450"/>
                  <a:pt x="0" y="450"/>
                </a:cubicBezTo>
                <a:cubicBezTo>
                  <a:pt x="0" y="775"/>
                  <a:pt x="0" y="775"/>
                  <a:pt x="0" y="775"/>
                </a:cubicBezTo>
                <a:cubicBezTo>
                  <a:pt x="100" y="900"/>
                  <a:pt x="100" y="900"/>
                  <a:pt x="100" y="900"/>
                </a:cubicBezTo>
                <a:cubicBezTo>
                  <a:pt x="150" y="900"/>
                  <a:pt x="274" y="875"/>
                  <a:pt x="274" y="900"/>
                </a:cubicBezTo>
                <a:lnTo>
                  <a:pt x="274" y="924"/>
                </a:lnTo>
                <a:cubicBezTo>
                  <a:pt x="300" y="924"/>
                  <a:pt x="325" y="924"/>
                  <a:pt x="325" y="924"/>
                </a:cubicBezTo>
                <a:cubicBezTo>
                  <a:pt x="350" y="924"/>
                  <a:pt x="425" y="950"/>
                  <a:pt x="450" y="950"/>
                </a:cubicBezTo>
                <a:cubicBezTo>
                  <a:pt x="475" y="924"/>
                  <a:pt x="500" y="850"/>
                  <a:pt x="550" y="824"/>
                </a:cubicBezTo>
                <a:cubicBezTo>
                  <a:pt x="575" y="824"/>
                  <a:pt x="625" y="775"/>
                  <a:pt x="625" y="775"/>
                </a:cubicBezTo>
                <a:cubicBezTo>
                  <a:pt x="625" y="750"/>
                  <a:pt x="625" y="725"/>
                  <a:pt x="675" y="725"/>
                </a:cubicBezTo>
                <a:cubicBezTo>
                  <a:pt x="775" y="725"/>
                  <a:pt x="775" y="725"/>
                  <a:pt x="775" y="725"/>
                </a:cubicBezTo>
                <a:lnTo>
                  <a:pt x="775" y="725"/>
                </a:lnTo>
                <a:cubicBezTo>
                  <a:pt x="750" y="650"/>
                  <a:pt x="750" y="650"/>
                  <a:pt x="750" y="650"/>
                </a:cubicBezTo>
                <a:lnTo>
                  <a:pt x="1000" y="550"/>
                </a:lnTo>
                <a:cubicBezTo>
                  <a:pt x="1000" y="525"/>
                  <a:pt x="1000" y="525"/>
                  <a:pt x="1000" y="500"/>
                </a:cubicBezTo>
                <a:cubicBezTo>
                  <a:pt x="1000" y="500"/>
                  <a:pt x="1000" y="450"/>
                  <a:pt x="1000" y="425"/>
                </a:cubicBezTo>
                <a:cubicBezTo>
                  <a:pt x="1000" y="400"/>
                  <a:pt x="1075" y="425"/>
                  <a:pt x="1050" y="400"/>
                </a:cubicBezTo>
                <a:cubicBezTo>
                  <a:pt x="1025" y="375"/>
                  <a:pt x="1025" y="275"/>
                  <a:pt x="1050" y="250"/>
                </a:cubicBezTo>
                <a:cubicBezTo>
                  <a:pt x="1050" y="225"/>
                  <a:pt x="1075" y="250"/>
                  <a:pt x="1075" y="225"/>
                </a:cubicBezTo>
                <a:cubicBezTo>
                  <a:pt x="1075" y="200"/>
                  <a:pt x="1050" y="150"/>
                  <a:pt x="1025" y="125"/>
                </a:cubicBezTo>
                <a:cubicBezTo>
                  <a:pt x="1025" y="100"/>
                  <a:pt x="925" y="75"/>
                  <a:pt x="900" y="75"/>
                </a:cubicBezTo>
                <a:cubicBezTo>
                  <a:pt x="900" y="75"/>
                  <a:pt x="850" y="25"/>
                  <a:pt x="825"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1" name="Freeform 9">
            <a:extLst>
              <a:ext uri="{FF2B5EF4-FFF2-40B4-BE49-F238E27FC236}">
                <a16:creationId xmlns:a16="http://schemas.microsoft.com/office/drawing/2014/main" id="{CB63A3D7-E367-ED40-8073-04B74233344E}"/>
              </a:ext>
            </a:extLst>
          </p:cNvPr>
          <p:cNvSpPr>
            <a:spLocks noChangeArrowheads="1"/>
          </p:cNvSpPr>
          <p:nvPr/>
        </p:nvSpPr>
        <p:spPr bwMode="auto">
          <a:xfrm>
            <a:off x="6610687" y="4868659"/>
            <a:ext cx="64687" cy="47812"/>
          </a:xfrm>
          <a:custGeom>
            <a:avLst/>
            <a:gdLst>
              <a:gd name="T0" fmla="*/ 150 w 201"/>
              <a:gd name="T1" fmla="*/ 0 h 151"/>
              <a:gd name="T2" fmla="*/ 150 w 201"/>
              <a:gd name="T3" fmla="*/ 0 h 151"/>
              <a:gd name="T4" fmla="*/ 100 w 201"/>
              <a:gd name="T5" fmla="*/ 0 h 151"/>
              <a:gd name="T6" fmla="*/ 75 w 201"/>
              <a:gd name="T7" fmla="*/ 25 h 151"/>
              <a:gd name="T8" fmla="*/ 50 w 201"/>
              <a:gd name="T9" fmla="*/ 25 h 151"/>
              <a:gd name="T10" fmla="*/ 25 w 201"/>
              <a:gd name="T11" fmla="*/ 100 h 151"/>
              <a:gd name="T12" fmla="*/ 0 w 201"/>
              <a:gd name="T13" fmla="*/ 125 h 151"/>
              <a:gd name="T14" fmla="*/ 25 w 201"/>
              <a:gd name="T15" fmla="*/ 150 h 151"/>
              <a:gd name="T16" fmla="*/ 50 w 201"/>
              <a:gd name="T17" fmla="*/ 150 h 151"/>
              <a:gd name="T18" fmla="*/ 100 w 201"/>
              <a:gd name="T19" fmla="*/ 125 h 151"/>
              <a:gd name="T20" fmla="*/ 200 w 201"/>
              <a:gd name="T21" fmla="*/ 100 h 151"/>
              <a:gd name="T22" fmla="*/ 174 w 201"/>
              <a:gd name="T23" fmla="*/ 25 h 151"/>
              <a:gd name="T24" fmla="*/ 150 w 201"/>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51">
                <a:moveTo>
                  <a:pt x="150" y="0"/>
                </a:moveTo>
                <a:lnTo>
                  <a:pt x="150" y="0"/>
                </a:lnTo>
                <a:cubicBezTo>
                  <a:pt x="150" y="0"/>
                  <a:pt x="125" y="0"/>
                  <a:pt x="100" y="0"/>
                </a:cubicBezTo>
                <a:cubicBezTo>
                  <a:pt x="100" y="25"/>
                  <a:pt x="100" y="25"/>
                  <a:pt x="75" y="25"/>
                </a:cubicBezTo>
                <a:cubicBezTo>
                  <a:pt x="50" y="25"/>
                  <a:pt x="50" y="25"/>
                  <a:pt x="50" y="25"/>
                </a:cubicBezTo>
                <a:cubicBezTo>
                  <a:pt x="25" y="50"/>
                  <a:pt x="25" y="100"/>
                  <a:pt x="25" y="100"/>
                </a:cubicBezTo>
                <a:cubicBezTo>
                  <a:pt x="25" y="100"/>
                  <a:pt x="0" y="100"/>
                  <a:pt x="0" y="125"/>
                </a:cubicBezTo>
                <a:lnTo>
                  <a:pt x="25" y="150"/>
                </a:lnTo>
                <a:cubicBezTo>
                  <a:pt x="50" y="150"/>
                  <a:pt x="50" y="150"/>
                  <a:pt x="50" y="150"/>
                </a:cubicBezTo>
                <a:cubicBezTo>
                  <a:pt x="125" y="150"/>
                  <a:pt x="100" y="125"/>
                  <a:pt x="100" y="125"/>
                </a:cubicBezTo>
                <a:cubicBezTo>
                  <a:pt x="100" y="125"/>
                  <a:pt x="174" y="125"/>
                  <a:pt x="200" y="100"/>
                </a:cubicBezTo>
                <a:cubicBezTo>
                  <a:pt x="200" y="74"/>
                  <a:pt x="174" y="25"/>
                  <a:pt x="174" y="25"/>
                </a:cubicBezTo>
                <a:lnTo>
                  <a:pt x="150" y="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2" name="Freeform 10">
            <a:extLst>
              <a:ext uri="{FF2B5EF4-FFF2-40B4-BE49-F238E27FC236}">
                <a16:creationId xmlns:a16="http://schemas.microsoft.com/office/drawing/2014/main" id="{4059753C-F78A-4645-879F-0FBCD0E416B6}"/>
              </a:ext>
            </a:extLst>
          </p:cNvPr>
          <p:cNvSpPr>
            <a:spLocks noChangeArrowheads="1"/>
          </p:cNvSpPr>
          <p:nvPr/>
        </p:nvSpPr>
        <p:spPr bwMode="auto">
          <a:xfrm>
            <a:off x="6977715" y="4462255"/>
            <a:ext cx="310780" cy="423279"/>
          </a:xfrm>
          <a:custGeom>
            <a:avLst/>
            <a:gdLst>
              <a:gd name="T0" fmla="*/ 225 w 976"/>
              <a:gd name="T1" fmla="*/ 249 h 1326"/>
              <a:gd name="T2" fmla="*/ 225 w 976"/>
              <a:gd name="T3" fmla="*/ 249 h 1326"/>
              <a:gd name="T4" fmla="*/ 275 w 976"/>
              <a:gd name="T5" fmla="*/ 324 h 1326"/>
              <a:gd name="T6" fmla="*/ 475 w 976"/>
              <a:gd name="T7" fmla="*/ 375 h 1326"/>
              <a:gd name="T8" fmla="*/ 600 w 976"/>
              <a:gd name="T9" fmla="*/ 400 h 1326"/>
              <a:gd name="T10" fmla="*/ 626 w 976"/>
              <a:gd name="T11" fmla="*/ 424 h 1326"/>
              <a:gd name="T12" fmla="*/ 375 w 976"/>
              <a:gd name="T13" fmla="*/ 675 h 1326"/>
              <a:gd name="T14" fmla="*/ 275 w 976"/>
              <a:gd name="T15" fmla="*/ 700 h 1326"/>
              <a:gd name="T16" fmla="*/ 150 w 976"/>
              <a:gd name="T17" fmla="*/ 775 h 1326"/>
              <a:gd name="T18" fmla="*/ 75 w 976"/>
              <a:gd name="T19" fmla="*/ 775 h 1326"/>
              <a:gd name="T20" fmla="*/ 25 w 976"/>
              <a:gd name="T21" fmla="*/ 849 h 1326"/>
              <a:gd name="T22" fmla="*/ 0 w 976"/>
              <a:gd name="T23" fmla="*/ 900 h 1326"/>
              <a:gd name="T24" fmla="*/ 0 w 976"/>
              <a:gd name="T25" fmla="*/ 1249 h 1326"/>
              <a:gd name="T26" fmla="*/ 50 w 976"/>
              <a:gd name="T27" fmla="*/ 1325 h 1326"/>
              <a:gd name="T28" fmla="*/ 250 w 976"/>
              <a:gd name="T29" fmla="*/ 1100 h 1326"/>
              <a:gd name="T30" fmla="*/ 426 w 976"/>
              <a:gd name="T31" fmla="*/ 975 h 1326"/>
              <a:gd name="T32" fmla="*/ 650 w 976"/>
              <a:gd name="T33" fmla="*/ 749 h 1326"/>
              <a:gd name="T34" fmla="*/ 750 w 976"/>
              <a:gd name="T35" fmla="*/ 575 h 1326"/>
              <a:gd name="T36" fmla="*/ 850 w 976"/>
              <a:gd name="T37" fmla="*/ 424 h 1326"/>
              <a:gd name="T38" fmla="*/ 926 w 976"/>
              <a:gd name="T39" fmla="*/ 249 h 1326"/>
              <a:gd name="T40" fmla="*/ 975 w 976"/>
              <a:gd name="T41" fmla="*/ 74 h 1326"/>
              <a:gd name="T42" fmla="*/ 900 w 976"/>
              <a:gd name="T43" fmla="*/ 49 h 1326"/>
              <a:gd name="T44" fmla="*/ 700 w 976"/>
              <a:gd name="T45" fmla="*/ 100 h 1326"/>
              <a:gd name="T46" fmla="*/ 550 w 976"/>
              <a:gd name="T47" fmla="*/ 124 h 1326"/>
              <a:gd name="T48" fmla="*/ 426 w 976"/>
              <a:gd name="T49" fmla="*/ 149 h 1326"/>
              <a:gd name="T50" fmla="*/ 275 w 976"/>
              <a:gd name="T51" fmla="*/ 149 h 1326"/>
              <a:gd name="T52" fmla="*/ 225 w 976"/>
              <a:gd name="T53" fmla="*/ 100 h 1326"/>
              <a:gd name="T54" fmla="*/ 150 w 976"/>
              <a:gd name="T55" fmla="*/ 174 h 1326"/>
              <a:gd name="T56" fmla="*/ 225 w 976"/>
              <a:gd name="T57" fmla="*/ 24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6" h="1326">
                <a:moveTo>
                  <a:pt x="225" y="249"/>
                </a:moveTo>
                <a:lnTo>
                  <a:pt x="225" y="249"/>
                </a:lnTo>
                <a:cubicBezTo>
                  <a:pt x="225" y="275"/>
                  <a:pt x="275" y="300"/>
                  <a:pt x="275" y="324"/>
                </a:cubicBezTo>
                <a:cubicBezTo>
                  <a:pt x="300" y="324"/>
                  <a:pt x="400" y="349"/>
                  <a:pt x="475" y="375"/>
                </a:cubicBezTo>
                <a:cubicBezTo>
                  <a:pt x="550" y="400"/>
                  <a:pt x="575" y="400"/>
                  <a:pt x="600" y="400"/>
                </a:cubicBezTo>
                <a:cubicBezTo>
                  <a:pt x="626" y="400"/>
                  <a:pt x="650" y="424"/>
                  <a:pt x="626" y="424"/>
                </a:cubicBezTo>
                <a:cubicBezTo>
                  <a:pt x="626" y="449"/>
                  <a:pt x="400" y="649"/>
                  <a:pt x="375" y="675"/>
                </a:cubicBezTo>
                <a:cubicBezTo>
                  <a:pt x="350" y="700"/>
                  <a:pt x="350" y="700"/>
                  <a:pt x="275" y="700"/>
                </a:cubicBezTo>
                <a:cubicBezTo>
                  <a:pt x="225" y="700"/>
                  <a:pt x="175" y="775"/>
                  <a:pt x="150" y="775"/>
                </a:cubicBezTo>
                <a:cubicBezTo>
                  <a:pt x="150" y="749"/>
                  <a:pt x="100" y="775"/>
                  <a:pt x="75" y="775"/>
                </a:cubicBezTo>
                <a:cubicBezTo>
                  <a:pt x="25" y="849"/>
                  <a:pt x="25" y="849"/>
                  <a:pt x="25" y="849"/>
                </a:cubicBezTo>
                <a:cubicBezTo>
                  <a:pt x="0" y="900"/>
                  <a:pt x="0" y="900"/>
                  <a:pt x="0" y="900"/>
                </a:cubicBezTo>
                <a:cubicBezTo>
                  <a:pt x="0" y="1249"/>
                  <a:pt x="0" y="1249"/>
                  <a:pt x="0" y="1249"/>
                </a:cubicBezTo>
                <a:cubicBezTo>
                  <a:pt x="50" y="1325"/>
                  <a:pt x="50" y="1325"/>
                  <a:pt x="50" y="1325"/>
                </a:cubicBezTo>
                <a:cubicBezTo>
                  <a:pt x="75" y="1275"/>
                  <a:pt x="175" y="1175"/>
                  <a:pt x="250" y="1100"/>
                </a:cubicBezTo>
                <a:cubicBezTo>
                  <a:pt x="325" y="1025"/>
                  <a:pt x="375" y="1000"/>
                  <a:pt x="426" y="975"/>
                </a:cubicBezTo>
                <a:cubicBezTo>
                  <a:pt x="450" y="949"/>
                  <a:pt x="575" y="849"/>
                  <a:pt x="650" y="749"/>
                </a:cubicBezTo>
                <a:cubicBezTo>
                  <a:pt x="700" y="675"/>
                  <a:pt x="750" y="625"/>
                  <a:pt x="750" y="575"/>
                </a:cubicBezTo>
                <a:cubicBezTo>
                  <a:pt x="775" y="525"/>
                  <a:pt x="800" y="475"/>
                  <a:pt x="850" y="424"/>
                </a:cubicBezTo>
                <a:cubicBezTo>
                  <a:pt x="875" y="375"/>
                  <a:pt x="926" y="275"/>
                  <a:pt x="926" y="249"/>
                </a:cubicBezTo>
                <a:cubicBezTo>
                  <a:pt x="926" y="200"/>
                  <a:pt x="950" y="124"/>
                  <a:pt x="975" y="74"/>
                </a:cubicBezTo>
                <a:cubicBezTo>
                  <a:pt x="975" y="24"/>
                  <a:pt x="926" y="0"/>
                  <a:pt x="900" y="49"/>
                </a:cubicBezTo>
                <a:cubicBezTo>
                  <a:pt x="875" y="74"/>
                  <a:pt x="775" y="100"/>
                  <a:pt x="700" y="100"/>
                </a:cubicBezTo>
                <a:cubicBezTo>
                  <a:pt x="626" y="100"/>
                  <a:pt x="575" y="100"/>
                  <a:pt x="550" y="124"/>
                </a:cubicBezTo>
                <a:cubicBezTo>
                  <a:pt x="525" y="149"/>
                  <a:pt x="450" y="124"/>
                  <a:pt x="426" y="149"/>
                </a:cubicBezTo>
                <a:cubicBezTo>
                  <a:pt x="400" y="174"/>
                  <a:pt x="300" y="200"/>
                  <a:pt x="275" y="149"/>
                </a:cubicBezTo>
                <a:cubicBezTo>
                  <a:pt x="250" y="124"/>
                  <a:pt x="225" y="100"/>
                  <a:pt x="225" y="100"/>
                </a:cubicBezTo>
                <a:cubicBezTo>
                  <a:pt x="200" y="124"/>
                  <a:pt x="150" y="149"/>
                  <a:pt x="150" y="174"/>
                </a:cubicBezTo>
                <a:cubicBezTo>
                  <a:pt x="175" y="200"/>
                  <a:pt x="200" y="249"/>
                  <a:pt x="225" y="2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3" name="Freeform 11">
            <a:extLst>
              <a:ext uri="{FF2B5EF4-FFF2-40B4-BE49-F238E27FC236}">
                <a16:creationId xmlns:a16="http://schemas.microsoft.com/office/drawing/2014/main" id="{C07C22CE-0BD5-D047-B9CE-BEC69B215F9A}"/>
              </a:ext>
            </a:extLst>
          </p:cNvPr>
          <p:cNvSpPr>
            <a:spLocks noChangeArrowheads="1"/>
          </p:cNvSpPr>
          <p:nvPr/>
        </p:nvSpPr>
        <p:spPr bwMode="auto">
          <a:xfrm>
            <a:off x="5374599" y="3704292"/>
            <a:ext cx="358592" cy="286873"/>
          </a:xfrm>
          <a:custGeom>
            <a:avLst/>
            <a:gdLst>
              <a:gd name="T0" fmla="*/ 425 w 1126"/>
              <a:gd name="T1" fmla="*/ 900 h 901"/>
              <a:gd name="T2" fmla="*/ 425 w 1126"/>
              <a:gd name="T3" fmla="*/ 900 h 901"/>
              <a:gd name="T4" fmla="*/ 425 w 1126"/>
              <a:gd name="T5" fmla="*/ 775 h 901"/>
              <a:gd name="T6" fmla="*/ 575 w 1126"/>
              <a:gd name="T7" fmla="*/ 675 h 901"/>
              <a:gd name="T8" fmla="*/ 625 w 1126"/>
              <a:gd name="T9" fmla="*/ 651 h 901"/>
              <a:gd name="T10" fmla="*/ 700 w 1126"/>
              <a:gd name="T11" fmla="*/ 625 h 901"/>
              <a:gd name="T12" fmla="*/ 750 w 1126"/>
              <a:gd name="T13" fmla="*/ 575 h 901"/>
              <a:gd name="T14" fmla="*/ 825 w 1126"/>
              <a:gd name="T15" fmla="*/ 551 h 901"/>
              <a:gd name="T16" fmla="*/ 875 w 1126"/>
              <a:gd name="T17" fmla="*/ 525 h 901"/>
              <a:gd name="T18" fmla="*/ 875 w 1126"/>
              <a:gd name="T19" fmla="*/ 475 h 901"/>
              <a:gd name="T20" fmla="*/ 925 w 1126"/>
              <a:gd name="T21" fmla="*/ 450 h 901"/>
              <a:gd name="T22" fmla="*/ 975 w 1126"/>
              <a:gd name="T23" fmla="*/ 400 h 901"/>
              <a:gd name="T24" fmla="*/ 1100 w 1126"/>
              <a:gd name="T25" fmla="*/ 400 h 901"/>
              <a:gd name="T26" fmla="*/ 1125 w 1126"/>
              <a:gd name="T27" fmla="*/ 375 h 901"/>
              <a:gd name="T28" fmla="*/ 1100 w 1126"/>
              <a:gd name="T29" fmla="*/ 300 h 901"/>
              <a:gd name="T30" fmla="*/ 1075 w 1126"/>
              <a:gd name="T31" fmla="*/ 225 h 901"/>
              <a:gd name="T32" fmla="*/ 1050 w 1126"/>
              <a:gd name="T33" fmla="*/ 125 h 901"/>
              <a:gd name="T34" fmla="*/ 1050 w 1126"/>
              <a:gd name="T35" fmla="*/ 75 h 901"/>
              <a:gd name="T36" fmla="*/ 925 w 1126"/>
              <a:gd name="T37" fmla="*/ 50 h 901"/>
              <a:gd name="T38" fmla="*/ 775 w 1126"/>
              <a:gd name="T39" fmla="*/ 50 h 901"/>
              <a:gd name="T40" fmla="*/ 675 w 1126"/>
              <a:gd name="T41" fmla="*/ 0 h 901"/>
              <a:gd name="T42" fmla="*/ 575 w 1126"/>
              <a:gd name="T43" fmla="*/ 200 h 901"/>
              <a:gd name="T44" fmla="*/ 450 w 1126"/>
              <a:gd name="T45" fmla="*/ 275 h 901"/>
              <a:gd name="T46" fmla="*/ 375 w 1126"/>
              <a:gd name="T47" fmla="*/ 350 h 901"/>
              <a:gd name="T48" fmla="*/ 325 w 1126"/>
              <a:gd name="T49" fmla="*/ 425 h 901"/>
              <a:gd name="T50" fmla="*/ 325 w 1126"/>
              <a:gd name="T51" fmla="*/ 575 h 901"/>
              <a:gd name="T52" fmla="*/ 200 w 1126"/>
              <a:gd name="T53" fmla="*/ 725 h 901"/>
              <a:gd name="T54" fmla="*/ 75 w 1126"/>
              <a:gd name="T55" fmla="*/ 825 h 901"/>
              <a:gd name="T56" fmla="*/ 0 w 1126"/>
              <a:gd name="T57" fmla="*/ 851 h 901"/>
              <a:gd name="T58" fmla="*/ 350 w 1126"/>
              <a:gd name="T59" fmla="*/ 851 h 901"/>
              <a:gd name="T60" fmla="*/ 425 w 1126"/>
              <a:gd name="T61" fmla="*/ 90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6" h="901">
                <a:moveTo>
                  <a:pt x="425" y="900"/>
                </a:moveTo>
                <a:lnTo>
                  <a:pt x="425" y="900"/>
                </a:lnTo>
                <a:cubicBezTo>
                  <a:pt x="425" y="825"/>
                  <a:pt x="400" y="775"/>
                  <a:pt x="425" y="775"/>
                </a:cubicBezTo>
                <a:cubicBezTo>
                  <a:pt x="425" y="751"/>
                  <a:pt x="550" y="675"/>
                  <a:pt x="575" y="675"/>
                </a:cubicBezTo>
                <a:cubicBezTo>
                  <a:pt x="575" y="651"/>
                  <a:pt x="625" y="675"/>
                  <a:pt x="625" y="651"/>
                </a:cubicBezTo>
                <a:cubicBezTo>
                  <a:pt x="625" y="625"/>
                  <a:pt x="675" y="625"/>
                  <a:pt x="700" y="625"/>
                </a:cubicBezTo>
                <a:cubicBezTo>
                  <a:pt x="750" y="625"/>
                  <a:pt x="750" y="600"/>
                  <a:pt x="750" y="575"/>
                </a:cubicBezTo>
                <a:cubicBezTo>
                  <a:pt x="750" y="551"/>
                  <a:pt x="800" y="551"/>
                  <a:pt x="825" y="551"/>
                </a:cubicBezTo>
                <a:cubicBezTo>
                  <a:pt x="850" y="551"/>
                  <a:pt x="850" y="525"/>
                  <a:pt x="875" y="525"/>
                </a:cubicBezTo>
                <a:cubicBezTo>
                  <a:pt x="900" y="525"/>
                  <a:pt x="875" y="500"/>
                  <a:pt x="875" y="475"/>
                </a:cubicBezTo>
                <a:cubicBezTo>
                  <a:pt x="875" y="425"/>
                  <a:pt x="875" y="450"/>
                  <a:pt x="925" y="450"/>
                </a:cubicBezTo>
                <a:cubicBezTo>
                  <a:pt x="951" y="450"/>
                  <a:pt x="975" y="425"/>
                  <a:pt x="975" y="400"/>
                </a:cubicBezTo>
                <a:lnTo>
                  <a:pt x="1100" y="400"/>
                </a:lnTo>
                <a:cubicBezTo>
                  <a:pt x="1125" y="400"/>
                  <a:pt x="1125" y="375"/>
                  <a:pt x="1125" y="375"/>
                </a:cubicBezTo>
                <a:cubicBezTo>
                  <a:pt x="1125" y="350"/>
                  <a:pt x="1100" y="300"/>
                  <a:pt x="1100" y="300"/>
                </a:cubicBezTo>
                <a:cubicBezTo>
                  <a:pt x="1075" y="300"/>
                  <a:pt x="1075" y="250"/>
                  <a:pt x="1075" y="225"/>
                </a:cubicBezTo>
                <a:cubicBezTo>
                  <a:pt x="1075" y="175"/>
                  <a:pt x="1075" y="150"/>
                  <a:pt x="1050" y="125"/>
                </a:cubicBezTo>
                <a:cubicBezTo>
                  <a:pt x="1050" y="100"/>
                  <a:pt x="1050" y="100"/>
                  <a:pt x="1050" y="75"/>
                </a:cubicBezTo>
                <a:cubicBezTo>
                  <a:pt x="1000" y="75"/>
                  <a:pt x="975" y="50"/>
                  <a:pt x="925" y="50"/>
                </a:cubicBezTo>
                <a:cubicBezTo>
                  <a:pt x="875" y="50"/>
                  <a:pt x="800" y="75"/>
                  <a:pt x="775" y="50"/>
                </a:cubicBezTo>
                <a:cubicBezTo>
                  <a:pt x="725" y="0"/>
                  <a:pt x="700" y="0"/>
                  <a:pt x="675" y="0"/>
                </a:cubicBezTo>
                <a:cubicBezTo>
                  <a:pt x="650" y="25"/>
                  <a:pt x="600" y="150"/>
                  <a:pt x="575" y="200"/>
                </a:cubicBezTo>
                <a:cubicBezTo>
                  <a:pt x="550" y="225"/>
                  <a:pt x="475" y="275"/>
                  <a:pt x="450" y="275"/>
                </a:cubicBezTo>
                <a:cubicBezTo>
                  <a:pt x="400" y="275"/>
                  <a:pt x="400" y="325"/>
                  <a:pt x="375" y="350"/>
                </a:cubicBezTo>
                <a:cubicBezTo>
                  <a:pt x="350" y="375"/>
                  <a:pt x="350" y="400"/>
                  <a:pt x="325" y="425"/>
                </a:cubicBezTo>
                <a:cubicBezTo>
                  <a:pt x="275" y="450"/>
                  <a:pt x="300" y="551"/>
                  <a:pt x="325" y="575"/>
                </a:cubicBezTo>
                <a:cubicBezTo>
                  <a:pt x="325" y="600"/>
                  <a:pt x="250" y="700"/>
                  <a:pt x="200" y="725"/>
                </a:cubicBezTo>
                <a:cubicBezTo>
                  <a:pt x="150" y="751"/>
                  <a:pt x="150" y="800"/>
                  <a:pt x="75" y="825"/>
                </a:cubicBezTo>
                <a:cubicBezTo>
                  <a:pt x="50" y="825"/>
                  <a:pt x="25" y="851"/>
                  <a:pt x="0" y="851"/>
                </a:cubicBezTo>
                <a:cubicBezTo>
                  <a:pt x="125" y="851"/>
                  <a:pt x="300" y="851"/>
                  <a:pt x="350" y="851"/>
                </a:cubicBezTo>
                <a:cubicBezTo>
                  <a:pt x="425" y="851"/>
                  <a:pt x="400" y="875"/>
                  <a:pt x="425" y="9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4" name="Freeform 12">
            <a:extLst>
              <a:ext uri="{FF2B5EF4-FFF2-40B4-BE49-F238E27FC236}">
                <a16:creationId xmlns:a16="http://schemas.microsoft.com/office/drawing/2014/main" id="{33C6369A-B781-3744-89FF-C4E2301DD458}"/>
              </a:ext>
            </a:extLst>
          </p:cNvPr>
          <p:cNvSpPr>
            <a:spLocks noChangeArrowheads="1"/>
          </p:cNvSpPr>
          <p:nvPr/>
        </p:nvSpPr>
        <p:spPr bwMode="auto">
          <a:xfrm>
            <a:off x="5989127" y="3649445"/>
            <a:ext cx="127968" cy="247499"/>
          </a:xfrm>
          <a:custGeom>
            <a:avLst/>
            <a:gdLst>
              <a:gd name="T0" fmla="*/ 100 w 400"/>
              <a:gd name="T1" fmla="*/ 200 h 776"/>
              <a:gd name="T2" fmla="*/ 100 w 400"/>
              <a:gd name="T3" fmla="*/ 200 h 776"/>
              <a:gd name="T4" fmla="*/ 75 w 400"/>
              <a:gd name="T5" fmla="*/ 300 h 776"/>
              <a:gd name="T6" fmla="*/ 26 w 400"/>
              <a:gd name="T7" fmla="*/ 350 h 776"/>
              <a:gd name="T8" fmla="*/ 51 w 400"/>
              <a:gd name="T9" fmla="*/ 450 h 776"/>
              <a:gd name="T10" fmla="*/ 100 w 400"/>
              <a:gd name="T11" fmla="*/ 525 h 776"/>
              <a:gd name="T12" fmla="*/ 175 w 400"/>
              <a:gd name="T13" fmla="*/ 575 h 776"/>
              <a:gd name="T14" fmla="*/ 226 w 400"/>
              <a:gd name="T15" fmla="*/ 750 h 776"/>
              <a:gd name="T16" fmla="*/ 226 w 400"/>
              <a:gd name="T17" fmla="*/ 775 h 776"/>
              <a:gd name="T18" fmla="*/ 275 w 400"/>
              <a:gd name="T19" fmla="*/ 726 h 776"/>
              <a:gd name="T20" fmla="*/ 275 w 400"/>
              <a:gd name="T21" fmla="*/ 650 h 776"/>
              <a:gd name="T22" fmla="*/ 300 w 400"/>
              <a:gd name="T23" fmla="*/ 625 h 776"/>
              <a:gd name="T24" fmla="*/ 351 w 400"/>
              <a:gd name="T25" fmla="*/ 550 h 776"/>
              <a:gd name="T26" fmla="*/ 399 w 400"/>
              <a:gd name="T27" fmla="*/ 525 h 776"/>
              <a:gd name="T28" fmla="*/ 399 w 400"/>
              <a:gd name="T29" fmla="*/ 475 h 776"/>
              <a:gd name="T30" fmla="*/ 374 w 400"/>
              <a:gd name="T31" fmla="*/ 425 h 776"/>
              <a:gd name="T32" fmla="*/ 326 w 400"/>
              <a:gd name="T33" fmla="*/ 400 h 776"/>
              <a:gd name="T34" fmla="*/ 251 w 400"/>
              <a:gd name="T35" fmla="*/ 375 h 776"/>
              <a:gd name="T36" fmla="*/ 326 w 400"/>
              <a:gd name="T37" fmla="*/ 300 h 776"/>
              <a:gd name="T38" fmla="*/ 326 w 400"/>
              <a:gd name="T39" fmla="*/ 175 h 776"/>
              <a:gd name="T40" fmla="*/ 351 w 400"/>
              <a:gd name="T41" fmla="*/ 100 h 776"/>
              <a:gd name="T42" fmla="*/ 326 w 400"/>
              <a:gd name="T43" fmla="*/ 50 h 776"/>
              <a:gd name="T44" fmla="*/ 300 w 400"/>
              <a:gd name="T45" fmla="*/ 50 h 776"/>
              <a:gd name="T46" fmla="*/ 175 w 400"/>
              <a:gd name="T47" fmla="*/ 50 h 776"/>
              <a:gd name="T48" fmla="*/ 126 w 400"/>
              <a:gd name="T49" fmla="*/ 50 h 776"/>
              <a:gd name="T50" fmla="*/ 100 w 400"/>
              <a:gd name="T51" fmla="*/ 20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776">
                <a:moveTo>
                  <a:pt x="100" y="200"/>
                </a:moveTo>
                <a:lnTo>
                  <a:pt x="100" y="200"/>
                </a:lnTo>
                <a:cubicBezTo>
                  <a:pt x="126" y="225"/>
                  <a:pt x="100" y="300"/>
                  <a:pt x="75" y="300"/>
                </a:cubicBezTo>
                <a:cubicBezTo>
                  <a:pt x="51" y="300"/>
                  <a:pt x="51" y="350"/>
                  <a:pt x="26" y="350"/>
                </a:cubicBezTo>
                <a:cubicBezTo>
                  <a:pt x="0" y="350"/>
                  <a:pt x="26" y="450"/>
                  <a:pt x="51" y="450"/>
                </a:cubicBezTo>
                <a:cubicBezTo>
                  <a:pt x="100" y="475"/>
                  <a:pt x="100" y="500"/>
                  <a:pt x="100" y="525"/>
                </a:cubicBezTo>
                <a:cubicBezTo>
                  <a:pt x="100" y="550"/>
                  <a:pt x="151" y="550"/>
                  <a:pt x="175" y="575"/>
                </a:cubicBezTo>
                <a:cubicBezTo>
                  <a:pt x="200" y="600"/>
                  <a:pt x="226" y="700"/>
                  <a:pt x="226" y="750"/>
                </a:cubicBezTo>
                <a:cubicBezTo>
                  <a:pt x="226" y="750"/>
                  <a:pt x="226" y="750"/>
                  <a:pt x="226" y="775"/>
                </a:cubicBezTo>
                <a:cubicBezTo>
                  <a:pt x="251" y="750"/>
                  <a:pt x="251" y="750"/>
                  <a:pt x="275" y="726"/>
                </a:cubicBezTo>
                <a:cubicBezTo>
                  <a:pt x="275" y="700"/>
                  <a:pt x="275" y="675"/>
                  <a:pt x="275" y="650"/>
                </a:cubicBezTo>
                <a:cubicBezTo>
                  <a:pt x="275" y="650"/>
                  <a:pt x="275" y="625"/>
                  <a:pt x="300" y="625"/>
                </a:cubicBezTo>
                <a:cubicBezTo>
                  <a:pt x="300" y="600"/>
                  <a:pt x="351" y="550"/>
                  <a:pt x="351" y="550"/>
                </a:cubicBezTo>
                <a:cubicBezTo>
                  <a:pt x="374" y="550"/>
                  <a:pt x="399" y="550"/>
                  <a:pt x="399" y="525"/>
                </a:cubicBezTo>
                <a:cubicBezTo>
                  <a:pt x="399" y="500"/>
                  <a:pt x="399" y="500"/>
                  <a:pt x="399" y="475"/>
                </a:cubicBezTo>
                <a:cubicBezTo>
                  <a:pt x="374" y="450"/>
                  <a:pt x="374" y="450"/>
                  <a:pt x="374" y="425"/>
                </a:cubicBezTo>
                <a:cubicBezTo>
                  <a:pt x="374" y="425"/>
                  <a:pt x="351" y="375"/>
                  <a:pt x="326" y="400"/>
                </a:cubicBezTo>
                <a:cubicBezTo>
                  <a:pt x="326" y="425"/>
                  <a:pt x="275" y="400"/>
                  <a:pt x="251" y="375"/>
                </a:cubicBezTo>
                <a:cubicBezTo>
                  <a:pt x="251" y="325"/>
                  <a:pt x="300" y="325"/>
                  <a:pt x="326" y="300"/>
                </a:cubicBezTo>
                <a:cubicBezTo>
                  <a:pt x="374" y="275"/>
                  <a:pt x="374" y="200"/>
                  <a:pt x="326" y="175"/>
                </a:cubicBezTo>
                <a:cubicBezTo>
                  <a:pt x="300" y="150"/>
                  <a:pt x="326" y="125"/>
                  <a:pt x="351" y="100"/>
                </a:cubicBezTo>
                <a:cubicBezTo>
                  <a:pt x="374" y="75"/>
                  <a:pt x="351" y="50"/>
                  <a:pt x="326" y="50"/>
                </a:cubicBezTo>
                <a:cubicBezTo>
                  <a:pt x="326" y="75"/>
                  <a:pt x="300" y="75"/>
                  <a:pt x="300" y="50"/>
                </a:cubicBezTo>
                <a:cubicBezTo>
                  <a:pt x="300" y="0"/>
                  <a:pt x="200" y="0"/>
                  <a:pt x="175" y="50"/>
                </a:cubicBezTo>
                <a:cubicBezTo>
                  <a:pt x="151" y="50"/>
                  <a:pt x="126" y="50"/>
                  <a:pt x="126" y="50"/>
                </a:cubicBezTo>
                <a:cubicBezTo>
                  <a:pt x="100" y="100"/>
                  <a:pt x="100" y="175"/>
                  <a:pt x="100"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7" name="Freeform 14">
            <a:extLst>
              <a:ext uri="{FF2B5EF4-FFF2-40B4-BE49-F238E27FC236}">
                <a16:creationId xmlns:a16="http://schemas.microsoft.com/office/drawing/2014/main" id="{61D2CFA4-F68A-6543-880D-136EBBBB332D}"/>
              </a:ext>
            </a:extLst>
          </p:cNvPr>
          <p:cNvSpPr>
            <a:spLocks noChangeArrowheads="1"/>
          </p:cNvSpPr>
          <p:nvPr/>
        </p:nvSpPr>
        <p:spPr bwMode="auto">
          <a:xfrm>
            <a:off x="6052407" y="3799916"/>
            <a:ext cx="454216" cy="438747"/>
          </a:xfrm>
          <a:custGeom>
            <a:avLst/>
            <a:gdLst>
              <a:gd name="T0" fmla="*/ 151 w 1426"/>
              <a:gd name="T1" fmla="*/ 75 h 1375"/>
              <a:gd name="T2" fmla="*/ 151 w 1426"/>
              <a:gd name="T3" fmla="*/ 75 h 1375"/>
              <a:gd name="T4" fmla="*/ 100 w 1426"/>
              <a:gd name="T5" fmla="*/ 150 h 1375"/>
              <a:gd name="T6" fmla="*/ 75 w 1426"/>
              <a:gd name="T7" fmla="*/ 175 h 1375"/>
              <a:gd name="T8" fmla="*/ 75 w 1426"/>
              <a:gd name="T9" fmla="*/ 251 h 1375"/>
              <a:gd name="T10" fmla="*/ 0 w 1426"/>
              <a:gd name="T11" fmla="*/ 325 h 1375"/>
              <a:gd name="T12" fmla="*/ 51 w 1426"/>
              <a:gd name="T13" fmla="*/ 400 h 1375"/>
              <a:gd name="T14" fmla="*/ 51 w 1426"/>
              <a:gd name="T15" fmla="*/ 500 h 1375"/>
              <a:gd name="T16" fmla="*/ 51 w 1426"/>
              <a:gd name="T17" fmla="*/ 551 h 1375"/>
              <a:gd name="T18" fmla="*/ 51 w 1426"/>
              <a:gd name="T19" fmla="*/ 625 h 1375"/>
              <a:gd name="T20" fmla="*/ 51 w 1426"/>
              <a:gd name="T21" fmla="*/ 675 h 1375"/>
              <a:gd name="T22" fmla="*/ 0 w 1426"/>
              <a:gd name="T23" fmla="*/ 700 h 1375"/>
              <a:gd name="T24" fmla="*/ 51 w 1426"/>
              <a:gd name="T25" fmla="*/ 775 h 1375"/>
              <a:gd name="T26" fmla="*/ 75 w 1426"/>
              <a:gd name="T27" fmla="*/ 849 h 1375"/>
              <a:gd name="T28" fmla="*/ 126 w 1426"/>
              <a:gd name="T29" fmla="*/ 874 h 1375"/>
              <a:gd name="T30" fmla="*/ 199 w 1426"/>
              <a:gd name="T31" fmla="*/ 899 h 1375"/>
              <a:gd name="T32" fmla="*/ 250 w 1426"/>
              <a:gd name="T33" fmla="*/ 974 h 1375"/>
              <a:gd name="T34" fmla="*/ 374 w 1426"/>
              <a:gd name="T35" fmla="*/ 999 h 1375"/>
              <a:gd name="T36" fmla="*/ 450 w 1426"/>
              <a:gd name="T37" fmla="*/ 1074 h 1375"/>
              <a:gd name="T38" fmla="*/ 599 w 1426"/>
              <a:gd name="T39" fmla="*/ 974 h 1375"/>
              <a:gd name="T40" fmla="*/ 1325 w 1426"/>
              <a:gd name="T41" fmla="*/ 1374 h 1375"/>
              <a:gd name="T42" fmla="*/ 1325 w 1426"/>
              <a:gd name="T43" fmla="*/ 1324 h 1375"/>
              <a:gd name="T44" fmla="*/ 1399 w 1426"/>
              <a:gd name="T45" fmla="*/ 1324 h 1375"/>
              <a:gd name="T46" fmla="*/ 1399 w 1426"/>
              <a:gd name="T47" fmla="*/ 400 h 1375"/>
              <a:gd name="T48" fmla="*/ 1399 w 1426"/>
              <a:gd name="T49" fmla="*/ 251 h 1375"/>
              <a:gd name="T50" fmla="*/ 1425 w 1426"/>
              <a:gd name="T51" fmla="*/ 150 h 1375"/>
              <a:gd name="T52" fmla="*/ 1425 w 1426"/>
              <a:gd name="T53" fmla="*/ 125 h 1375"/>
              <a:gd name="T54" fmla="*/ 1425 w 1426"/>
              <a:gd name="T55" fmla="*/ 125 h 1375"/>
              <a:gd name="T56" fmla="*/ 1299 w 1426"/>
              <a:gd name="T57" fmla="*/ 75 h 1375"/>
              <a:gd name="T58" fmla="*/ 1150 w 1426"/>
              <a:gd name="T59" fmla="*/ 0 h 1375"/>
              <a:gd name="T60" fmla="*/ 950 w 1426"/>
              <a:gd name="T61" fmla="*/ 125 h 1375"/>
              <a:gd name="T62" fmla="*/ 950 w 1426"/>
              <a:gd name="T63" fmla="*/ 225 h 1375"/>
              <a:gd name="T64" fmla="*/ 799 w 1426"/>
              <a:gd name="T65" fmla="*/ 225 h 1375"/>
              <a:gd name="T66" fmla="*/ 650 w 1426"/>
              <a:gd name="T67" fmla="*/ 175 h 1375"/>
              <a:gd name="T68" fmla="*/ 550 w 1426"/>
              <a:gd name="T69" fmla="*/ 100 h 1375"/>
              <a:gd name="T70" fmla="*/ 474 w 1426"/>
              <a:gd name="T71" fmla="*/ 50 h 1375"/>
              <a:gd name="T72" fmla="*/ 325 w 1426"/>
              <a:gd name="T73" fmla="*/ 25 h 1375"/>
              <a:gd name="T74" fmla="*/ 199 w 1426"/>
              <a:gd name="T75" fmla="*/ 0 h 1375"/>
              <a:gd name="T76" fmla="*/ 199 w 1426"/>
              <a:gd name="T77" fmla="*/ 50 h 1375"/>
              <a:gd name="T78" fmla="*/ 151 w 1426"/>
              <a:gd name="T79" fmla="*/ 75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26" h="1375">
                <a:moveTo>
                  <a:pt x="151" y="75"/>
                </a:moveTo>
                <a:lnTo>
                  <a:pt x="151" y="75"/>
                </a:lnTo>
                <a:cubicBezTo>
                  <a:pt x="151" y="75"/>
                  <a:pt x="100" y="125"/>
                  <a:pt x="100" y="150"/>
                </a:cubicBezTo>
                <a:cubicBezTo>
                  <a:pt x="75" y="150"/>
                  <a:pt x="75" y="175"/>
                  <a:pt x="75" y="175"/>
                </a:cubicBezTo>
                <a:cubicBezTo>
                  <a:pt x="75" y="200"/>
                  <a:pt x="75" y="225"/>
                  <a:pt x="75" y="251"/>
                </a:cubicBezTo>
                <a:cubicBezTo>
                  <a:pt x="51" y="275"/>
                  <a:pt x="0" y="300"/>
                  <a:pt x="0" y="325"/>
                </a:cubicBezTo>
                <a:cubicBezTo>
                  <a:pt x="0" y="325"/>
                  <a:pt x="26" y="351"/>
                  <a:pt x="51" y="400"/>
                </a:cubicBezTo>
                <a:cubicBezTo>
                  <a:pt x="75" y="451"/>
                  <a:pt x="26" y="475"/>
                  <a:pt x="51" y="500"/>
                </a:cubicBezTo>
                <a:cubicBezTo>
                  <a:pt x="51" y="525"/>
                  <a:pt x="51" y="551"/>
                  <a:pt x="51" y="551"/>
                </a:cubicBezTo>
                <a:cubicBezTo>
                  <a:pt x="26" y="575"/>
                  <a:pt x="51" y="600"/>
                  <a:pt x="51" y="625"/>
                </a:cubicBezTo>
                <a:cubicBezTo>
                  <a:pt x="51" y="625"/>
                  <a:pt x="51" y="651"/>
                  <a:pt x="51" y="675"/>
                </a:cubicBezTo>
                <a:lnTo>
                  <a:pt x="0" y="700"/>
                </a:lnTo>
                <a:cubicBezTo>
                  <a:pt x="0" y="725"/>
                  <a:pt x="26" y="725"/>
                  <a:pt x="51" y="775"/>
                </a:cubicBezTo>
                <a:cubicBezTo>
                  <a:pt x="75" y="800"/>
                  <a:pt x="51" y="824"/>
                  <a:pt x="75" y="849"/>
                </a:cubicBezTo>
                <a:cubicBezTo>
                  <a:pt x="75" y="874"/>
                  <a:pt x="100" y="874"/>
                  <a:pt x="126" y="874"/>
                </a:cubicBezTo>
                <a:cubicBezTo>
                  <a:pt x="151" y="874"/>
                  <a:pt x="174" y="899"/>
                  <a:pt x="199" y="899"/>
                </a:cubicBezTo>
                <a:cubicBezTo>
                  <a:pt x="225" y="899"/>
                  <a:pt x="225" y="924"/>
                  <a:pt x="250" y="974"/>
                </a:cubicBezTo>
                <a:cubicBezTo>
                  <a:pt x="250" y="974"/>
                  <a:pt x="350" y="974"/>
                  <a:pt x="374" y="999"/>
                </a:cubicBezTo>
                <a:cubicBezTo>
                  <a:pt x="424" y="1024"/>
                  <a:pt x="450" y="1074"/>
                  <a:pt x="450" y="1074"/>
                </a:cubicBezTo>
                <a:cubicBezTo>
                  <a:pt x="599" y="974"/>
                  <a:pt x="599" y="974"/>
                  <a:pt x="599" y="974"/>
                </a:cubicBezTo>
                <a:cubicBezTo>
                  <a:pt x="1325" y="1374"/>
                  <a:pt x="1325" y="1374"/>
                  <a:pt x="1325" y="1374"/>
                </a:cubicBezTo>
                <a:cubicBezTo>
                  <a:pt x="1325" y="1324"/>
                  <a:pt x="1325" y="1324"/>
                  <a:pt x="1325" y="1324"/>
                </a:cubicBezTo>
                <a:cubicBezTo>
                  <a:pt x="1399" y="1324"/>
                  <a:pt x="1399" y="1324"/>
                  <a:pt x="1399" y="1324"/>
                </a:cubicBezTo>
                <a:cubicBezTo>
                  <a:pt x="1399" y="1324"/>
                  <a:pt x="1399" y="451"/>
                  <a:pt x="1399" y="400"/>
                </a:cubicBezTo>
                <a:cubicBezTo>
                  <a:pt x="1399" y="325"/>
                  <a:pt x="1375" y="300"/>
                  <a:pt x="1399" y="251"/>
                </a:cubicBezTo>
                <a:cubicBezTo>
                  <a:pt x="1425" y="225"/>
                  <a:pt x="1399" y="200"/>
                  <a:pt x="1425" y="150"/>
                </a:cubicBezTo>
                <a:cubicBezTo>
                  <a:pt x="1425" y="125"/>
                  <a:pt x="1425" y="125"/>
                  <a:pt x="1425" y="125"/>
                </a:cubicBezTo>
                <a:lnTo>
                  <a:pt x="1425" y="125"/>
                </a:lnTo>
                <a:cubicBezTo>
                  <a:pt x="1425" y="100"/>
                  <a:pt x="1375" y="100"/>
                  <a:pt x="1299" y="75"/>
                </a:cubicBezTo>
                <a:cubicBezTo>
                  <a:pt x="1225" y="75"/>
                  <a:pt x="1250" y="0"/>
                  <a:pt x="1150" y="0"/>
                </a:cubicBezTo>
                <a:cubicBezTo>
                  <a:pt x="1050" y="0"/>
                  <a:pt x="950" y="75"/>
                  <a:pt x="950" y="125"/>
                </a:cubicBezTo>
                <a:cubicBezTo>
                  <a:pt x="950" y="150"/>
                  <a:pt x="975" y="200"/>
                  <a:pt x="950" y="225"/>
                </a:cubicBezTo>
                <a:cubicBezTo>
                  <a:pt x="925" y="275"/>
                  <a:pt x="850" y="275"/>
                  <a:pt x="799" y="225"/>
                </a:cubicBezTo>
                <a:cubicBezTo>
                  <a:pt x="775" y="200"/>
                  <a:pt x="699" y="175"/>
                  <a:pt x="650" y="175"/>
                </a:cubicBezTo>
                <a:cubicBezTo>
                  <a:pt x="574" y="175"/>
                  <a:pt x="550" y="150"/>
                  <a:pt x="550" y="100"/>
                </a:cubicBezTo>
                <a:cubicBezTo>
                  <a:pt x="550" y="75"/>
                  <a:pt x="525" y="75"/>
                  <a:pt x="474" y="50"/>
                </a:cubicBezTo>
                <a:cubicBezTo>
                  <a:pt x="424" y="50"/>
                  <a:pt x="399" y="0"/>
                  <a:pt x="325" y="25"/>
                </a:cubicBezTo>
                <a:cubicBezTo>
                  <a:pt x="274" y="25"/>
                  <a:pt x="225" y="0"/>
                  <a:pt x="199" y="0"/>
                </a:cubicBezTo>
                <a:cubicBezTo>
                  <a:pt x="199" y="25"/>
                  <a:pt x="199" y="25"/>
                  <a:pt x="199" y="50"/>
                </a:cubicBezTo>
                <a:cubicBezTo>
                  <a:pt x="199" y="75"/>
                  <a:pt x="174" y="75"/>
                  <a:pt x="151"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68" name="Freeform 15">
            <a:extLst>
              <a:ext uri="{FF2B5EF4-FFF2-40B4-BE49-F238E27FC236}">
                <a16:creationId xmlns:a16="http://schemas.microsoft.com/office/drawing/2014/main" id="{C6104F4C-38AF-8240-9D56-C1F8E5F171F1}"/>
              </a:ext>
            </a:extLst>
          </p:cNvPr>
          <p:cNvSpPr>
            <a:spLocks noChangeArrowheads="1"/>
          </p:cNvSpPr>
          <p:nvPr/>
        </p:nvSpPr>
        <p:spPr bwMode="auto">
          <a:xfrm>
            <a:off x="5271945" y="4406004"/>
            <a:ext cx="80155" cy="32344"/>
          </a:xfrm>
          <a:custGeom>
            <a:avLst/>
            <a:gdLst>
              <a:gd name="T0" fmla="*/ 125 w 251"/>
              <a:gd name="T1" fmla="*/ 76 h 101"/>
              <a:gd name="T2" fmla="*/ 125 w 251"/>
              <a:gd name="T3" fmla="*/ 76 h 101"/>
              <a:gd name="T4" fmla="*/ 200 w 251"/>
              <a:gd name="T5" fmla="*/ 100 h 101"/>
              <a:gd name="T6" fmla="*/ 250 w 251"/>
              <a:gd name="T7" fmla="*/ 76 h 101"/>
              <a:gd name="T8" fmla="*/ 200 w 251"/>
              <a:gd name="T9" fmla="*/ 76 h 101"/>
              <a:gd name="T10" fmla="*/ 125 w 251"/>
              <a:gd name="T11" fmla="*/ 25 h 101"/>
              <a:gd name="T12" fmla="*/ 0 w 251"/>
              <a:gd name="T13" fmla="*/ 51 h 101"/>
              <a:gd name="T14" fmla="*/ 0 w 251"/>
              <a:gd name="T15" fmla="*/ 100 h 101"/>
              <a:gd name="T16" fmla="*/ 25 w 251"/>
              <a:gd name="T17" fmla="*/ 100 h 101"/>
              <a:gd name="T18" fmla="*/ 125 w 251"/>
              <a:gd name="T19" fmla="*/ 7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1">
                <a:moveTo>
                  <a:pt x="125" y="76"/>
                </a:moveTo>
                <a:lnTo>
                  <a:pt x="125" y="76"/>
                </a:lnTo>
                <a:cubicBezTo>
                  <a:pt x="150" y="51"/>
                  <a:pt x="175" y="76"/>
                  <a:pt x="200" y="100"/>
                </a:cubicBezTo>
                <a:cubicBezTo>
                  <a:pt x="225" y="100"/>
                  <a:pt x="250" y="76"/>
                  <a:pt x="250" y="76"/>
                </a:cubicBezTo>
                <a:cubicBezTo>
                  <a:pt x="250" y="76"/>
                  <a:pt x="250" y="76"/>
                  <a:pt x="200" y="76"/>
                </a:cubicBezTo>
                <a:cubicBezTo>
                  <a:pt x="175" y="76"/>
                  <a:pt x="150" y="0"/>
                  <a:pt x="125" y="25"/>
                </a:cubicBezTo>
                <a:cubicBezTo>
                  <a:pt x="74" y="51"/>
                  <a:pt x="50" y="51"/>
                  <a:pt x="0" y="51"/>
                </a:cubicBezTo>
                <a:cubicBezTo>
                  <a:pt x="0" y="51"/>
                  <a:pt x="0" y="76"/>
                  <a:pt x="0" y="100"/>
                </a:cubicBezTo>
                <a:cubicBezTo>
                  <a:pt x="0" y="100"/>
                  <a:pt x="0" y="100"/>
                  <a:pt x="25" y="100"/>
                </a:cubicBezTo>
                <a:cubicBezTo>
                  <a:pt x="50" y="100"/>
                  <a:pt x="100" y="76"/>
                  <a:pt x="125" y="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0" name="Freeform 16">
            <a:extLst>
              <a:ext uri="{FF2B5EF4-FFF2-40B4-BE49-F238E27FC236}">
                <a16:creationId xmlns:a16="http://schemas.microsoft.com/office/drawing/2014/main" id="{CA9165E6-590F-D344-B0D9-0441F100D45C}"/>
              </a:ext>
            </a:extLst>
          </p:cNvPr>
          <p:cNvSpPr>
            <a:spLocks noChangeArrowheads="1"/>
          </p:cNvSpPr>
          <p:nvPr/>
        </p:nvSpPr>
        <p:spPr bwMode="auto">
          <a:xfrm>
            <a:off x="5248039" y="4325850"/>
            <a:ext cx="175780" cy="143436"/>
          </a:xfrm>
          <a:custGeom>
            <a:avLst/>
            <a:gdLst>
              <a:gd name="T0" fmla="*/ 125 w 551"/>
              <a:gd name="T1" fmla="*/ 425 h 450"/>
              <a:gd name="T2" fmla="*/ 125 w 551"/>
              <a:gd name="T3" fmla="*/ 425 h 450"/>
              <a:gd name="T4" fmla="*/ 175 w 551"/>
              <a:gd name="T5" fmla="*/ 400 h 450"/>
              <a:gd name="T6" fmla="*/ 325 w 551"/>
              <a:gd name="T7" fmla="*/ 400 h 450"/>
              <a:gd name="T8" fmla="*/ 350 w 551"/>
              <a:gd name="T9" fmla="*/ 400 h 450"/>
              <a:gd name="T10" fmla="*/ 350 w 551"/>
              <a:gd name="T11" fmla="*/ 400 h 450"/>
              <a:gd name="T12" fmla="*/ 400 w 551"/>
              <a:gd name="T13" fmla="*/ 425 h 450"/>
              <a:gd name="T14" fmla="*/ 550 w 551"/>
              <a:gd name="T15" fmla="*/ 425 h 450"/>
              <a:gd name="T16" fmla="*/ 550 w 551"/>
              <a:gd name="T17" fmla="*/ 425 h 450"/>
              <a:gd name="T18" fmla="*/ 550 w 551"/>
              <a:gd name="T19" fmla="*/ 349 h 450"/>
              <a:gd name="T20" fmla="*/ 500 w 551"/>
              <a:gd name="T21" fmla="*/ 300 h 450"/>
              <a:gd name="T22" fmla="*/ 500 w 551"/>
              <a:gd name="T23" fmla="*/ 249 h 450"/>
              <a:gd name="T24" fmla="*/ 475 w 551"/>
              <a:gd name="T25" fmla="*/ 225 h 450"/>
              <a:gd name="T26" fmla="*/ 425 w 551"/>
              <a:gd name="T27" fmla="*/ 149 h 450"/>
              <a:gd name="T28" fmla="*/ 350 w 551"/>
              <a:gd name="T29" fmla="*/ 74 h 450"/>
              <a:gd name="T30" fmla="*/ 325 w 551"/>
              <a:gd name="T31" fmla="*/ 74 h 450"/>
              <a:gd name="T32" fmla="*/ 275 w 551"/>
              <a:gd name="T33" fmla="*/ 25 h 450"/>
              <a:gd name="T34" fmla="*/ 200 w 551"/>
              <a:gd name="T35" fmla="*/ 25 h 450"/>
              <a:gd name="T36" fmla="*/ 125 w 551"/>
              <a:gd name="T37" fmla="*/ 25 h 450"/>
              <a:gd name="T38" fmla="*/ 50 w 551"/>
              <a:gd name="T39" fmla="*/ 74 h 450"/>
              <a:gd name="T40" fmla="*/ 50 w 551"/>
              <a:gd name="T41" fmla="*/ 74 h 450"/>
              <a:gd name="T42" fmla="*/ 25 w 551"/>
              <a:gd name="T43" fmla="*/ 149 h 450"/>
              <a:gd name="T44" fmla="*/ 75 w 551"/>
              <a:gd name="T45" fmla="*/ 274 h 450"/>
              <a:gd name="T46" fmla="*/ 75 w 551"/>
              <a:gd name="T47" fmla="*/ 300 h 450"/>
              <a:gd name="T48" fmla="*/ 200 w 551"/>
              <a:gd name="T49" fmla="*/ 274 h 450"/>
              <a:gd name="T50" fmla="*/ 275 w 551"/>
              <a:gd name="T51" fmla="*/ 325 h 450"/>
              <a:gd name="T52" fmla="*/ 325 w 551"/>
              <a:gd name="T53" fmla="*/ 325 h 450"/>
              <a:gd name="T54" fmla="*/ 275 w 551"/>
              <a:gd name="T55" fmla="*/ 349 h 450"/>
              <a:gd name="T56" fmla="*/ 200 w 551"/>
              <a:gd name="T57" fmla="*/ 325 h 450"/>
              <a:gd name="T58" fmla="*/ 100 w 551"/>
              <a:gd name="T59" fmla="*/ 349 h 450"/>
              <a:gd name="T60" fmla="*/ 75 w 551"/>
              <a:gd name="T61" fmla="*/ 349 h 450"/>
              <a:gd name="T62" fmla="*/ 75 w 551"/>
              <a:gd name="T63" fmla="*/ 400 h 450"/>
              <a:gd name="T64" fmla="*/ 75 w 551"/>
              <a:gd name="T65" fmla="*/ 400 h 450"/>
              <a:gd name="T66" fmla="*/ 125 w 551"/>
              <a:gd name="T67" fmla="*/ 42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1" h="450">
                <a:moveTo>
                  <a:pt x="125" y="425"/>
                </a:moveTo>
                <a:lnTo>
                  <a:pt x="125" y="425"/>
                </a:lnTo>
                <a:cubicBezTo>
                  <a:pt x="149" y="425"/>
                  <a:pt x="175" y="400"/>
                  <a:pt x="175" y="400"/>
                </a:cubicBezTo>
                <a:cubicBezTo>
                  <a:pt x="175" y="400"/>
                  <a:pt x="300" y="400"/>
                  <a:pt x="325" y="400"/>
                </a:cubicBezTo>
                <a:cubicBezTo>
                  <a:pt x="325" y="400"/>
                  <a:pt x="325" y="400"/>
                  <a:pt x="350" y="400"/>
                </a:cubicBezTo>
                <a:lnTo>
                  <a:pt x="350" y="400"/>
                </a:lnTo>
                <a:cubicBezTo>
                  <a:pt x="350" y="400"/>
                  <a:pt x="400" y="400"/>
                  <a:pt x="400" y="425"/>
                </a:cubicBezTo>
                <a:cubicBezTo>
                  <a:pt x="425" y="425"/>
                  <a:pt x="500" y="449"/>
                  <a:pt x="550" y="425"/>
                </a:cubicBezTo>
                <a:lnTo>
                  <a:pt x="550" y="425"/>
                </a:lnTo>
                <a:cubicBezTo>
                  <a:pt x="550" y="400"/>
                  <a:pt x="550" y="374"/>
                  <a:pt x="550" y="349"/>
                </a:cubicBezTo>
                <a:cubicBezTo>
                  <a:pt x="550" y="349"/>
                  <a:pt x="525" y="325"/>
                  <a:pt x="500" y="300"/>
                </a:cubicBezTo>
                <a:cubicBezTo>
                  <a:pt x="500" y="274"/>
                  <a:pt x="500" y="249"/>
                  <a:pt x="500" y="249"/>
                </a:cubicBezTo>
                <a:cubicBezTo>
                  <a:pt x="475" y="225"/>
                  <a:pt x="475" y="225"/>
                  <a:pt x="475" y="225"/>
                </a:cubicBezTo>
                <a:cubicBezTo>
                  <a:pt x="475" y="225"/>
                  <a:pt x="475" y="149"/>
                  <a:pt x="425" y="149"/>
                </a:cubicBezTo>
                <a:cubicBezTo>
                  <a:pt x="375" y="125"/>
                  <a:pt x="350" y="74"/>
                  <a:pt x="350" y="74"/>
                </a:cubicBezTo>
                <a:cubicBezTo>
                  <a:pt x="325" y="74"/>
                  <a:pt x="325" y="74"/>
                  <a:pt x="325" y="74"/>
                </a:cubicBezTo>
                <a:cubicBezTo>
                  <a:pt x="325" y="74"/>
                  <a:pt x="300" y="25"/>
                  <a:pt x="275" y="25"/>
                </a:cubicBezTo>
                <a:cubicBezTo>
                  <a:pt x="250" y="0"/>
                  <a:pt x="200" y="25"/>
                  <a:pt x="200" y="25"/>
                </a:cubicBezTo>
                <a:cubicBezTo>
                  <a:pt x="200" y="25"/>
                  <a:pt x="149" y="25"/>
                  <a:pt x="125" y="25"/>
                </a:cubicBezTo>
                <a:cubicBezTo>
                  <a:pt x="75" y="25"/>
                  <a:pt x="100" y="74"/>
                  <a:pt x="50" y="74"/>
                </a:cubicBezTo>
                <a:lnTo>
                  <a:pt x="50" y="74"/>
                </a:lnTo>
                <a:cubicBezTo>
                  <a:pt x="50" y="100"/>
                  <a:pt x="50" y="125"/>
                  <a:pt x="25" y="149"/>
                </a:cubicBezTo>
                <a:cubicBezTo>
                  <a:pt x="0" y="200"/>
                  <a:pt x="50" y="249"/>
                  <a:pt x="75" y="274"/>
                </a:cubicBezTo>
                <a:lnTo>
                  <a:pt x="75" y="300"/>
                </a:lnTo>
                <a:cubicBezTo>
                  <a:pt x="125" y="300"/>
                  <a:pt x="149" y="300"/>
                  <a:pt x="200" y="274"/>
                </a:cubicBezTo>
                <a:cubicBezTo>
                  <a:pt x="225" y="249"/>
                  <a:pt x="250" y="325"/>
                  <a:pt x="275" y="325"/>
                </a:cubicBezTo>
                <a:cubicBezTo>
                  <a:pt x="325" y="325"/>
                  <a:pt x="325" y="325"/>
                  <a:pt x="325" y="325"/>
                </a:cubicBezTo>
                <a:cubicBezTo>
                  <a:pt x="325" y="325"/>
                  <a:pt x="300" y="349"/>
                  <a:pt x="275" y="349"/>
                </a:cubicBezTo>
                <a:cubicBezTo>
                  <a:pt x="250" y="325"/>
                  <a:pt x="225" y="300"/>
                  <a:pt x="200" y="325"/>
                </a:cubicBezTo>
                <a:cubicBezTo>
                  <a:pt x="175" y="325"/>
                  <a:pt x="125" y="349"/>
                  <a:pt x="100" y="349"/>
                </a:cubicBezTo>
                <a:cubicBezTo>
                  <a:pt x="75" y="349"/>
                  <a:pt x="75" y="349"/>
                  <a:pt x="75" y="349"/>
                </a:cubicBezTo>
                <a:cubicBezTo>
                  <a:pt x="50" y="374"/>
                  <a:pt x="75" y="374"/>
                  <a:pt x="75" y="400"/>
                </a:cubicBezTo>
                <a:lnTo>
                  <a:pt x="75" y="400"/>
                </a:lnTo>
                <a:cubicBezTo>
                  <a:pt x="125" y="400"/>
                  <a:pt x="125" y="425"/>
                  <a:pt x="125" y="4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1" name="Freeform 17">
            <a:extLst>
              <a:ext uri="{FF2B5EF4-FFF2-40B4-BE49-F238E27FC236}">
                <a16:creationId xmlns:a16="http://schemas.microsoft.com/office/drawing/2014/main" id="{32FEDE89-2667-9A4E-90BC-24B643C6DA7D}"/>
              </a:ext>
            </a:extLst>
          </p:cNvPr>
          <p:cNvSpPr>
            <a:spLocks noChangeArrowheads="1"/>
          </p:cNvSpPr>
          <p:nvPr/>
        </p:nvSpPr>
        <p:spPr bwMode="auto">
          <a:xfrm>
            <a:off x="5271946" y="4453818"/>
            <a:ext cx="88593" cy="47812"/>
          </a:xfrm>
          <a:custGeom>
            <a:avLst/>
            <a:gdLst>
              <a:gd name="T0" fmla="*/ 150 w 276"/>
              <a:gd name="T1" fmla="*/ 125 h 150"/>
              <a:gd name="T2" fmla="*/ 150 w 276"/>
              <a:gd name="T3" fmla="*/ 125 h 150"/>
              <a:gd name="T4" fmla="*/ 225 w 276"/>
              <a:gd name="T5" fmla="*/ 99 h 150"/>
              <a:gd name="T6" fmla="*/ 250 w 276"/>
              <a:gd name="T7" fmla="*/ 74 h 150"/>
              <a:gd name="T8" fmla="*/ 250 w 276"/>
              <a:gd name="T9" fmla="*/ 25 h 150"/>
              <a:gd name="T10" fmla="*/ 275 w 276"/>
              <a:gd name="T11" fmla="*/ 0 h 150"/>
              <a:gd name="T12" fmla="*/ 250 w 276"/>
              <a:gd name="T13" fmla="*/ 0 h 150"/>
              <a:gd name="T14" fmla="*/ 100 w 276"/>
              <a:gd name="T15" fmla="*/ 0 h 150"/>
              <a:gd name="T16" fmla="*/ 50 w 276"/>
              <a:gd name="T17" fmla="*/ 25 h 150"/>
              <a:gd name="T18" fmla="*/ 0 w 276"/>
              <a:gd name="T19" fmla="*/ 0 h 150"/>
              <a:gd name="T20" fmla="*/ 74 w 276"/>
              <a:gd name="T21" fmla="*/ 74 h 150"/>
              <a:gd name="T22" fmla="*/ 125 w 276"/>
              <a:gd name="T23" fmla="*/ 149 h 150"/>
              <a:gd name="T24" fmla="*/ 125 w 276"/>
              <a:gd name="T25" fmla="*/ 149 h 150"/>
              <a:gd name="T26" fmla="*/ 150 w 276"/>
              <a:gd name="T27" fmla="*/ 1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150">
                <a:moveTo>
                  <a:pt x="150" y="125"/>
                </a:moveTo>
                <a:lnTo>
                  <a:pt x="150" y="125"/>
                </a:lnTo>
                <a:cubicBezTo>
                  <a:pt x="175" y="125"/>
                  <a:pt x="200" y="74"/>
                  <a:pt x="225" y="99"/>
                </a:cubicBezTo>
                <a:lnTo>
                  <a:pt x="250" y="74"/>
                </a:lnTo>
                <a:cubicBezTo>
                  <a:pt x="250" y="74"/>
                  <a:pt x="225" y="49"/>
                  <a:pt x="250" y="25"/>
                </a:cubicBezTo>
                <a:cubicBezTo>
                  <a:pt x="275" y="25"/>
                  <a:pt x="275" y="0"/>
                  <a:pt x="275" y="0"/>
                </a:cubicBezTo>
                <a:cubicBezTo>
                  <a:pt x="250" y="0"/>
                  <a:pt x="250" y="0"/>
                  <a:pt x="250" y="0"/>
                </a:cubicBezTo>
                <a:cubicBezTo>
                  <a:pt x="225" y="0"/>
                  <a:pt x="100" y="0"/>
                  <a:pt x="100" y="0"/>
                </a:cubicBezTo>
                <a:cubicBezTo>
                  <a:pt x="100" y="0"/>
                  <a:pt x="74" y="25"/>
                  <a:pt x="50" y="25"/>
                </a:cubicBezTo>
                <a:cubicBezTo>
                  <a:pt x="50" y="25"/>
                  <a:pt x="50" y="0"/>
                  <a:pt x="0" y="0"/>
                </a:cubicBezTo>
                <a:cubicBezTo>
                  <a:pt x="25" y="49"/>
                  <a:pt x="25" y="49"/>
                  <a:pt x="74" y="74"/>
                </a:cubicBezTo>
                <a:cubicBezTo>
                  <a:pt x="150" y="74"/>
                  <a:pt x="74" y="99"/>
                  <a:pt x="125" y="149"/>
                </a:cubicBezTo>
                <a:lnTo>
                  <a:pt x="125" y="149"/>
                </a:lnTo>
                <a:cubicBezTo>
                  <a:pt x="150" y="149"/>
                  <a:pt x="150" y="125"/>
                  <a:pt x="150" y="1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4" name="Freeform 18">
            <a:extLst>
              <a:ext uri="{FF2B5EF4-FFF2-40B4-BE49-F238E27FC236}">
                <a16:creationId xmlns:a16="http://schemas.microsoft.com/office/drawing/2014/main" id="{994AE827-C826-A341-AF60-B581615D1BD7}"/>
              </a:ext>
            </a:extLst>
          </p:cNvPr>
          <p:cNvSpPr>
            <a:spLocks noChangeArrowheads="1"/>
          </p:cNvSpPr>
          <p:nvPr/>
        </p:nvSpPr>
        <p:spPr bwMode="auto">
          <a:xfrm>
            <a:off x="6204283" y="4493191"/>
            <a:ext cx="367029" cy="262968"/>
          </a:xfrm>
          <a:custGeom>
            <a:avLst/>
            <a:gdLst>
              <a:gd name="T0" fmla="*/ 1051 w 1152"/>
              <a:gd name="T1" fmla="*/ 475 h 826"/>
              <a:gd name="T2" fmla="*/ 1051 w 1152"/>
              <a:gd name="T3" fmla="*/ 475 h 826"/>
              <a:gd name="T4" fmla="*/ 1026 w 1152"/>
              <a:gd name="T5" fmla="*/ 400 h 826"/>
              <a:gd name="T6" fmla="*/ 976 w 1152"/>
              <a:gd name="T7" fmla="*/ 349 h 826"/>
              <a:gd name="T8" fmla="*/ 925 w 1152"/>
              <a:gd name="T9" fmla="*/ 300 h 826"/>
              <a:gd name="T10" fmla="*/ 851 w 1152"/>
              <a:gd name="T11" fmla="*/ 249 h 826"/>
              <a:gd name="T12" fmla="*/ 851 w 1152"/>
              <a:gd name="T13" fmla="*/ 224 h 826"/>
              <a:gd name="T14" fmla="*/ 801 w 1152"/>
              <a:gd name="T15" fmla="*/ 224 h 826"/>
              <a:gd name="T16" fmla="*/ 801 w 1152"/>
              <a:gd name="T17" fmla="*/ 200 h 826"/>
              <a:gd name="T18" fmla="*/ 801 w 1152"/>
              <a:gd name="T19" fmla="*/ 100 h 826"/>
              <a:gd name="T20" fmla="*/ 725 w 1152"/>
              <a:gd name="T21" fmla="*/ 24 h 826"/>
              <a:gd name="T22" fmla="*/ 725 w 1152"/>
              <a:gd name="T23" fmla="*/ 24 h 826"/>
              <a:gd name="T24" fmla="*/ 651 w 1152"/>
              <a:gd name="T25" fmla="*/ 49 h 826"/>
              <a:gd name="T26" fmla="*/ 625 w 1152"/>
              <a:gd name="T27" fmla="*/ 100 h 826"/>
              <a:gd name="T28" fmla="*/ 525 w 1152"/>
              <a:gd name="T29" fmla="*/ 175 h 826"/>
              <a:gd name="T30" fmla="*/ 401 w 1152"/>
              <a:gd name="T31" fmla="*/ 224 h 826"/>
              <a:gd name="T32" fmla="*/ 401 w 1152"/>
              <a:gd name="T33" fmla="*/ 275 h 826"/>
              <a:gd name="T34" fmla="*/ 301 w 1152"/>
              <a:gd name="T35" fmla="*/ 300 h 826"/>
              <a:gd name="T36" fmla="*/ 201 w 1152"/>
              <a:gd name="T37" fmla="*/ 349 h 826"/>
              <a:gd name="T38" fmla="*/ 151 w 1152"/>
              <a:gd name="T39" fmla="*/ 349 h 826"/>
              <a:gd name="T40" fmla="*/ 100 w 1152"/>
              <a:gd name="T41" fmla="*/ 349 h 826"/>
              <a:gd name="T42" fmla="*/ 76 w 1152"/>
              <a:gd name="T43" fmla="*/ 349 h 826"/>
              <a:gd name="T44" fmla="*/ 25 w 1152"/>
              <a:gd name="T45" fmla="*/ 400 h 826"/>
              <a:gd name="T46" fmla="*/ 0 w 1152"/>
              <a:gd name="T47" fmla="*/ 500 h 826"/>
              <a:gd name="T48" fmla="*/ 0 w 1152"/>
              <a:gd name="T49" fmla="*/ 575 h 826"/>
              <a:gd name="T50" fmla="*/ 25 w 1152"/>
              <a:gd name="T51" fmla="*/ 649 h 826"/>
              <a:gd name="T52" fmla="*/ 51 w 1152"/>
              <a:gd name="T53" fmla="*/ 700 h 826"/>
              <a:gd name="T54" fmla="*/ 76 w 1152"/>
              <a:gd name="T55" fmla="*/ 749 h 826"/>
              <a:gd name="T56" fmla="*/ 125 w 1152"/>
              <a:gd name="T57" fmla="*/ 800 h 826"/>
              <a:gd name="T58" fmla="*/ 151 w 1152"/>
              <a:gd name="T59" fmla="*/ 825 h 826"/>
              <a:gd name="T60" fmla="*/ 151 w 1152"/>
              <a:gd name="T61" fmla="*/ 800 h 826"/>
              <a:gd name="T62" fmla="*/ 176 w 1152"/>
              <a:gd name="T63" fmla="*/ 749 h 826"/>
              <a:gd name="T64" fmla="*/ 225 w 1152"/>
              <a:gd name="T65" fmla="*/ 725 h 826"/>
              <a:gd name="T66" fmla="*/ 251 w 1152"/>
              <a:gd name="T67" fmla="*/ 725 h 826"/>
              <a:gd name="T68" fmla="*/ 351 w 1152"/>
              <a:gd name="T69" fmla="*/ 725 h 826"/>
              <a:gd name="T70" fmla="*/ 351 w 1152"/>
              <a:gd name="T71" fmla="*/ 675 h 826"/>
              <a:gd name="T72" fmla="*/ 451 w 1152"/>
              <a:gd name="T73" fmla="*/ 600 h 826"/>
              <a:gd name="T74" fmla="*/ 525 w 1152"/>
              <a:gd name="T75" fmla="*/ 649 h 826"/>
              <a:gd name="T76" fmla="*/ 701 w 1152"/>
              <a:gd name="T77" fmla="*/ 675 h 826"/>
              <a:gd name="T78" fmla="*/ 725 w 1152"/>
              <a:gd name="T79" fmla="*/ 600 h 826"/>
              <a:gd name="T80" fmla="*/ 801 w 1152"/>
              <a:gd name="T81" fmla="*/ 600 h 826"/>
              <a:gd name="T82" fmla="*/ 901 w 1152"/>
              <a:gd name="T83" fmla="*/ 575 h 826"/>
              <a:gd name="T84" fmla="*/ 976 w 1152"/>
              <a:gd name="T85" fmla="*/ 575 h 826"/>
              <a:gd name="T86" fmla="*/ 1076 w 1152"/>
              <a:gd name="T87" fmla="*/ 575 h 826"/>
              <a:gd name="T88" fmla="*/ 1151 w 1152"/>
              <a:gd name="T89" fmla="*/ 575 h 826"/>
              <a:gd name="T90" fmla="*/ 1126 w 1152"/>
              <a:gd name="T91" fmla="*/ 525 h 826"/>
              <a:gd name="T92" fmla="*/ 1051 w 1152"/>
              <a:gd name="T93" fmla="*/ 47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52" h="826">
                <a:moveTo>
                  <a:pt x="1051" y="475"/>
                </a:moveTo>
                <a:lnTo>
                  <a:pt x="1051" y="475"/>
                </a:lnTo>
                <a:cubicBezTo>
                  <a:pt x="1051" y="449"/>
                  <a:pt x="1051" y="425"/>
                  <a:pt x="1026" y="400"/>
                </a:cubicBezTo>
                <a:cubicBezTo>
                  <a:pt x="1001" y="375"/>
                  <a:pt x="976" y="375"/>
                  <a:pt x="976" y="349"/>
                </a:cubicBezTo>
                <a:cubicBezTo>
                  <a:pt x="976" y="324"/>
                  <a:pt x="951" y="324"/>
                  <a:pt x="925" y="300"/>
                </a:cubicBezTo>
                <a:cubicBezTo>
                  <a:pt x="901" y="249"/>
                  <a:pt x="851" y="249"/>
                  <a:pt x="851" y="249"/>
                </a:cubicBezTo>
                <a:cubicBezTo>
                  <a:pt x="851" y="224"/>
                  <a:pt x="851" y="224"/>
                  <a:pt x="851" y="224"/>
                </a:cubicBezTo>
                <a:cubicBezTo>
                  <a:pt x="801" y="224"/>
                  <a:pt x="801" y="224"/>
                  <a:pt x="801" y="224"/>
                </a:cubicBezTo>
                <a:cubicBezTo>
                  <a:pt x="801" y="224"/>
                  <a:pt x="776" y="200"/>
                  <a:pt x="801" y="200"/>
                </a:cubicBezTo>
                <a:cubicBezTo>
                  <a:pt x="851" y="175"/>
                  <a:pt x="801" y="124"/>
                  <a:pt x="801" y="100"/>
                </a:cubicBezTo>
                <a:cubicBezTo>
                  <a:pt x="801" y="100"/>
                  <a:pt x="751" y="24"/>
                  <a:pt x="725" y="24"/>
                </a:cubicBezTo>
                <a:lnTo>
                  <a:pt x="725" y="24"/>
                </a:lnTo>
                <a:cubicBezTo>
                  <a:pt x="701" y="0"/>
                  <a:pt x="651" y="24"/>
                  <a:pt x="651" y="49"/>
                </a:cubicBezTo>
                <a:cubicBezTo>
                  <a:pt x="625" y="74"/>
                  <a:pt x="625" y="74"/>
                  <a:pt x="625" y="100"/>
                </a:cubicBezTo>
                <a:cubicBezTo>
                  <a:pt x="601" y="100"/>
                  <a:pt x="551" y="149"/>
                  <a:pt x="525" y="175"/>
                </a:cubicBezTo>
                <a:cubicBezTo>
                  <a:pt x="501" y="224"/>
                  <a:pt x="425" y="200"/>
                  <a:pt x="401" y="224"/>
                </a:cubicBezTo>
                <a:cubicBezTo>
                  <a:pt x="376" y="224"/>
                  <a:pt x="401" y="249"/>
                  <a:pt x="401" y="275"/>
                </a:cubicBezTo>
                <a:cubicBezTo>
                  <a:pt x="376" y="275"/>
                  <a:pt x="325" y="300"/>
                  <a:pt x="301" y="300"/>
                </a:cubicBezTo>
                <a:cubicBezTo>
                  <a:pt x="301" y="324"/>
                  <a:pt x="225" y="324"/>
                  <a:pt x="201" y="349"/>
                </a:cubicBezTo>
                <a:cubicBezTo>
                  <a:pt x="176" y="375"/>
                  <a:pt x="176" y="300"/>
                  <a:pt x="151" y="349"/>
                </a:cubicBezTo>
                <a:cubicBezTo>
                  <a:pt x="125" y="375"/>
                  <a:pt x="100" y="375"/>
                  <a:pt x="100" y="349"/>
                </a:cubicBezTo>
                <a:lnTo>
                  <a:pt x="76" y="349"/>
                </a:lnTo>
                <a:cubicBezTo>
                  <a:pt x="76" y="375"/>
                  <a:pt x="51" y="375"/>
                  <a:pt x="25" y="400"/>
                </a:cubicBezTo>
                <a:cubicBezTo>
                  <a:pt x="25" y="449"/>
                  <a:pt x="0" y="475"/>
                  <a:pt x="0" y="500"/>
                </a:cubicBezTo>
                <a:cubicBezTo>
                  <a:pt x="0" y="525"/>
                  <a:pt x="0" y="549"/>
                  <a:pt x="0" y="575"/>
                </a:cubicBezTo>
                <a:cubicBezTo>
                  <a:pt x="0" y="625"/>
                  <a:pt x="0" y="625"/>
                  <a:pt x="25" y="649"/>
                </a:cubicBezTo>
                <a:cubicBezTo>
                  <a:pt x="51" y="675"/>
                  <a:pt x="51" y="700"/>
                  <a:pt x="51" y="700"/>
                </a:cubicBezTo>
                <a:cubicBezTo>
                  <a:pt x="51" y="700"/>
                  <a:pt x="51" y="725"/>
                  <a:pt x="76" y="749"/>
                </a:cubicBezTo>
                <a:lnTo>
                  <a:pt x="125" y="800"/>
                </a:lnTo>
                <a:cubicBezTo>
                  <a:pt x="125" y="800"/>
                  <a:pt x="125" y="825"/>
                  <a:pt x="151" y="825"/>
                </a:cubicBezTo>
                <a:lnTo>
                  <a:pt x="151" y="800"/>
                </a:lnTo>
                <a:cubicBezTo>
                  <a:pt x="176" y="775"/>
                  <a:pt x="176" y="749"/>
                  <a:pt x="176" y="749"/>
                </a:cubicBezTo>
                <a:cubicBezTo>
                  <a:pt x="225" y="725"/>
                  <a:pt x="225" y="725"/>
                  <a:pt x="225" y="725"/>
                </a:cubicBezTo>
                <a:cubicBezTo>
                  <a:pt x="251" y="725"/>
                  <a:pt x="251" y="725"/>
                  <a:pt x="251" y="725"/>
                </a:cubicBezTo>
                <a:cubicBezTo>
                  <a:pt x="351" y="725"/>
                  <a:pt x="351" y="725"/>
                  <a:pt x="351" y="725"/>
                </a:cubicBezTo>
                <a:cubicBezTo>
                  <a:pt x="351" y="675"/>
                  <a:pt x="351" y="675"/>
                  <a:pt x="351" y="675"/>
                </a:cubicBezTo>
                <a:cubicBezTo>
                  <a:pt x="351" y="675"/>
                  <a:pt x="401" y="600"/>
                  <a:pt x="451" y="600"/>
                </a:cubicBezTo>
                <a:cubicBezTo>
                  <a:pt x="476" y="600"/>
                  <a:pt x="525" y="649"/>
                  <a:pt x="525" y="649"/>
                </a:cubicBezTo>
                <a:cubicBezTo>
                  <a:pt x="701" y="675"/>
                  <a:pt x="701" y="675"/>
                  <a:pt x="701" y="675"/>
                </a:cubicBezTo>
                <a:cubicBezTo>
                  <a:pt x="701" y="675"/>
                  <a:pt x="701" y="625"/>
                  <a:pt x="725" y="600"/>
                </a:cubicBezTo>
                <a:cubicBezTo>
                  <a:pt x="751" y="600"/>
                  <a:pt x="776" y="625"/>
                  <a:pt x="801" y="600"/>
                </a:cubicBezTo>
                <a:cubicBezTo>
                  <a:pt x="825" y="600"/>
                  <a:pt x="851" y="575"/>
                  <a:pt x="901" y="575"/>
                </a:cubicBezTo>
                <a:cubicBezTo>
                  <a:pt x="925" y="575"/>
                  <a:pt x="951" y="600"/>
                  <a:pt x="976" y="575"/>
                </a:cubicBezTo>
                <a:cubicBezTo>
                  <a:pt x="1001" y="525"/>
                  <a:pt x="1076" y="575"/>
                  <a:pt x="1076" y="575"/>
                </a:cubicBezTo>
                <a:cubicBezTo>
                  <a:pt x="1151" y="575"/>
                  <a:pt x="1151" y="575"/>
                  <a:pt x="1151" y="575"/>
                </a:cubicBezTo>
                <a:cubicBezTo>
                  <a:pt x="1126" y="525"/>
                  <a:pt x="1126" y="525"/>
                  <a:pt x="1126" y="525"/>
                </a:cubicBezTo>
                <a:lnTo>
                  <a:pt x="1051" y="47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5" name="Freeform 19">
            <a:extLst>
              <a:ext uri="{FF2B5EF4-FFF2-40B4-BE49-F238E27FC236}">
                <a16:creationId xmlns:a16="http://schemas.microsoft.com/office/drawing/2014/main" id="{81BCBED6-0DBE-8447-8DD6-B7D9E69B50DB}"/>
              </a:ext>
            </a:extLst>
          </p:cNvPr>
          <p:cNvSpPr>
            <a:spLocks noChangeArrowheads="1"/>
          </p:cNvSpPr>
          <p:nvPr/>
        </p:nvSpPr>
        <p:spPr bwMode="auto">
          <a:xfrm>
            <a:off x="5852721" y="4414443"/>
            <a:ext cx="350155" cy="295311"/>
          </a:xfrm>
          <a:custGeom>
            <a:avLst/>
            <a:gdLst>
              <a:gd name="T0" fmla="*/ 676 w 1100"/>
              <a:gd name="T1" fmla="*/ 676 h 927"/>
              <a:gd name="T2" fmla="*/ 676 w 1100"/>
              <a:gd name="T3" fmla="*/ 676 h 927"/>
              <a:gd name="T4" fmla="*/ 725 w 1100"/>
              <a:gd name="T5" fmla="*/ 651 h 927"/>
              <a:gd name="T6" fmla="*/ 799 w 1100"/>
              <a:gd name="T7" fmla="*/ 700 h 927"/>
              <a:gd name="T8" fmla="*/ 850 w 1100"/>
              <a:gd name="T9" fmla="*/ 676 h 927"/>
              <a:gd name="T10" fmla="*/ 899 w 1100"/>
              <a:gd name="T11" fmla="*/ 526 h 927"/>
              <a:gd name="T12" fmla="*/ 950 w 1100"/>
              <a:gd name="T13" fmla="*/ 475 h 927"/>
              <a:gd name="T14" fmla="*/ 975 w 1100"/>
              <a:gd name="T15" fmla="*/ 426 h 927"/>
              <a:gd name="T16" fmla="*/ 999 w 1100"/>
              <a:gd name="T17" fmla="*/ 351 h 927"/>
              <a:gd name="T18" fmla="*/ 1049 w 1100"/>
              <a:gd name="T19" fmla="*/ 251 h 927"/>
              <a:gd name="T20" fmla="*/ 1099 w 1100"/>
              <a:gd name="T21" fmla="*/ 225 h 927"/>
              <a:gd name="T22" fmla="*/ 1099 w 1100"/>
              <a:gd name="T23" fmla="*/ 151 h 927"/>
              <a:gd name="T24" fmla="*/ 1049 w 1100"/>
              <a:gd name="T25" fmla="*/ 126 h 927"/>
              <a:gd name="T26" fmla="*/ 1049 w 1100"/>
              <a:gd name="T27" fmla="*/ 75 h 927"/>
              <a:gd name="T28" fmla="*/ 1024 w 1100"/>
              <a:gd name="T29" fmla="*/ 26 h 927"/>
              <a:gd name="T30" fmla="*/ 999 w 1100"/>
              <a:gd name="T31" fmla="*/ 26 h 927"/>
              <a:gd name="T32" fmla="*/ 924 w 1100"/>
              <a:gd name="T33" fmla="*/ 75 h 927"/>
              <a:gd name="T34" fmla="*/ 850 w 1100"/>
              <a:gd name="T35" fmla="*/ 51 h 927"/>
              <a:gd name="T36" fmla="*/ 725 w 1100"/>
              <a:gd name="T37" fmla="*/ 51 h 927"/>
              <a:gd name="T38" fmla="*/ 651 w 1100"/>
              <a:gd name="T39" fmla="*/ 100 h 927"/>
              <a:gd name="T40" fmla="*/ 576 w 1100"/>
              <a:gd name="T41" fmla="*/ 100 h 927"/>
              <a:gd name="T42" fmla="*/ 500 w 1100"/>
              <a:gd name="T43" fmla="*/ 51 h 927"/>
              <a:gd name="T44" fmla="*/ 425 w 1100"/>
              <a:gd name="T45" fmla="*/ 75 h 927"/>
              <a:gd name="T46" fmla="*/ 376 w 1100"/>
              <a:gd name="T47" fmla="*/ 26 h 927"/>
              <a:gd name="T48" fmla="*/ 300 w 1100"/>
              <a:gd name="T49" fmla="*/ 0 h 927"/>
              <a:gd name="T50" fmla="*/ 225 w 1100"/>
              <a:gd name="T51" fmla="*/ 26 h 927"/>
              <a:gd name="T52" fmla="*/ 151 w 1100"/>
              <a:gd name="T53" fmla="*/ 26 h 927"/>
              <a:gd name="T54" fmla="*/ 125 w 1100"/>
              <a:gd name="T55" fmla="*/ 100 h 927"/>
              <a:gd name="T56" fmla="*/ 75 w 1100"/>
              <a:gd name="T57" fmla="*/ 175 h 927"/>
              <a:gd name="T58" fmla="*/ 75 w 1100"/>
              <a:gd name="T59" fmla="*/ 175 h 927"/>
              <a:gd name="T60" fmla="*/ 75 w 1100"/>
              <a:gd name="T61" fmla="*/ 251 h 927"/>
              <a:gd name="T62" fmla="*/ 75 w 1100"/>
              <a:gd name="T63" fmla="*/ 375 h 927"/>
              <a:gd name="T64" fmla="*/ 51 w 1100"/>
              <a:gd name="T65" fmla="*/ 451 h 927"/>
              <a:gd name="T66" fmla="*/ 0 w 1100"/>
              <a:gd name="T67" fmla="*/ 500 h 927"/>
              <a:gd name="T68" fmla="*/ 0 w 1100"/>
              <a:gd name="T69" fmla="*/ 626 h 927"/>
              <a:gd name="T70" fmla="*/ 25 w 1100"/>
              <a:gd name="T71" fmla="*/ 700 h 927"/>
              <a:gd name="T72" fmla="*/ 25 w 1100"/>
              <a:gd name="T73" fmla="*/ 700 h 927"/>
              <a:gd name="T74" fmla="*/ 175 w 1100"/>
              <a:gd name="T75" fmla="*/ 726 h 927"/>
              <a:gd name="T76" fmla="*/ 251 w 1100"/>
              <a:gd name="T77" fmla="*/ 826 h 927"/>
              <a:gd name="T78" fmla="*/ 300 w 1100"/>
              <a:gd name="T79" fmla="*/ 900 h 927"/>
              <a:gd name="T80" fmla="*/ 400 w 1100"/>
              <a:gd name="T81" fmla="*/ 876 h 927"/>
              <a:gd name="T82" fmla="*/ 525 w 1100"/>
              <a:gd name="T83" fmla="*/ 876 h 927"/>
              <a:gd name="T84" fmla="*/ 551 w 1100"/>
              <a:gd name="T85" fmla="*/ 876 h 927"/>
              <a:gd name="T86" fmla="*/ 576 w 1100"/>
              <a:gd name="T87" fmla="*/ 776 h 927"/>
              <a:gd name="T88" fmla="*/ 676 w 1100"/>
              <a:gd name="T89" fmla="*/ 676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0" h="927">
                <a:moveTo>
                  <a:pt x="676" y="676"/>
                </a:moveTo>
                <a:lnTo>
                  <a:pt x="676" y="676"/>
                </a:lnTo>
                <a:cubicBezTo>
                  <a:pt x="700" y="676"/>
                  <a:pt x="725" y="676"/>
                  <a:pt x="725" y="651"/>
                </a:cubicBezTo>
                <a:cubicBezTo>
                  <a:pt x="751" y="651"/>
                  <a:pt x="799" y="676"/>
                  <a:pt x="799" y="700"/>
                </a:cubicBezTo>
                <a:cubicBezTo>
                  <a:pt x="799" y="726"/>
                  <a:pt x="824" y="700"/>
                  <a:pt x="850" y="676"/>
                </a:cubicBezTo>
                <a:cubicBezTo>
                  <a:pt x="850" y="626"/>
                  <a:pt x="899" y="551"/>
                  <a:pt x="899" y="526"/>
                </a:cubicBezTo>
                <a:cubicBezTo>
                  <a:pt x="899" y="500"/>
                  <a:pt x="950" y="475"/>
                  <a:pt x="950" y="475"/>
                </a:cubicBezTo>
                <a:cubicBezTo>
                  <a:pt x="950" y="451"/>
                  <a:pt x="950" y="426"/>
                  <a:pt x="975" y="426"/>
                </a:cubicBezTo>
                <a:cubicBezTo>
                  <a:pt x="975" y="400"/>
                  <a:pt x="999" y="375"/>
                  <a:pt x="999" y="351"/>
                </a:cubicBezTo>
                <a:cubicBezTo>
                  <a:pt x="975" y="351"/>
                  <a:pt x="1024" y="251"/>
                  <a:pt x="1049" y="251"/>
                </a:cubicBezTo>
                <a:cubicBezTo>
                  <a:pt x="1049" y="251"/>
                  <a:pt x="1099" y="251"/>
                  <a:pt x="1099" y="225"/>
                </a:cubicBezTo>
                <a:cubicBezTo>
                  <a:pt x="1099" y="200"/>
                  <a:pt x="1099" y="175"/>
                  <a:pt x="1099" y="151"/>
                </a:cubicBezTo>
                <a:cubicBezTo>
                  <a:pt x="1075" y="151"/>
                  <a:pt x="1049" y="126"/>
                  <a:pt x="1049" y="126"/>
                </a:cubicBezTo>
                <a:cubicBezTo>
                  <a:pt x="1049" y="126"/>
                  <a:pt x="1049" y="100"/>
                  <a:pt x="1049" y="75"/>
                </a:cubicBezTo>
                <a:cubicBezTo>
                  <a:pt x="1049" y="75"/>
                  <a:pt x="1049" y="51"/>
                  <a:pt x="1024" y="26"/>
                </a:cubicBezTo>
                <a:cubicBezTo>
                  <a:pt x="999" y="26"/>
                  <a:pt x="999" y="0"/>
                  <a:pt x="999" y="26"/>
                </a:cubicBezTo>
                <a:cubicBezTo>
                  <a:pt x="975" y="26"/>
                  <a:pt x="950" y="75"/>
                  <a:pt x="924" y="75"/>
                </a:cubicBezTo>
                <a:cubicBezTo>
                  <a:pt x="899" y="75"/>
                  <a:pt x="875" y="75"/>
                  <a:pt x="850" y="51"/>
                </a:cubicBezTo>
                <a:cubicBezTo>
                  <a:pt x="824" y="51"/>
                  <a:pt x="751" y="51"/>
                  <a:pt x="725" y="51"/>
                </a:cubicBezTo>
                <a:cubicBezTo>
                  <a:pt x="700" y="51"/>
                  <a:pt x="676" y="75"/>
                  <a:pt x="651" y="100"/>
                </a:cubicBezTo>
                <a:lnTo>
                  <a:pt x="576" y="100"/>
                </a:lnTo>
                <a:cubicBezTo>
                  <a:pt x="551" y="100"/>
                  <a:pt x="500" y="51"/>
                  <a:pt x="500" y="51"/>
                </a:cubicBezTo>
                <a:cubicBezTo>
                  <a:pt x="476" y="51"/>
                  <a:pt x="451" y="75"/>
                  <a:pt x="425" y="75"/>
                </a:cubicBezTo>
                <a:cubicBezTo>
                  <a:pt x="400" y="100"/>
                  <a:pt x="376" y="51"/>
                  <a:pt x="376" y="26"/>
                </a:cubicBezTo>
                <a:cubicBezTo>
                  <a:pt x="351" y="0"/>
                  <a:pt x="300" y="26"/>
                  <a:pt x="300" y="0"/>
                </a:cubicBezTo>
                <a:cubicBezTo>
                  <a:pt x="275" y="0"/>
                  <a:pt x="251" y="26"/>
                  <a:pt x="225" y="26"/>
                </a:cubicBezTo>
                <a:cubicBezTo>
                  <a:pt x="225" y="26"/>
                  <a:pt x="175" y="26"/>
                  <a:pt x="151" y="26"/>
                </a:cubicBezTo>
                <a:cubicBezTo>
                  <a:pt x="125" y="51"/>
                  <a:pt x="125" y="100"/>
                  <a:pt x="125" y="100"/>
                </a:cubicBezTo>
                <a:cubicBezTo>
                  <a:pt x="125" y="100"/>
                  <a:pt x="75" y="151"/>
                  <a:pt x="75" y="175"/>
                </a:cubicBezTo>
                <a:lnTo>
                  <a:pt x="75" y="175"/>
                </a:lnTo>
                <a:cubicBezTo>
                  <a:pt x="75" y="200"/>
                  <a:pt x="75" y="251"/>
                  <a:pt x="75" y="251"/>
                </a:cubicBezTo>
                <a:cubicBezTo>
                  <a:pt x="75" y="275"/>
                  <a:pt x="100" y="375"/>
                  <a:pt x="75" y="375"/>
                </a:cubicBezTo>
                <a:cubicBezTo>
                  <a:pt x="51" y="400"/>
                  <a:pt x="51" y="451"/>
                  <a:pt x="51" y="451"/>
                </a:cubicBezTo>
                <a:cubicBezTo>
                  <a:pt x="51" y="451"/>
                  <a:pt x="0" y="451"/>
                  <a:pt x="0" y="500"/>
                </a:cubicBezTo>
                <a:cubicBezTo>
                  <a:pt x="0" y="551"/>
                  <a:pt x="0" y="575"/>
                  <a:pt x="0" y="626"/>
                </a:cubicBezTo>
                <a:cubicBezTo>
                  <a:pt x="0" y="651"/>
                  <a:pt x="25" y="651"/>
                  <a:pt x="25" y="700"/>
                </a:cubicBezTo>
                <a:lnTo>
                  <a:pt x="25" y="700"/>
                </a:lnTo>
                <a:cubicBezTo>
                  <a:pt x="51" y="726"/>
                  <a:pt x="125" y="726"/>
                  <a:pt x="175" y="726"/>
                </a:cubicBezTo>
                <a:cubicBezTo>
                  <a:pt x="225" y="751"/>
                  <a:pt x="251" y="800"/>
                  <a:pt x="251" y="826"/>
                </a:cubicBezTo>
                <a:cubicBezTo>
                  <a:pt x="251" y="851"/>
                  <a:pt x="300" y="900"/>
                  <a:pt x="300" y="900"/>
                </a:cubicBezTo>
                <a:cubicBezTo>
                  <a:pt x="325" y="926"/>
                  <a:pt x="376" y="876"/>
                  <a:pt x="400" y="876"/>
                </a:cubicBezTo>
                <a:cubicBezTo>
                  <a:pt x="425" y="876"/>
                  <a:pt x="525" y="876"/>
                  <a:pt x="525" y="876"/>
                </a:cubicBezTo>
                <a:lnTo>
                  <a:pt x="551" y="876"/>
                </a:lnTo>
                <a:cubicBezTo>
                  <a:pt x="576" y="826"/>
                  <a:pt x="576" y="776"/>
                  <a:pt x="576" y="776"/>
                </a:cubicBezTo>
                <a:lnTo>
                  <a:pt x="676" y="676"/>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6" name="Freeform 20">
            <a:extLst>
              <a:ext uri="{FF2B5EF4-FFF2-40B4-BE49-F238E27FC236}">
                <a16:creationId xmlns:a16="http://schemas.microsoft.com/office/drawing/2014/main" id="{09A213AD-CA17-A341-AE46-E76E387028BA}"/>
              </a:ext>
            </a:extLst>
          </p:cNvPr>
          <p:cNvSpPr>
            <a:spLocks noChangeArrowheads="1"/>
          </p:cNvSpPr>
          <p:nvPr/>
        </p:nvSpPr>
        <p:spPr bwMode="auto">
          <a:xfrm>
            <a:off x="5789440" y="4453818"/>
            <a:ext cx="95624" cy="191249"/>
          </a:xfrm>
          <a:custGeom>
            <a:avLst/>
            <a:gdLst>
              <a:gd name="T0" fmla="*/ 200 w 301"/>
              <a:gd name="T1" fmla="*/ 374 h 601"/>
              <a:gd name="T2" fmla="*/ 200 w 301"/>
              <a:gd name="T3" fmla="*/ 374 h 601"/>
              <a:gd name="T4" fmla="*/ 251 w 301"/>
              <a:gd name="T5" fmla="*/ 325 h 601"/>
              <a:gd name="T6" fmla="*/ 275 w 301"/>
              <a:gd name="T7" fmla="*/ 249 h 601"/>
              <a:gd name="T8" fmla="*/ 275 w 301"/>
              <a:gd name="T9" fmla="*/ 125 h 601"/>
              <a:gd name="T10" fmla="*/ 275 w 301"/>
              <a:gd name="T11" fmla="*/ 49 h 601"/>
              <a:gd name="T12" fmla="*/ 251 w 301"/>
              <a:gd name="T13" fmla="*/ 49 h 601"/>
              <a:gd name="T14" fmla="*/ 225 w 301"/>
              <a:gd name="T15" fmla="*/ 25 h 601"/>
              <a:gd name="T16" fmla="*/ 175 w 301"/>
              <a:gd name="T17" fmla="*/ 49 h 601"/>
              <a:gd name="T18" fmla="*/ 151 w 301"/>
              <a:gd name="T19" fmla="*/ 99 h 601"/>
              <a:gd name="T20" fmla="*/ 75 w 301"/>
              <a:gd name="T21" fmla="*/ 125 h 601"/>
              <a:gd name="T22" fmla="*/ 25 w 301"/>
              <a:gd name="T23" fmla="*/ 149 h 601"/>
              <a:gd name="T24" fmla="*/ 0 w 301"/>
              <a:gd name="T25" fmla="*/ 149 h 601"/>
              <a:gd name="T26" fmla="*/ 51 w 301"/>
              <a:gd name="T27" fmla="*/ 249 h 601"/>
              <a:gd name="T28" fmla="*/ 75 w 301"/>
              <a:gd name="T29" fmla="*/ 300 h 601"/>
              <a:gd name="T30" fmla="*/ 100 w 301"/>
              <a:gd name="T31" fmla="*/ 425 h 601"/>
              <a:gd name="T32" fmla="*/ 100 w 301"/>
              <a:gd name="T33" fmla="*/ 600 h 601"/>
              <a:gd name="T34" fmla="*/ 175 w 301"/>
              <a:gd name="T35" fmla="*/ 574 h 601"/>
              <a:gd name="T36" fmla="*/ 225 w 301"/>
              <a:gd name="T37" fmla="*/ 574 h 601"/>
              <a:gd name="T38" fmla="*/ 200 w 301"/>
              <a:gd name="T39" fmla="*/ 500 h 601"/>
              <a:gd name="T40" fmla="*/ 200 w 301"/>
              <a:gd name="T41" fmla="*/ 37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1" h="601">
                <a:moveTo>
                  <a:pt x="200" y="374"/>
                </a:moveTo>
                <a:lnTo>
                  <a:pt x="200" y="374"/>
                </a:lnTo>
                <a:cubicBezTo>
                  <a:pt x="200" y="325"/>
                  <a:pt x="251" y="325"/>
                  <a:pt x="251" y="325"/>
                </a:cubicBezTo>
                <a:cubicBezTo>
                  <a:pt x="251" y="325"/>
                  <a:pt x="251" y="274"/>
                  <a:pt x="275" y="249"/>
                </a:cubicBezTo>
                <a:cubicBezTo>
                  <a:pt x="300" y="249"/>
                  <a:pt x="275" y="149"/>
                  <a:pt x="275" y="125"/>
                </a:cubicBezTo>
                <a:cubicBezTo>
                  <a:pt x="275" y="125"/>
                  <a:pt x="275" y="74"/>
                  <a:pt x="275" y="49"/>
                </a:cubicBezTo>
                <a:cubicBezTo>
                  <a:pt x="275" y="74"/>
                  <a:pt x="251" y="74"/>
                  <a:pt x="251" y="49"/>
                </a:cubicBezTo>
                <a:cubicBezTo>
                  <a:pt x="225" y="49"/>
                  <a:pt x="251" y="25"/>
                  <a:pt x="225" y="25"/>
                </a:cubicBezTo>
                <a:cubicBezTo>
                  <a:pt x="175" y="0"/>
                  <a:pt x="175" y="49"/>
                  <a:pt x="175" y="49"/>
                </a:cubicBezTo>
                <a:cubicBezTo>
                  <a:pt x="175" y="74"/>
                  <a:pt x="175" y="74"/>
                  <a:pt x="151" y="99"/>
                </a:cubicBezTo>
                <a:cubicBezTo>
                  <a:pt x="151" y="99"/>
                  <a:pt x="100" y="125"/>
                  <a:pt x="75" y="125"/>
                </a:cubicBezTo>
                <a:cubicBezTo>
                  <a:pt x="51" y="125"/>
                  <a:pt x="51" y="149"/>
                  <a:pt x="25" y="149"/>
                </a:cubicBezTo>
                <a:cubicBezTo>
                  <a:pt x="25" y="149"/>
                  <a:pt x="25" y="149"/>
                  <a:pt x="0" y="149"/>
                </a:cubicBezTo>
                <a:cubicBezTo>
                  <a:pt x="25" y="225"/>
                  <a:pt x="25" y="225"/>
                  <a:pt x="51" y="249"/>
                </a:cubicBezTo>
                <a:cubicBezTo>
                  <a:pt x="100" y="249"/>
                  <a:pt x="75" y="300"/>
                  <a:pt x="75" y="300"/>
                </a:cubicBezTo>
                <a:cubicBezTo>
                  <a:pt x="100" y="325"/>
                  <a:pt x="100" y="374"/>
                  <a:pt x="100" y="425"/>
                </a:cubicBezTo>
                <a:cubicBezTo>
                  <a:pt x="100" y="449"/>
                  <a:pt x="100" y="525"/>
                  <a:pt x="100" y="600"/>
                </a:cubicBezTo>
                <a:cubicBezTo>
                  <a:pt x="125" y="600"/>
                  <a:pt x="151" y="574"/>
                  <a:pt x="175" y="574"/>
                </a:cubicBezTo>
                <a:cubicBezTo>
                  <a:pt x="200" y="574"/>
                  <a:pt x="225" y="550"/>
                  <a:pt x="225" y="574"/>
                </a:cubicBezTo>
                <a:cubicBezTo>
                  <a:pt x="225" y="525"/>
                  <a:pt x="200" y="525"/>
                  <a:pt x="200" y="500"/>
                </a:cubicBezTo>
                <a:cubicBezTo>
                  <a:pt x="200" y="449"/>
                  <a:pt x="200" y="425"/>
                  <a:pt x="200" y="3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79" name="Freeform 21">
            <a:extLst>
              <a:ext uri="{FF2B5EF4-FFF2-40B4-BE49-F238E27FC236}">
                <a16:creationId xmlns:a16="http://schemas.microsoft.com/office/drawing/2014/main" id="{6D441FF0-0A79-7D4F-A237-6DAF478BBD05}"/>
              </a:ext>
            </a:extLst>
          </p:cNvPr>
          <p:cNvSpPr>
            <a:spLocks noChangeArrowheads="1"/>
          </p:cNvSpPr>
          <p:nvPr/>
        </p:nvSpPr>
        <p:spPr bwMode="auto">
          <a:xfrm>
            <a:off x="5765536" y="4493191"/>
            <a:ext cx="56249" cy="160312"/>
          </a:xfrm>
          <a:custGeom>
            <a:avLst/>
            <a:gdLst>
              <a:gd name="T0" fmla="*/ 150 w 176"/>
              <a:gd name="T1" fmla="*/ 175 h 501"/>
              <a:gd name="T2" fmla="*/ 150 w 176"/>
              <a:gd name="T3" fmla="*/ 175 h 501"/>
              <a:gd name="T4" fmla="*/ 126 w 176"/>
              <a:gd name="T5" fmla="*/ 124 h 501"/>
              <a:gd name="T6" fmla="*/ 75 w 176"/>
              <a:gd name="T7" fmla="*/ 24 h 501"/>
              <a:gd name="T8" fmla="*/ 25 w 176"/>
              <a:gd name="T9" fmla="*/ 24 h 501"/>
              <a:gd name="T10" fmla="*/ 0 w 176"/>
              <a:gd name="T11" fmla="*/ 24 h 501"/>
              <a:gd name="T12" fmla="*/ 25 w 176"/>
              <a:gd name="T13" fmla="*/ 74 h 501"/>
              <a:gd name="T14" fmla="*/ 50 w 176"/>
              <a:gd name="T15" fmla="*/ 124 h 501"/>
              <a:gd name="T16" fmla="*/ 50 w 176"/>
              <a:gd name="T17" fmla="*/ 275 h 501"/>
              <a:gd name="T18" fmla="*/ 75 w 176"/>
              <a:gd name="T19" fmla="*/ 400 h 501"/>
              <a:gd name="T20" fmla="*/ 100 w 176"/>
              <a:gd name="T21" fmla="*/ 500 h 501"/>
              <a:gd name="T22" fmla="*/ 126 w 176"/>
              <a:gd name="T23" fmla="*/ 500 h 501"/>
              <a:gd name="T24" fmla="*/ 175 w 176"/>
              <a:gd name="T25" fmla="*/ 475 h 501"/>
              <a:gd name="T26" fmla="*/ 175 w 176"/>
              <a:gd name="T27" fmla="*/ 300 h 501"/>
              <a:gd name="T28" fmla="*/ 150 w 176"/>
              <a:gd name="T29" fmla="*/ 17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501">
                <a:moveTo>
                  <a:pt x="150" y="175"/>
                </a:moveTo>
                <a:lnTo>
                  <a:pt x="150" y="175"/>
                </a:lnTo>
                <a:cubicBezTo>
                  <a:pt x="150" y="175"/>
                  <a:pt x="175" y="124"/>
                  <a:pt x="126" y="124"/>
                </a:cubicBezTo>
                <a:cubicBezTo>
                  <a:pt x="100" y="100"/>
                  <a:pt x="100" y="100"/>
                  <a:pt x="75" y="24"/>
                </a:cubicBezTo>
                <a:lnTo>
                  <a:pt x="25" y="24"/>
                </a:lnTo>
                <a:cubicBezTo>
                  <a:pt x="0" y="0"/>
                  <a:pt x="0" y="24"/>
                  <a:pt x="0" y="24"/>
                </a:cubicBezTo>
                <a:cubicBezTo>
                  <a:pt x="0" y="49"/>
                  <a:pt x="25" y="74"/>
                  <a:pt x="25" y="74"/>
                </a:cubicBezTo>
                <a:cubicBezTo>
                  <a:pt x="25" y="74"/>
                  <a:pt x="50" y="100"/>
                  <a:pt x="50" y="124"/>
                </a:cubicBezTo>
                <a:cubicBezTo>
                  <a:pt x="50" y="175"/>
                  <a:pt x="25" y="224"/>
                  <a:pt x="50" y="275"/>
                </a:cubicBezTo>
                <a:cubicBezTo>
                  <a:pt x="50" y="300"/>
                  <a:pt x="75" y="349"/>
                  <a:pt x="75" y="400"/>
                </a:cubicBezTo>
                <a:cubicBezTo>
                  <a:pt x="75" y="425"/>
                  <a:pt x="100" y="475"/>
                  <a:pt x="100" y="500"/>
                </a:cubicBezTo>
                <a:cubicBezTo>
                  <a:pt x="126" y="500"/>
                  <a:pt x="126" y="500"/>
                  <a:pt x="126" y="500"/>
                </a:cubicBezTo>
                <a:cubicBezTo>
                  <a:pt x="150" y="475"/>
                  <a:pt x="150" y="475"/>
                  <a:pt x="175" y="475"/>
                </a:cubicBezTo>
                <a:cubicBezTo>
                  <a:pt x="175" y="400"/>
                  <a:pt x="175" y="324"/>
                  <a:pt x="175" y="300"/>
                </a:cubicBezTo>
                <a:cubicBezTo>
                  <a:pt x="175" y="249"/>
                  <a:pt x="175" y="200"/>
                  <a:pt x="150" y="1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80" name="Freeform 22">
            <a:extLst>
              <a:ext uri="{FF2B5EF4-FFF2-40B4-BE49-F238E27FC236}">
                <a16:creationId xmlns:a16="http://schemas.microsoft.com/office/drawing/2014/main" id="{39471C27-5FD8-5840-967D-49480417A534}"/>
              </a:ext>
            </a:extLst>
          </p:cNvPr>
          <p:cNvSpPr>
            <a:spLocks noChangeArrowheads="1"/>
          </p:cNvSpPr>
          <p:nvPr/>
        </p:nvSpPr>
        <p:spPr bwMode="auto">
          <a:xfrm>
            <a:off x="6028501" y="4438349"/>
            <a:ext cx="223592" cy="343123"/>
          </a:xfrm>
          <a:custGeom>
            <a:avLst/>
            <a:gdLst>
              <a:gd name="T0" fmla="*/ 273 w 700"/>
              <a:gd name="T1" fmla="*/ 1025 h 1077"/>
              <a:gd name="T2" fmla="*/ 273 w 700"/>
              <a:gd name="T3" fmla="*/ 1025 h 1077"/>
              <a:gd name="T4" fmla="*/ 524 w 700"/>
              <a:gd name="T5" fmla="*/ 1025 h 1077"/>
              <a:gd name="T6" fmla="*/ 673 w 700"/>
              <a:gd name="T7" fmla="*/ 1076 h 1077"/>
              <a:gd name="T8" fmla="*/ 699 w 700"/>
              <a:gd name="T9" fmla="*/ 1001 h 1077"/>
              <a:gd name="T10" fmla="*/ 673 w 700"/>
              <a:gd name="T11" fmla="*/ 976 h 1077"/>
              <a:gd name="T12" fmla="*/ 624 w 700"/>
              <a:gd name="T13" fmla="*/ 925 h 1077"/>
              <a:gd name="T14" fmla="*/ 599 w 700"/>
              <a:gd name="T15" fmla="*/ 876 h 1077"/>
              <a:gd name="T16" fmla="*/ 573 w 700"/>
              <a:gd name="T17" fmla="*/ 825 h 1077"/>
              <a:gd name="T18" fmla="*/ 548 w 700"/>
              <a:gd name="T19" fmla="*/ 751 h 1077"/>
              <a:gd name="T20" fmla="*/ 548 w 700"/>
              <a:gd name="T21" fmla="*/ 676 h 1077"/>
              <a:gd name="T22" fmla="*/ 573 w 700"/>
              <a:gd name="T23" fmla="*/ 576 h 1077"/>
              <a:gd name="T24" fmla="*/ 624 w 700"/>
              <a:gd name="T25" fmla="*/ 525 h 1077"/>
              <a:gd name="T26" fmla="*/ 599 w 700"/>
              <a:gd name="T27" fmla="*/ 451 h 1077"/>
              <a:gd name="T28" fmla="*/ 524 w 700"/>
              <a:gd name="T29" fmla="*/ 376 h 1077"/>
              <a:gd name="T30" fmla="*/ 498 w 700"/>
              <a:gd name="T31" fmla="*/ 300 h 1077"/>
              <a:gd name="T32" fmla="*/ 573 w 700"/>
              <a:gd name="T33" fmla="*/ 300 h 1077"/>
              <a:gd name="T34" fmla="*/ 624 w 700"/>
              <a:gd name="T35" fmla="*/ 276 h 1077"/>
              <a:gd name="T36" fmla="*/ 573 w 700"/>
              <a:gd name="T37" fmla="*/ 176 h 1077"/>
              <a:gd name="T38" fmla="*/ 573 w 700"/>
              <a:gd name="T39" fmla="*/ 76 h 1077"/>
              <a:gd name="T40" fmla="*/ 524 w 700"/>
              <a:gd name="T41" fmla="*/ 0 h 1077"/>
              <a:gd name="T42" fmla="*/ 498 w 700"/>
              <a:gd name="T43" fmla="*/ 0 h 1077"/>
              <a:gd name="T44" fmla="*/ 498 w 700"/>
              <a:gd name="T45" fmla="*/ 51 h 1077"/>
              <a:gd name="T46" fmla="*/ 548 w 700"/>
              <a:gd name="T47" fmla="*/ 76 h 1077"/>
              <a:gd name="T48" fmla="*/ 548 w 700"/>
              <a:gd name="T49" fmla="*/ 150 h 1077"/>
              <a:gd name="T50" fmla="*/ 498 w 700"/>
              <a:gd name="T51" fmla="*/ 176 h 1077"/>
              <a:gd name="T52" fmla="*/ 448 w 700"/>
              <a:gd name="T53" fmla="*/ 276 h 1077"/>
              <a:gd name="T54" fmla="*/ 424 w 700"/>
              <a:gd name="T55" fmla="*/ 351 h 1077"/>
              <a:gd name="T56" fmla="*/ 399 w 700"/>
              <a:gd name="T57" fmla="*/ 400 h 1077"/>
              <a:gd name="T58" fmla="*/ 348 w 700"/>
              <a:gd name="T59" fmla="*/ 451 h 1077"/>
              <a:gd name="T60" fmla="*/ 299 w 700"/>
              <a:gd name="T61" fmla="*/ 601 h 1077"/>
              <a:gd name="T62" fmla="*/ 248 w 700"/>
              <a:gd name="T63" fmla="*/ 625 h 1077"/>
              <a:gd name="T64" fmla="*/ 174 w 700"/>
              <a:gd name="T65" fmla="*/ 576 h 1077"/>
              <a:gd name="T66" fmla="*/ 125 w 700"/>
              <a:gd name="T67" fmla="*/ 601 h 1077"/>
              <a:gd name="T68" fmla="*/ 25 w 700"/>
              <a:gd name="T69" fmla="*/ 701 h 1077"/>
              <a:gd name="T70" fmla="*/ 0 w 700"/>
              <a:gd name="T71" fmla="*/ 801 h 1077"/>
              <a:gd name="T72" fmla="*/ 25 w 700"/>
              <a:gd name="T73" fmla="*/ 851 h 1077"/>
              <a:gd name="T74" fmla="*/ 100 w 700"/>
              <a:gd name="T75" fmla="*/ 851 h 1077"/>
              <a:gd name="T76" fmla="*/ 125 w 700"/>
              <a:gd name="T77" fmla="*/ 951 h 1077"/>
              <a:gd name="T78" fmla="*/ 125 w 700"/>
              <a:gd name="T79" fmla="*/ 1025 h 1077"/>
              <a:gd name="T80" fmla="*/ 248 w 700"/>
              <a:gd name="T81" fmla="*/ 1025 h 1077"/>
              <a:gd name="T82" fmla="*/ 273 w 700"/>
              <a:gd name="T83" fmla="*/ 1025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0" h="1077">
                <a:moveTo>
                  <a:pt x="273" y="1025"/>
                </a:moveTo>
                <a:lnTo>
                  <a:pt x="273" y="1025"/>
                </a:lnTo>
                <a:cubicBezTo>
                  <a:pt x="273" y="1025"/>
                  <a:pt x="498" y="1025"/>
                  <a:pt x="524" y="1025"/>
                </a:cubicBezTo>
                <a:cubicBezTo>
                  <a:pt x="573" y="1025"/>
                  <a:pt x="673" y="1076"/>
                  <a:pt x="673" y="1076"/>
                </a:cubicBezTo>
                <a:cubicBezTo>
                  <a:pt x="673" y="1076"/>
                  <a:pt x="673" y="1025"/>
                  <a:pt x="699" y="1001"/>
                </a:cubicBezTo>
                <a:cubicBezTo>
                  <a:pt x="673" y="1001"/>
                  <a:pt x="673" y="976"/>
                  <a:pt x="673" y="976"/>
                </a:cubicBezTo>
                <a:lnTo>
                  <a:pt x="624" y="925"/>
                </a:lnTo>
                <a:cubicBezTo>
                  <a:pt x="599" y="901"/>
                  <a:pt x="599" y="876"/>
                  <a:pt x="599" y="876"/>
                </a:cubicBezTo>
                <a:cubicBezTo>
                  <a:pt x="599" y="876"/>
                  <a:pt x="599" y="851"/>
                  <a:pt x="573" y="825"/>
                </a:cubicBezTo>
                <a:cubicBezTo>
                  <a:pt x="548" y="801"/>
                  <a:pt x="548" y="801"/>
                  <a:pt x="548" y="751"/>
                </a:cubicBezTo>
                <a:cubicBezTo>
                  <a:pt x="548" y="725"/>
                  <a:pt x="548" y="701"/>
                  <a:pt x="548" y="676"/>
                </a:cubicBezTo>
                <a:cubicBezTo>
                  <a:pt x="548" y="651"/>
                  <a:pt x="573" y="625"/>
                  <a:pt x="573" y="576"/>
                </a:cubicBezTo>
                <a:cubicBezTo>
                  <a:pt x="599" y="551"/>
                  <a:pt x="624" y="551"/>
                  <a:pt x="624" y="525"/>
                </a:cubicBezTo>
                <a:cubicBezTo>
                  <a:pt x="624" y="500"/>
                  <a:pt x="624" y="476"/>
                  <a:pt x="599" y="451"/>
                </a:cubicBezTo>
                <a:cubicBezTo>
                  <a:pt x="599" y="425"/>
                  <a:pt x="573" y="400"/>
                  <a:pt x="524" y="376"/>
                </a:cubicBezTo>
                <a:cubicBezTo>
                  <a:pt x="498" y="351"/>
                  <a:pt x="498" y="325"/>
                  <a:pt x="498" y="300"/>
                </a:cubicBezTo>
                <a:cubicBezTo>
                  <a:pt x="498" y="300"/>
                  <a:pt x="548" y="300"/>
                  <a:pt x="573" y="300"/>
                </a:cubicBezTo>
                <a:cubicBezTo>
                  <a:pt x="624" y="300"/>
                  <a:pt x="648" y="300"/>
                  <a:pt x="624" y="276"/>
                </a:cubicBezTo>
                <a:cubicBezTo>
                  <a:pt x="599" y="276"/>
                  <a:pt x="573" y="225"/>
                  <a:pt x="573" y="176"/>
                </a:cubicBezTo>
                <a:cubicBezTo>
                  <a:pt x="599" y="125"/>
                  <a:pt x="573" y="100"/>
                  <a:pt x="573" y="76"/>
                </a:cubicBezTo>
                <a:cubicBezTo>
                  <a:pt x="573" y="51"/>
                  <a:pt x="548" y="0"/>
                  <a:pt x="524" y="0"/>
                </a:cubicBezTo>
                <a:cubicBezTo>
                  <a:pt x="524" y="0"/>
                  <a:pt x="524" y="0"/>
                  <a:pt x="498" y="0"/>
                </a:cubicBezTo>
                <a:cubicBezTo>
                  <a:pt x="498" y="25"/>
                  <a:pt x="498" y="51"/>
                  <a:pt x="498" y="51"/>
                </a:cubicBezTo>
                <a:cubicBezTo>
                  <a:pt x="498" y="51"/>
                  <a:pt x="524" y="76"/>
                  <a:pt x="548" y="76"/>
                </a:cubicBezTo>
                <a:cubicBezTo>
                  <a:pt x="548" y="100"/>
                  <a:pt x="548" y="125"/>
                  <a:pt x="548" y="150"/>
                </a:cubicBezTo>
                <a:cubicBezTo>
                  <a:pt x="548" y="176"/>
                  <a:pt x="498" y="176"/>
                  <a:pt x="498" y="176"/>
                </a:cubicBezTo>
                <a:cubicBezTo>
                  <a:pt x="473" y="176"/>
                  <a:pt x="424" y="276"/>
                  <a:pt x="448" y="276"/>
                </a:cubicBezTo>
                <a:cubicBezTo>
                  <a:pt x="448" y="300"/>
                  <a:pt x="424" y="325"/>
                  <a:pt x="424" y="351"/>
                </a:cubicBezTo>
                <a:cubicBezTo>
                  <a:pt x="399" y="351"/>
                  <a:pt x="399" y="376"/>
                  <a:pt x="399" y="400"/>
                </a:cubicBezTo>
                <a:cubicBezTo>
                  <a:pt x="399" y="400"/>
                  <a:pt x="348" y="425"/>
                  <a:pt x="348" y="451"/>
                </a:cubicBezTo>
                <a:cubicBezTo>
                  <a:pt x="348" y="476"/>
                  <a:pt x="299" y="551"/>
                  <a:pt x="299" y="601"/>
                </a:cubicBezTo>
                <a:cubicBezTo>
                  <a:pt x="273" y="625"/>
                  <a:pt x="248" y="651"/>
                  <a:pt x="248" y="625"/>
                </a:cubicBezTo>
                <a:cubicBezTo>
                  <a:pt x="248" y="601"/>
                  <a:pt x="200" y="576"/>
                  <a:pt x="174" y="576"/>
                </a:cubicBezTo>
                <a:cubicBezTo>
                  <a:pt x="174" y="601"/>
                  <a:pt x="149" y="601"/>
                  <a:pt x="125" y="601"/>
                </a:cubicBezTo>
                <a:lnTo>
                  <a:pt x="25" y="701"/>
                </a:lnTo>
                <a:cubicBezTo>
                  <a:pt x="25" y="701"/>
                  <a:pt x="25" y="751"/>
                  <a:pt x="0" y="801"/>
                </a:cubicBezTo>
                <a:cubicBezTo>
                  <a:pt x="0" y="801"/>
                  <a:pt x="25" y="825"/>
                  <a:pt x="25" y="851"/>
                </a:cubicBezTo>
                <a:cubicBezTo>
                  <a:pt x="49" y="876"/>
                  <a:pt x="100" y="851"/>
                  <a:pt x="100" y="851"/>
                </a:cubicBezTo>
                <a:cubicBezTo>
                  <a:pt x="125" y="876"/>
                  <a:pt x="149" y="925"/>
                  <a:pt x="125" y="951"/>
                </a:cubicBezTo>
                <a:cubicBezTo>
                  <a:pt x="125" y="976"/>
                  <a:pt x="100" y="1025"/>
                  <a:pt x="125" y="1025"/>
                </a:cubicBezTo>
                <a:cubicBezTo>
                  <a:pt x="248" y="1025"/>
                  <a:pt x="248" y="1025"/>
                  <a:pt x="248" y="1025"/>
                </a:cubicBezTo>
                <a:lnTo>
                  <a:pt x="273" y="10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81" name="Freeform 23">
            <a:extLst>
              <a:ext uri="{FF2B5EF4-FFF2-40B4-BE49-F238E27FC236}">
                <a16:creationId xmlns:a16="http://schemas.microsoft.com/office/drawing/2014/main" id="{6062E6E8-8CD2-2A45-804B-4E7230A27D55}"/>
              </a:ext>
            </a:extLst>
          </p:cNvPr>
          <p:cNvSpPr>
            <a:spLocks noChangeArrowheads="1"/>
          </p:cNvSpPr>
          <p:nvPr/>
        </p:nvSpPr>
        <p:spPr bwMode="auto">
          <a:xfrm>
            <a:off x="5511006" y="4510068"/>
            <a:ext cx="184217" cy="191249"/>
          </a:xfrm>
          <a:custGeom>
            <a:avLst/>
            <a:gdLst>
              <a:gd name="T0" fmla="*/ 550 w 576"/>
              <a:gd name="T1" fmla="*/ 500 h 601"/>
              <a:gd name="T2" fmla="*/ 550 w 576"/>
              <a:gd name="T3" fmla="*/ 500 h 601"/>
              <a:gd name="T4" fmla="*/ 500 w 576"/>
              <a:gd name="T5" fmla="*/ 400 h 601"/>
              <a:gd name="T6" fmla="*/ 550 w 576"/>
              <a:gd name="T7" fmla="*/ 300 h 601"/>
              <a:gd name="T8" fmla="*/ 575 w 576"/>
              <a:gd name="T9" fmla="*/ 251 h 601"/>
              <a:gd name="T10" fmla="*/ 550 w 576"/>
              <a:gd name="T11" fmla="*/ 100 h 601"/>
              <a:gd name="T12" fmla="*/ 526 w 576"/>
              <a:gd name="T13" fmla="*/ 75 h 601"/>
              <a:gd name="T14" fmla="*/ 425 w 576"/>
              <a:gd name="T15" fmla="*/ 100 h 601"/>
              <a:gd name="T16" fmla="*/ 325 w 576"/>
              <a:gd name="T17" fmla="*/ 51 h 601"/>
              <a:gd name="T18" fmla="*/ 250 w 576"/>
              <a:gd name="T19" fmla="*/ 25 h 601"/>
              <a:gd name="T20" fmla="*/ 225 w 576"/>
              <a:gd name="T21" fmla="*/ 25 h 601"/>
              <a:gd name="T22" fmla="*/ 175 w 576"/>
              <a:gd name="T23" fmla="*/ 25 h 601"/>
              <a:gd name="T24" fmla="*/ 125 w 576"/>
              <a:gd name="T25" fmla="*/ 51 h 601"/>
              <a:gd name="T26" fmla="*/ 75 w 576"/>
              <a:gd name="T27" fmla="*/ 51 h 601"/>
              <a:gd name="T28" fmla="*/ 50 w 576"/>
              <a:gd name="T29" fmla="*/ 51 h 601"/>
              <a:gd name="T30" fmla="*/ 50 w 576"/>
              <a:gd name="T31" fmla="*/ 126 h 601"/>
              <a:gd name="T32" fmla="*/ 75 w 576"/>
              <a:gd name="T33" fmla="*/ 175 h 601"/>
              <a:gd name="T34" fmla="*/ 75 w 576"/>
              <a:gd name="T35" fmla="*/ 226 h 601"/>
              <a:gd name="T36" fmla="*/ 50 w 576"/>
              <a:gd name="T37" fmla="*/ 226 h 601"/>
              <a:gd name="T38" fmla="*/ 50 w 576"/>
              <a:gd name="T39" fmla="*/ 300 h 601"/>
              <a:gd name="T40" fmla="*/ 25 w 576"/>
              <a:gd name="T41" fmla="*/ 351 h 601"/>
              <a:gd name="T42" fmla="*/ 0 w 576"/>
              <a:gd name="T43" fmla="*/ 400 h 601"/>
              <a:gd name="T44" fmla="*/ 50 w 576"/>
              <a:gd name="T45" fmla="*/ 426 h 601"/>
              <a:gd name="T46" fmla="*/ 125 w 576"/>
              <a:gd name="T47" fmla="*/ 500 h 601"/>
              <a:gd name="T48" fmla="*/ 75 w 576"/>
              <a:gd name="T49" fmla="*/ 600 h 601"/>
              <a:gd name="T50" fmla="*/ 375 w 576"/>
              <a:gd name="T51" fmla="*/ 526 h 601"/>
              <a:gd name="T52" fmla="*/ 550 w 576"/>
              <a:gd name="T53" fmla="*/ 551 h 601"/>
              <a:gd name="T54" fmla="*/ 550 w 576"/>
              <a:gd name="T55" fmla="*/ 50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6" h="601">
                <a:moveTo>
                  <a:pt x="550" y="500"/>
                </a:moveTo>
                <a:lnTo>
                  <a:pt x="550" y="500"/>
                </a:lnTo>
                <a:cubicBezTo>
                  <a:pt x="526" y="476"/>
                  <a:pt x="500" y="400"/>
                  <a:pt x="500" y="400"/>
                </a:cubicBezTo>
                <a:cubicBezTo>
                  <a:pt x="500" y="376"/>
                  <a:pt x="550" y="326"/>
                  <a:pt x="550" y="300"/>
                </a:cubicBezTo>
                <a:cubicBezTo>
                  <a:pt x="550" y="275"/>
                  <a:pt x="575" y="251"/>
                  <a:pt x="575" y="251"/>
                </a:cubicBezTo>
                <a:cubicBezTo>
                  <a:pt x="575" y="226"/>
                  <a:pt x="575" y="151"/>
                  <a:pt x="550" y="100"/>
                </a:cubicBezTo>
                <a:cubicBezTo>
                  <a:pt x="550" y="100"/>
                  <a:pt x="526" y="100"/>
                  <a:pt x="526" y="75"/>
                </a:cubicBezTo>
                <a:cubicBezTo>
                  <a:pt x="500" y="75"/>
                  <a:pt x="450" y="75"/>
                  <a:pt x="425" y="100"/>
                </a:cubicBezTo>
                <a:cubicBezTo>
                  <a:pt x="400" y="126"/>
                  <a:pt x="350" y="75"/>
                  <a:pt x="325" y="51"/>
                </a:cubicBezTo>
                <a:cubicBezTo>
                  <a:pt x="325" y="51"/>
                  <a:pt x="300" y="25"/>
                  <a:pt x="250" y="25"/>
                </a:cubicBezTo>
                <a:cubicBezTo>
                  <a:pt x="225" y="51"/>
                  <a:pt x="225" y="51"/>
                  <a:pt x="225" y="25"/>
                </a:cubicBezTo>
                <a:cubicBezTo>
                  <a:pt x="225" y="0"/>
                  <a:pt x="175" y="0"/>
                  <a:pt x="175" y="25"/>
                </a:cubicBezTo>
                <a:cubicBezTo>
                  <a:pt x="175" y="51"/>
                  <a:pt x="150" y="75"/>
                  <a:pt x="125" y="51"/>
                </a:cubicBezTo>
                <a:cubicBezTo>
                  <a:pt x="125" y="51"/>
                  <a:pt x="100" y="25"/>
                  <a:pt x="75" y="51"/>
                </a:cubicBezTo>
                <a:lnTo>
                  <a:pt x="50" y="51"/>
                </a:lnTo>
                <a:cubicBezTo>
                  <a:pt x="50" y="75"/>
                  <a:pt x="25" y="126"/>
                  <a:pt x="50" y="126"/>
                </a:cubicBezTo>
                <a:cubicBezTo>
                  <a:pt x="75" y="126"/>
                  <a:pt x="75" y="151"/>
                  <a:pt x="75" y="175"/>
                </a:cubicBezTo>
                <a:cubicBezTo>
                  <a:pt x="50" y="175"/>
                  <a:pt x="100" y="200"/>
                  <a:pt x="75" y="226"/>
                </a:cubicBezTo>
                <a:cubicBezTo>
                  <a:pt x="75" y="251"/>
                  <a:pt x="50" y="200"/>
                  <a:pt x="50" y="226"/>
                </a:cubicBezTo>
                <a:cubicBezTo>
                  <a:pt x="25" y="251"/>
                  <a:pt x="50" y="275"/>
                  <a:pt x="50" y="300"/>
                </a:cubicBezTo>
                <a:cubicBezTo>
                  <a:pt x="25" y="300"/>
                  <a:pt x="25" y="300"/>
                  <a:pt x="25" y="351"/>
                </a:cubicBezTo>
                <a:cubicBezTo>
                  <a:pt x="25" y="376"/>
                  <a:pt x="25" y="400"/>
                  <a:pt x="0" y="400"/>
                </a:cubicBezTo>
                <a:cubicBezTo>
                  <a:pt x="0" y="426"/>
                  <a:pt x="0" y="426"/>
                  <a:pt x="50" y="426"/>
                </a:cubicBezTo>
                <a:cubicBezTo>
                  <a:pt x="75" y="451"/>
                  <a:pt x="125" y="476"/>
                  <a:pt x="125" y="500"/>
                </a:cubicBezTo>
                <a:cubicBezTo>
                  <a:pt x="100" y="526"/>
                  <a:pt x="100" y="551"/>
                  <a:pt x="75" y="600"/>
                </a:cubicBezTo>
                <a:cubicBezTo>
                  <a:pt x="150" y="600"/>
                  <a:pt x="250" y="551"/>
                  <a:pt x="375" y="526"/>
                </a:cubicBezTo>
                <a:cubicBezTo>
                  <a:pt x="450" y="526"/>
                  <a:pt x="500" y="526"/>
                  <a:pt x="550" y="551"/>
                </a:cubicBezTo>
                <a:cubicBezTo>
                  <a:pt x="550" y="526"/>
                  <a:pt x="550" y="500"/>
                  <a:pt x="550" y="5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83" name="Freeform 24">
            <a:extLst>
              <a:ext uri="{FF2B5EF4-FFF2-40B4-BE49-F238E27FC236}">
                <a16:creationId xmlns:a16="http://schemas.microsoft.com/office/drawing/2014/main" id="{D2A90322-0E10-9449-89A9-774E12E52D49}"/>
              </a:ext>
            </a:extLst>
          </p:cNvPr>
          <p:cNvSpPr>
            <a:spLocks noChangeArrowheads="1"/>
          </p:cNvSpPr>
          <p:nvPr/>
        </p:nvSpPr>
        <p:spPr bwMode="auto">
          <a:xfrm>
            <a:off x="5669909" y="4501628"/>
            <a:ext cx="127968" cy="192656"/>
          </a:xfrm>
          <a:custGeom>
            <a:avLst/>
            <a:gdLst>
              <a:gd name="T0" fmla="*/ 350 w 401"/>
              <a:gd name="T1" fmla="*/ 251 h 602"/>
              <a:gd name="T2" fmla="*/ 350 w 401"/>
              <a:gd name="T3" fmla="*/ 251 h 602"/>
              <a:gd name="T4" fmla="*/ 350 w 401"/>
              <a:gd name="T5" fmla="*/ 100 h 602"/>
              <a:gd name="T6" fmla="*/ 325 w 401"/>
              <a:gd name="T7" fmla="*/ 50 h 602"/>
              <a:gd name="T8" fmla="*/ 300 w 401"/>
              <a:gd name="T9" fmla="*/ 0 h 602"/>
              <a:gd name="T10" fmla="*/ 275 w 401"/>
              <a:gd name="T11" fmla="*/ 25 h 602"/>
              <a:gd name="T12" fmla="*/ 50 w 401"/>
              <a:gd name="T13" fmla="*/ 0 h 602"/>
              <a:gd name="T14" fmla="*/ 50 w 401"/>
              <a:gd name="T15" fmla="*/ 100 h 602"/>
              <a:gd name="T16" fmla="*/ 50 w 401"/>
              <a:gd name="T17" fmla="*/ 125 h 602"/>
              <a:gd name="T18" fmla="*/ 75 w 401"/>
              <a:gd name="T19" fmla="*/ 276 h 602"/>
              <a:gd name="T20" fmla="*/ 50 w 401"/>
              <a:gd name="T21" fmla="*/ 325 h 602"/>
              <a:gd name="T22" fmla="*/ 0 w 401"/>
              <a:gd name="T23" fmla="*/ 425 h 602"/>
              <a:gd name="T24" fmla="*/ 50 w 401"/>
              <a:gd name="T25" fmla="*/ 525 h 602"/>
              <a:gd name="T26" fmla="*/ 50 w 401"/>
              <a:gd name="T27" fmla="*/ 576 h 602"/>
              <a:gd name="T28" fmla="*/ 125 w 401"/>
              <a:gd name="T29" fmla="*/ 601 h 602"/>
              <a:gd name="T30" fmla="*/ 300 w 401"/>
              <a:gd name="T31" fmla="*/ 525 h 602"/>
              <a:gd name="T32" fmla="*/ 400 w 401"/>
              <a:gd name="T33" fmla="*/ 476 h 602"/>
              <a:gd name="T34" fmla="*/ 375 w 401"/>
              <a:gd name="T35" fmla="*/ 376 h 602"/>
              <a:gd name="T36" fmla="*/ 350 w 401"/>
              <a:gd name="T37" fmla="*/ 25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602">
                <a:moveTo>
                  <a:pt x="350" y="251"/>
                </a:moveTo>
                <a:lnTo>
                  <a:pt x="350" y="251"/>
                </a:lnTo>
                <a:cubicBezTo>
                  <a:pt x="325" y="200"/>
                  <a:pt x="350" y="151"/>
                  <a:pt x="350" y="100"/>
                </a:cubicBezTo>
                <a:cubicBezTo>
                  <a:pt x="350" y="76"/>
                  <a:pt x="325" y="50"/>
                  <a:pt x="325" y="50"/>
                </a:cubicBezTo>
                <a:cubicBezTo>
                  <a:pt x="325" y="50"/>
                  <a:pt x="300" y="25"/>
                  <a:pt x="300" y="0"/>
                </a:cubicBezTo>
                <a:cubicBezTo>
                  <a:pt x="275" y="0"/>
                  <a:pt x="275" y="25"/>
                  <a:pt x="275" y="25"/>
                </a:cubicBezTo>
                <a:cubicBezTo>
                  <a:pt x="275" y="0"/>
                  <a:pt x="50" y="0"/>
                  <a:pt x="50" y="0"/>
                </a:cubicBezTo>
                <a:cubicBezTo>
                  <a:pt x="26" y="25"/>
                  <a:pt x="50" y="76"/>
                  <a:pt x="50" y="100"/>
                </a:cubicBezTo>
                <a:lnTo>
                  <a:pt x="50" y="125"/>
                </a:lnTo>
                <a:cubicBezTo>
                  <a:pt x="75" y="176"/>
                  <a:pt x="75" y="251"/>
                  <a:pt x="75" y="276"/>
                </a:cubicBezTo>
                <a:cubicBezTo>
                  <a:pt x="75" y="276"/>
                  <a:pt x="50" y="300"/>
                  <a:pt x="50" y="325"/>
                </a:cubicBezTo>
                <a:cubicBezTo>
                  <a:pt x="50" y="351"/>
                  <a:pt x="0" y="401"/>
                  <a:pt x="0" y="425"/>
                </a:cubicBezTo>
                <a:cubicBezTo>
                  <a:pt x="0" y="425"/>
                  <a:pt x="26" y="501"/>
                  <a:pt x="50" y="525"/>
                </a:cubicBezTo>
                <a:cubicBezTo>
                  <a:pt x="50" y="525"/>
                  <a:pt x="50" y="551"/>
                  <a:pt x="50" y="576"/>
                </a:cubicBezTo>
                <a:cubicBezTo>
                  <a:pt x="75" y="576"/>
                  <a:pt x="100" y="601"/>
                  <a:pt x="125" y="601"/>
                </a:cubicBezTo>
                <a:cubicBezTo>
                  <a:pt x="125" y="601"/>
                  <a:pt x="250" y="551"/>
                  <a:pt x="300" y="525"/>
                </a:cubicBezTo>
                <a:cubicBezTo>
                  <a:pt x="325" y="501"/>
                  <a:pt x="375" y="501"/>
                  <a:pt x="400" y="476"/>
                </a:cubicBezTo>
                <a:cubicBezTo>
                  <a:pt x="400" y="451"/>
                  <a:pt x="375" y="401"/>
                  <a:pt x="375" y="376"/>
                </a:cubicBezTo>
                <a:cubicBezTo>
                  <a:pt x="375" y="325"/>
                  <a:pt x="350" y="276"/>
                  <a:pt x="350" y="2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87" name="Freeform 25">
            <a:extLst>
              <a:ext uri="{FF2B5EF4-FFF2-40B4-BE49-F238E27FC236}">
                <a16:creationId xmlns:a16="http://schemas.microsoft.com/office/drawing/2014/main" id="{C1138F56-C82F-564E-A3DA-A61757145A41}"/>
              </a:ext>
            </a:extLst>
          </p:cNvPr>
          <p:cNvSpPr>
            <a:spLocks noChangeArrowheads="1"/>
          </p:cNvSpPr>
          <p:nvPr/>
        </p:nvSpPr>
        <p:spPr bwMode="auto">
          <a:xfrm>
            <a:off x="5311320" y="4453818"/>
            <a:ext cx="232029" cy="167343"/>
          </a:xfrm>
          <a:custGeom>
            <a:avLst/>
            <a:gdLst>
              <a:gd name="T0" fmla="*/ 250 w 726"/>
              <a:gd name="T1" fmla="*/ 274 h 526"/>
              <a:gd name="T2" fmla="*/ 250 w 726"/>
              <a:gd name="T3" fmla="*/ 274 h 526"/>
              <a:gd name="T4" fmla="*/ 300 w 726"/>
              <a:gd name="T5" fmla="*/ 274 h 526"/>
              <a:gd name="T6" fmla="*/ 350 w 726"/>
              <a:gd name="T7" fmla="*/ 249 h 526"/>
              <a:gd name="T8" fmla="*/ 425 w 726"/>
              <a:gd name="T9" fmla="*/ 349 h 526"/>
              <a:gd name="T10" fmla="*/ 450 w 726"/>
              <a:gd name="T11" fmla="*/ 400 h 526"/>
              <a:gd name="T12" fmla="*/ 450 w 726"/>
              <a:gd name="T13" fmla="*/ 400 h 526"/>
              <a:gd name="T14" fmla="*/ 525 w 726"/>
              <a:gd name="T15" fmla="*/ 400 h 526"/>
              <a:gd name="T16" fmla="*/ 550 w 726"/>
              <a:gd name="T17" fmla="*/ 474 h 526"/>
              <a:gd name="T18" fmla="*/ 600 w 726"/>
              <a:gd name="T19" fmla="*/ 500 h 526"/>
              <a:gd name="T20" fmla="*/ 625 w 726"/>
              <a:gd name="T21" fmla="*/ 474 h 526"/>
              <a:gd name="T22" fmla="*/ 650 w 726"/>
              <a:gd name="T23" fmla="*/ 500 h 526"/>
              <a:gd name="T24" fmla="*/ 675 w 726"/>
              <a:gd name="T25" fmla="*/ 474 h 526"/>
              <a:gd name="T26" fmla="*/ 675 w 726"/>
              <a:gd name="T27" fmla="*/ 400 h 526"/>
              <a:gd name="T28" fmla="*/ 700 w 726"/>
              <a:gd name="T29" fmla="*/ 400 h 526"/>
              <a:gd name="T30" fmla="*/ 700 w 726"/>
              <a:gd name="T31" fmla="*/ 349 h 526"/>
              <a:gd name="T32" fmla="*/ 675 w 726"/>
              <a:gd name="T33" fmla="*/ 300 h 526"/>
              <a:gd name="T34" fmla="*/ 675 w 726"/>
              <a:gd name="T35" fmla="*/ 225 h 526"/>
              <a:gd name="T36" fmla="*/ 650 w 726"/>
              <a:gd name="T37" fmla="*/ 199 h 526"/>
              <a:gd name="T38" fmla="*/ 650 w 726"/>
              <a:gd name="T39" fmla="*/ 149 h 526"/>
              <a:gd name="T40" fmla="*/ 650 w 726"/>
              <a:gd name="T41" fmla="*/ 125 h 526"/>
              <a:gd name="T42" fmla="*/ 600 w 726"/>
              <a:gd name="T43" fmla="*/ 74 h 526"/>
              <a:gd name="T44" fmla="*/ 575 w 726"/>
              <a:gd name="T45" fmla="*/ 0 h 526"/>
              <a:gd name="T46" fmla="*/ 500 w 726"/>
              <a:gd name="T47" fmla="*/ 49 h 526"/>
              <a:gd name="T48" fmla="*/ 450 w 726"/>
              <a:gd name="T49" fmla="*/ 49 h 526"/>
              <a:gd name="T50" fmla="*/ 375 w 726"/>
              <a:gd name="T51" fmla="*/ 49 h 526"/>
              <a:gd name="T52" fmla="*/ 350 w 726"/>
              <a:gd name="T53" fmla="*/ 25 h 526"/>
              <a:gd name="T54" fmla="*/ 350 w 726"/>
              <a:gd name="T55" fmla="*/ 25 h 526"/>
              <a:gd name="T56" fmla="*/ 350 w 726"/>
              <a:gd name="T57" fmla="*/ 25 h 526"/>
              <a:gd name="T58" fmla="*/ 200 w 726"/>
              <a:gd name="T59" fmla="*/ 25 h 526"/>
              <a:gd name="T60" fmla="*/ 150 w 726"/>
              <a:gd name="T61" fmla="*/ 0 h 526"/>
              <a:gd name="T62" fmla="*/ 125 w 726"/>
              <a:gd name="T63" fmla="*/ 25 h 526"/>
              <a:gd name="T64" fmla="*/ 125 w 726"/>
              <a:gd name="T65" fmla="*/ 74 h 526"/>
              <a:gd name="T66" fmla="*/ 100 w 726"/>
              <a:gd name="T67" fmla="*/ 99 h 526"/>
              <a:gd name="T68" fmla="*/ 25 w 726"/>
              <a:gd name="T69" fmla="*/ 125 h 526"/>
              <a:gd name="T70" fmla="*/ 0 w 726"/>
              <a:gd name="T71" fmla="*/ 149 h 526"/>
              <a:gd name="T72" fmla="*/ 75 w 726"/>
              <a:gd name="T73" fmla="*/ 225 h 526"/>
              <a:gd name="T74" fmla="*/ 175 w 726"/>
              <a:gd name="T75" fmla="*/ 349 h 526"/>
              <a:gd name="T76" fmla="*/ 250 w 726"/>
              <a:gd name="T77" fmla="*/ 27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6" h="526">
                <a:moveTo>
                  <a:pt x="250" y="274"/>
                </a:moveTo>
                <a:lnTo>
                  <a:pt x="250" y="274"/>
                </a:lnTo>
                <a:cubicBezTo>
                  <a:pt x="250" y="249"/>
                  <a:pt x="275" y="249"/>
                  <a:pt x="300" y="274"/>
                </a:cubicBezTo>
                <a:cubicBezTo>
                  <a:pt x="325" y="274"/>
                  <a:pt x="350" y="249"/>
                  <a:pt x="350" y="249"/>
                </a:cubicBezTo>
                <a:cubicBezTo>
                  <a:pt x="375" y="249"/>
                  <a:pt x="425" y="325"/>
                  <a:pt x="425" y="349"/>
                </a:cubicBezTo>
                <a:cubicBezTo>
                  <a:pt x="425" y="374"/>
                  <a:pt x="450" y="374"/>
                  <a:pt x="450" y="400"/>
                </a:cubicBezTo>
                <a:lnTo>
                  <a:pt x="450" y="400"/>
                </a:lnTo>
                <a:cubicBezTo>
                  <a:pt x="475" y="400"/>
                  <a:pt x="525" y="400"/>
                  <a:pt x="525" y="400"/>
                </a:cubicBezTo>
                <a:cubicBezTo>
                  <a:pt x="525" y="400"/>
                  <a:pt x="550" y="449"/>
                  <a:pt x="550" y="474"/>
                </a:cubicBezTo>
                <a:cubicBezTo>
                  <a:pt x="550" y="500"/>
                  <a:pt x="575" y="525"/>
                  <a:pt x="600" y="500"/>
                </a:cubicBezTo>
                <a:cubicBezTo>
                  <a:pt x="600" y="474"/>
                  <a:pt x="625" y="449"/>
                  <a:pt x="625" y="474"/>
                </a:cubicBezTo>
                <a:cubicBezTo>
                  <a:pt x="625" y="474"/>
                  <a:pt x="625" y="474"/>
                  <a:pt x="650" y="500"/>
                </a:cubicBezTo>
                <a:cubicBezTo>
                  <a:pt x="650" y="474"/>
                  <a:pt x="675" y="474"/>
                  <a:pt x="675" y="474"/>
                </a:cubicBezTo>
                <a:cubicBezTo>
                  <a:pt x="675" y="449"/>
                  <a:pt x="650" y="425"/>
                  <a:pt x="675" y="400"/>
                </a:cubicBezTo>
                <a:cubicBezTo>
                  <a:pt x="675" y="374"/>
                  <a:pt x="700" y="425"/>
                  <a:pt x="700" y="400"/>
                </a:cubicBezTo>
                <a:cubicBezTo>
                  <a:pt x="725" y="374"/>
                  <a:pt x="675" y="349"/>
                  <a:pt x="700" y="349"/>
                </a:cubicBezTo>
                <a:cubicBezTo>
                  <a:pt x="700" y="325"/>
                  <a:pt x="700" y="300"/>
                  <a:pt x="675" y="300"/>
                </a:cubicBezTo>
                <a:cubicBezTo>
                  <a:pt x="650" y="300"/>
                  <a:pt x="675" y="249"/>
                  <a:pt x="675" y="225"/>
                </a:cubicBezTo>
                <a:cubicBezTo>
                  <a:pt x="675" y="225"/>
                  <a:pt x="675" y="225"/>
                  <a:pt x="650" y="199"/>
                </a:cubicBezTo>
                <a:lnTo>
                  <a:pt x="650" y="149"/>
                </a:lnTo>
                <a:cubicBezTo>
                  <a:pt x="625" y="149"/>
                  <a:pt x="625" y="125"/>
                  <a:pt x="650" y="125"/>
                </a:cubicBezTo>
                <a:cubicBezTo>
                  <a:pt x="650" y="125"/>
                  <a:pt x="600" y="99"/>
                  <a:pt x="600" y="74"/>
                </a:cubicBezTo>
                <a:cubicBezTo>
                  <a:pt x="600" y="49"/>
                  <a:pt x="575" y="25"/>
                  <a:pt x="575" y="0"/>
                </a:cubicBezTo>
                <a:cubicBezTo>
                  <a:pt x="550" y="0"/>
                  <a:pt x="525" y="49"/>
                  <a:pt x="500" y="49"/>
                </a:cubicBezTo>
                <a:cubicBezTo>
                  <a:pt x="475" y="49"/>
                  <a:pt x="450" y="25"/>
                  <a:pt x="450" y="49"/>
                </a:cubicBezTo>
                <a:cubicBezTo>
                  <a:pt x="425" y="74"/>
                  <a:pt x="400" y="49"/>
                  <a:pt x="375" y="49"/>
                </a:cubicBezTo>
                <a:cubicBezTo>
                  <a:pt x="375" y="74"/>
                  <a:pt x="350" y="25"/>
                  <a:pt x="350" y="25"/>
                </a:cubicBezTo>
                <a:lnTo>
                  <a:pt x="350" y="25"/>
                </a:lnTo>
                <a:lnTo>
                  <a:pt x="350" y="25"/>
                </a:lnTo>
                <a:cubicBezTo>
                  <a:pt x="300" y="49"/>
                  <a:pt x="225" y="25"/>
                  <a:pt x="200" y="25"/>
                </a:cubicBezTo>
                <a:cubicBezTo>
                  <a:pt x="200" y="0"/>
                  <a:pt x="150" y="0"/>
                  <a:pt x="150" y="0"/>
                </a:cubicBezTo>
                <a:cubicBezTo>
                  <a:pt x="150" y="0"/>
                  <a:pt x="150" y="25"/>
                  <a:pt x="125" y="25"/>
                </a:cubicBezTo>
                <a:cubicBezTo>
                  <a:pt x="100" y="49"/>
                  <a:pt x="125" y="74"/>
                  <a:pt x="125" y="74"/>
                </a:cubicBezTo>
                <a:lnTo>
                  <a:pt x="100" y="99"/>
                </a:lnTo>
                <a:cubicBezTo>
                  <a:pt x="75" y="74"/>
                  <a:pt x="50" y="125"/>
                  <a:pt x="25" y="125"/>
                </a:cubicBezTo>
                <a:cubicBezTo>
                  <a:pt x="25" y="125"/>
                  <a:pt x="25" y="149"/>
                  <a:pt x="0" y="149"/>
                </a:cubicBezTo>
                <a:cubicBezTo>
                  <a:pt x="50" y="174"/>
                  <a:pt x="50" y="199"/>
                  <a:pt x="75" y="225"/>
                </a:cubicBezTo>
                <a:cubicBezTo>
                  <a:pt x="100" y="249"/>
                  <a:pt x="150" y="300"/>
                  <a:pt x="175" y="349"/>
                </a:cubicBezTo>
                <a:cubicBezTo>
                  <a:pt x="200" y="325"/>
                  <a:pt x="250" y="300"/>
                  <a:pt x="250" y="2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91" name="Freeform 26">
            <a:extLst>
              <a:ext uri="{FF2B5EF4-FFF2-40B4-BE49-F238E27FC236}">
                <a16:creationId xmlns:a16="http://schemas.microsoft.com/office/drawing/2014/main" id="{6A71B2F3-BEFE-0946-AD73-3CFAA5404F96}"/>
              </a:ext>
            </a:extLst>
          </p:cNvPr>
          <p:cNvSpPr>
            <a:spLocks noChangeArrowheads="1"/>
          </p:cNvSpPr>
          <p:nvPr/>
        </p:nvSpPr>
        <p:spPr bwMode="auto">
          <a:xfrm>
            <a:off x="5422411" y="4581785"/>
            <a:ext cx="127968" cy="119531"/>
          </a:xfrm>
          <a:custGeom>
            <a:avLst/>
            <a:gdLst>
              <a:gd name="T0" fmla="*/ 325 w 401"/>
              <a:gd name="T1" fmla="*/ 200 h 375"/>
              <a:gd name="T2" fmla="*/ 325 w 401"/>
              <a:gd name="T3" fmla="*/ 200 h 375"/>
              <a:gd name="T4" fmla="*/ 275 w 401"/>
              <a:gd name="T5" fmla="*/ 174 h 375"/>
              <a:gd name="T6" fmla="*/ 300 w 401"/>
              <a:gd name="T7" fmla="*/ 125 h 375"/>
              <a:gd name="T8" fmla="*/ 300 w 401"/>
              <a:gd name="T9" fmla="*/ 100 h 375"/>
              <a:gd name="T10" fmla="*/ 275 w 401"/>
              <a:gd name="T11" fmla="*/ 74 h 375"/>
              <a:gd name="T12" fmla="*/ 250 w 401"/>
              <a:gd name="T13" fmla="*/ 100 h 375"/>
              <a:gd name="T14" fmla="*/ 200 w 401"/>
              <a:gd name="T15" fmla="*/ 74 h 375"/>
              <a:gd name="T16" fmla="*/ 175 w 401"/>
              <a:gd name="T17" fmla="*/ 0 h 375"/>
              <a:gd name="T18" fmla="*/ 100 w 401"/>
              <a:gd name="T19" fmla="*/ 0 h 375"/>
              <a:gd name="T20" fmla="*/ 100 w 401"/>
              <a:gd name="T21" fmla="*/ 49 h 375"/>
              <a:gd name="T22" fmla="*/ 25 w 401"/>
              <a:gd name="T23" fmla="*/ 125 h 375"/>
              <a:gd name="T24" fmla="*/ 0 w 401"/>
              <a:gd name="T25" fmla="*/ 150 h 375"/>
              <a:gd name="T26" fmla="*/ 125 w 401"/>
              <a:gd name="T27" fmla="*/ 225 h 375"/>
              <a:gd name="T28" fmla="*/ 350 w 401"/>
              <a:gd name="T29" fmla="*/ 374 h 375"/>
              <a:gd name="T30" fmla="*/ 350 w 401"/>
              <a:gd name="T31" fmla="*/ 374 h 375"/>
              <a:gd name="T32" fmla="*/ 400 w 401"/>
              <a:gd name="T33" fmla="*/ 274 h 375"/>
              <a:gd name="T34" fmla="*/ 325 w 401"/>
              <a:gd name="T35" fmla="*/ 20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1" h="375">
                <a:moveTo>
                  <a:pt x="325" y="200"/>
                </a:moveTo>
                <a:lnTo>
                  <a:pt x="325" y="200"/>
                </a:lnTo>
                <a:cubicBezTo>
                  <a:pt x="275" y="200"/>
                  <a:pt x="275" y="200"/>
                  <a:pt x="275" y="174"/>
                </a:cubicBezTo>
                <a:cubicBezTo>
                  <a:pt x="300" y="174"/>
                  <a:pt x="300" y="150"/>
                  <a:pt x="300" y="125"/>
                </a:cubicBezTo>
                <a:cubicBezTo>
                  <a:pt x="300" y="100"/>
                  <a:pt x="300" y="100"/>
                  <a:pt x="300" y="100"/>
                </a:cubicBezTo>
                <a:cubicBezTo>
                  <a:pt x="275" y="74"/>
                  <a:pt x="275" y="74"/>
                  <a:pt x="275" y="74"/>
                </a:cubicBezTo>
                <a:cubicBezTo>
                  <a:pt x="275" y="49"/>
                  <a:pt x="250" y="74"/>
                  <a:pt x="250" y="100"/>
                </a:cubicBezTo>
                <a:cubicBezTo>
                  <a:pt x="225" y="125"/>
                  <a:pt x="200" y="100"/>
                  <a:pt x="200" y="74"/>
                </a:cubicBezTo>
                <a:cubicBezTo>
                  <a:pt x="200" y="49"/>
                  <a:pt x="175" y="0"/>
                  <a:pt x="175" y="0"/>
                </a:cubicBezTo>
                <a:cubicBezTo>
                  <a:pt x="175" y="0"/>
                  <a:pt x="125" y="0"/>
                  <a:pt x="100" y="0"/>
                </a:cubicBezTo>
                <a:cubicBezTo>
                  <a:pt x="100" y="25"/>
                  <a:pt x="100" y="25"/>
                  <a:pt x="100" y="49"/>
                </a:cubicBezTo>
                <a:cubicBezTo>
                  <a:pt x="100" y="74"/>
                  <a:pt x="50" y="100"/>
                  <a:pt x="25" y="125"/>
                </a:cubicBezTo>
                <a:cubicBezTo>
                  <a:pt x="0" y="125"/>
                  <a:pt x="0" y="125"/>
                  <a:pt x="0" y="150"/>
                </a:cubicBezTo>
                <a:cubicBezTo>
                  <a:pt x="25" y="174"/>
                  <a:pt x="75" y="200"/>
                  <a:pt x="125" y="225"/>
                </a:cubicBezTo>
                <a:cubicBezTo>
                  <a:pt x="175" y="274"/>
                  <a:pt x="300" y="350"/>
                  <a:pt x="350" y="374"/>
                </a:cubicBezTo>
                <a:lnTo>
                  <a:pt x="350" y="374"/>
                </a:lnTo>
                <a:cubicBezTo>
                  <a:pt x="375" y="325"/>
                  <a:pt x="375" y="300"/>
                  <a:pt x="400" y="274"/>
                </a:cubicBezTo>
                <a:cubicBezTo>
                  <a:pt x="400" y="250"/>
                  <a:pt x="350" y="225"/>
                  <a:pt x="325"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94" name="Freeform 27">
            <a:extLst>
              <a:ext uri="{FF2B5EF4-FFF2-40B4-BE49-F238E27FC236}">
                <a16:creationId xmlns:a16="http://schemas.microsoft.com/office/drawing/2014/main" id="{973223D1-1297-0149-8E1F-51D597120134}"/>
              </a:ext>
            </a:extLst>
          </p:cNvPr>
          <p:cNvSpPr>
            <a:spLocks noChangeArrowheads="1"/>
          </p:cNvSpPr>
          <p:nvPr/>
        </p:nvSpPr>
        <p:spPr bwMode="auto">
          <a:xfrm>
            <a:off x="5367570" y="4533972"/>
            <a:ext cx="88593" cy="95624"/>
          </a:xfrm>
          <a:custGeom>
            <a:avLst/>
            <a:gdLst>
              <a:gd name="T0" fmla="*/ 275 w 276"/>
              <a:gd name="T1" fmla="*/ 200 h 302"/>
              <a:gd name="T2" fmla="*/ 275 w 276"/>
              <a:gd name="T3" fmla="*/ 200 h 302"/>
              <a:gd name="T4" fmla="*/ 275 w 276"/>
              <a:gd name="T5" fmla="*/ 151 h 302"/>
              <a:gd name="T6" fmla="*/ 250 w 276"/>
              <a:gd name="T7" fmla="*/ 100 h 302"/>
              <a:gd name="T8" fmla="*/ 175 w 276"/>
              <a:gd name="T9" fmla="*/ 0 h 302"/>
              <a:gd name="T10" fmla="*/ 125 w 276"/>
              <a:gd name="T11" fmla="*/ 25 h 302"/>
              <a:gd name="T12" fmla="*/ 75 w 276"/>
              <a:gd name="T13" fmla="*/ 25 h 302"/>
              <a:gd name="T14" fmla="*/ 0 w 276"/>
              <a:gd name="T15" fmla="*/ 100 h 302"/>
              <a:gd name="T16" fmla="*/ 25 w 276"/>
              <a:gd name="T17" fmla="*/ 125 h 302"/>
              <a:gd name="T18" fmla="*/ 100 w 276"/>
              <a:gd name="T19" fmla="*/ 251 h 302"/>
              <a:gd name="T20" fmla="*/ 175 w 276"/>
              <a:gd name="T21" fmla="*/ 301 h 302"/>
              <a:gd name="T22" fmla="*/ 200 w 276"/>
              <a:gd name="T23" fmla="*/ 276 h 302"/>
              <a:gd name="T24" fmla="*/ 275 w 276"/>
              <a:gd name="T25" fmla="*/ 20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302">
                <a:moveTo>
                  <a:pt x="275" y="200"/>
                </a:moveTo>
                <a:lnTo>
                  <a:pt x="275" y="200"/>
                </a:lnTo>
                <a:cubicBezTo>
                  <a:pt x="275" y="176"/>
                  <a:pt x="275" y="176"/>
                  <a:pt x="275" y="151"/>
                </a:cubicBezTo>
                <a:cubicBezTo>
                  <a:pt x="275" y="125"/>
                  <a:pt x="250" y="125"/>
                  <a:pt x="250" y="100"/>
                </a:cubicBezTo>
                <a:cubicBezTo>
                  <a:pt x="250" y="76"/>
                  <a:pt x="200" y="0"/>
                  <a:pt x="175" y="0"/>
                </a:cubicBezTo>
                <a:cubicBezTo>
                  <a:pt x="175" y="0"/>
                  <a:pt x="150" y="25"/>
                  <a:pt x="125" y="25"/>
                </a:cubicBezTo>
                <a:cubicBezTo>
                  <a:pt x="100" y="0"/>
                  <a:pt x="75" y="0"/>
                  <a:pt x="75" y="25"/>
                </a:cubicBezTo>
                <a:cubicBezTo>
                  <a:pt x="75" y="51"/>
                  <a:pt x="25" y="76"/>
                  <a:pt x="0" y="100"/>
                </a:cubicBezTo>
                <a:cubicBezTo>
                  <a:pt x="25" y="100"/>
                  <a:pt x="25" y="125"/>
                  <a:pt x="25" y="125"/>
                </a:cubicBezTo>
                <a:cubicBezTo>
                  <a:pt x="50" y="200"/>
                  <a:pt x="75" y="225"/>
                  <a:pt x="100" y="251"/>
                </a:cubicBezTo>
                <a:cubicBezTo>
                  <a:pt x="100" y="251"/>
                  <a:pt x="150" y="276"/>
                  <a:pt x="175" y="301"/>
                </a:cubicBezTo>
                <a:cubicBezTo>
                  <a:pt x="175" y="276"/>
                  <a:pt x="175" y="276"/>
                  <a:pt x="200" y="276"/>
                </a:cubicBezTo>
                <a:cubicBezTo>
                  <a:pt x="225" y="251"/>
                  <a:pt x="275" y="225"/>
                  <a:pt x="275"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95" name="Freeform 28">
            <a:extLst>
              <a:ext uri="{FF2B5EF4-FFF2-40B4-BE49-F238E27FC236}">
                <a16:creationId xmlns:a16="http://schemas.microsoft.com/office/drawing/2014/main" id="{729E9ECE-1BA9-E04E-8882-145A0D908A79}"/>
              </a:ext>
            </a:extLst>
          </p:cNvPr>
          <p:cNvSpPr>
            <a:spLocks noChangeArrowheads="1"/>
          </p:cNvSpPr>
          <p:nvPr/>
        </p:nvSpPr>
        <p:spPr bwMode="auto">
          <a:xfrm>
            <a:off x="5255068" y="3975695"/>
            <a:ext cx="255936" cy="206717"/>
          </a:xfrm>
          <a:custGeom>
            <a:avLst/>
            <a:gdLst>
              <a:gd name="T0" fmla="*/ 375 w 801"/>
              <a:gd name="T1" fmla="*/ 499 h 649"/>
              <a:gd name="T2" fmla="*/ 375 w 801"/>
              <a:gd name="T3" fmla="*/ 499 h 649"/>
              <a:gd name="T4" fmla="*/ 475 w 801"/>
              <a:gd name="T5" fmla="*/ 423 h 649"/>
              <a:gd name="T6" fmla="*/ 475 w 801"/>
              <a:gd name="T7" fmla="*/ 174 h 649"/>
              <a:gd name="T8" fmla="*/ 800 w 801"/>
              <a:gd name="T9" fmla="*/ 174 h 649"/>
              <a:gd name="T10" fmla="*/ 800 w 801"/>
              <a:gd name="T11" fmla="*/ 49 h 649"/>
              <a:gd name="T12" fmla="*/ 725 w 801"/>
              <a:gd name="T13" fmla="*/ 0 h 649"/>
              <a:gd name="T14" fmla="*/ 375 w 801"/>
              <a:gd name="T15" fmla="*/ 0 h 649"/>
              <a:gd name="T16" fmla="*/ 325 w 801"/>
              <a:gd name="T17" fmla="*/ 100 h 649"/>
              <a:gd name="T18" fmla="*/ 200 w 801"/>
              <a:gd name="T19" fmla="*/ 273 h 649"/>
              <a:gd name="T20" fmla="*/ 25 w 801"/>
              <a:gd name="T21" fmla="*/ 548 h 649"/>
              <a:gd name="T22" fmla="*/ 0 w 801"/>
              <a:gd name="T23" fmla="*/ 648 h 649"/>
              <a:gd name="T24" fmla="*/ 375 w 801"/>
              <a:gd name="T25" fmla="*/ 648 h 649"/>
              <a:gd name="T26" fmla="*/ 375 w 801"/>
              <a:gd name="T27" fmla="*/ 49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1" h="649">
                <a:moveTo>
                  <a:pt x="375" y="499"/>
                </a:moveTo>
                <a:lnTo>
                  <a:pt x="375" y="499"/>
                </a:lnTo>
                <a:cubicBezTo>
                  <a:pt x="375" y="473"/>
                  <a:pt x="475" y="448"/>
                  <a:pt x="475" y="423"/>
                </a:cubicBezTo>
                <a:cubicBezTo>
                  <a:pt x="475" y="399"/>
                  <a:pt x="475" y="174"/>
                  <a:pt x="475" y="174"/>
                </a:cubicBezTo>
                <a:cubicBezTo>
                  <a:pt x="475" y="174"/>
                  <a:pt x="775" y="174"/>
                  <a:pt x="800" y="174"/>
                </a:cubicBezTo>
                <a:cubicBezTo>
                  <a:pt x="800" y="174"/>
                  <a:pt x="800" y="100"/>
                  <a:pt x="800" y="49"/>
                </a:cubicBezTo>
                <a:cubicBezTo>
                  <a:pt x="775" y="24"/>
                  <a:pt x="800" y="0"/>
                  <a:pt x="725" y="0"/>
                </a:cubicBezTo>
                <a:cubicBezTo>
                  <a:pt x="675" y="0"/>
                  <a:pt x="500" y="0"/>
                  <a:pt x="375" y="0"/>
                </a:cubicBezTo>
                <a:cubicBezTo>
                  <a:pt x="350" y="24"/>
                  <a:pt x="325" y="74"/>
                  <a:pt x="325" y="100"/>
                </a:cubicBezTo>
                <a:cubicBezTo>
                  <a:pt x="300" y="149"/>
                  <a:pt x="200" y="200"/>
                  <a:pt x="200" y="273"/>
                </a:cubicBezTo>
                <a:cubicBezTo>
                  <a:pt x="200" y="323"/>
                  <a:pt x="100" y="423"/>
                  <a:pt x="25" y="548"/>
                </a:cubicBezTo>
                <a:cubicBezTo>
                  <a:pt x="25" y="599"/>
                  <a:pt x="0" y="623"/>
                  <a:pt x="0" y="648"/>
                </a:cubicBezTo>
                <a:cubicBezTo>
                  <a:pt x="375" y="648"/>
                  <a:pt x="375" y="648"/>
                  <a:pt x="375" y="648"/>
                </a:cubicBezTo>
                <a:cubicBezTo>
                  <a:pt x="375" y="648"/>
                  <a:pt x="375" y="523"/>
                  <a:pt x="375" y="49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98" name="Freeform 29">
            <a:extLst>
              <a:ext uri="{FF2B5EF4-FFF2-40B4-BE49-F238E27FC236}">
                <a16:creationId xmlns:a16="http://schemas.microsoft.com/office/drawing/2014/main" id="{53DC8AAB-50D6-6C4B-9BDD-23A4F1EBBE1C}"/>
              </a:ext>
            </a:extLst>
          </p:cNvPr>
          <p:cNvSpPr>
            <a:spLocks noChangeArrowheads="1"/>
          </p:cNvSpPr>
          <p:nvPr/>
        </p:nvSpPr>
        <p:spPr bwMode="auto">
          <a:xfrm>
            <a:off x="5255070" y="3991163"/>
            <a:ext cx="367028" cy="399372"/>
          </a:xfrm>
          <a:custGeom>
            <a:avLst/>
            <a:gdLst>
              <a:gd name="T0" fmla="*/ 100 w 1151"/>
              <a:gd name="T1" fmla="*/ 1075 h 1251"/>
              <a:gd name="T2" fmla="*/ 100 w 1151"/>
              <a:gd name="T3" fmla="*/ 1075 h 1251"/>
              <a:gd name="T4" fmla="*/ 175 w 1151"/>
              <a:gd name="T5" fmla="*/ 1075 h 1251"/>
              <a:gd name="T6" fmla="*/ 250 w 1151"/>
              <a:gd name="T7" fmla="*/ 1075 h 1251"/>
              <a:gd name="T8" fmla="*/ 300 w 1151"/>
              <a:gd name="T9" fmla="*/ 1124 h 1251"/>
              <a:gd name="T10" fmla="*/ 325 w 1151"/>
              <a:gd name="T11" fmla="*/ 1124 h 1251"/>
              <a:gd name="T12" fmla="*/ 400 w 1151"/>
              <a:gd name="T13" fmla="*/ 1199 h 1251"/>
              <a:gd name="T14" fmla="*/ 450 w 1151"/>
              <a:gd name="T15" fmla="*/ 1250 h 1251"/>
              <a:gd name="T16" fmla="*/ 500 w 1151"/>
              <a:gd name="T17" fmla="*/ 1224 h 1251"/>
              <a:gd name="T18" fmla="*/ 550 w 1151"/>
              <a:gd name="T19" fmla="*/ 1199 h 1251"/>
              <a:gd name="T20" fmla="*/ 600 w 1151"/>
              <a:gd name="T21" fmla="*/ 1175 h 1251"/>
              <a:gd name="T22" fmla="*/ 675 w 1151"/>
              <a:gd name="T23" fmla="*/ 1199 h 1251"/>
              <a:gd name="T24" fmla="*/ 725 w 1151"/>
              <a:gd name="T25" fmla="*/ 1175 h 1251"/>
              <a:gd name="T26" fmla="*/ 1100 w 1151"/>
              <a:gd name="T27" fmla="*/ 1175 h 1251"/>
              <a:gd name="T28" fmla="*/ 1100 w 1151"/>
              <a:gd name="T29" fmla="*/ 1075 h 1251"/>
              <a:gd name="T30" fmla="*/ 1075 w 1151"/>
              <a:gd name="T31" fmla="*/ 1050 h 1251"/>
              <a:gd name="T32" fmla="*/ 975 w 1151"/>
              <a:gd name="T33" fmla="*/ 224 h 1251"/>
              <a:gd name="T34" fmla="*/ 1150 w 1151"/>
              <a:gd name="T35" fmla="*/ 224 h 1251"/>
              <a:gd name="T36" fmla="*/ 800 w 1151"/>
              <a:gd name="T37" fmla="*/ 0 h 1251"/>
              <a:gd name="T38" fmla="*/ 800 w 1151"/>
              <a:gd name="T39" fmla="*/ 0 h 1251"/>
              <a:gd name="T40" fmla="*/ 800 w 1151"/>
              <a:gd name="T41" fmla="*/ 125 h 1251"/>
              <a:gd name="T42" fmla="*/ 475 w 1151"/>
              <a:gd name="T43" fmla="*/ 125 h 1251"/>
              <a:gd name="T44" fmla="*/ 475 w 1151"/>
              <a:gd name="T45" fmla="*/ 374 h 1251"/>
              <a:gd name="T46" fmla="*/ 375 w 1151"/>
              <a:gd name="T47" fmla="*/ 450 h 1251"/>
              <a:gd name="T48" fmla="*/ 375 w 1151"/>
              <a:gd name="T49" fmla="*/ 599 h 1251"/>
              <a:gd name="T50" fmla="*/ 0 w 1151"/>
              <a:gd name="T51" fmla="*/ 599 h 1251"/>
              <a:gd name="T52" fmla="*/ 50 w 1151"/>
              <a:gd name="T53" fmla="*/ 699 h 1251"/>
              <a:gd name="T54" fmla="*/ 75 w 1151"/>
              <a:gd name="T55" fmla="*/ 850 h 1251"/>
              <a:gd name="T56" fmla="*/ 50 w 1151"/>
              <a:gd name="T57" fmla="*/ 1050 h 1251"/>
              <a:gd name="T58" fmla="*/ 25 w 1151"/>
              <a:gd name="T59" fmla="*/ 1124 h 1251"/>
              <a:gd name="T60" fmla="*/ 25 w 1151"/>
              <a:gd name="T61" fmla="*/ 1124 h 1251"/>
              <a:gd name="T62" fmla="*/ 100 w 1151"/>
              <a:gd name="T63" fmla="*/ 1075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1" h="1251">
                <a:moveTo>
                  <a:pt x="100" y="1075"/>
                </a:moveTo>
                <a:lnTo>
                  <a:pt x="100" y="1075"/>
                </a:lnTo>
                <a:cubicBezTo>
                  <a:pt x="124" y="1075"/>
                  <a:pt x="175" y="1075"/>
                  <a:pt x="175" y="1075"/>
                </a:cubicBezTo>
                <a:cubicBezTo>
                  <a:pt x="175" y="1075"/>
                  <a:pt x="225" y="1050"/>
                  <a:pt x="250" y="1075"/>
                </a:cubicBezTo>
                <a:cubicBezTo>
                  <a:pt x="275" y="1075"/>
                  <a:pt x="300" y="1124"/>
                  <a:pt x="300" y="1124"/>
                </a:cubicBezTo>
                <a:cubicBezTo>
                  <a:pt x="325" y="1124"/>
                  <a:pt x="325" y="1124"/>
                  <a:pt x="325" y="1124"/>
                </a:cubicBezTo>
                <a:cubicBezTo>
                  <a:pt x="325" y="1124"/>
                  <a:pt x="350" y="1175"/>
                  <a:pt x="400" y="1199"/>
                </a:cubicBezTo>
                <a:cubicBezTo>
                  <a:pt x="425" y="1199"/>
                  <a:pt x="425" y="1224"/>
                  <a:pt x="450" y="1250"/>
                </a:cubicBezTo>
                <a:cubicBezTo>
                  <a:pt x="475" y="1250"/>
                  <a:pt x="500" y="1224"/>
                  <a:pt x="500" y="1224"/>
                </a:cubicBezTo>
                <a:cubicBezTo>
                  <a:pt x="500" y="1199"/>
                  <a:pt x="500" y="1150"/>
                  <a:pt x="550" y="1199"/>
                </a:cubicBezTo>
                <a:cubicBezTo>
                  <a:pt x="600" y="1224"/>
                  <a:pt x="600" y="1199"/>
                  <a:pt x="600" y="1175"/>
                </a:cubicBezTo>
                <a:cubicBezTo>
                  <a:pt x="600" y="1175"/>
                  <a:pt x="650" y="1199"/>
                  <a:pt x="675" y="1199"/>
                </a:cubicBezTo>
                <a:cubicBezTo>
                  <a:pt x="700" y="1199"/>
                  <a:pt x="725" y="1175"/>
                  <a:pt x="725" y="1175"/>
                </a:cubicBezTo>
                <a:cubicBezTo>
                  <a:pt x="725" y="1175"/>
                  <a:pt x="1075" y="1175"/>
                  <a:pt x="1100" y="1175"/>
                </a:cubicBezTo>
                <a:cubicBezTo>
                  <a:pt x="1100" y="1150"/>
                  <a:pt x="1100" y="1075"/>
                  <a:pt x="1100" y="1075"/>
                </a:cubicBezTo>
                <a:cubicBezTo>
                  <a:pt x="1075" y="1050"/>
                  <a:pt x="1075" y="1050"/>
                  <a:pt x="1075" y="1050"/>
                </a:cubicBezTo>
                <a:cubicBezTo>
                  <a:pt x="975" y="224"/>
                  <a:pt x="975" y="224"/>
                  <a:pt x="975" y="224"/>
                </a:cubicBezTo>
                <a:cubicBezTo>
                  <a:pt x="1150" y="224"/>
                  <a:pt x="1150" y="224"/>
                  <a:pt x="1150" y="224"/>
                </a:cubicBezTo>
                <a:cubicBezTo>
                  <a:pt x="975" y="125"/>
                  <a:pt x="825" y="25"/>
                  <a:pt x="800" y="0"/>
                </a:cubicBezTo>
                <a:lnTo>
                  <a:pt x="800" y="0"/>
                </a:lnTo>
                <a:cubicBezTo>
                  <a:pt x="800" y="51"/>
                  <a:pt x="800" y="125"/>
                  <a:pt x="800" y="125"/>
                </a:cubicBezTo>
                <a:cubicBezTo>
                  <a:pt x="775" y="125"/>
                  <a:pt x="475" y="125"/>
                  <a:pt x="475" y="125"/>
                </a:cubicBezTo>
                <a:cubicBezTo>
                  <a:pt x="475" y="125"/>
                  <a:pt x="475" y="350"/>
                  <a:pt x="475" y="374"/>
                </a:cubicBezTo>
                <a:cubicBezTo>
                  <a:pt x="475" y="399"/>
                  <a:pt x="375" y="424"/>
                  <a:pt x="375" y="450"/>
                </a:cubicBezTo>
                <a:cubicBezTo>
                  <a:pt x="375" y="474"/>
                  <a:pt x="375" y="599"/>
                  <a:pt x="375" y="599"/>
                </a:cubicBezTo>
                <a:cubicBezTo>
                  <a:pt x="0" y="599"/>
                  <a:pt x="0" y="599"/>
                  <a:pt x="0" y="599"/>
                </a:cubicBezTo>
                <a:cubicBezTo>
                  <a:pt x="0" y="650"/>
                  <a:pt x="25" y="674"/>
                  <a:pt x="50" y="699"/>
                </a:cubicBezTo>
                <a:cubicBezTo>
                  <a:pt x="75" y="724"/>
                  <a:pt x="25" y="799"/>
                  <a:pt x="75" y="850"/>
                </a:cubicBezTo>
                <a:cubicBezTo>
                  <a:pt x="124" y="924"/>
                  <a:pt x="75" y="999"/>
                  <a:pt x="50" y="1050"/>
                </a:cubicBezTo>
                <a:cubicBezTo>
                  <a:pt x="25" y="1050"/>
                  <a:pt x="25" y="1099"/>
                  <a:pt x="25" y="1124"/>
                </a:cubicBezTo>
                <a:lnTo>
                  <a:pt x="25" y="1124"/>
                </a:lnTo>
                <a:cubicBezTo>
                  <a:pt x="75" y="1124"/>
                  <a:pt x="50" y="1075"/>
                  <a:pt x="100" y="10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2" name="Freeform 30">
            <a:extLst>
              <a:ext uri="{FF2B5EF4-FFF2-40B4-BE49-F238E27FC236}">
                <a16:creationId xmlns:a16="http://schemas.microsoft.com/office/drawing/2014/main" id="{04B8B32D-4F73-634A-9250-18D074802ECF}"/>
              </a:ext>
            </a:extLst>
          </p:cNvPr>
          <p:cNvSpPr>
            <a:spLocks noChangeArrowheads="1"/>
          </p:cNvSpPr>
          <p:nvPr/>
        </p:nvSpPr>
        <p:spPr bwMode="auto">
          <a:xfrm>
            <a:off x="5398505" y="4062881"/>
            <a:ext cx="503435" cy="471091"/>
          </a:xfrm>
          <a:custGeom>
            <a:avLst/>
            <a:gdLst>
              <a:gd name="T0" fmla="*/ 1476 w 1577"/>
              <a:gd name="T1" fmla="*/ 600 h 1476"/>
              <a:gd name="T2" fmla="*/ 1476 w 1577"/>
              <a:gd name="T3" fmla="*/ 600 h 1476"/>
              <a:gd name="T4" fmla="*/ 1425 w 1577"/>
              <a:gd name="T5" fmla="*/ 500 h 1476"/>
              <a:gd name="T6" fmla="*/ 1325 w 1577"/>
              <a:gd name="T7" fmla="*/ 475 h 1476"/>
              <a:gd name="T8" fmla="*/ 1276 w 1577"/>
              <a:gd name="T9" fmla="*/ 400 h 1476"/>
              <a:gd name="T10" fmla="*/ 700 w 1577"/>
              <a:gd name="T11" fmla="*/ 0 h 1476"/>
              <a:gd name="T12" fmla="*/ 525 w 1577"/>
              <a:gd name="T13" fmla="*/ 0 h 1476"/>
              <a:gd name="T14" fmla="*/ 625 w 1577"/>
              <a:gd name="T15" fmla="*/ 826 h 1476"/>
              <a:gd name="T16" fmla="*/ 650 w 1577"/>
              <a:gd name="T17" fmla="*/ 851 h 1476"/>
              <a:gd name="T18" fmla="*/ 650 w 1577"/>
              <a:gd name="T19" fmla="*/ 951 h 1476"/>
              <a:gd name="T20" fmla="*/ 275 w 1577"/>
              <a:gd name="T21" fmla="*/ 951 h 1476"/>
              <a:gd name="T22" fmla="*/ 225 w 1577"/>
              <a:gd name="T23" fmla="*/ 975 h 1476"/>
              <a:gd name="T24" fmla="*/ 150 w 1577"/>
              <a:gd name="T25" fmla="*/ 951 h 1476"/>
              <a:gd name="T26" fmla="*/ 100 w 1577"/>
              <a:gd name="T27" fmla="*/ 975 h 1476"/>
              <a:gd name="T28" fmla="*/ 50 w 1577"/>
              <a:gd name="T29" fmla="*/ 1000 h 1476"/>
              <a:gd name="T30" fmla="*/ 0 w 1577"/>
              <a:gd name="T31" fmla="*/ 1026 h 1476"/>
              <a:gd name="T32" fmla="*/ 0 w 1577"/>
              <a:gd name="T33" fmla="*/ 1051 h 1476"/>
              <a:gd name="T34" fmla="*/ 25 w 1577"/>
              <a:gd name="T35" fmla="*/ 1075 h 1476"/>
              <a:gd name="T36" fmla="*/ 25 w 1577"/>
              <a:gd name="T37" fmla="*/ 1126 h 1476"/>
              <a:gd name="T38" fmla="*/ 75 w 1577"/>
              <a:gd name="T39" fmla="*/ 1175 h 1476"/>
              <a:gd name="T40" fmla="*/ 75 w 1577"/>
              <a:gd name="T41" fmla="*/ 1251 h 1476"/>
              <a:gd name="T42" fmla="*/ 100 w 1577"/>
              <a:gd name="T43" fmla="*/ 1275 h 1476"/>
              <a:gd name="T44" fmla="*/ 175 w 1577"/>
              <a:gd name="T45" fmla="*/ 1275 h 1476"/>
              <a:gd name="T46" fmla="*/ 225 w 1577"/>
              <a:gd name="T47" fmla="*/ 1275 h 1476"/>
              <a:gd name="T48" fmla="*/ 300 w 1577"/>
              <a:gd name="T49" fmla="*/ 1226 h 1476"/>
              <a:gd name="T50" fmla="*/ 325 w 1577"/>
              <a:gd name="T51" fmla="*/ 1300 h 1476"/>
              <a:gd name="T52" fmla="*/ 375 w 1577"/>
              <a:gd name="T53" fmla="*/ 1351 h 1476"/>
              <a:gd name="T54" fmla="*/ 375 w 1577"/>
              <a:gd name="T55" fmla="*/ 1375 h 1476"/>
              <a:gd name="T56" fmla="*/ 375 w 1577"/>
              <a:gd name="T57" fmla="*/ 1425 h 1476"/>
              <a:gd name="T58" fmla="*/ 425 w 1577"/>
              <a:gd name="T59" fmla="*/ 1451 h 1476"/>
              <a:gd name="T60" fmla="*/ 475 w 1577"/>
              <a:gd name="T61" fmla="*/ 1451 h 1476"/>
              <a:gd name="T62" fmla="*/ 525 w 1577"/>
              <a:gd name="T63" fmla="*/ 1425 h 1476"/>
              <a:gd name="T64" fmla="*/ 575 w 1577"/>
              <a:gd name="T65" fmla="*/ 1425 h 1476"/>
              <a:gd name="T66" fmla="*/ 600 w 1577"/>
              <a:gd name="T67" fmla="*/ 1425 h 1476"/>
              <a:gd name="T68" fmla="*/ 650 w 1577"/>
              <a:gd name="T69" fmla="*/ 1425 h 1476"/>
              <a:gd name="T70" fmla="*/ 675 w 1577"/>
              <a:gd name="T71" fmla="*/ 1351 h 1476"/>
              <a:gd name="T72" fmla="*/ 650 w 1577"/>
              <a:gd name="T73" fmla="*/ 1300 h 1476"/>
              <a:gd name="T74" fmla="*/ 725 w 1577"/>
              <a:gd name="T75" fmla="*/ 1275 h 1476"/>
              <a:gd name="T76" fmla="*/ 775 w 1577"/>
              <a:gd name="T77" fmla="*/ 1200 h 1476"/>
              <a:gd name="T78" fmla="*/ 800 w 1577"/>
              <a:gd name="T79" fmla="*/ 1126 h 1476"/>
              <a:gd name="T80" fmla="*/ 850 w 1577"/>
              <a:gd name="T81" fmla="*/ 1151 h 1476"/>
              <a:gd name="T82" fmla="*/ 900 w 1577"/>
              <a:gd name="T83" fmla="*/ 1100 h 1476"/>
              <a:gd name="T84" fmla="*/ 950 w 1577"/>
              <a:gd name="T85" fmla="*/ 1075 h 1476"/>
              <a:gd name="T86" fmla="*/ 975 w 1577"/>
              <a:gd name="T87" fmla="*/ 1051 h 1476"/>
              <a:gd name="T88" fmla="*/ 1050 w 1577"/>
              <a:gd name="T89" fmla="*/ 1026 h 1476"/>
              <a:gd name="T90" fmla="*/ 1125 w 1577"/>
              <a:gd name="T91" fmla="*/ 1000 h 1476"/>
              <a:gd name="T92" fmla="*/ 1250 w 1577"/>
              <a:gd name="T93" fmla="*/ 1000 h 1476"/>
              <a:gd name="T94" fmla="*/ 1325 w 1577"/>
              <a:gd name="T95" fmla="*/ 975 h 1476"/>
              <a:gd name="T96" fmla="*/ 1476 w 1577"/>
              <a:gd name="T97" fmla="*/ 951 h 1476"/>
              <a:gd name="T98" fmla="*/ 1525 w 1577"/>
              <a:gd name="T99" fmla="*/ 926 h 1476"/>
              <a:gd name="T100" fmla="*/ 1550 w 1577"/>
              <a:gd name="T101" fmla="*/ 851 h 1476"/>
              <a:gd name="T102" fmla="*/ 1550 w 1577"/>
              <a:gd name="T103" fmla="*/ 600 h 1476"/>
              <a:gd name="T104" fmla="*/ 1476 w 1577"/>
              <a:gd name="T105" fmla="*/ 600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7" h="1476">
                <a:moveTo>
                  <a:pt x="1476" y="600"/>
                </a:moveTo>
                <a:lnTo>
                  <a:pt x="1476" y="600"/>
                </a:lnTo>
                <a:cubicBezTo>
                  <a:pt x="1476" y="600"/>
                  <a:pt x="1476" y="550"/>
                  <a:pt x="1425" y="500"/>
                </a:cubicBezTo>
                <a:cubicBezTo>
                  <a:pt x="1400" y="475"/>
                  <a:pt x="1325" y="475"/>
                  <a:pt x="1325" y="475"/>
                </a:cubicBezTo>
                <a:cubicBezTo>
                  <a:pt x="1325" y="475"/>
                  <a:pt x="1300" y="426"/>
                  <a:pt x="1276" y="400"/>
                </a:cubicBezTo>
                <a:cubicBezTo>
                  <a:pt x="1250" y="375"/>
                  <a:pt x="950" y="175"/>
                  <a:pt x="700" y="0"/>
                </a:cubicBezTo>
                <a:cubicBezTo>
                  <a:pt x="525" y="0"/>
                  <a:pt x="525" y="0"/>
                  <a:pt x="525" y="0"/>
                </a:cubicBezTo>
                <a:cubicBezTo>
                  <a:pt x="625" y="826"/>
                  <a:pt x="625" y="826"/>
                  <a:pt x="625" y="826"/>
                </a:cubicBezTo>
                <a:cubicBezTo>
                  <a:pt x="650" y="851"/>
                  <a:pt x="650" y="851"/>
                  <a:pt x="650" y="851"/>
                </a:cubicBezTo>
                <a:cubicBezTo>
                  <a:pt x="650" y="851"/>
                  <a:pt x="650" y="926"/>
                  <a:pt x="650" y="951"/>
                </a:cubicBezTo>
                <a:cubicBezTo>
                  <a:pt x="625" y="951"/>
                  <a:pt x="275" y="951"/>
                  <a:pt x="275" y="951"/>
                </a:cubicBezTo>
                <a:cubicBezTo>
                  <a:pt x="275" y="951"/>
                  <a:pt x="250" y="975"/>
                  <a:pt x="225" y="975"/>
                </a:cubicBezTo>
                <a:cubicBezTo>
                  <a:pt x="200" y="975"/>
                  <a:pt x="150" y="951"/>
                  <a:pt x="150" y="951"/>
                </a:cubicBezTo>
                <a:cubicBezTo>
                  <a:pt x="150" y="975"/>
                  <a:pt x="150" y="1000"/>
                  <a:pt x="100" y="975"/>
                </a:cubicBezTo>
                <a:cubicBezTo>
                  <a:pt x="50" y="926"/>
                  <a:pt x="50" y="975"/>
                  <a:pt x="50" y="1000"/>
                </a:cubicBezTo>
                <a:cubicBezTo>
                  <a:pt x="50" y="1000"/>
                  <a:pt x="25" y="1026"/>
                  <a:pt x="0" y="1026"/>
                </a:cubicBezTo>
                <a:lnTo>
                  <a:pt x="0" y="1051"/>
                </a:lnTo>
                <a:cubicBezTo>
                  <a:pt x="25" y="1075"/>
                  <a:pt x="25" y="1075"/>
                  <a:pt x="25" y="1075"/>
                </a:cubicBezTo>
                <a:cubicBezTo>
                  <a:pt x="25" y="1075"/>
                  <a:pt x="25" y="1100"/>
                  <a:pt x="25" y="1126"/>
                </a:cubicBezTo>
                <a:cubicBezTo>
                  <a:pt x="50" y="1151"/>
                  <a:pt x="75" y="1175"/>
                  <a:pt x="75" y="1175"/>
                </a:cubicBezTo>
                <a:cubicBezTo>
                  <a:pt x="75" y="1200"/>
                  <a:pt x="75" y="1251"/>
                  <a:pt x="75" y="1251"/>
                </a:cubicBezTo>
                <a:cubicBezTo>
                  <a:pt x="75" y="1251"/>
                  <a:pt x="100" y="1300"/>
                  <a:pt x="100" y="1275"/>
                </a:cubicBezTo>
                <a:cubicBezTo>
                  <a:pt x="125" y="1275"/>
                  <a:pt x="150" y="1300"/>
                  <a:pt x="175" y="1275"/>
                </a:cubicBezTo>
                <a:cubicBezTo>
                  <a:pt x="175" y="1251"/>
                  <a:pt x="200" y="1275"/>
                  <a:pt x="225" y="1275"/>
                </a:cubicBezTo>
                <a:cubicBezTo>
                  <a:pt x="250" y="1275"/>
                  <a:pt x="275" y="1226"/>
                  <a:pt x="300" y="1226"/>
                </a:cubicBezTo>
                <a:cubicBezTo>
                  <a:pt x="300" y="1251"/>
                  <a:pt x="325" y="1275"/>
                  <a:pt x="325" y="1300"/>
                </a:cubicBezTo>
                <a:cubicBezTo>
                  <a:pt x="325" y="1325"/>
                  <a:pt x="375" y="1351"/>
                  <a:pt x="375" y="1351"/>
                </a:cubicBezTo>
                <a:cubicBezTo>
                  <a:pt x="350" y="1351"/>
                  <a:pt x="350" y="1375"/>
                  <a:pt x="375" y="1375"/>
                </a:cubicBezTo>
                <a:lnTo>
                  <a:pt x="375" y="1425"/>
                </a:lnTo>
                <a:cubicBezTo>
                  <a:pt x="400" y="1451"/>
                  <a:pt x="425" y="1475"/>
                  <a:pt x="425" y="1451"/>
                </a:cubicBezTo>
                <a:cubicBezTo>
                  <a:pt x="450" y="1425"/>
                  <a:pt x="475" y="1451"/>
                  <a:pt x="475" y="1451"/>
                </a:cubicBezTo>
                <a:cubicBezTo>
                  <a:pt x="500" y="1475"/>
                  <a:pt x="525" y="1451"/>
                  <a:pt x="525" y="1425"/>
                </a:cubicBezTo>
                <a:cubicBezTo>
                  <a:pt x="525" y="1400"/>
                  <a:pt x="575" y="1400"/>
                  <a:pt x="575" y="1425"/>
                </a:cubicBezTo>
                <a:cubicBezTo>
                  <a:pt x="575" y="1451"/>
                  <a:pt x="575" y="1451"/>
                  <a:pt x="600" y="1425"/>
                </a:cubicBezTo>
                <a:cubicBezTo>
                  <a:pt x="625" y="1425"/>
                  <a:pt x="625" y="1425"/>
                  <a:pt x="650" y="1425"/>
                </a:cubicBezTo>
                <a:cubicBezTo>
                  <a:pt x="650" y="1400"/>
                  <a:pt x="650" y="1375"/>
                  <a:pt x="675" y="1351"/>
                </a:cubicBezTo>
                <a:lnTo>
                  <a:pt x="650" y="1300"/>
                </a:lnTo>
                <a:cubicBezTo>
                  <a:pt x="675" y="1300"/>
                  <a:pt x="725" y="1300"/>
                  <a:pt x="725" y="1275"/>
                </a:cubicBezTo>
                <a:cubicBezTo>
                  <a:pt x="750" y="1226"/>
                  <a:pt x="775" y="1200"/>
                  <a:pt x="775" y="1200"/>
                </a:cubicBezTo>
                <a:cubicBezTo>
                  <a:pt x="775" y="1200"/>
                  <a:pt x="775" y="1126"/>
                  <a:pt x="800" y="1126"/>
                </a:cubicBezTo>
                <a:cubicBezTo>
                  <a:pt x="825" y="1151"/>
                  <a:pt x="850" y="1175"/>
                  <a:pt x="850" y="1151"/>
                </a:cubicBezTo>
                <a:cubicBezTo>
                  <a:pt x="850" y="1100"/>
                  <a:pt x="876" y="1126"/>
                  <a:pt x="900" y="1100"/>
                </a:cubicBezTo>
                <a:cubicBezTo>
                  <a:pt x="900" y="1075"/>
                  <a:pt x="925" y="1075"/>
                  <a:pt x="950" y="1075"/>
                </a:cubicBezTo>
                <a:cubicBezTo>
                  <a:pt x="950" y="1075"/>
                  <a:pt x="975" y="1075"/>
                  <a:pt x="975" y="1051"/>
                </a:cubicBezTo>
                <a:cubicBezTo>
                  <a:pt x="975" y="1026"/>
                  <a:pt x="1025" y="1051"/>
                  <a:pt x="1050" y="1026"/>
                </a:cubicBezTo>
                <a:cubicBezTo>
                  <a:pt x="1100" y="1000"/>
                  <a:pt x="1100" y="975"/>
                  <a:pt x="1125" y="1000"/>
                </a:cubicBezTo>
                <a:cubicBezTo>
                  <a:pt x="1150" y="1000"/>
                  <a:pt x="1225" y="1000"/>
                  <a:pt x="1250" y="1000"/>
                </a:cubicBezTo>
                <a:cubicBezTo>
                  <a:pt x="1250" y="1000"/>
                  <a:pt x="1276" y="975"/>
                  <a:pt x="1325" y="975"/>
                </a:cubicBezTo>
                <a:cubicBezTo>
                  <a:pt x="1350" y="975"/>
                  <a:pt x="1425" y="951"/>
                  <a:pt x="1476" y="951"/>
                </a:cubicBezTo>
                <a:cubicBezTo>
                  <a:pt x="1500" y="951"/>
                  <a:pt x="1525" y="926"/>
                  <a:pt x="1525" y="926"/>
                </a:cubicBezTo>
                <a:cubicBezTo>
                  <a:pt x="1525" y="900"/>
                  <a:pt x="1550" y="851"/>
                  <a:pt x="1550" y="851"/>
                </a:cubicBezTo>
                <a:cubicBezTo>
                  <a:pt x="1576" y="826"/>
                  <a:pt x="1576" y="651"/>
                  <a:pt x="1550" y="600"/>
                </a:cubicBezTo>
                <a:cubicBezTo>
                  <a:pt x="1525" y="600"/>
                  <a:pt x="1476" y="600"/>
                  <a:pt x="1476" y="6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5" name="Freeform 31">
            <a:extLst>
              <a:ext uri="{FF2B5EF4-FFF2-40B4-BE49-F238E27FC236}">
                <a16:creationId xmlns:a16="http://schemas.microsoft.com/office/drawing/2014/main" id="{1E939053-3B17-1F44-B7ED-4DC33CCE3790}"/>
              </a:ext>
            </a:extLst>
          </p:cNvPr>
          <p:cNvSpPr>
            <a:spLocks noChangeArrowheads="1"/>
          </p:cNvSpPr>
          <p:nvPr/>
        </p:nvSpPr>
        <p:spPr bwMode="auto">
          <a:xfrm>
            <a:off x="5606631" y="4373662"/>
            <a:ext cx="239061" cy="175780"/>
          </a:xfrm>
          <a:custGeom>
            <a:avLst/>
            <a:gdLst>
              <a:gd name="T0" fmla="*/ 750 w 751"/>
              <a:gd name="T1" fmla="*/ 300 h 552"/>
              <a:gd name="T2" fmla="*/ 750 w 751"/>
              <a:gd name="T3" fmla="*/ 300 h 552"/>
              <a:gd name="T4" fmla="*/ 726 w 751"/>
              <a:gd name="T5" fmla="*/ 300 h 552"/>
              <a:gd name="T6" fmla="*/ 700 w 751"/>
              <a:gd name="T7" fmla="*/ 251 h 552"/>
              <a:gd name="T8" fmla="*/ 675 w 751"/>
              <a:gd name="T9" fmla="*/ 251 h 552"/>
              <a:gd name="T10" fmla="*/ 626 w 751"/>
              <a:gd name="T11" fmla="*/ 225 h 552"/>
              <a:gd name="T12" fmla="*/ 600 w 751"/>
              <a:gd name="T13" fmla="*/ 176 h 552"/>
              <a:gd name="T14" fmla="*/ 575 w 751"/>
              <a:gd name="T15" fmla="*/ 125 h 552"/>
              <a:gd name="T16" fmla="*/ 525 w 751"/>
              <a:gd name="T17" fmla="*/ 76 h 552"/>
              <a:gd name="T18" fmla="*/ 525 w 751"/>
              <a:gd name="T19" fmla="*/ 25 h 552"/>
              <a:gd name="T20" fmla="*/ 475 w 751"/>
              <a:gd name="T21" fmla="*/ 25 h 552"/>
              <a:gd name="T22" fmla="*/ 400 w 751"/>
              <a:gd name="T23" fmla="*/ 51 h 552"/>
              <a:gd name="T24" fmla="*/ 325 w 751"/>
              <a:gd name="T25" fmla="*/ 76 h 552"/>
              <a:gd name="T26" fmla="*/ 300 w 751"/>
              <a:gd name="T27" fmla="*/ 100 h 552"/>
              <a:gd name="T28" fmla="*/ 250 w 751"/>
              <a:gd name="T29" fmla="*/ 125 h 552"/>
              <a:gd name="T30" fmla="*/ 200 w 751"/>
              <a:gd name="T31" fmla="*/ 176 h 552"/>
              <a:gd name="T32" fmla="*/ 150 w 751"/>
              <a:gd name="T33" fmla="*/ 151 h 552"/>
              <a:gd name="T34" fmla="*/ 125 w 751"/>
              <a:gd name="T35" fmla="*/ 225 h 552"/>
              <a:gd name="T36" fmla="*/ 75 w 751"/>
              <a:gd name="T37" fmla="*/ 300 h 552"/>
              <a:gd name="T38" fmla="*/ 0 w 751"/>
              <a:gd name="T39" fmla="*/ 325 h 552"/>
              <a:gd name="T40" fmla="*/ 25 w 751"/>
              <a:gd name="T41" fmla="*/ 376 h 552"/>
              <a:gd name="T42" fmla="*/ 0 w 751"/>
              <a:gd name="T43" fmla="*/ 450 h 552"/>
              <a:gd name="T44" fmla="*/ 25 w 751"/>
              <a:gd name="T45" fmla="*/ 476 h 552"/>
              <a:gd name="T46" fmla="*/ 125 w 751"/>
              <a:gd name="T47" fmla="*/ 525 h 552"/>
              <a:gd name="T48" fmla="*/ 226 w 751"/>
              <a:gd name="T49" fmla="*/ 500 h 552"/>
              <a:gd name="T50" fmla="*/ 250 w 751"/>
              <a:gd name="T51" fmla="*/ 500 h 552"/>
              <a:gd name="T52" fmla="*/ 250 w 751"/>
              <a:gd name="T53" fmla="*/ 400 h 552"/>
              <a:gd name="T54" fmla="*/ 475 w 751"/>
              <a:gd name="T55" fmla="*/ 425 h 552"/>
              <a:gd name="T56" fmla="*/ 525 w 751"/>
              <a:gd name="T57" fmla="*/ 400 h 552"/>
              <a:gd name="T58" fmla="*/ 600 w 751"/>
              <a:gd name="T59" fmla="*/ 400 h 552"/>
              <a:gd name="T60" fmla="*/ 650 w 751"/>
              <a:gd name="T61" fmla="*/ 376 h 552"/>
              <a:gd name="T62" fmla="*/ 726 w 751"/>
              <a:gd name="T63" fmla="*/ 350 h 552"/>
              <a:gd name="T64" fmla="*/ 750 w 751"/>
              <a:gd name="T65" fmla="*/ 30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1" h="552">
                <a:moveTo>
                  <a:pt x="750" y="300"/>
                </a:moveTo>
                <a:lnTo>
                  <a:pt x="750" y="300"/>
                </a:lnTo>
                <a:lnTo>
                  <a:pt x="726" y="300"/>
                </a:lnTo>
                <a:cubicBezTo>
                  <a:pt x="700" y="300"/>
                  <a:pt x="726" y="251"/>
                  <a:pt x="700" y="251"/>
                </a:cubicBezTo>
                <a:cubicBezTo>
                  <a:pt x="700" y="225"/>
                  <a:pt x="675" y="251"/>
                  <a:pt x="675" y="251"/>
                </a:cubicBezTo>
                <a:cubicBezTo>
                  <a:pt x="650" y="251"/>
                  <a:pt x="650" y="225"/>
                  <a:pt x="626" y="225"/>
                </a:cubicBezTo>
                <a:cubicBezTo>
                  <a:pt x="600" y="225"/>
                  <a:pt x="600" y="200"/>
                  <a:pt x="600" y="176"/>
                </a:cubicBezTo>
                <a:cubicBezTo>
                  <a:pt x="600" y="151"/>
                  <a:pt x="575" y="151"/>
                  <a:pt x="575" y="125"/>
                </a:cubicBezTo>
                <a:cubicBezTo>
                  <a:pt x="550" y="125"/>
                  <a:pt x="550" y="76"/>
                  <a:pt x="525" y="76"/>
                </a:cubicBezTo>
                <a:cubicBezTo>
                  <a:pt x="525" y="76"/>
                  <a:pt x="525" y="51"/>
                  <a:pt x="525" y="25"/>
                </a:cubicBezTo>
                <a:cubicBezTo>
                  <a:pt x="500" y="25"/>
                  <a:pt x="475" y="25"/>
                  <a:pt x="475" y="25"/>
                </a:cubicBezTo>
                <a:cubicBezTo>
                  <a:pt x="450" y="0"/>
                  <a:pt x="450" y="25"/>
                  <a:pt x="400" y="51"/>
                </a:cubicBezTo>
                <a:cubicBezTo>
                  <a:pt x="375" y="76"/>
                  <a:pt x="325" y="51"/>
                  <a:pt x="325" y="76"/>
                </a:cubicBezTo>
                <a:cubicBezTo>
                  <a:pt x="325" y="100"/>
                  <a:pt x="300" y="100"/>
                  <a:pt x="300" y="100"/>
                </a:cubicBezTo>
                <a:cubicBezTo>
                  <a:pt x="275" y="100"/>
                  <a:pt x="250" y="100"/>
                  <a:pt x="250" y="125"/>
                </a:cubicBezTo>
                <a:cubicBezTo>
                  <a:pt x="226" y="151"/>
                  <a:pt x="200" y="125"/>
                  <a:pt x="200" y="176"/>
                </a:cubicBezTo>
                <a:cubicBezTo>
                  <a:pt x="200" y="200"/>
                  <a:pt x="175" y="176"/>
                  <a:pt x="150" y="151"/>
                </a:cubicBezTo>
                <a:cubicBezTo>
                  <a:pt x="125" y="151"/>
                  <a:pt x="125" y="225"/>
                  <a:pt x="125" y="225"/>
                </a:cubicBezTo>
                <a:cubicBezTo>
                  <a:pt x="125" y="225"/>
                  <a:pt x="100" y="251"/>
                  <a:pt x="75" y="300"/>
                </a:cubicBezTo>
                <a:cubicBezTo>
                  <a:pt x="75" y="325"/>
                  <a:pt x="25" y="325"/>
                  <a:pt x="0" y="325"/>
                </a:cubicBezTo>
                <a:lnTo>
                  <a:pt x="25" y="376"/>
                </a:lnTo>
                <a:cubicBezTo>
                  <a:pt x="0" y="400"/>
                  <a:pt x="0" y="425"/>
                  <a:pt x="0" y="450"/>
                </a:cubicBezTo>
                <a:lnTo>
                  <a:pt x="25" y="476"/>
                </a:lnTo>
                <a:cubicBezTo>
                  <a:pt x="50" y="500"/>
                  <a:pt x="100" y="551"/>
                  <a:pt x="125" y="525"/>
                </a:cubicBezTo>
                <a:cubicBezTo>
                  <a:pt x="150" y="500"/>
                  <a:pt x="200" y="500"/>
                  <a:pt x="226" y="500"/>
                </a:cubicBezTo>
                <a:cubicBezTo>
                  <a:pt x="250" y="525"/>
                  <a:pt x="250" y="525"/>
                  <a:pt x="250" y="500"/>
                </a:cubicBezTo>
                <a:cubicBezTo>
                  <a:pt x="250" y="476"/>
                  <a:pt x="226" y="425"/>
                  <a:pt x="250" y="400"/>
                </a:cubicBezTo>
                <a:cubicBezTo>
                  <a:pt x="250" y="400"/>
                  <a:pt x="475" y="400"/>
                  <a:pt x="475" y="425"/>
                </a:cubicBezTo>
                <a:cubicBezTo>
                  <a:pt x="475" y="425"/>
                  <a:pt x="475" y="376"/>
                  <a:pt x="525" y="400"/>
                </a:cubicBezTo>
                <a:cubicBezTo>
                  <a:pt x="550" y="400"/>
                  <a:pt x="575" y="400"/>
                  <a:pt x="600" y="400"/>
                </a:cubicBezTo>
                <a:cubicBezTo>
                  <a:pt x="626" y="400"/>
                  <a:pt x="626" y="376"/>
                  <a:pt x="650" y="376"/>
                </a:cubicBezTo>
                <a:cubicBezTo>
                  <a:pt x="675" y="376"/>
                  <a:pt x="726" y="350"/>
                  <a:pt x="726" y="350"/>
                </a:cubicBezTo>
                <a:cubicBezTo>
                  <a:pt x="750" y="325"/>
                  <a:pt x="750" y="325"/>
                  <a:pt x="750" y="3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6" name="Freeform 32">
            <a:extLst>
              <a:ext uri="{FF2B5EF4-FFF2-40B4-BE49-F238E27FC236}">
                <a16:creationId xmlns:a16="http://schemas.microsoft.com/office/drawing/2014/main" id="{0118D491-E581-784C-BFB3-832DC613E7EF}"/>
              </a:ext>
            </a:extLst>
          </p:cNvPr>
          <p:cNvSpPr>
            <a:spLocks noChangeArrowheads="1"/>
          </p:cNvSpPr>
          <p:nvPr/>
        </p:nvSpPr>
        <p:spPr bwMode="auto">
          <a:xfrm>
            <a:off x="5773971" y="4110695"/>
            <a:ext cx="469684" cy="367029"/>
          </a:xfrm>
          <a:custGeom>
            <a:avLst/>
            <a:gdLst>
              <a:gd name="T0" fmla="*/ 1400 w 1475"/>
              <a:gd name="T1" fmla="*/ 176 h 1151"/>
              <a:gd name="T2" fmla="*/ 1400 w 1475"/>
              <a:gd name="T3" fmla="*/ 176 h 1151"/>
              <a:gd name="T4" fmla="*/ 1400 w 1475"/>
              <a:gd name="T5" fmla="*/ 50 h 1151"/>
              <a:gd name="T6" fmla="*/ 1325 w 1475"/>
              <a:gd name="T7" fmla="*/ 100 h 1151"/>
              <a:gd name="T8" fmla="*/ 1249 w 1475"/>
              <a:gd name="T9" fmla="*/ 25 h 1151"/>
              <a:gd name="T10" fmla="*/ 1125 w 1475"/>
              <a:gd name="T11" fmla="*/ 0 h 1151"/>
              <a:gd name="T12" fmla="*/ 726 w 1475"/>
              <a:gd name="T13" fmla="*/ 250 h 1151"/>
              <a:gd name="T14" fmla="*/ 550 w 1475"/>
              <a:gd name="T15" fmla="*/ 400 h 1151"/>
              <a:gd name="T16" fmla="*/ 401 w 1475"/>
              <a:gd name="T17" fmla="*/ 450 h 1151"/>
              <a:gd name="T18" fmla="*/ 375 w 1475"/>
              <a:gd name="T19" fmla="*/ 450 h 1151"/>
              <a:gd name="T20" fmla="*/ 375 w 1475"/>
              <a:gd name="T21" fmla="*/ 701 h 1151"/>
              <a:gd name="T22" fmla="*/ 350 w 1475"/>
              <a:gd name="T23" fmla="*/ 776 h 1151"/>
              <a:gd name="T24" fmla="*/ 301 w 1475"/>
              <a:gd name="T25" fmla="*/ 801 h 1151"/>
              <a:gd name="T26" fmla="*/ 150 w 1475"/>
              <a:gd name="T27" fmla="*/ 825 h 1151"/>
              <a:gd name="T28" fmla="*/ 75 w 1475"/>
              <a:gd name="T29" fmla="*/ 850 h 1151"/>
              <a:gd name="T30" fmla="*/ 0 w 1475"/>
              <a:gd name="T31" fmla="*/ 850 h 1151"/>
              <a:gd name="T32" fmla="*/ 0 w 1475"/>
              <a:gd name="T33" fmla="*/ 901 h 1151"/>
              <a:gd name="T34" fmla="*/ 50 w 1475"/>
              <a:gd name="T35" fmla="*/ 950 h 1151"/>
              <a:gd name="T36" fmla="*/ 75 w 1475"/>
              <a:gd name="T37" fmla="*/ 1001 h 1151"/>
              <a:gd name="T38" fmla="*/ 101 w 1475"/>
              <a:gd name="T39" fmla="*/ 1050 h 1151"/>
              <a:gd name="T40" fmla="*/ 150 w 1475"/>
              <a:gd name="T41" fmla="*/ 1076 h 1151"/>
              <a:gd name="T42" fmla="*/ 175 w 1475"/>
              <a:gd name="T43" fmla="*/ 1076 h 1151"/>
              <a:gd name="T44" fmla="*/ 201 w 1475"/>
              <a:gd name="T45" fmla="*/ 1125 h 1151"/>
              <a:gd name="T46" fmla="*/ 225 w 1475"/>
              <a:gd name="T47" fmla="*/ 1125 h 1151"/>
              <a:gd name="T48" fmla="*/ 275 w 1475"/>
              <a:gd name="T49" fmla="*/ 1101 h 1151"/>
              <a:gd name="T50" fmla="*/ 301 w 1475"/>
              <a:gd name="T51" fmla="*/ 1125 h 1151"/>
              <a:gd name="T52" fmla="*/ 325 w 1475"/>
              <a:gd name="T53" fmla="*/ 1125 h 1151"/>
              <a:gd name="T54" fmla="*/ 375 w 1475"/>
              <a:gd name="T55" fmla="*/ 1050 h 1151"/>
              <a:gd name="T56" fmla="*/ 401 w 1475"/>
              <a:gd name="T57" fmla="*/ 976 h 1151"/>
              <a:gd name="T58" fmla="*/ 475 w 1475"/>
              <a:gd name="T59" fmla="*/ 976 h 1151"/>
              <a:gd name="T60" fmla="*/ 550 w 1475"/>
              <a:gd name="T61" fmla="*/ 950 h 1151"/>
              <a:gd name="T62" fmla="*/ 626 w 1475"/>
              <a:gd name="T63" fmla="*/ 976 h 1151"/>
              <a:gd name="T64" fmla="*/ 675 w 1475"/>
              <a:gd name="T65" fmla="*/ 1025 h 1151"/>
              <a:gd name="T66" fmla="*/ 750 w 1475"/>
              <a:gd name="T67" fmla="*/ 1001 h 1151"/>
              <a:gd name="T68" fmla="*/ 826 w 1475"/>
              <a:gd name="T69" fmla="*/ 1050 h 1151"/>
              <a:gd name="T70" fmla="*/ 901 w 1475"/>
              <a:gd name="T71" fmla="*/ 1050 h 1151"/>
              <a:gd name="T72" fmla="*/ 975 w 1475"/>
              <a:gd name="T73" fmla="*/ 1001 h 1151"/>
              <a:gd name="T74" fmla="*/ 1100 w 1475"/>
              <a:gd name="T75" fmla="*/ 1001 h 1151"/>
              <a:gd name="T76" fmla="*/ 1174 w 1475"/>
              <a:gd name="T77" fmla="*/ 1025 h 1151"/>
              <a:gd name="T78" fmla="*/ 1249 w 1475"/>
              <a:gd name="T79" fmla="*/ 976 h 1151"/>
              <a:gd name="T80" fmla="*/ 1249 w 1475"/>
              <a:gd name="T81" fmla="*/ 950 h 1151"/>
              <a:gd name="T82" fmla="*/ 1249 w 1475"/>
              <a:gd name="T83" fmla="*/ 925 h 1151"/>
              <a:gd name="T84" fmla="*/ 1274 w 1475"/>
              <a:gd name="T85" fmla="*/ 850 h 1151"/>
              <a:gd name="T86" fmla="*/ 1425 w 1475"/>
              <a:gd name="T87" fmla="*/ 676 h 1151"/>
              <a:gd name="T88" fmla="*/ 1425 w 1475"/>
              <a:gd name="T89" fmla="*/ 425 h 1151"/>
              <a:gd name="T90" fmla="*/ 1449 w 1475"/>
              <a:gd name="T91" fmla="*/ 325 h 1151"/>
              <a:gd name="T92" fmla="*/ 1425 w 1475"/>
              <a:gd name="T93" fmla="*/ 250 h 1151"/>
              <a:gd name="T94" fmla="*/ 1400 w 1475"/>
              <a:gd name="T95" fmla="*/ 176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5" h="1151">
                <a:moveTo>
                  <a:pt x="1400" y="176"/>
                </a:moveTo>
                <a:lnTo>
                  <a:pt x="1400" y="176"/>
                </a:lnTo>
                <a:cubicBezTo>
                  <a:pt x="1400" y="150"/>
                  <a:pt x="1400" y="100"/>
                  <a:pt x="1400" y="50"/>
                </a:cubicBezTo>
                <a:cubicBezTo>
                  <a:pt x="1325" y="100"/>
                  <a:pt x="1325" y="100"/>
                  <a:pt x="1325" y="100"/>
                </a:cubicBezTo>
                <a:cubicBezTo>
                  <a:pt x="1325" y="100"/>
                  <a:pt x="1299" y="50"/>
                  <a:pt x="1249" y="25"/>
                </a:cubicBezTo>
                <a:cubicBezTo>
                  <a:pt x="1225" y="0"/>
                  <a:pt x="1125" y="0"/>
                  <a:pt x="1125" y="0"/>
                </a:cubicBezTo>
                <a:cubicBezTo>
                  <a:pt x="726" y="250"/>
                  <a:pt x="726" y="250"/>
                  <a:pt x="726" y="250"/>
                </a:cubicBezTo>
                <a:cubicBezTo>
                  <a:pt x="550" y="400"/>
                  <a:pt x="550" y="400"/>
                  <a:pt x="550" y="400"/>
                </a:cubicBezTo>
                <a:cubicBezTo>
                  <a:pt x="550" y="400"/>
                  <a:pt x="425" y="425"/>
                  <a:pt x="401" y="450"/>
                </a:cubicBezTo>
                <a:cubicBezTo>
                  <a:pt x="401" y="450"/>
                  <a:pt x="401" y="450"/>
                  <a:pt x="375" y="450"/>
                </a:cubicBezTo>
                <a:cubicBezTo>
                  <a:pt x="401" y="501"/>
                  <a:pt x="401" y="676"/>
                  <a:pt x="375" y="701"/>
                </a:cubicBezTo>
                <a:cubicBezTo>
                  <a:pt x="375" y="701"/>
                  <a:pt x="350" y="750"/>
                  <a:pt x="350" y="776"/>
                </a:cubicBezTo>
                <a:cubicBezTo>
                  <a:pt x="350" y="776"/>
                  <a:pt x="325" y="801"/>
                  <a:pt x="301" y="801"/>
                </a:cubicBezTo>
                <a:cubicBezTo>
                  <a:pt x="250" y="801"/>
                  <a:pt x="175" y="825"/>
                  <a:pt x="150" y="825"/>
                </a:cubicBezTo>
                <a:cubicBezTo>
                  <a:pt x="101" y="825"/>
                  <a:pt x="75" y="850"/>
                  <a:pt x="75" y="850"/>
                </a:cubicBezTo>
                <a:cubicBezTo>
                  <a:pt x="75" y="850"/>
                  <a:pt x="25" y="850"/>
                  <a:pt x="0" y="850"/>
                </a:cubicBezTo>
                <a:cubicBezTo>
                  <a:pt x="0" y="876"/>
                  <a:pt x="0" y="901"/>
                  <a:pt x="0" y="901"/>
                </a:cubicBezTo>
                <a:cubicBezTo>
                  <a:pt x="25" y="901"/>
                  <a:pt x="25" y="950"/>
                  <a:pt x="50" y="950"/>
                </a:cubicBezTo>
                <a:cubicBezTo>
                  <a:pt x="50" y="976"/>
                  <a:pt x="75" y="976"/>
                  <a:pt x="75" y="1001"/>
                </a:cubicBezTo>
                <a:cubicBezTo>
                  <a:pt x="75" y="1025"/>
                  <a:pt x="75" y="1050"/>
                  <a:pt x="101" y="1050"/>
                </a:cubicBezTo>
                <a:cubicBezTo>
                  <a:pt x="125" y="1050"/>
                  <a:pt x="125" y="1076"/>
                  <a:pt x="150" y="1076"/>
                </a:cubicBezTo>
                <a:cubicBezTo>
                  <a:pt x="150" y="1076"/>
                  <a:pt x="175" y="1050"/>
                  <a:pt x="175" y="1076"/>
                </a:cubicBezTo>
                <a:cubicBezTo>
                  <a:pt x="201" y="1076"/>
                  <a:pt x="175" y="1125"/>
                  <a:pt x="201" y="1125"/>
                </a:cubicBezTo>
                <a:lnTo>
                  <a:pt x="225" y="1125"/>
                </a:lnTo>
                <a:cubicBezTo>
                  <a:pt x="225" y="1101"/>
                  <a:pt x="225" y="1076"/>
                  <a:pt x="275" y="1101"/>
                </a:cubicBezTo>
                <a:cubicBezTo>
                  <a:pt x="301" y="1101"/>
                  <a:pt x="275" y="1125"/>
                  <a:pt x="301" y="1125"/>
                </a:cubicBezTo>
                <a:cubicBezTo>
                  <a:pt x="325" y="1150"/>
                  <a:pt x="325" y="1150"/>
                  <a:pt x="325" y="1125"/>
                </a:cubicBezTo>
                <a:cubicBezTo>
                  <a:pt x="325" y="1101"/>
                  <a:pt x="375" y="1050"/>
                  <a:pt x="375" y="1050"/>
                </a:cubicBezTo>
                <a:cubicBezTo>
                  <a:pt x="375" y="1050"/>
                  <a:pt x="375" y="1001"/>
                  <a:pt x="401" y="976"/>
                </a:cubicBezTo>
                <a:cubicBezTo>
                  <a:pt x="425" y="976"/>
                  <a:pt x="475" y="976"/>
                  <a:pt x="475" y="976"/>
                </a:cubicBezTo>
                <a:cubicBezTo>
                  <a:pt x="501" y="976"/>
                  <a:pt x="525" y="950"/>
                  <a:pt x="550" y="950"/>
                </a:cubicBezTo>
                <a:cubicBezTo>
                  <a:pt x="550" y="976"/>
                  <a:pt x="601" y="950"/>
                  <a:pt x="626" y="976"/>
                </a:cubicBezTo>
                <a:cubicBezTo>
                  <a:pt x="626" y="1001"/>
                  <a:pt x="650" y="1050"/>
                  <a:pt x="675" y="1025"/>
                </a:cubicBezTo>
                <a:cubicBezTo>
                  <a:pt x="701" y="1025"/>
                  <a:pt x="726" y="1001"/>
                  <a:pt x="750" y="1001"/>
                </a:cubicBezTo>
                <a:cubicBezTo>
                  <a:pt x="750" y="1001"/>
                  <a:pt x="801" y="1050"/>
                  <a:pt x="826" y="1050"/>
                </a:cubicBezTo>
                <a:lnTo>
                  <a:pt x="901" y="1050"/>
                </a:lnTo>
                <a:cubicBezTo>
                  <a:pt x="926" y="1025"/>
                  <a:pt x="950" y="1001"/>
                  <a:pt x="975" y="1001"/>
                </a:cubicBezTo>
                <a:cubicBezTo>
                  <a:pt x="1001" y="1001"/>
                  <a:pt x="1074" y="1001"/>
                  <a:pt x="1100" y="1001"/>
                </a:cubicBezTo>
                <a:cubicBezTo>
                  <a:pt x="1125" y="1025"/>
                  <a:pt x="1149" y="1025"/>
                  <a:pt x="1174" y="1025"/>
                </a:cubicBezTo>
                <a:cubicBezTo>
                  <a:pt x="1200" y="1025"/>
                  <a:pt x="1225" y="976"/>
                  <a:pt x="1249" y="976"/>
                </a:cubicBezTo>
                <a:cubicBezTo>
                  <a:pt x="1249" y="950"/>
                  <a:pt x="1249" y="950"/>
                  <a:pt x="1249" y="950"/>
                </a:cubicBezTo>
                <a:cubicBezTo>
                  <a:pt x="1249" y="950"/>
                  <a:pt x="1249" y="950"/>
                  <a:pt x="1249" y="925"/>
                </a:cubicBezTo>
                <a:cubicBezTo>
                  <a:pt x="1249" y="876"/>
                  <a:pt x="1274" y="901"/>
                  <a:pt x="1274" y="850"/>
                </a:cubicBezTo>
                <a:cubicBezTo>
                  <a:pt x="1274" y="801"/>
                  <a:pt x="1425" y="676"/>
                  <a:pt x="1425" y="676"/>
                </a:cubicBezTo>
                <a:cubicBezTo>
                  <a:pt x="1425" y="650"/>
                  <a:pt x="1425" y="450"/>
                  <a:pt x="1425" y="425"/>
                </a:cubicBezTo>
                <a:cubicBezTo>
                  <a:pt x="1425" y="400"/>
                  <a:pt x="1449" y="376"/>
                  <a:pt x="1449" y="325"/>
                </a:cubicBezTo>
                <a:cubicBezTo>
                  <a:pt x="1474" y="300"/>
                  <a:pt x="1425" y="300"/>
                  <a:pt x="1425" y="250"/>
                </a:cubicBezTo>
                <a:cubicBezTo>
                  <a:pt x="1449" y="225"/>
                  <a:pt x="1400" y="200"/>
                  <a:pt x="1400" y="1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7" name="Freeform 33">
            <a:extLst>
              <a:ext uri="{FF2B5EF4-FFF2-40B4-BE49-F238E27FC236}">
                <a16:creationId xmlns:a16="http://schemas.microsoft.com/office/drawing/2014/main" id="{2749028C-9A09-BA4A-9BCC-EA7727149D09}"/>
              </a:ext>
            </a:extLst>
          </p:cNvPr>
          <p:cNvSpPr>
            <a:spLocks noChangeArrowheads="1"/>
          </p:cNvSpPr>
          <p:nvPr/>
        </p:nvSpPr>
        <p:spPr bwMode="auto">
          <a:xfrm>
            <a:off x="6171939" y="4110693"/>
            <a:ext cx="303748" cy="503435"/>
          </a:xfrm>
          <a:custGeom>
            <a:avLst/>
            <a:gdLst>
              <a:gd name="T0" fmla="*/ 951 w 952"/>
              <a:gd name="T1" fmla="*/ 400 h 1577"/>
              <a:gd name="T2" fmla="*/ 951 w 952"/>
              <a:gd name="T3" fmla="*/ 400 h 1577"/>
              <a:gd name="T4" fmla="*/ 225 w 952"/>
              <a:gd name="T5" fmla="*/ 0 h 1577"/>
              <a:gd name="T6" fmla="*/ 151 w 952"/>
              <a:gd name="T7" fmla="*/ 50 h 1577"/>
              <a:gd name="T8" fmla="*/ 151 w 952"/>
              <a:gd name="T9" fmla="*/ 176 h 1577"/>
              <a:gd name="T10" fmla="*/ 176 w 952"/>
              <a:gd name="T11" fmla="*/ 250 h 1577"/>
              <a:gd name="T12" fmla="*/ 200 w 952"/>
              <a:gd name="T13" fmla="*/ 325 h 1577"/>
              <a:gd name="T14" fmla="*/ 176 w 952"/>
              <a:gd name="T15" fmla="*/ 425 h 1577"/>
              <a:gd name="T16" fmla="*/ 176 w 952"/>
              <a:gd name="T17" fmla="*/ 676 h 1577"/>
              <a:gd name="T18" fmla="*/ 25 w 952"/>
              <a:gd name="T19" fmla="*/ 850 h 1577"/>
              <a:gd name="T20" fmla="*/ 0 w 952"/>
              <a:gd name="T21" fmla="*/ 925 h 1577"/>
              <a:gd name="T22" fmla="*/ 0 w 952"/>
              <a:gd name="T23" fmla="*/ 950 h 1577"/>
              <a:gd name="T24" fmla="*/ 25 w 952"/>
              <a:gd name="T25" fmla="*/ 976 h 1577"/>
              <a:gd name="T26" fmla="*/ 76 w 952"/>
              <a:gd name="T27" fmla="*/ 1025 h 1577"/>
              <a:gd name="T28" fmla="*/ 125 w 952"/>
              <a:gd name="T29" fmla="*/ 1101 h 1577"/>
              <a:gd name="T30" fmla="*/ 125 w 952"/>
              <a:gd name="T31" fmla="*/ 1201 h 1577"/>
              <a:gd name="T32" fmla="*/ 176 w 952"/>
              <a:gd name="T33" fmla="*/ 1301 h 1577"/>
              <a:gd name="T34" fmla="*/ 125 w 952"/>
              <a:gd name="T35" fmla="*/ 1325 h 1577"/>
              <a:gd name="T36" fmla="*/ 50 w 952"/>
              <a:gd name="T37" fmla="*/ 1325 h 1577"/>
              <a:gd name="T38" fmla="*/ 76 w 952"/>
              <a:gd name="T39" fmla="*/ 1401 h 1577"/>
              <a:gd name="T40" fmla="*/ 151 w 952"/>
              <a:gd name="T41" fmla="*/ 1476 h 1577"/>
              <a:gd name="T42" fmla="*/ 200 w 952"/>
              <a:gd name="T43" fmla="*/ 1550 h 1577"/>
              <a:gd name="T44" fmla="*/ 251 w 952"/>
              <a:gd name="T45" fmla="*/ 1550 h 1577"/>
              <a:gd name="T46" fmla="*/ 301 w 952"/>
              <a:gd name="T47" fmla="*/ 1550 h 1577"/>
              <a:gd name="T48" fmla="*/ 401 w 952"/>
              <a:gd name="T49" fmla="*/ 1501 h 1577"/>
              <a:gd name="T50" fmla="*/ 501 w 952"/>
              <a:gd name="T51" fmla="*/ 1476 h 1577"/>
              <a:gd name="T52" fmla="*/ 501 w 952"/>
              <a:gd name="T53" fmla="*/ 1425 h 1577"/>
              <a:gd name="T54" fmla="*/ 625 w 952"/>
              <a:gd name="T55" fmla="*/ 1376 h 1577"/>
              <a:gd name="T56" fmla="*/ 725 w 952"/>
              <a:gd name="T57" fmla="*/ 1301 h 1577"/>
              <a:gd name="T58" fmla="*/ 751 w 952"/>
              <a:gd name="T59" fmla="*/ 1250 h 1577"/>
              <a:gd name="T60" fmla="*/ 825 w 952"/>
              <a:gd name="T61" fmla="*/ 1225 h 1577"/>
              <a:gd name="T62" fmla="*/ 825 w 952"/>
              <a:gd name="T63" fmla="*/ 1225 h 1577"/>
              <a:gd name="T64" fmla="*/ 825 w 952"/>
              <a:gd name="T65" fmla="*/ 1225 h 1577"/>
              <a:gd name="T66" fmla="*/ 851 w 952"/>
              <a:gd name="T67" fmla="*/ 1175 h 1577"/>
              <a:gd name="T68" fmla="*/ 801 w 952"/>
              <a:gd name="T69" fmla="*/ 1125 h 1577"/>
              <a:gd name="T70" fmla="*/ 776 w 952"/>
              <a:gd name="T71" fmla="*/ 1050 h 1577"/>
              <a:gd name="T72" fmla="*/ 776 w 952"/>
              <a:gd name="T73" fmla="*/ 1001 h 1577"/>
              <a:gd name="T74" fmla="*/ 776 w 952"/>
              <a:gd name="T75" fmla="*/ 925 h 1577"/>
              <a:gd name="T76" fmla="*/ 825 w 952"/>
              <a:gd name="T77" fmla="*/ 850 h 1577"/>
              <a:gd name="T78" fmla="*/ 851 w 952"/>
              <a:gd name="T79" fmla="*/ 801 h 1577"/>
              <a:gd name="T80" fmla="*/ 925 w 952"/>
              <a:gd name="T81" fmla="*/ 750 h 1577"/>
              <a:gd name="T82" fmla="*/ 951 w 952"/>
              <a:gd name="T83" fmla="*/ 650 h 1577"/>
              <a:gd name="T84" fmla="*/ 951 w 952"/>
              <a:gd name="T85" fmla="*/ 400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2" h="1577">
                <a:moveTo>
                  <a:pt x="951" y="400"/>
                </a:moveTo>
                <a:lnTo>
                  <a:pt x="951" y="400"/>
                </a:lnTo>
                <a:cubicBezTo>
                  <a:pt x="225" y="0"/>
                  <a:pt x="225" y="0"/>
                  <a:pt x="225" y="0"/>
                </a:cubicBezTo>
                <a:cubicBezTo>
                  <a:pt x="151" y="50"/>
                  <a:pt x="151" y="50"/>
                  <a:pt x="151" y="50"/>
                </a:cubicBezTo>
                <a:cubicBezTo>
                  <a:pt x="151" y="100"/>
                  <a:pt x="151" y="150"/>
                  <a:pt x="151" y="176"/>
                </a:cubicBezTo>
                <a:cubicBezTo>
                  <a:pt x="151" y="200"/>
                  <a:pt x="200" y="225"/>
                  <a:pt x="176" y="250"/>
                </a:cubicBezTo>
                <a:cubicBezTo>
                  <a:pt x="176" y="300"/>
                  <a:pt x="225" y="300"/>
                  <a:pt x="200" y="325"/>
                </a:cubicBezTo>
                <a:cubicBezTo>
                  <a:pt x="200" y="376"/>
                  <a:pt x="176" y="400"/>
                  <a:pt x="176" y="425"/>
                </a:cubicBezTo>
                <a:cubicBezTo>
                  <a:pt x="176" y="450"/>
                  <a:pt x="176" y="650"/>
                  <a:pt x="176" y="676"/>
                </a:cubicBezTo>
                <a:cubicBezTo>
                  <a:pt x="176" y="676"/>
                  <a:pt x="25" y="801"/>
                  <a:pt x="25" y="850"/>
                </a:cubicBezTo>
                <a:cubicBezTo>
                  <a:pt x="25" y="901"/>
                  <a:pt x="0" y="876"/>
                  <a:pt x="0" y="925"/>
                </a:cubicBezTo>
                <a:cubicBezTo>
                  <a:pt x="0" y="950"/>
                  <a:pt x="0" y="950"/>
                  <a:pt x="0" y="950"/>
                </a:cubicBezTo>
                <a:cubicBezTo>
                  <a:pt x="25" y="976"/>
                  <a:pt x="25" y="976"/>
                  <a:pt x="25" y="976"/>
                </a:cubicBezTo>
                <a:cubicBezTo>
                  <a:pt x="50" y="1001"/>
                  <a:pt x="50" y="1025"/>
                  <a:pt x="76" y="1025"/>
                </a:cubicBezTo>
                <a:cubicBezTo>
                  <a:pt x="100" y="1025"/>
                  <a:pt x="125" y="1076"/>
                  <a:pt x="125" y="1101"/>
                </a:cubicBezTo>
                <a:cubicBezTo>
                  <a:pt x="125" y="1125"/>
                  <a:pt x="151" y="1150"/>
                  <a:pt x="125" y="1201"/>
                </a:cubicBezTo>
                <a:cubicBezTo>
                  <a:pt x="125" y="1250"/>
                  <a:pt x="151" y="1301"/>
                  <a:pt x="176" y="1301"/>
                </a:cubicBezTo>
                <a:cubicBezTo>
                  <a:pt x="200" y="1325"/>
                  <a:pt x="176" y="1325"/>
                  <a:pt x="125" y="1325"/>
                </a:cubicBezTo>
                <a:cubicBezTo>
                  <a:pt x="100" y="1325"/>
                  <a:pt x="50" y="1325"/>
                  <a:pt x="50" y="1325"/>
                </a:cubicBezTo>
                <a:cubicBezTo>
                  <a:pt x="50" y="1350"/>
                  <a:pt x="50" y="1376"/>
                  <a:pt x="76" y="1401"/>
                </a:cubicBezTo>
                <a:cubicBezTo>
                  <a:pt x="125" y="1425"/>
                  <a:pt x="151" y="1450"/>
                  <a:pt x="151" y="1476"/>
                </a:cubicBezTo>
                <a:cubicBezTo>
                  <a:pt x="176" y="1525"/>
                  <a:pt x="176" y="1550"/>
                  <a:pt x="200" y="1550"/>
                </a:cubicBezTo>
                <a:cubicBezTo>
                  <a:pt x="200" y="1576"/>
                  <a:pt x="225" y="1576"/>
                  <a:pt x="251" y="1550"/>
                </a:cubicBezTo>
                <a:cubicBezTo>
                  <a:pt x="276" y="1501"/>
                  <a:pt x="276" y="1576"/>
                  <a:pt x="301" y="1550"/>
                </a:cubicBezTo>
                <a:cubicBezTo>
                  <a:pt x="325" y="1525"/>
                  <a:pt x="401" y="1525"/>
                  <a:pt x="401" y="1501"/>
                </a:cubicBezTo>
                <a:cubicBezTo>
                  <a:pt x="425" y="1501"/>
                  <a:pt x="476" y="1476"/>
                  <a:pt x="501" y="1476"/>
                </a:cubicBezTo>
                <a:cubicBezTo>
                  <a:pt x="501" y="1450"/>
                  <a:pt x="476" y="1425"/>
                  <a:pt x="501" y="1425"/>
                </a:cubicBezTo>
                <a:cubicBezTo>
                  <a:pt x="525" y="1401"/>
                  <a:pt x="601" y="1425"/>
                  <a:pt x="625" y="1376"/>
                </a:cubicBezTo>
                <a:cubicBezTo>
                  <a:pt x="651" y="1350"/>
                  <a:pt x="701" y="1301"/>
                  <a:pt x="725" y="1301"/>
                </a:cubicBezTo>
                <a:cubicBezTo>
                  <a:pt x="725" y="1275"/>
                  <a:pt x="725" y="1275"/>
                  <a:pt x="751" y="1250"/>
                </a:cubicBezTo>
                <a:cubicBezTo>
                  <a:pt x="751" y="1225"/>
                  <a:pt x="801" y="1201"/>
                  <a:pt x="825" y="1225"/>
                </a:cubicBezTo>
                <a:lnTo>
                  <a:pt x="825" y="1225"/>
                </a:lnTo>
                <a:lnTo>
                  <a:pt x="825" y="1225"/>
                </a:lnTo>
                <a:cubicBezTo>
                  <a:pt x="851" y="1175"/>
                  <a:pt x="851" y="1175"/>
                  <a:pt x="851" y="1175"/>
                </a:cubicBezTo>
                <a:cubicBezTo>
                  <a:pt x="851" y="1175"/>
                  <a:pt x="801" y="1150"/>
                  <a:pt x="801" y="1125"/>
                </a:cubicBezTo>
                <a:cubicBezTo>
                  <a:pt x="801" y="1076"/>
                  <a:pt x="801" y="1050"/>
                  <a:pt x="776" y="1050"/>
                </a:cubicBezTo>
                <a:cubicBezTo>
                  <a:pt x="751" y="1050"/>
                  <a:pt x="751" y="1025"/>
                  <a:pt x="776" y="1001"/>
                </a:cubicBezTo>
                <a:cubicBezTo>
                  <a:pt x="801" y="976"/>
                  <a:pt x="725" y="925"/>
                  <a:pt x="776" y="925"/>
                </a:cubicBezTo>
                <a:cubicBezTo>
                  <a:pt x="825" y="925"/>
                  <a:pt x="776" y="850"/>
                  <a:pt x="825" y="850"/>
                </a:cubicBezTo>
                <a:cubicBezTo>
                  <a:pt x="851" y="850"/>
                  <a:pt x="851" y="825"/>
                  <a:pt x="851" y="801"/>
                </a:cubicBezTo>
                <a:cubicBezTo>
                  <a:pt x="851" y="776"/>
                  <a:pt x="925" y="750"/>
                  <a:pt x="925" y="750"/>
                </a:cubicBezTo>
                <a:cubicBezTo>
                  <a:pt x="951" y="750"/>
                  <a:pt x="951" y="650"/>
                  <a:pt x="951" y="650"/>
                </a:cubicBezTo>
                <a:lnTo>
                  <a:pt x="951" y="4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8" name="Freeform 34">
            <a:extLst>
              <a:ext uri="{FF2B5EF4-FFF2-40B4-BE49-F238E27FC236}">
                <a16:creationId xmlns:a16="http://schemas.microsoft.com/office/drawing/2014/main" id="{F63B492C-B9EA-0943-8DA8-0A76C34F7743}"/>
              </a:ext>
            </a:extLst>
          </p:cNvPr>
          <p:cNvSpPr>
            <a:spLocks noChangeArrowheads="1"/>
          </p:cNvSpPr>
          <p:nvPr/>
        </p:nvSpPr>
        <p:spPr bwMode="auto">
          <a:xfrm>
            <a:off x="6491155" y="3840697"/>
            <a:ext cx="327655" cy="327655"/>
          </a:xfrm>
          <a:custGeom>
            <a:avLst/>
            <a:gdLst>
              <a:gd name="T0" fmla="*/ 950 w 1026"/>
              <a:gd name="T1" fmla="*/ 226 h 1026"/>
              <a:gd name="T2" fmla="*/ 950 w 1026"/>
              <a:gd name="T3" fmla="*/ 226 h 1026"/>
              <a:gd name="T4" fmla="*/ 900 w 1026"/>
              <a:gd name="T5" fmla="*/ 50 h 1026"/>
              <a:gd name="T6" fmla="*/ 875 w 1026"/>
              <a:gd name="T7" fmla="*/ 75 h 1026"/>
              <a:gd name="T8" fmla="*/ 775 w 1026"/>
              <a:gd name="T9" fmla="*/ 50 h 1026"/>
              <a:gd name="T10" fmla="*/ 675 w 1026"/>
              <a:gd name="T11" fmla="*/ 25 h 1026"/>
              <a:gd name="T12" fmla="*/ 475 w 1026"/>
              <a:gd name="T13" fmla="*/ 75 h 1026"/>
              <a:gd name="T14" fmla="*/ 375 w 1026"/>
              <a:gd name="T15" fmla="*/ 75 h 1026"/>
              <a:gd name="T16" fmla="*/ 200 w 1026"/>
              <a:gd name="T17" fmla="*/ 25 h 1026"/>
              <a:gd name="T18" fmla="*/ 50 w 1026"/>
              <a:gd name="T19" fmla="*/ 0 h 1026"/>
              <a:gd name="T20" fmla="*/ 50 w 1026"/>
              <a:gd name="T21" fmla="*/ 25 h 1026"/>
              <a:gd name="T22" fmla="*/ 24 w 1026"/>
              <a:gd name="T23" fmla="*/ 126 h 1026"/>
              <a:gd name="T24" fmla="*/ 24 w 1026"/>
              <a:gd name="T25" fmla="*/ 275 h 1026"/>
              <a:gd name="T26" fmla="*/ 24 w 1026"/>
              <a:gd name="T27" fmla="*/ 999 h 1026"/>
              <a:gd name="T28" fmla="*/ 600 w 1026"/>
              <a:gd name="T29" fmla="*/ 999 h 1026"/>
              <a:gd name="T30" fmla="*/ 625 w 1026"/>
              <a:gd name="T31" fmla="*/ 974 h 1026"/>
              <a:gd name="T32" fmla="*/ 675 w 1026"/>
              <a:gd name="T33" fmla="*/ 999 h 1026"/>
              <a:gd name="T34" fmla="*/ 800 w 1026"/>
              <a:gd name="T35" fmla="*/ 999 h 1026"/>
              <a:gd name="T36" fmla="*/ 850 w 1026"/>
              <a:gd name="T37" fmla="*/ 1025 h 1026"/>
              <a:gd name="T38" fmla="*/ 900 w 1026"/>
              <a:gd name="T39" fmla="*/ 974 h 1026"/>
              <a:gd name="T40" fmla="*/ 975 w 1026"/>
              <a:gd name="T41" fmla="*/ 899 h 1026"/>
              <a:gd name="T42" fmla="*/ 1025 w 1026"/>
              <a:gd name="T43" fmla="*/ 874 h 1026"/>
              <a:gd name="T44" fmla="*/ 1025 w 1026"/>
              <a:gd name="T45" fmla="*/ 874 h 1026"/>
              <a:gd name="T46" fmla="*/ 1025 w 1026"/>
              <a:gd name="T47" fmla="*/ 825 h 1026"/>
              <a:gd name="T48" fmla="*/ 975 w 1026"/>
              <a:gd name="T49" fmla="*/ 724 h 1026"/>
              <a:gd name="T50" fmla="*/ 875 w 1026"/>
              <a:gd name="T51" fmla="*/ 526 h 1026"/>
              <a:gd name="T52" fmla="*/ 825 w 1026"/>
              <a:gd name="T53" fmla="*/ 450 h 1026"/>
              <a:gd name="T54" fmla="*/ 775 w 1026"/>
              <a:gd name="T55" fmla="*/ 326 h 1026"/>
              <a:gd name="T56" fmla="*/ 725 w 1026"/>
              <a:gd name="T57" fmla="*/ 150 h 1026"/>
              <a:gd name="T58" fmla="*/ 800 w 1026"/>
              <a:gd name="T59" fmla="*/ 275 h 1026"/>
              <a:gd name="T60" fmla="*/ 875 w 1026"/>
              <a:gd name="T61" fmla="*/ 400 h 1026"/>
              <a:gd name="T62" fmla="*/ 950 w 1026"/>
              <a:gd name="T63" fmla="*/ 275 h 1026"/>
              <a:gd name="T64" fmla="*/ 950 w 1026"/>
              <a:gd name="T65" fmla="*/ 275 h 1026"/>
              <a:gd name="T66" fmla="*/ 950 w 1026"/>
              <a:gd name="T67" fmla="*/ 250 h 1026"/>
              <a:gd name="T68" fmla="*/ 950 w 1026"/>
              <a:gd name="T69" fmla="*/ 226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6" h="1026">
                <a:moveTo>
                  <a:pt x="950" y="226"/>
                </a:moveTo>
                <a:lnTo>
                  <a:pt x="950" y="226"/>
                </a:lnTo>
                <a:cubicBezTo>
                  <a:pt x="900" y="50"/>
                  <a:pt x="900" y="50"/>
                  <a:pt x="900" y="50"/>
                </a:cubicBezTo>
                <a:cubicBezTo>
                  <a:pt x="900" y="50"/>
                  <a:pt x="875" y="50"/>
                  <a:pt x="875" y="75"/>
                </a:cubicBezTo>
                <a:cubicBezTo>
                  <a:pt x="875" y="75"/>
                  <a:pt x="825" y="50"/>
                  <a:pt x="775" y="50"/>
                </a:cubicBezTo>
                <a:cubicBezTo>
                  <a:pt x="750" y="75"/>
                  <a:pt x="700" y="50"/>
                  <a:pt x="675" y="25"/>
                </a:cubicBezTo>
                <a:cubicBezTo>
                  <a:pt x="625" y="0"/>
                  <a:pt x="500" y="50"/>
                  <a:pt x="475" y="75"/>
                </a:cubicBezTo>
                <a:cubicBezTo>
                  <a:pt x="450" y="100"/>
                  <a:pt x="400" y="100"/>
                  <a:pt x="375" y="75"/>
                </a:cubicBezTo>
                <a:cubicBezTo>
                  <a:pt x="325" y="50"/>
                  <a:pt x="275" y="25"/>
                  <a:pt x="200" y="25"/>
                </a:cubicBezTo>
                <a:cubicBezTo>
                  <a:pt x="125" y="25"/>
                  <a:pt x="75" y="0"/>
                  <a:pt x="50" y="0"/>
                </a:cubicBezTo>
                <a:cubicBezTo>
                  <a:pt x="50" y="0"/>
                  <a:pt x="50" y="0"/>
                  <a:pt x="50" y="25"/>
                </a:cubicBezTo>
                <a:cubicBezTo>
                  <a:pt x="24" y="75"/>
                  <a:pt x="50" y="100"/>
                  <a:pt x="24" y="126"/>
                </a:cubicBezTo>
                <a:cubicBezTo>
                  <a:pt x="0" y="175"/>
                  <a:pt x="24" y="200"/>
                  <a:pt x="24" y="275"/>
                </a:cubicBezTo>
                <a:cubicBezTo>
                  <a:pt x="24" y="326"/>
                  <a:pt x="24" y="724"/>
                  <a:pt x="24" y="999"/>
                </a:cubicBezTo>
                <a:cubicBezTo>
                  <a:pt x="600" y="999"/>
                  <a:pt x="600" y="999"/>
                  <a:pt x="600" y="999"/>
                </a:cubicBezTo>
                <a:lnTo>
                  <a:pt x="625" y="974"/>
                </a:lnTo>
                <a:cubicBezTo>
                  <a:pt x="650" y="949"/>
                  <a:pt x="675" y="999"/>
                  <a:pt x="675" y="999"/>
                </a:cubicBezTo>
                <a:cubicBezTo>
                  <a:pt x="800" y="999"/>
                  <a:pt x="800" y="999"/>
                  <a:pt x="800" y="999"/>
                </a:cubicBezTo>
                <a:cubicBezTo>
                  <a:pt x="800" y="999"/>
                  <a:pt x="825" y="1025"/>
                  <a:pt x="850" y="1025"/>
                </a:cubicBezTo>
                <a:cubicBezTo>
                  <a:pt x="875" y="1025"/>
                  <a:pt x="875" y="974"/>
                  <a:pt x="900" y="974"/>
                </a:cubicBezTo>
                <a:cubicBezTo>
                  <a:pt x="950" y="974"/>
                  <a:pt x="950" y="899"/>
                  <a:pt x="975" y="899"/>
                </a:cubicBezTo>
                <a:cubicBezTo>
                  <a:pt x="1000" y="899"/>
                  <a:pt x="1000" y="899"/>
                  <a:pt x="1025" y="874"/>
                </a:cubicBezTo>
                <a:lnTo>
                  <a:pt x="1025" y="874"/>
                </a:lnTo>
                <a:cubicBezTo>
                  <a:pt x="1025" y="849"/>
                  <a:pt x="1025" y="849"/>
                  <a:pt x="1025" y="825"/>
                </a:cubicBezTo>
                <a:cubicBezTo>
                  <a:pt x="1025" y="774"/>
                  <a:pt x="1000" y="799"/>
                  <a:pt x="975" y="724"/>
                </a:cubicBezTo>
                <a:cubicBezTo>
                  <a:pt x="950" y="675"/>
                  <a:pt x="875" y="575"/>
                  <a:pt x="875" y="526"/>
                </a:cubicBezTo>
                <a:cubicBezTo>
                  <a:pt x="875" y="500"/>
                  <a:pt x="825" y="475"/>
                  <a:pt x="825" y="450"/>
                </a:cubicBezTo>
                <a:cubicBezTo>
                  <a:pt x="825" y="400"/>
                  <a:pt x="825" y="400"/>
                  <a:pt x="775" y="326"/>
                </a:cubicBezTo>
                <a:cubicBezTo>
                  <a:pt x="725" y="275"/>
                  <a:pt x="725" y="175"/>
                  <a:pt x="725" y="150"/>
                </a:cubicBezTo>
                <a:cubicBezTo>
                  <a:pt x="750" y="150"/>
                  <a:pt x="775" y="250"/>
                  <a:pt x="800" y="275"/>
                </a:cubicBezTo>
                <a:cubicBezTo>
                  <a:pt x="800" y="326"/>
                  <a:pt x="850" y="400"/>
                  <a:pt x="875" y="400"/>
                </a:cubicBezTo>
                <a:cubicBezTo>
                  <a:pt x="925" y="400"/>
                  <a:pt x="925" y="275"/>
                  <a:pt x="950" y="275"/>
                </a:cubicBezTo>
                <a:lnTo>
                  <a:pt x="950" y="275"/>
                </a:lnTo>
                <a:cubicBezTo>
                  <a:pt x="950" y="250"/>
                  <a:pt x="950" y="250"/>
                  <a:pt x="950" y="250"/>
                </a:cubicBezTo>
                <a:lnTo>
                  <a:pt x="950" y="226"/>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09" name="Freeform 35">
            <a:extLst>
              <a:ext uri="{FF2B5EF4-FFF2-40B4-BE49-F238E27FC236}">
                <a16:creationId xmlns:a16="http://schemas.microsoft.com/office/drawing/2014/main" id="{ACA99E20-CDF3-FF4F-830C-57E192AB9EC8}"/>
              </a:ext>
            </a:extLst>
          </p:cNvPr>
          <p:cNvSpPr>
            <a:spLocks noChangeArrowheads="1"/>
          </p:cNvSpPr>
          <p:nvPr/>
        </p:nvSpPr>
        <p:spPr bwMode="auto">
          <a:xfrm>
            <a:off x="6028503" y="4764598"/>
            <a:ext cx="174373" cy="191249"/>
          </a:xfrm>
          <a:custGeom>
            <a:avLst/>
            <a:gdLst>
              <a:gd name="T0" fmla="*/ 273 w 549"/>
              <a:gd name="T1" fmla="*/ 551 h 601"/>
              <a:gd name="T2" fmla="*/ 273 w 549"/>
              <a:gd name="T3" fmla="*/ 551 h 601"/>
              <a:gd name="T4" fmla="*/ 299 w 549"/>
              <a:gd name="T5" fmla="*/ 476 h 601"/>
              <a:gd name="T6" fmla="*/ 348 w 549"/>
              <a:gd name="T7" fmla="*/ 451 h 601"/>
              <a:gd name="T8" fmla="*/ 399 w 549"/>
              <a:gd name="T9" fmla="*/ 400 h 601"/>
              <a:gd name="T10" fmla="*/ 448 w 549"/>
              <a:gd name="T11" fmla="*/ 451 h 601"/>
              <a:gd name="T12" fmla="*/ 498 w 549"/>
              <a:gd name="T13" fmla="*/ 476 h 601"/>
              <a:gd name="T14" fmla="*/ 548 w 549"/>
              <a:gd name="T15" fmla="*/ 351 h 601"/>
              <a:gd name="T16" fmla="*/ 524 w 549"/>
              <a:gd name="T17" fmla="*/ 251 h 601"/>
              <a:gd name="T18" fmla="*/ 498 w 549"/>
              <a:gd name="T19" fmla="*/ 176 h 601"/>
              <a:gd name="T20" fmla="*/ 498 w 549"/>
              <a:gd name="T21" fmla="*/ 100 h 601"/>
              <a:gd name="T22" fmla="*/ 424 w 549"/>
              <a:gd name="T23" fmla="*/ 100 h 601"/>
              <a:gd name="T24" fmla="*/ 424 w 549"/>
              <a:gd name="T25" fmla="*/ 0 h 601"/>
              <a:gd name="T26" fmla="*/ 273 w 549"/>
              <a:gd name="T27" fmla="*/ 0 h 601"/>
              <a:gd name="T28" fmla="*/ 273 w 549"/>
              <a:gd name="T29" fmla="*/ 0 h 601"/>
              <a:gd name="T30" fmla="*/ 273 w 549"/>
              <a:gd name="T31" fmla="*/ 126 h 601"/>
              <a:gd name="T32" fmla="*/ 149 w 549"/>
              <a:gd name="T33" fmla="*/ 126 h 601"/>
              <a:gd name="T34" fmla="*/ 100 w 549"/>
              <a:gd name="T35" fmla="*/ 126 h 601"/>
              <a:gd name="T36" fmla="*/ 74 w 549"/>
              <a:gd name="T37" fmla="*/ 151 h 601"/>
              <a:gd name="T38" fmla="*/ 125 w 549"/>
              <a:gd name="T39" fmla="*/ 200 h 601"/>
              <a:gd name="T40" fmla="*/ 74 w 549"/>
              <a:gd name="T41" fmla="*/ 251 h 601"/>
              <a:gd name="T42" fmla="*/ 25 w 549"/>
              <a:gd name="T43" fmla="*/ 300 h 601"/>
              <a:gd name="T44" fmla="*/ 74 w 549"/>
              <a:gd name="T45" fmla="*/ 376 h 601"/>
              <a:gd name="T46" fmla="*/ 149 w 549"/>
              <a:gd name="T47" fmla="*/ 476 h 601"/>
              <a:gd name="T48" fmla="*/ 225 w 549"/>
              <a:gd name="T49" fmla="*/ 600 h 601"/>
              <a:gd name="T50" fmla="*/ 273 w 549"/>
              <a:gd name="T51" fmla="*/ 55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9" h="601">
                <a:moveTo>
                  <a:pt x="273" y="551"/>
                </a:moveTo>
                <a:lnTo>
                  <a:pt x="273" y="551"/>
                </a:lnTo>
                <a:cubicBezTo>
                  <a:pt x="324" y="551"/>
                  <a:pt x="299" y="525"/>
                  <a:pt x="299" y="476"/>
                </a:cubicBezTo>
                <a:cubicBezTo>
                  <a:pt x="273" y="451"/>
                  <a:pt x="324" y="451"/>
                  <a:pt x="348" y="451"/>
                </a:cubicBezTo>
                <a:cubicBezTo>
                  <a:pt x="373" y="451"/>
                  <a:pt x="373" y="400"/>
                  <a:pt x="399" y="400"/>
                </a:cubicBezTo>
                <a:cubicBezTo>
                  <a:pt x="399" y="400"/>
                  <a:pt x="424" y="451"/>
                  <a:pt x="448" y="451"/>
                </a:cubicBezTo>
                <a:cubicBezTo>
                  <a:pt x="473" y="451"/>
                  <a:pt x="473" y="476"/>
                  <a:pt x="498" y="476"/>
                </a:cubicBezTo>
                <a:cubicBezTo>
                  <a:pt x="548" y="451"/>
                  <a:pt x="548" y="400"/>
                  <a:pt x="548" y="351"/>
                </a:cubicBezTo>
                <a:cubicBezTo>
                  <a:pt x="548" y="300"/>
                  <a:pt x="548" y="276"/>
                  <a:pt x="524" y="251"/>
                </a:cubicBezTo>
                <a:cubicBezTo>
                  <a:pt x="473" y="226"/>
                  <a:pt x="473" y="200"/>
                  <a:pt x="498" y="176"/>
                </a:cubicBezTo>
                <a:cubicBezTo>
                  <a:pt x="524" y="151"/>
                  <a:pt x="548" y="126"/>
                  <a:pt x="498" y="100"/>
                </a:cubicBezTo>
                <a:cubicBezTo>
                  <a:pt x="473" y="76"/>
                  <a:pt x="424" y="126"/>
                  <a:pt x="424" y="100"/>
                </a:cubicBezTo>
                <a:cubicBezTo>
                  <a:pt x="424" y="100"/>
                  <a:pt x="424" y="51"/>
                  <a:pt x="424" y="0"/>
                </a:cubicBezTo>
                <a:cubicBezTo>
                  <a:pt x="348" y="0"/>
                  <a:pt x="273" y="0"/>
                  <a:pt x="273" y="0"/>
                </a:cubicBezTo>
                <a:lnTo>
                  <a:pt x="273" y="0"/>
                </a:lnTo>
                <a:cubicBezTo>
                  <a:pt x="273" y="76"/>
                  <a:pt x="273" y="126"/>
                  <a:pt x="273" y="126"/>
                </a:cubicBezTo>
                <a:lnTo>
                  <a:pt x="149" y="126"/>
                </a:lnTo>
                <a:cubicBezTo>
                  <a:pt x="125" y="126"/>
                  <a:pt x="125" y="126"/>
                  <a:pt x="100" y="126"/>
                </a:cubicBezTo>
                <a:cubicBezTo>
                  <a:pt x="100" y="151"/>
                  <a:pt x="74" y="151"/>
                  <a:pt x="74" y="151"/>
                </a:cubicBezTo>
                <a:cubicBezTo>
                  <a:pt x="74" y="176"/>
                  <a:pt x="100" y="176"/>
                  <a:pt x="125" y="200"/>
                </a:cubicBezTo>
                <a:cubicBezTo>
                  <a:pt x="125" y="226"/>
                  <a:pt x="49" y="226"/>
                  <a:pt x="74" y="251"/>
                </a:cubicBezTo>
                <a:cubicBezTo>
                  <a:pt x="74" y="276"/>
                  <a:pt x="49" y="300"/>
                  <a:pt x="25" y="300"/>
                </a:cubicBezTo>
                <a:cubicBezTo>
                  <a:pt x="0" y="326"/>
                  <a:pt x="74" y="376"/>
                  <a:pt x="74" y="376"/>
                </a:cubicBezTo>
                <a:cubicBezTo>
                  <a:pt x="74" y="400"/>
                  <a:pt x="74" y="426"/>
                  <a:pt x="149" y="476"/>
                </a:cubicBezTo>
                <a:cubicBezTo>
                  <a:pt x="200" y="525"/>
                  <a:pt x="174" y="525"/>
                  <a:pt x="225" y="600"/>
                </a:cubicBezTo>
                <a:cubicBezTo>
                  <a:pt x="248" y="576"/>
                  <a:pt x="248" y="551"/>
                  <a:pt x="273" y="5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0" name="Freeform 36">
            <a:extLst>
              <a:ext uri="{FF2B5EF4-FFF2-40B4-BE49-F238E27FC236}">
                <a16:creationId xmlns:a16="http://schemas.microsoft.com/office/drawing/2014/main" id="{26FB0EE9-5D3B-1546-AC35-6D4E9D01B6CB}"/>
              </a:ext>
            </a:extLst>
          </p:cNvPr>
          <p:cNvSpPr>
            <a:spLocks noChangeArrowheads="1"/>
          </p:cNvSpPr>
          <p:nvPr/>
        </p:nvSpPr>
        <p:spPr bwMode="auto">
          <a:xfrm>
            <a:off x="6052409" y="4764598"/>
            <a:ext cx="63281" cy="40780"/>
          </a:xfrm>
          <a:custGeom>
            <a:avLst/>
            <a:gdLst>
              <a:gd name="T0" fmla="*/ 199 w 200"/>
              <a:gd name="T1" fmla="*/ 126 h 127"/>
              <a:gd name="T2" fmla="*/ 199 w 200"/>
              <a:gd name="T3" fmla="*/ 126 h 127"/>
              <a:gd name="T4" fmla="*/ 199 w 200"/>
              <a:gd name="T5" fmla="*/ 0 h 127"/>
              <a:gd name="T6" fmla="*/ 174 w 200"/>
              <a:gd name="T7" fmla="*/ 0 h 127"/>
              <a:gd name="T8" fmla="*/ 51 w 200"/>
              <a:gd name="T9" fmla="*/ 0 h 127"/>
              <a:gd name="T10" fmla="*/ 51 w 200"/>
              <a:gd name="T11" fmla="*/ 26 h 127"/>
              <a:gd name="T12" fmla="*/ 26 w 200"/>
              <a:gd name="T13" fmla="*/ 76 h 127"/>
              <a:gd name="T14" fmla="*/ 26 w 200"/>
              <a:gd name="T15" fmla="*/ 126 h 127"/>
              <a:gd name="T16" fmla="*/ 26 w 200"/>
              <a:gd name="T17" fmla="*/ 126 h 127"/>
              <a:gd name="T18" fmla="*/ 75 w 200"/>
              <a:gd name="T19" fmla="*/ 126 h 127"/>
              <a:gd name="T20" fmla="*/ 199 w 200"/>
              <a:gd name="T21" fmla="*/ 12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27">
                <a:moveTo>
                  <a:pt x="199" y="126"/>
                </a:moveTo>
                <a:lnTo>
                  <a:pt x="199" y="126"/>
                </a:lnTo>
                <a:cubicBezTo>
                  <a:pt x="199" y="126"/>
                  <a:pt x="199" y="76"/>
                  <a:pt x="199" y="0"/>
                </a:cubicBezTo>
                <a:cubicBezTo>
                  <a:pt x="174" y="0"/>
                  <a:pt x="174" y="0"/>
                  <a:pt x="174" y="0"/>
                </a:cubicBezTo>
                <a:cubicBezTo>
                  <a:pt x="51" y="0"/>
                  <a:pt x="51" y="0"/>
                  <a:pt x="51" y="0"/>
                </a:cubicBezTo>
                <a:lnTo>
                  <a:pt x="51" y="26"/>
                </a:lnTo>
                <a:cubicBezTo>
                  <a:pt x="51" y="26"/>
                  <a:pt x="51" y="76"/>
                  <a:pt x="26" y="76"/>
                </a:cubicBezTo>
                <a:cubicBezTo>
                  <a:pt x="0" y="76"/>
                  <a:pt x="0" y="100"/>
                  <a:pt x="26" y="126"/>
                </a:cubicBezTo>
                <a:lnTo>
                  <a:pt x="26" y="126"/>
                </a:lnTo>
                <a:cubicBezTo>
                  <a:pt x="51" y="126"/>
                  <a:pt x="51" y="126"/>
                  <a:pt x="75" y="126"/>
                </a:cubicBezTo>
                <a:lnTo>
                  <a:pt x="199" y="126"/>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1" name="Freeform 37">
            <a:extLst>
              <a:ext uri="{FF2B5EF4-FFF2-40B4-BE49-F238E27FC236}">
                <a16:creationId xmlns:a16="http://schemas.microsoft.com/office/drawing/2014/main" id="{9E55270E-B691-EC4D-A9A6-3BA28790D9BB}"/>
              </a:ext>
            </a:extLst>
          </p:cNvPr>
          <p:cNvSpPr>
            <a:spLocks noChangeArrowheads="1"/>
          </p:cNvSpPr>
          <p:nvPr/>
        </p:nvSpPr>
        <p:spPr bwMode="auto">
          <a:xfrm>
            <a:off x="6100220" y="4725223"/>
            <a:ext cx="215155" cy="262967"/>
          </a:xfrm>
          <a:custGeom>
            <a:avLst/>
            <a:gdLst>
              <a:gd name="T0" fmla="*/ 174 w 675"/>
              <a:gd name="T1" fmla="*/ 775 h 825"/>
              <a:gd name="T2" fmla="*/ 174 w 675"/>
              <a:gd name="T3" fmla="*/ 775 h 825"/>
              <a:gd name="T4" fmla="*/ 248 w 675"/>
              <a:gd name="T5" fmla="*/ 775 h 825"/>
              <a:gd name="T6" fmla="*/ 323 w 675"/>
              <a:gd name="T7" fmla="*/ 775 h 825"/>
              <a:gd name="T8" fmla="*/ 374 w 675"/>
              <a:gd name="T9" fmla="*/ 775 h 825"/>
              <a:gd name="T10" fmla="*/ 423 w 675"/>
              <a:gd name="T11" fmla="*/ 724 h 825"/>
              <a:gd name="T12" fmla="*/ 448 w 675"/>
              <a:gd name="T13" fmla="*/ 649 h 825"/>
              <a:gd name="T14" fmla="*/ 474 w 675"/>
              <a:gd name="T15" fmla="*/ 500 h 825"/>
              <a:gd name="T16" fmla="*/ 548 w 675"/>
              <a:gd name="T17" fmla="*/ 400 h 825"/>
              <a:gd name="T18" fmla="*/ 624 w 675"/>
              <a:gd name="T19" fmla="*/ 200 h 825"/>
              <a:gd name="T20" fmla="*/ 648 w 675"/>
              <a:gd name="T21" fmla="*/ 100 h 825"/>
              <a:gd name="T22" fmla="*/ 674 w 675"/>
              <a:gd name="T23" fmla="*/ 0 h 825"/>
              <a:gd name="T24" fmla="*/ 674 w 675"/>
              <a:gd name="T25" fmla="*/ 0 h 825"/>
              <a:gd name="T26" fmla="*/ 574 w 675"/>
              <a:gd name="T27" fmla="*/ 0 h 825"/>
              <a:gd name="T28" fmla="*/ 548 w 675"/>
              <a:gd name="T29" fmla="*/ 0 h 825"/>
              <a:gd name="T30" fmla="*/ 499 w 675"/>
              <a:gd name="T31" fmla="*/ 24 h 825"/>
              <a:gd name="T32" fmla="*/ 474 w 675"/>
              <a:gd name="T33" fmla="*/ 75 h 825"/>
              <a:gd name="T34" fmla="*/ 448 w 675"/>
              <a:gd name="T35" fmla="*/ 175 h 825"/>
              <a:gd name="T36" fmla="*/ 299 w 675"/>
              <a:gd name="T37" fmla="*/ 124 h 825"/>
              <a:gd name="T38" fmla="*/ 199 w 675"/>
              <a:gd name="T39" fmla="*/ 124 h 825"/>
              <a:gd name="T40" fmla="*/ 199 w 675"/>
              <a:gd name="T41" fmla="*/ 224 h 825"/>
              <a:gd name="T42" fmla="*/ 273 w 675"/>
              <a:gd name="T43" fmla="*/ 224 h 825"/>
              <a:gd name="T44" fmla="*/ 273 w 675"/>
              <a:gd name="T45" fmla="*/ 300 h 825"/>
              <a:gd name="T46" fmla="*/ 299 w 675"/>
              <a:gd name="T47" fmla="*/ 375 h 825"/>
              <a:gd name="T48" fmla="*/ 323 w 675"/>
              <a:gd name="T49" fmla="*/ 475 h 825"/>
              <a:gd name="T50" fmla="*/ 273 w 675"/>
              <a:gd name="T51" fmla="*/ 600 h 825"/>
              <a:gd name="T52" fmla="*/ 223 w 675"/>
              <a:gd name="T53" fmla="*/ 575 h 825"/>
              <a:gd name="T54" fmla="*/ 174 w 675"/>
              <a:gd name="T55" fmla="*/ 524 h 825"/>
              <a:gd name="T56" fmla="*/ 123 w 675"/>
              <a:gd name="T57" fmla="*/ 575 h 825"/>
              <a:gd name="T58" fmla="*/ 74 w 675"/>
              <a:gd name="T59" fmla="*/ 600 h 825"/>
              <a:gd name="T60" fmla="*/ 48 w 675"/>
              <a:gd name="T61" fmla="*/ 675 h 825"/>
              <a:gd name="T62" fmla="*/ 0 w 675"/>
              <a:gd name="T63" fmla="*/ 724 h 825"/>
              <a:gd name="T64" fmla="*/ 23 w 675"/>
              <a:gd name="T65" fmla="*/ 724 h 825"/>
              <a:gd name="T66" fmla="*/ 99 w 675"/>
              <a:gd name="T67" fmla="*/ 824 h 825"/>
              <a:gd name="T68" fmla="*/ 174 w 675"/>
              <a:gd name="T69" fmla="*/ 77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5" h="825">
                <a:moveTo>
                  <a:pt x="174" y="775"/>
                </a:moveTo>
                <a:lnTo>
                  <a:pt x="174" y="775"/>
                </a:lnTo>
                <a:cubicBezTo>
                  <a:pt x="199" y="775"/>
                  <a:pt x="223" y="800"/>
                  <a:pt x="248" y="775"/>
                </a:cubicBezTo>
                <a:cubicBezTo>
                  <a:pt x="273" y="750"/>
                  <a:pt x="323" y="750"/>
                  <a:pt x="323" y="775"/>
                </a:cubicBezTo>
                <a:cubicBezTo>
                  <a:pt x="323" y="824"/>
                  <a:pt x="323" y="800"/>
                  <a:pt x="374" y="775"/>
                </a:cubicBezTo>
                <a:cubicBezTo>
                  <a:pt x="399" y="750"/>
                  <a:pt x="423" y="775"/>
                  <a:pt x="423" y="724"/>
                </a:cubicBezTo>
                <a:cubicBezTo>
                  <a:pt x="423" y="675"/>
                  <a:pt x="448" y="724"/>
                  <a:pt x="448" y="649"/>
                </a:cubicBezTo>
                <a:cubicBezTo>
                  <a:pt x="448" y="600"/>
                  <a:pt x="474" y="524"/>
                  <a:pt x="474" y="500"/>
                </a:cubicBezTo>
                <a:cubicBezTo>
                  <a:pt x="474" y="475"/>
                  <a:pt x="548" y="450"/>
                  <a:pt x="548" y="400"/>
                </a:cubicBezTo>
                <a:cubicBezTo>
                  <a:pt x="548" y="350"/>
                  <a:pt x="624" y="250"/>
                  <a:pt x="624" y="200"/>
                </a:cubicBezTo>
                <a:cubicBezTo>
                  <a:pt x="624" y="150"/>
                  <a:pt x="624" y="124"/>
                  <a:pt x="648" y="100"/>
                </a:cubicBezTo>
                <a:cubicBezTo>
                  <a:pt x="648" y="75"/>
                  <a:pt x="674" y="50"/>
                  <a:pt x="674" y="0"/>
                </a:cubicBezTo>
                <a:lnTo>
                  <a:pt x="674" y="0"/>
                </a:lnTo>
                <a:cubicBezTo>
                  <a:pt x="574" y="0"/>
                  <a:pt x="574" y="0"/>
                  <a:pt x="574" y="0"/>
                </a:cubicBezTo>
                <a:cubicBezTo>
                  <a:pt x="548" y="0"/>
                  <a:pt x="548" y="0"/>
                  <a:pt x="548" y="0"/>
                </a:cubicBezTo>
                <a:cubicBezTo>
                  <a:pt x="499" y="24"/>
                  <a:pt x="499" y="24"/>
                  <a:pt x="499" y="24"/>
                </a:cubicBezTo>
                <a:cubicBezTo>
                  <a:pt x="499" y="24"/>
                  <a:pt x="499" y="50"/>
                  <a:pt x="474" y="75"/>
                </a:cubicBezTo>
                <a:cubicBezTo>
                  <a:pt x="448" y="124"/>
                  <a:pt x="448" y="175"/>
                  <a:pt x="448" y="175"/>
                </a:cubicBezTo>
                <a:cubicBezTo>
                  <a:pt x="448" y="175"/>
                  <a:pt x="348" y="124"/>
                  <a:pt x="299" y="124"/>
                </a:cubicBezTo>
                <a:cubicBezTo>
                  <a:pt x="299" y="124"/>
                  <a:pt x="248" y="124"/>
                  <a:pt x="199" y="124"/>
                </a:cubicBezTo>
                <a:cubicBezTo>
                  <a:pt x="199" y="175"/>
                  <a:pt x="199" y="224"/>
                  <a:pt x="199" y="224"/>
                </a:cubicBezTo>
                <a:cubicBezTo>
                  <a:pt x="199" y="250"/>
                  <a:pt x="248" y="200"/>
                  <a:pt x="273" y="224"/>
                </a:cubicBezTo>
                <a:cubicBezTo>
                  <a:pt x="323" y="250"/>
                  <a:pt x="299" y="275"/>
                  <a:pt x="273" y="300"/>
                </a:cubicBezTo>
                <a:cubicBezTo>
                  <a:pt x="248" y="324"/>
                  <a:pt x="248" y="350"/>
                  <a:pt x="299" y="375"/>
                </a:cubicBezTo>
                <a:cubicBezTo>
                  <a:pt x="323" y="400"/>
                  <a:pt x="323" y="424"/>
                  <a:pt x="323" y="475"/>
                </a:cubicBezTo>
                <a:cubicBezTo>
                  <a:pt x="323" y="524"/>
                  <a:pt x="323" y="575"/>
                  <a:pt x="273" y="600"/>
                </a:cubicBezTo>
                <a:cubicBezTo>
                  <a:pt x="248" y="600"/>
                  <a:pt x="248" y="575"/>
                  <a:pt x="223" y="575"/>
                </a:cubicBezTo>
                <a:cubicBezTo>
                  <a:pt x="199" y="575"/>
                  <a:pt x="174" y="524"/>
                  <a:pt x="174" y="524"/>
                </a:cubicBezTo>
                <a:cubicBezTo>
                  <a:pt x="148" y="524"/>
                  <a:pt x="148" y="575"/>
                  <a:pt x="123" y="575"/>
                </a:cubicBezTo>
                <a:cubicBezTo>
                  <a:pt x="99" y="575"/>
                  <a:pt x="48" y="575"/>
                  <a:pt x="74" y="600"/>
                </a:cubicBezTo>
                <a:cubicBezTo>
                  <a:pt x="74" y="649"/>
                  <a:pt x="99" y="675"/>
                  <a:pt x="48" y="675"/>
                </a:cubicBezTo>
                <a:cubicBezTo>
                  <a:pt x="23" y="675"/>
                  <a:pt x="23" y="700"/>
                  <a:pt x="0" y="724"/>
                </a:cubicBezTo>
                <a:lnTo>
                  <a:pt x="23" y="724"/>
                </a:lnTo>
                <a:cubicBezTo>
                  <a:pt x="48" y="750"/>
                  <a:pt x="74" y="775"/>
                  <a:pt x="99" y="824"/>
                </a:cubicBezTo>
                <a:cubicBezTo>
                  <a:pt x="123" y="800"/>
                  <a:pt x="174" y="775"/>
                  <a:pt x="174" y="7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2" name="Freeform 38">
            <a:extLst>
              <a:ext uri="{FF2B5EF4-FFF2-40B4-BE49-F238E27FC236}">
                <a16:creationId xmlns:a16="http://schemas.microsoft.com/office/drawing/2014/main" id="{3500FC8F-1BFA-B547-A0FA-E24E7E1EB7F8}"/>
              </a:ext>
            </a:extLst>
          </p:cNvPr>
          <p:cNvSpPr>
            <a:spLocks noChangeArrowheads="1"/>
          </p:cNvSpPr>
          <p:nvPr/>
        </p:nvSpPr>
        <p:spPr bwMode="auto">
          <a:xfrm>
            <a:off x="6402561" y="4119131"/>
            <a:ext cx="503435" cy="614528"/>
          </a:xfrm>
          <a:custGeom>
            <a:avLst/>
            <a:gdLst>
              <a:gd name="T0" fmla="*/ 1251 w 1577"/>
              <a:gd name="T1" fmla="*/ 25 h 1926"/>
              <a:gd name="T2" fmla="*/ 1126 w 1577"/>
              <a:gd name="T3" fmla="*/ 151 h 1926"/>
              <a:gd name="T4" fmla="*/ 951 w 1577"/>
              <a:gd name="T5" fmla="*/ 125 h 1926"/>
              <a:gd name="T6" fmla="*/ 876 w 1577"/>
              <a:gd name="T7" fmla="*/ 125 h 1926"/>
              <a:gd name="T8" fmla="*/ 300 w 1577"/>
              <a:gd name="T9" fmla="*/ 325 h 1926"/>
              <a:gd name="T10" fmla="*/ 226 w 1577"/>
              <a:gd name="T11" fmla="*/ 625 h 1926"/>
              <a:gd name="T12" fmla="*/ 126 w 1577"/>
              <a:gd name="T13" fmla="*/ 776 h 1926"/>
              <a:gd name="T14" fmla="*/ 51 w 1577"/>
              <a:gd name="T15" fmla="*/ 900 h 1926"/>
              <a:gd name="T16" fmla="*/ 51 w 1577"/>
              <a:gd name="T17" fmla="*/ 1025 h 1926"/>
              <a:gd name="T18" fmla="*/ 126 w 1577"/>
              <a:gd name="T19" fmla="*/ 1150 h 1926"/>
              <a:gd name="T20" fmla="*/ 176 w 1577"/>
              <a:gd name="T21" fmla="*/ 1276 h 1926"/>
              <a:gd name="T22" fmla="*/ 176 w 1577"/>
              <a:gd name="T23" fmla="*/ 1400 h 1926"/>
              <a:gd name="T24" fmla="*/ 226 w 1577"/>
              <a:gd name="T25" fmla="*/ 1425 h 1926"/>
              <a:gd name="T26" fmla="*/ 351 w 1577"/>
              <a:gd name="T27" fmla="*/ 1525 h 1926"/>
              <a:gd name="T28" fmla="*/ 426 w 1577"/>
              <a:gd name="T29" fmla="*/ 1651 h 1926"/>
              <a:gd name="T30" fmla="*/ 526 w 1577"/>
              <a:gd name="T31" fmla="*/ 1751 h 1926"/>
              <a:gd name="T32" fmla="*/ 576 w 1577"/>
              <a:gd name="T33" fmla="*/ 1825 h 1926"/>
              <a:gd name="T34" fmla="*/ 701 w 1577"/>
              <a:gd name="T35" fmla="*/ 1825 h 1926"/>
              <a:gd name="T36" fmla="*/ 851 w 1577"/>
              <a:gd name="T37" fmla="*/ 1901 h 1926"/>
              <a:gd name="T38" fmla="*/ 976 w 1577"/>
              <a:gd name="T39" fmla="*/ 1901 h 1926"/>
              <a:gd name="T40" fmla="*/ 1101 w 1577"/>
              <a:gd name="T41" fmla="*/ 1876 h 1926"/>
              <a:gd name="T42" fmla="*/ 1151 w 1577"/>
              <a:gd name="T43" fmla="*/ 1825 h 1926"/>
              <a:gd name="T44" fmla="*/ 1276 w 1577"/>
              <a:gd name="T45" fmla="*/ 1776 h 1926"/>
              <a:gd name="T46" fmla="*/ 1301 w 1577"/>
              <a:gd name="T47" fmla="*/ 1725 h 1926"/>
              <a:gd name="T48" fmla="*/ 1126 w 1577"/>
              <a:gd name="T49" fmla="*/ 1551 h 1926"/>
              <a:gd name="T50" fmla="*/ 1076 w 1577"/>
              <a:gd name="T51" fmla="*/ 1451 h 1926"/>
              <a:gd name="T52" fmla="*/ 1151 w 1577"/>
              <a:gd name="T53" fmla="*/ 1325 h 1926"/>
              <a:gd name="T54" fmla="*/ 1226 w 1577"/>
              <a:gd name="T55" fmla="*/ 1200 h 1926"/>
              <a:gd name="T56" fmla="*/ 1301 w 1577"/>
              <a:gd name="T57" fmla="*/ 1025 h 1926"/>
              <a:gd name="T58" fmla="*/ 1376 w 1577"/>
              <a:gd name="T59" fmla="*/ 876 h 1926"/>
              <a:gd name="T60" fmla="*/ 1426 w 1577"/>
              <a:gd name="T61" fmla="*/ 651 h 1926"/>
              <a:gd name="T62" fmla="*/ 1576 w 1577"/>
              <a:gd name="T63" fmla="*/ 525 h 1926"/>
              <a:gd name="T64" fmla="*/ 1451 w 1577"/>
              <a:gd name="T65" fmla="*/ 325 h 1926"/>
              <a:gd name="T66" fmla="*/ 1351 w 1577"/>
              <a:gd name="T67" fmla="*/ 75 h 1926"/>
              <a:gd name="T68" fmla="*/ 1301 w 1577"/>
              <a:gd name="T69" fmla="*/ 0 h 1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7" h="1926">
                <a:moveTo>
                  <a:pt x="1251" y="25"/>
                </a:moveTo>
                <a:lnTo>
                  <a:pt x="1251" y="25"/>
                </a:lnTo>
                <a:cubicBezTo>
                  <a:pt x="1226" y="25"/>
                  <a:pt x="1226" y="100"/>
                  <a:pt x="1176" y="100"/>
                </a:cubicBezTo>
                <a:cubicBezTo>
                  <a:pt x="1151" y="100"/>
                  <a:pt x="1151" y="151"/>
                  <a:pt x="1126" y="151"/>
                </a:cubicBezTo>
                <a:cubicBezTo>
                  <a:pt x="1101" y="151"/>
                  <a:pt x="1076" y="125"/>
                  <a:pt x="1076" y="125"/>
                </a:cubicBezTo>
                <a:cubicBezTo>
                  <a:pt x="951" y="125"/>
                  <a:pt x="951" y="125"/>
                  <a:pt x="951" y="125"/>
                </a:cubicBezTo>
                <a:cubicBezTo>
                  <a:pt x="951" y="125"/>
                  <a:pt x="926" y="75"/>
                  <a:pt x="901" y="100"/>
                </a:cubicBezTo>
                <a:lnTo>
                  <a:pt x="876" y="125"/>
                </a:lnTo>
                <a:cubicBezTo>
                  <a:pt x="300" y="125"/>
                  <a:pt x="300" y="125"/>
                  <a:pt x="300" y="125"/>
                </a:cubicBezTo>
                <a:cubicBezTo>
                  <a:pt x="300" y="225"/>
                  <a:pt x="300" y="325"/>
                  <a:pt x="300" y="325"/>
                </a:cubicBezTo>
                <a:cubicBezTo>
                  <a:pt x="226" y="325"/>
                  <a:pt x="226" y="325"/>
                  <a:pt x="226" y="325"/>
                </a:cubicBezTo>
                <a:cubicBezTo>
                  <a:pt x="226" y="625"/>
                  <a:pt x="226" y="625"/>
                  <a:pt x="226" y="625"/>
                </a:cubicBezTo>
                <a:cubicBezTo>
                  <a:pt x="226" y="625"/>
                  <a:pt x="226" y="725"/>
                  <a:pt x="200" y="725"/>
                </a:cubicBezTo>
                <a:cubicBezTo>
                  <a:pt x="200" y="725"/>
                  <a:pt x="126" y="751"/>
                  <a:pt x="126" y="776"/>
                </a:cubicBezTo>
                <a:cubicBezTo>
                  <a:pt x="126" y="800"/>
                  <a:pt x="126" y="825"/>
                  <a:pt x="100" y="825"/>
                </a:cubicBezTo>
                <a:cubicBezTo>
                  <a:pt x="51" y="825"/>
                  <a:pt x="100" y="900"/>
                  <a:pt x="51" y="900"/>
                </a:cubicBezTo>
                <a:cubicBezTo>
                  <a:pt x="0" y="900"/>
                  <a:pt x="76" y="951"/>
                  <a:pt x="51" y="976"/>
                </a:cubicBezTo>
                <a:cubicBezTo>
                  <a:pt x="26" y="1000"/>
                  <a:pt x="26" y="1025"/>
                  <a:pt x="51" y="1025"/>
                </a:cubicBezTo>
                <a:cubicBezTo>
                  <a:pt x="76" y="1025"/>
                  <a:pt x="76" y="1051"/>
                  <a:pt x="76" y="1100"/>
                </a:cubicBezTo>
                <a:cubicBezTo>
                  <a:pt x="76" y="1125"/>
                  <a:pt x="126" y="1150"/>
                  <a:pt x="126" y="1150"/>
                </a:cubicBezTo>
                <a:cubicBezTo>
                  <a:pt x="100" y="1200"/>
                  <a:pt x="100" y="1200"/>
                  <a:pt x="100" y="1200"/>
                </a:cubicBezTo>
                <a:lnTo>
                  <a:pt x="176" y="1276"/>
                </a:lnTo>
                <a:cubicBezTo>
                  <a:pt x="176" y="1300"/>
                  <a:pt x="226" y="1351"/>
                  <a:pt x="176" y="1376"/>
                </a:cubicBezTo>
                <a:cubicBezTo>
                  <a:pt x="151" y="1376"/>
                  <a:pt x="176" y="1400"/>
                  <a:pt x="176" y="1400"/>
                </a:cubicBezTo>
                <a:cubicBezTo>
                  <a:pt x="226" y="1400"/>
                  <a:pt x="226" y="1400"/>
                  <a:pt x="226" y="1400"/>
                </a:cubicBezTo>
                <a:cubicBezTo>
                  <a:pt x="226" y="1425"/>
                  <a:pt x="226" y="1425"/>
                  <a:pt x="226" y="1425"/>
                </a:cubicBezTo>
                <a:cubicBezTo>
                  <a:pt x="226" y="1425"/>
                  <a:pt x="276" y="1425"/>
                  <a:pt x="300" y="1476"/>
                </a:cubicBezTo>
                <a:cubicBezTo>
                  <a:pt x="326" y="1500"/>
                  <a:pt x="351" y="1500"/>
                  <a:pt x="351" y="1525"/>
                </a:cubicBezTo>
                <a:cubicBezTo>
                  <a:pt x="351" y="1551"/>
                  <a:pt x="376" y="1551"/>
                  <a:pt x="401" y="1576"/>
                </a:cubicBezTo>
                <a:cubicBezTo>
                  <a:pt x="426" y="1601"/>
                  <a:pt x="426" y="1625"/>
                  <a:pt x="426" y="1651"/>
                </a:cubicBezTo>
                <a:lnTo>
                  <a:pt x="501" y="1701"/>
                </a:lnTo>
                <a:cubicBezTo>
                  <a:pt x="526" y="1751"/>
                  <a:pt x="526" y="1751"/>
                  <a:pt x="526" y="1751"/>
                </a:cubicBezTo>
                <a:cubicBezTo>
                  <a:pt x="526" y="1751"/>
                  <a:pt x="551" y="1751"/>
                  <a:pt x="551" y="1776"/>
                </a:cubicBezTo>
                <a:cubicBezTo>
                  <a:pt x="551" y="1801"/>
                  <a:pt x="576" y="1825"/>
                  <a:pt x="576" y="1825"/>
                </a:cubicBezTo>
                <a:cubicBezTo>
                  <a:pt x="576" y="1825"/>
                  <a:pt x="625" y="1825"/>
                  <a:pt x="651" y="1825"/>
                </a:cubicBezTo>
                <a:cubicBezTo>
                  <a:pt x="676" y="1801"/>
                  <a:pt x="701" y="1825"/>
                  <a:pt x="701" y="1825"/>
                </a:cubicBezTo>
                <a:cubicBezTo>
                  <a:pt x="701" y="1825"/>
                  <a:pt x="726" y="1801"/>
                  <a:pt x="751" y="1801"/>
                </a:cubicBezTo>
                <a:cubicBezTo>
                  <a:pt x="751" y="1825"/>
                  <a:pt x="801" y="1851"/>
                  <a:pt x="851" y="1901"/>
                </a:cubicBezTo>
                <a:cubicBezTo>
                  <a:pt x="851" y="1901"/>
                  <a:pt x="901" y="1876"/>
                  <a:pt x="926" y="1876"/>
                </a:cubicBezTo>
                <a:cubicBezTo>
                  <a:pt x="951" y="1876"/>
                  <a:pt x="976" y="1925"/>
                  <a:pt x="976" y="1901"/>
                </a:cubicBezTo>
                <a:cubicBezTo>
                  <a:pt x="976" y="1901"/>
                  <a:pt x="1026" y="1876"/>
                  <a:pt x="1051" y="1876"/>
                </a:cubicBezTo>
                <a:cubicBezTo>
                  <a:pt x="1051" y="1876"/>
                  <a:pt x="1101" y="1901"/>
                  <a:pt x="1101" y="1876"/>
                </a:cubicBezTo>
                <a:lnTo>
                  <a:pt x="1126" y="1851"/>
                </a:lnTo>
                <a:cubicBezTo>
                  <a:pt x="1151" y="1851"/>
                  <a:pt x="1151" y="1825"/>
                  <a:pt x="1151" y="1825"/>
                </a:cubicBezTo>
                <a:cubicBezTo>
                  <a:pt x="1151" y="1801"/>
                  <a:pt x="1201" y="1776"/>
                  <a:pt x="1226" y="1776"/>
                </a:cubicBezTo>
                <a:cubicBezTo>
                  <a:pt x="1251" y="1776"/>
                  <a:pt x="1276" y="1776"/>
                  <a:pt x="1276" y="1776"/>
                </a:cubicBezTo>
                <a:cubicBezTo>
                  <a:pt x="1276" y="1801"/>
                  <a:pt x="1301" y="1801"/>
                  <a:pt x="1301" y="1801"/>
                </a:cubicBezTo>
                <a:cubicBezTo>
                  <a:pt x="1301" y="1751"/>
                  <a:pt x="1326" y="1725"/>
                  <a:pt x="1301" y="1725"/>
                </a:cubicBezTo>
                <a:cubicBezTo>
                  <a:pt x="1276" y="1725"/>
                  <a:pt x="1226" y="1701"/>
                  <a:pt x="1226" y="1651"/>
                </a:cubicBezTo>
                <a:cubicBezTo>
                  <a:pt x="1201" y="1601"/>
                  <a:pt x="1151" y="1576"/>
                  <a:pt x="1126" y="1551"/>
                </a:cubicBezTo>
                <a:cubicBezTo>
                  <a:pt x="1126" y="1500"/>
                  <a:pt x="1051" y="1525"/>
                  <a:pt x="1051" y="1500"/>
                </a:cubicBezTo>
                <a:cubicBezTo>
                  <a:pt x="1026" y="1476"/>
                  <a:pt x="1076" y="1476"/>
                  <a:pt x="1076" y="1451"/>
                </a:cubicBezTo>
                <a:cubicBezTo>
                  <a:pt x="1076" y="1425"/>
                  <a:pt x="1126" y="1425"/>
                  <a:pt x="1151" y="1425"/>
                </a:cubicBezTo>
                <a:cubicBezTo>
                  <a:pt x="1151" y="1425"/>
                  <a:pt x="1151" y="1351"/>
                  <a:pt x="1151" y="1325"/>
                </a:cubicBezTo>
                <a:cubicBezTo>
                  <a:pt x="1151" y="1276"/>
                  <a:pt x="1201" y="1250"/>
                  <a:pt x="1176" y="1225"/>
                </a:cubicBezTo>
                <a:cubicBezTo>
                  <a:pt x="1176" y="1225"/>
                  <a:pt x="1201" y="1200"/>
                  <a:pt x="1226" y="1200"/>
                </a:cubicBezTo>
                <a:cubicBezTo>
                  <a:pt x="1251" y="1176"/>
                  <a:pt x="1226" y="1125"/>
                  <a:pt x="1251" y="1100"/>
                </a:cubicBezTo>
                <a:cubicBezTo>
                  <a:pt x="1276" y="1076"/>
                  <a:pt x="1301" y="1025"/>
                  <a:pt x="1301" y="1025"/>
                </a:cubicBezTo>
                <a:cubicBezTo>
                  <a:pt x="1326" y="1025"/>
                  <a:pt x="1351" y="1000"/>
                  <a:pt x="1351" y="976"/>
                </a:cubicBezTo>
                <a:cubicBezTo>
                  <a:pt x="1351" y="951"/>
                  <a:pt x="1401" y="925"/>
                  <a:pt x="1376" y="876"/>
                </a:cubicBezTo>
                <a:cubicBezTo>
                  <a:pt x="1376" y="825"/>
                  <a:pt x="1351" y="776"/>
                  <a:pt x="1401" y="751"/>
                </a:cubicBezTo>
                <a:cubicBezTo>
                  <a:pt x="1426" y="700"/>
                  <a:pt x="1426" y="676"/>
                  <a:pt x="1426" y="651"/>
                </a:cubicBezTo>
                <a:cubicBezTo>
                  <a:pt x="1426" y="625"/>
                  <a:pt x="1451" y="625"/>
                  <a:pt x="1476" y="600"/>
                </a:cubicBezTo>
                <a:cubicBezTo>
                  <a:pt x="1501" y="600"/>
                  <a:pt x="1526" y="576"/>
                  <a:pt x="1576" y="525"/>
                </a:cubicBezTo>
                <a:cubicBezTo>
                  <a:pt x="1551" y="500"/>
                  <a:pt x="1526" y="476"/>
                  <a:pt x="1501" y="476"/>
                </a:cubicBezTo>
                <a:cubicBezTo>
                  <a:pt x="1476" y="451"/>
                  <a:pt x="1451" y="400"/>
                  <a:pt x="1451" y="325"/>
                </a:cubicBezTo>
                <a:cubicBezTo>
                  <a:pt x="1451" y="251"/>
                  <a:pt x="1426" y="175"/>
                  <a:pt x="1426" y="151"/>
                </a:cubicBezTo>
                <a:cubicBezTo>
                  <a:pt x="1426" y="125"/>
                  <a:pt x="1401" y="75"/>
                  <a:pt x="1351" y="75"/>
                </a:cubicBezTo>
                <a:cubicBezTo>
                  <a:pt x="1326" y="51"/>
                  <a:pt x="1301" y="25"/>
                  <a:pt x="1301" y="0"/>
                </a:cubicBezTo>
                <a:lnTo>
                  <a:pt x="1301" y="0"/>
                </a:lnTo>
                <a:cubicBezTo>
                  <a:pt x="1276" y="25"/>
                  <a:pt x="1276" y="25"/>
                  <a:pt x="1251"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3" name="Freeform 39">
            <a:extLst>
              <a:ext uri="{FF2B5EF4-FFF2-40B4-BE49-F238E27FC236}">
                <a16:creationId xmlns:a16="http://schemas.microsoft.com/office/drawing/2014/main" id="{43D53E7E-EEE3-7B44-A516-31DCAAD3AADF}"/>
              </a:ext>
            </a:extLst>
          </p:cNvPr>
          <p:cNvSpPr>
            <a:spLocks noChangeArrowheads="1"/>
          </p:cNvSpPr>
          <p:nvPr/>
        </p:nvSpPr>
        <p:spPr bwMode="auto">
          <a:xfrm>
            <a:off x="6993185" y="4445381"/>
            <a:ext cx="64687" cy="56249"/>
          </a:xfrm>
          <a:custGeom>
            <a:avLst/>
            <a:gdLst>
              <a:gd name="T0" fmla="*/ 75 w 201"/>
              <a:gd name="T1" fmla="*/ 26 h 176"/>
              <a:gd name="T2" fmla="*/ 75 w 201"/>
              <a:gd name="T3" fmla="*/ 26 h 176"/>
              <a:gd name="T4" fmla="*/ 25 w 201"/>
              <a:gd name="T5" fmla="*/ 100 h 176"/>
              <a:gd name="T6" fmla="*/ 25 w 201"/>
              <a:gd name="T7" fmla="*/ 175 h 176"/>
              <a:gd name="T8" fmla="*/ 75 w 201"/>
              <a:gd name="T9" fmla="*/ 175 h 176"/>
              <a:gd name="T10" fmla="*/ 125 w 201"/>
              <a:gd name="T11" fmla="*/ 175 h 176"/>
              <a:gd name="T12" fmla="*/ 175 w 201"/>
              <a:gd name="T13" fmla="*/ 151 h 176"/>
              <a:gd name="T14" fmla="*/ 125 w 201"/>
              <a:gd name="T15" fmla="*/ 125 h 176"/>
              <a:gd name="T16" fmla="*/ 175 w 201"/>
              <a:gd name="T17" fmla="*/ 75 h 176"/>
              <a:gd name="T18" fmla="*/ 150 w 201"/>
              <a:gd name="T19" fmla="*/ 26 h 176"/>
              <a:gd name="T20" fmla="*/ 150 w 201"/>
              <a:gd name="T21" fmla="*/ 0 h 176"/>
              <a:gd name="T22" fmla="*/ 125 w 201"/>
              <a:gd name="T23" fmla="*/ 26 h 176"/>
              <a:gd name="T24" fmla="*/ 75 w 201"/>
              <a:gd name="T25" fmla="*/ 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76">
                <a:moveTo>
                  <a:pt x="75" y="26"/>
                </a:moveTo>
                <a:lnTo>
                  <a:pt x="75" y="26"/>
                </a:lnTo>
                <a:cubicBezTo>
                  <a:pt x="75" y="51"/>
                  <a:pt x="50" y="75"/>
                  <a:pt x="25" y="100"/>
                </a:cubicBezTo>
                <a:cubicBezTo>
                  <a:pt x="0" y="125"/>
                  <a:pt x="25" y="151"/>
                  <a:pt x="25" y="175"/>
                </a:cubicBezTo>
                <a:lnTo>
                  <a:pt x="75" y="175"/>
                </a:lnTo>
                <a:cubicBezTo>
                  <a:pt x="100" y="151"/>
                  <a:pt x="100" y="175"/>
                  <a:pt x="125" y="175"/>
                </a:cubicBezTo>
                <a:cubicBezTo>
                  <a:pt x="125" y="175"/>
                  <a:pt x="150" y="151"/>
                  <a:pt x="175" y="151"/>
                </a:cubicBezTo>
                <a:cubicBezTo>
                  <a:pt x="150" y="125"/>
                  <a:pt x="125" y="125"/>
                  <a:pt x="125" y="125"/>
                </a:cubicBezTo>
                <a:cubicBezTo>
                  <a:pt x="100" y="100"/>
                  <a:pt x="150" y="75"/>
                  <a:pt x="175" y="75"/>
                </a:cubicBezTo>
                <a:cubicBezTo>
                  <a:pt x="200" y="75"/>
                  <a:pt x="175" y="51"/>
                  <a:pt x="150" y="26"/>
                </a:cubicBezTo>
                <a:lnTo>
                  <a:pt x="150" y="0"/>
                </a:lnTo>
                <a:cubicBezTo>
                  <a:pt x="125" y="26"/>
                  <a:pt x="125" y="26"/>
                  <a:pt x="125" y="26"/>
                </a:cubicBezTo>
                <a:cubicBezTo>
                  <a:pt x="125" y="26"/>
                  <a:pt x="100" y="26"/>
                  <a:pt x="75" y="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4" name="Freeform 40">
            <a:extLst>
              <a:ext uri="{FF2B5EF4-FFF2-40B4-BE49-F238E27FC236}">
                <a16:creationId xmlns:a16="http://schemas.microsoft.com/office/drawing/2014/main" id="{8FC11209-16C1-DD45-9AFF-A18CCBC9FE5F}"/>
              </a:ext>
            </a:extLst>
          </p:cNvPr>
          <p:cNvSpPr>
            <a:spLocks noChangeArrowheads="1"/>
          </p:cNvSpPr>
          <p:nvPr/>
        </p:nvSpPr>
        <p:spPr bwMode="auto">
          <a:xfrm>
            <a:off x="6834279" y="4286475"/>
            <a:ext cx="208124" cy="168749"/>
          </a:xfrm>
          <a:custGeom>
            <a:avLst/>
            <a:gdLst>
              <a:gd name="T0" fmla="*/ 125 w 651"/>
              <a:gd name="T1" fmla="*/ 75 h 527"/>
              <a:gd name="T2" fmla="*/ 125 w 651"/>
              <a:gd name="T3" fmla="*/ 75 h 527"/>
              <a:gd name="T4" fmla="*/ 75 w 651"/>
              <a:gd name="T5" fmla="*/ 126 h 527"/>
              <a:gd name="T6" fmla="*/ 50 w 651"/>
              <a:gd name="T7" fmla="*/ 226 h 527"/>
              <a:gd name="T8" fmla="*/ 25 w 651"/>
              <a:gd name="T9" fmla="*/ 351 h 527"/>
              <a:gd name="T10" fmla="*/ 125 w 651"/>
              <a:gd name="T11" fmla="*/ 351 h 527"/>
              <a:gd name="T12" fmla="*/ 150 w 651"/>
              <a:gd name="T13" fmla="*/ 326 h 527"/>
              <a:gd name="T14" fmla="*/ 175 w 651"/>
              <a:gd name="T15" fmla="*/ 300 h 527"/>
              <a:gd name="T16" fmla="*/ 250 w 651"/>
              <a:gd name="T17" fmla="*/ 326 h 527"/>
              <a:gd name="T18" fmla="*/ 275 w 651"/>
              <a:gd name="T19" fmla="*/ 326 h 527"/>
              <a:gd name="T20" fmla="*/ 375 w 651"/>
              <a:gd name="T21" fmla="*/ 326 h 527"/>
              <a:gd name="T22" fmla="*/ 575 w 651"/>
              <a:gd name="T23" fmla="*/ 526 h 527"/>
              <a:gd name="T24" fmla="*/ 575 w 651"/>
              <a:gd name="T25" fmla="*/ 526 h 527"/>
              <a:gd name="T26" fmla="*/ 625 w 651"/>
              <a:gd name="T27" fmla="*/ 526 h 527"/>
              <a:gd name="T28" fmla="*/ 650 w 651"/>
              <a:gd name="T29" fmla="*/ 500 h 527"/>
              <a:gd name="T30" fmla="*/ 550 w 651"/>
              <a:gd name="T31" fmla="*/ 400 h 527"/>
              <a:gd name="T32" fmla="*/ 400 w 651"/>
              <a:gd name="T33" fmla="*/ 300 h 527"/>
              <a:gd name="T34" fmla="*/ 350 w 651"/>
              <a:gd name="T35" fmla="*/ 226 h 527"/>
              <a:gd name="T36" fmla="*/ 275 w 651"/>
              <a:gd name="T37" fmla="*/ 100 h 527"/>
              <a:gd name="T38" fmla="*/ 225 w 651"/>
              <a:gd name="T39" fmla="*/ 0 h 527"/>
              <a:gd name="T40" fmla="*/ 125 w 651"/>
              <a:gd name="T41" fmla="*/ 75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1" h="527">
                <a:moveTo>
                  <a:pt x="125" y="75"/>
                </a:moveTo>
                <a:lnTo>
                  <a:pt x="125" y="75"/>
                </a:lnTo>
                <a:cubicBezTo>
                  <a:pt x="100" y="100"/>
                  <a:pt x="75" y="100"/>
                  <a:pt x="75" y="126"/>
                </a:cubicBezTo>
                <a:cubicBezTo>
                  <a:pt x="75" y="151"/>
                  <a:pt x="75" y="175"/>
                  <a:pt x="50" y="226"/>
                </a:cubicBezTo>
                <a:cubicBezTo>
                  <a:pt x="0" y="251"/>
                  <a:pt x="25" y="300"/>
                  <a:pt x="25" y="351"/>
                </a:cubicBezTo>
                <a:cubicBezTo>
                  <a:pt x="75" y="351"/>
                  <a:pt x="100" y="351"/>
                  <a:pt x="125" y="351"/>
                </a:cubicBezTo>
                <a:cubicBezTo>
                  <a:pt x="125" y="375"/>
                  <a:pt x="125" y="351"/>
                  <a:pt x="150" y="326"/>
                </a:cubicBezTo>
                <a:cubicBezTo>
                  <a:pt x="150" y="300"/>
                  <a:pt x="175" y="300"/>
                  <a:pt x="175" y="300"/>
                </a:cubicBezTo>
                <a:cubicBezTo>
                  <a:pt x="200" y="326"/>
                  <a:pt x="225" y="351"/>
                  <a:pt x="250" y="326"/>
                </a:cubicBezTo>
                <a:cubicBezTo>
                  <a:pt x="275" y="326"/>
                  <a:pt x="275" y="326"/>
                  <a:pt x="275" y="326"/>
                </a:cubicBezTo>
                <a:cubicBezTo>
                  <a:pt x="300" y="351"/>
                  <a:pt x="350" y="326"/>
                  <a:pt x="375" y="326"/>
                </a:cubicBezTo>
                <a:cubicBezTo>
                  <a:pt x="400" y="326"/>
                  <a:pt x="575" y="526"/>
                  <a:pt x="575" y="526"/>
                </a:cubicBezTo>
                <a:lnTo>
                  <a:pt x="575" y="526"/>
                </a:lnTo>
                <a:cubicBezTo>
                  <a:pt x="600" y="526"/>
                  <a:pt x="625" y="526"/>
                  <a:pt x="625" y="526"/>
                </a:cubicBezTo>
                <a:cubicBezTo>
                  <a:pt x="625" y="526"/>
                  <a:pt x="625" y="526"/>
                  <a:pt x="650" y="500"/>
                </a:cubicBezTo>
                <a:cubicBezTo>
                  <a:pt x="625" y="475"/>
                  <a:pt x="600" y="451"/>
                  <a:pt x="550" y="400"/>
                </a:cubicBezTo>
                <a:cubicBezTo>
                  <a:pt x="500" y="326"/>
                  <a:pt x="425" y="300"/>
                  <a:pt x="400" y="300"/>
                </a:cubicBezTo>
                <a:cubicBezTo>
                  <a:pt x="375" y="300"/>
                  <a:pt x="350" y="226"/>
                  <a:pt x="350" y="226"/>
                </a:cubicBezTo>
                <a:cubicBezTo>
                  <a:pt x="325" y="226"/>
                  <a:pt x="275" y="151"/>
                  <a:pt x="275" y="100"/>
                </a:cubicBezTo>
                <a:cubicBezTo>
                  <a:pt x="275" y="75"/>
                  <a:pt x="250" y="26"/>
                  <a:pt x="225" y="0"/>
                </a:cubicBezTo>
                <a:cubicBezTo>
                  <a:pt x="175" y="51"/>
                  <a:pt x="150" y="75"/>
                  <a:pt x="1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5" name="Freeform 41">
            <a:extLst>
              <a:ext uri="{FF2B5EF4-FFF2-40B4-BE49-F238E27FC236}">
                <a16:creationId xmlns:a16="http://schemas.microsoft.com/office/drawing/2014/main" id="{911358EB-5888-AF41-9315-4DBF772AB269}"/>
              </a:ext>
            </a:extLst>
          </p:cNvPr>
          <p:cNvSpPr>
            <a:spLocks noChangeArrowheads="1"/>
          </p:cNvSpPr>
          <p:nvPr/>
        </p:nvSpPr>
        <p:spPr bwMode="auto">
          <a:xfrm>
            <a:off x="6730215" y="4382097"/>
            <a:ext cx="454216" cy="351560"/>
          </a:xfrm>
          <a:custGeom>
            <a:avLst/>
            <a:gdLst>
              <a:gd name="T0" fmla="*/ 100 w 1426"/>
              <a:gd name="T1" fmla="*/ 726 h 1101"/>
              <a:gd name="T2" fmla="*/ 100 w 1426"/>
              <a:gd name="T3" fmla="*/ 726 h 1101"/>
              <a:gd name="T4" fmla="*/ 200 w 1426"/>
              <a:gd name="T5" fmla="*/ 826 h 1101"/>
              <a:gd name="T6" fmla="*/ 275 w 1426"/>
              <a:gd name="T7" fmla="*/ 900 h 1101"/>
              <a:gd name="T8" fmla="*/ 275 w 1426"/>
              <a:gd name="T9" fmla="*/ 976 h 1101"/>
              <a:gd name="T10" fmla="*/ 300 w 1426"/>
              <a:gd name="T11" fmla="*/ 976 h 1101"/>
              <a:gd name="T12" fmla="*/ 400 w 1426"/>
              <a:gd name="T13" fmla="*/ 1000 h 1101"/>
              <a:gd name="T14" fmla="*/ 500 w 1426"/>
              <a:gd name="T15" fmla="*/ 1076 h 1101"/>
              <a:gd name="T16" fmla="*/ 625 w 1426"/>
              <a:gd name="T17" fmla="*/ 1076 h 1101"/>
              <a:gd name="T18" fmla="*/ 675 w 1426"/>
              <a:gd name="T19" fmla="*/ 1026 h 1101"/>
              <a:gd name="T20" fmla="*/ 775 w 1426"/>
              <a:gd name="T21" fmla="*/ 1026 h 1101"/>
              <a:gd name="T22" fmla="*/ 800 w 1426"/>
              <a:gd name="T23" fmla="*/ 1051 h 1101"/>
              <a:gd name="T24" fmla="*/ 850 w 1426"/>
              <a:gd name="T25" fmla="*/ 1026 h 1101"/>
              <a:gd name="T26" fmla="*/ 925 w 1426"/>
              <a:gd name="T27" fmla="*/ 1026 h 1101"/>
              <a:gd name="T28" fmla="*/ 1050 w 1426"/>
              <a:gd name="T29" fmla="*/ 951 h 1101"/>
              <a:gd name="T30" fmla="*/ 1150 w 1426"/>
              <a:gd name="T31" fmla="*/ 926 h 1101"/>
              <a:gd name="T32" fmla="*/ 1401 w 1426"/>
              <a:gd name="T33" fmla="*/ 675 h 1101"/>
              <a:gd name="T34" fmla="*/ 1375 w 1426"/>
              <a:gd name="T35" fmla="*/ 651 h 1101"/>
              <a:gd name="T36" fmla="*/ 1250 w 1426"/>
              <a:gd name="T37" fmla="*/ 626 h 1101"/>
              <a:gd name="T38" fmla="*/ 1050 w 1426"/>
              <a:gd name="T39" fmla="*/ 575 h 1101"/>
              <a:gd name="T40" fmla="*/ 1000 w 1426"/>
              <a:gd name="T41" fmla="*/ 500 h 1101"/>
              <a:gd name="T42" fmla="*/ 925 w 1426"/>
              <a:gd name="T43" fmla="*/ 425 h 1101"/>
              <a:gd name="T44" fmla="*/ 950 w 1426"/>
              <a:gd name="T45" fmla="*/ 375 h 1101"/>
              <a:gd name="T46" fmla="*/ 900 w 1426"/>
              <a:gd name="T47" fmla="*/ 375 h 1101"/>
              <a:gd name="T48" fmla="*/ 850 w 1426"/>
              <a:gd name="T49" fmla="*/ 375 h 1101"/>
              <a:gd name="T50" fmla="*/ 850 w 1426"/>
              <a:gd name="T51" fmla="*/ 300 h 1101"/>
              <a:gd name="T52" fmla="*/ 900 w 1426"/>
              <a:gd name="T53" fmla="*/ 226 h 1101"/>
              <a:gd name="T54" fmla="*/ 700 w 1426"/>
              <a:gd name="T55" fmla="*/ 26 h 1101"/>
              <a:gd name="T56" fmla="*/ 600 w 1426"/>
              <a:gd name="T57" fmla="*/ 26 h 1101"/>
              <a:gd name="T58" fmla="*/ 575 w 1426"/>
              <a:gd name="T59" fmla="*/ 26 h 1101"/>
              <a:gd name="T60" fmla="*/ 500 w 1426"/>
              <a:gd name="T61" fmla="*/ 0 h 1101"/>
              <a:gd name="T62" fmla="*/ 475 w 1426"/>
              <a:gd name="T63" fmla="*/ 26 h 1101"/>
              <a:gd name="T64" fmla="*/ 450 w 1426"/>
              <a:gd name="T65" fmla="*/ 51 h 1101"/>
              <a:gd name="T66" fmla="*/ 350 w 1426"/>
              <a:gd name="T67" fmla="*/ 51 h 1101"/>
              <a:gd name="T68" fmla="*/ 350 w 1426"/>
              <a:gd name="T69" fmla="*/ 51 h 1101"/>
              <a:gd name="T70" fmla="*/ 325 w 1426"/>
              <a:gd name="T71" fmla="*/ 151 h 1101"/>
              <a:gd name="T72" fmla="*/ 275 w 1426"/>
              <a:gd name="T73" fmla="*/ 200 h 1101"/>
              <a:gd name="T74" fmla="*/ 225 w 1426"/>
              <a:gd name="T75" fmla="*/ 275 h 1101"/>
              <a:gd name="T76" fmla="*/ 200 w 1426"/>
              <a:gd name="T77" fmla="*/ 375 h 1101"/>
              <a:gd name="T78" fmla="*/ 150 w 1426"/>
              <a:gd name="T79" fmla="*/ 400 h 1101"/>
              <a:gd name="T80" fmla="*/ 125 w 1426"/>
              <a:gd name="T81" fmla="*/ 500 h 1101"/>
              <a:gd name="T82" fmla="*/ 125 w 1426"/>
              <a:gd name="T83" fmla="*/ 600 h 1101"/>
              <a:gd name="T84" fmla="*/ 50 w 1426"/>
              <a:gd name="T85" fmla="*/ 626 h 1101"/>
              <a:gd name="T86" fmla="*/ 25 w 1426"/>
              <a:gd name="T87" fmla="*/ 675 h 1101"/>
              <a:gd name="T88" fmla="*/ 100 w 1426"/>
              <a:gd name="T89" fmla="*/ 726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6" h="1101">
                <a:moveTo>
                  <a:pt x="100" y="726"/>
                </a:moveTo>
                <a:lnTo>
                  <a:pt x="100" y="726"/>
                </a:lnTo>
                <a:cubicBezTo>
                  <a:pt x="125" y="751"/>
                  <a:pt x="175" y="776"/>
                  <a:pt x="200" y="826"/>
                </a:cubicBezTo>
                <a:cubicBezTo>
                  <a:pt x="200" y="876"/>
                  <a:pt x="250" y="900"/>
                  <a:pt x="275" y="900"/>
                </a:cubicBezTo>
                <a:cubicBezTo>
                  <a:pt x="300" y="900"/>
                  <a:pt x="275" y="926"/>
                  <a:pt x="275" y="976"/>
                </a:cubicBezTo>
                <a:cubicBezTo>
                  <a:pt x="300" y="976"/>
                  <a:pt x="300" y="976"/>
                  <a:pt x="300" y="976"/>
                </a:cubicBezTo>
                <a:cubicBezTo>
                  <a:pt x="325" y="1000"/>
                  <a:pt x="375" y="976"/>
                  <a:pt x="400" y="1000"/>
                </a:cubicBezTo>
                <a:cubicBezTo>
                  <a:pt x="425" y="1026"/>
                  <a:pt x="500" y="1076"/>
                  <a:pt x="500" y="1076"/>
                </a:cubicBezTo>
                <a:cubicBezTo>
                  <a:pt x="525" y="1076"/>
                  <a:pt x="600" y="1076"/>
                  <a:pt x="625" y="1076"/>
                </a:cubicBezTo>
                <a:cubicBezTo>
                  <a:pt x="625" y="1100"/>
                  <a:pt x="650" y="1051"/>
                  <a:pt x="675" y="1026"/>
                </a:cubicBezTo>
                <a:cubicBezTo>
                  <a:pt x="725" y="1026"/>
                  <a:pt x="750" y="1000"/>
                  <a:pt x="775" y="1026"/>
                </a:cubicBezTo>
                <a:lnTo>
                  <a:pt x="800" y="1051"/>
                </a:lnTo>
                <a:cubicBezTo>
                  <a:pt x="825" y="1026"/>
                  <a:pt x="825" y="1026"/>
                  <a:pt x="850" y="1026"/>
                </a:cubicBezTo>
                <a:cubicBezTo>
                  <a:pt x="875" y="1026"/>
                  <a:pt x="925" y="1000"/>
                  <a:pt x="925" y="1026"/>
                </a:cubicBezTo>
                <a:cubicBezTo>
                  <a:pt x="950" y="1026"/>
                  <a:pt x="1000" y="951"/>
                  <a:pt x="1050" y="951"/>
                </a:cubicBezTo>
                <a:cubicBezTo>
                  <a:pt x="1125" y="951"/>
                  <a:pt x="1125" y="951"/>
                  <a:pt x="1150" y="926"/>
                </a:cubicBezTo>
                <a:cubicBezTo>
                  <a:pt x="1175" y="900"/>
                  <a:pt x="1401" y="700"/>
                  <a:pt x="1401" y="675"/>
                </a:cubicBezTo>
                <a:cubicBezTo>
                  <a:pt x="1425" y="675"/>
                  <a:pt x="1401" y="651"/>
                  <a:pt x="1375" y="651"/>
                </a:cubicBezTo>
                <a:cubicBezTo>
                  <a:pt x="1350" y="651"/>
                  <a:pt x="1325" y="651"/>
                  <a:pt x="1250" y="626"/>
                </a:cubicBezTo>
                <a:cubicBezTo>
                  <a:pt x="1175" y="600"/>
                  <a:pt x="1075" y="575"/>
                  <a:pt x="1050" y="575"/>
                </a:cubicBezTo>
                <a:cubicBezTo>
                  <a:pt x="1050" y="551"/>
                  <a:pt x="1000" y="526"/>
                  <a:pt x="1000" y="500"/>
                </a:cubicBezTo>
                <a:cubicBezTo>
                  <a:pt x="975" y="500"/>
                  <a:pt x="950" y="451"/>
                  <a:pt x="925" y="425"/>
                </a:cubicBezTo>
                <a:cubicBezTo>
                  <a:pt x="925" y="425"/>
                  <a:pt x="950" y="400"/>
                  <a:pt x="950" y="375"/>
                </a:cubicBezTo>
                <a:cubicBezTo>
                  <a:pt x="925" y="375"/>
                  <a:pt x="925" y="351"/>
                  <a:pt x="900" y="375"/>
                </a:cubicBezTo>
                <a:lnTo>
                  <a:pt x="850" y="375"/>
                </a:lnTo>
                <a:cubicBezTo>
                  <a:pt x="850" y="351"/>
                  <a:pt x="825" y="325"/>
                  <a:pt x="850" y="300"/>
                </a:cubicBezTo>
                <a:cubicBezTo>
                  <a:pt x="875" y="275"/>
                  <a:pt x="900" y="226"/>
                  <a:pt x="900" y="226"/>
                </a:cubicBezTo>
                <a:cubicBezTo>
                  <a:pt x="900" y="226"/>
                  <a:pt x="725" y="26"/>
                  <a:pt x="700" y="26"/>
                </a:cubicBezTo>
                <a:cubicBezTo>
                  <a:pt x="675" y="26"/>
                  <a:pt x="625" y="51"/>
                  <a:pt x="600" y="26"/>
                </a:cubicBezTo>
                <a:cubicBezTo>
                  <a:pt x="600" y="26"/>
                  <a:pt x="600" y="26"/>
                  <a:pt x="575" y="26"/>
                </a:cubicBezTo>
                <a:cubicBezTo>
                  <a:pt x="550" y="51"/>
                  <a:pt x="525" y="26"/>
                  <a:pt x="500" y="0"/>
                </a:cubicBezTo>
                <a:cubicBezTo>
                  <a:pt x="500" y="0"/>
                  <a:pt x="475" y="0"/>
                  <a:pt x="475" y="26"/>
                </a:cubicBezTo>
                <a:cubicBezTo>
                  <a:pt x="450" y="51"/>
                  <a:pt x="450" y="75"/>
                  <a:pt x="450" y="51"/>
                </a:cubicBezTo>
                <a:cubicBezTo>
                  <a:pt x="425" y="51"/>
                  <a:pt x="400" y="51"/>
                  <a:pt x="350" y="51"/>
                </a:cubicBezTo>
                <a:lnTo>
                  <a:pt x="350" y="51"/>
                </a:lnTo>
                <a:cubicBezTo>
                  <a:pt x="375" y="100"/>
                  <a:pt x="325" y="126"/>
                  <a:pt x="325" y="151"/>
                </a:cubicBezTo>
                <a:cubicBezTo>
                  <a:pt x="325" y="175"/>
                  <a:pt x="300" y="200"/>
                  <a:pt x="275" y="200"/>
                </a:cubicBezTo>
                <a:cubicBezTo>
                  <a:pt x="275" y="200"/>
                  <a:pt x="250" y="251"/>
                  <a:pt x="225" y="275"/>
                </a:cubicBezTo>
                <a:cubicBezTo>
                  <a:pt x="200" y="300"/>
                  <a:pt x="225" y="351"/>
                  <a:pt x="200" y="375"/>
                </a:cubicBezTo>
                <a:cubicBezTo>
                  <a:pt x="175" y="375"/>
                  <a:pt x="150" y="400"/>
                  <a:pt x="150" y="400"/>
                </a:cubicBezTo>
                <a:cubicBezTo>
                  <a:pt x="175" y="425"/>
                  <a:pt x="125" y="451"/>
                  <a:pt x="125" y="500"/>
                </a:cubicBezTo>
                <a:cubicBezTo>
                  <a:pt x="125" y="526"/>
                  <a:pt x="125" y="600"/>
                  <a:pt x="125" y="600"/>
                </a:cubicBezTo>
                <a:cubicBezTo>
                  <a:pt x="100" y="600"/>
                  <a:pt x="50" y="600"/>
                  <a:pt x="50" y="626"/>
                </a:cubicBezTo>
                <a:cubicBezTo>
                  <a:pt x="50" y="651"/>
                  <a:pt x="0" y="651"/>
                  <a:pt x="25" y="675"/>
                </a:cubicBezTo>
                <a:cubicBezTo>
                  <a:pt x="25" y="700"/>
                  <a:pt x="100" y="675"/>
                  <a:pt x="100" y="7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6" name="Freeform 42">
            <a:extLst>
              <a:ext uri="{FF2B5EF4-FFF2-40B4-BE49-F238E27FC236}">
                <a16:creationId xmlns:a16="http://schemas.microsoft.com/office/drawing/2014/main" id="{B3406BE1-31E7-0B47-A108-80CC31BA60A4}"/>
              </a:ext>
            </a:extLst>
          </p:cNvPr>
          <p:cNvSpPr>
            <a:spLocks noChangeArrowheads="1"/>
          </p:cNvSpPr>
          <p:nvPr/>
        </p:nvSpPr>
        <p:spPr bwMode="auto">
          <a:xfrm>
            <a:off x="6801935" y="3736636"/>
            <a:ext cx="47812" cy="56249"/>
          </a:xfrm>
          <a:custGeom>
            <a:avLst/>
            <a:gdLst>
              <a:gd name="T0" fmla="*/ 125 w 151"/>
              <a:gd name="T1" fmla="*/ 75 h 176"/>
              <a:gd name="T2" fmla="*/ 125 w 151"/>
              <a:gd name="T3" fmla="*/ 75 h 176"/>
              <a:gd name="T4" fmla="*/ 75 w 151"/>
              <a:gd name="T5" fmla="*/ 0 h 176"/>
              <a:gd name="T6" fmla="*/ 75 w 151"/>
              <a:gd name="T7" fmla="*/ 25 h 176"/>
              <a:gd name="T8" fmla="*/ 0 w 151"/>
              <a:gd name="T9" fmla="*/ 150 h 176"/>
              <a:gd name="T10" fmla="*/ 50 w 151"/>
              <a:gd name="T11" fmla="*/ 175 h 176"/>
              <a:gd name="T12" fmla="*/ 125 w 151"/>
              <a:gd name="T13" fmla="*/ 75 h 176"/>
            </a:gdLst>
            <a:ahLst/>
            <a:cxnLst>
              <a:cxn ang="0">
                <a:pos x="T0" y="T1"/>
              </a:cxn>
              <a:cxn ang="0">
                <a:pos x="T2" y="T3"/>
              </a:cxn>
              <a:cxn ang="0">
                <a:pos x="T4" y="T5"/>
              </a:cxn>
              <a:cxn ang="0">
                <a:pos x="T6" y="T7"/>
              </a:cxn>
              <a:cxn ang="0">
                <a:pos x="T8" y="T9"/>
              </a:cxn>
              <a:cxn ang="0">
                <a:pos x="T10" y="T11"/>
              </a:cxn>
              <a:cxn ang="0">
                <a:pos x="T12" y="T13"/>
              </a:cxn>
            </a:cxnLst>
            <a:rect l="0" t="0" r="r" b="b"/>
            <a:pathLst>
              <a:path w="151" h="176">
                <a:moveTo>
                  <a:pt x="125" y="75"/>
                </a:moveTo>
                <a:lnTo>
                  <a:pt x="125" y="75"/>
                </a:lnTo>
                <a:cubicBezTo>
                  <a:pt x="150" y="75"/>
                  <a:pt x="150" y="0"/>
                  <a:pt x="75" y="0"/>
                </a:cubicBezTo>
                <a:cubicBezTo>
                  <a:pt x="75" y="25"/>
                  <a:pt x="75" y="25"/>
                  <a:pt x="75" y="25"/>
                </a:cubicBezTo>
                <a:cubicBezTo>
                  <a:pt x="75" y="50"/>
                  <a:pt x="25" y="100"/>
                  <a:pt x="0" y="150"/>
                </a:cubicBezTo>
                <a:cubicBezTo>
                  <a:pt x="50" y="175"/>
                  <a:pt x="50" y="175"/>
                  <a:pt x="50" y="175"/>
                </a:cubicBezTo>
                <a:cubicBezTo>
                  <a:pt x="75" y="150"/>
                  <a:pt x="100" y="100"/>
                  <a:pt x="1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7" name="Freeform 43">
            <a:extLst>
              <a:ext uri="{FF2B5EF4-FFF2-40B4-BE49-F238E27FC236}">
                <a16:creationId xmlns:a16="http://schemas.microsoft.com/office/drawing/2014/main" id="{61A37773-68B1-144F-B1CF-53D442DA55A4}"/>
              </a:ext>
            </a:extLst>
          </p:cNvPr>
          <p:cNvSpPr>
            <a:spLocks noChangeArrowheads="1"/>
          </p:cNvSpPr>
          <p:nvPr/>
        </p:nvSpPr>
        <p:spPr bwMode="auto">
          <a:xfrm>
            <a:off x="6817403" y="3656477"/>
            <a:ext cx="208124" cy="160312"/>
          </a:xfrm>
          <a:custGeom>
            <a:avLst/>
            <a:gdLst>
              <a:gd name="T0" fmla="*/ 75 w 651"/>
              <a:gd name="T1" fmla="*/ 325 h 501"/>
              <a:gd name="T2" fmla="*/ 75 w 651"/>
              <a:gd name="T3" fmla="*/ 325 h 501"/>
              <a:gd name="T4" fmla="*/ 0 w 651"/>
              <a:gd name="T5" fmla="*/ 425 h 501"/>
              <a:gd name="T6" fmla="*/ 0 w 651"/>
              <a:gd name="T7" fmla="*/ 425 h 501"/>
              <a:gd name="T8" fmla="*/ 25 w 651"/>
              <a:gd name="T9" fmla="*/ 475 h 501"/>
              <a:gd name="T10" fmla="*/ 100 w 651"/>
              <a:gd name="T11" fmla="*/ 500 h 501"/>
              <a:gd name="T12" fmla="*/ 200 w 651"/>
              <a:gd name="T13" fmla="*/ 450 h 501"/>
              <a:gd name="T14" fmla="*/ 500 w 651"/>
              <a:gd name="T15" fmla="*/ 300 h 501"/>
              <a:gd name="T16" fmla="*/ 525 w 651"/>
              <a:gd name="T17" fmla="*/ 250 h 501"/>
              <a:gd name="T18" fmla="*/ 550 w 651"/>
              <a:gd name="T19" fmla="*/ 175 h 501"/>
              <a:gd name="T20" fmla="*/ 525 w 651"/>
              <a:gd name="T21" fmla="*/ 100 h 501"/>
              <a:gd name="T22" fmla="*/ 600 w 651"/>
              <a:gd name="T23" fmla="*/ 50 h 501"/>
              <a:gd name="T24" fmla="*/ 650 w 651"/>
              <a:gd name="T25" fmla="*/ 0 h 501"/>
              <a:gd name="T26" fmla="*/ 600 w 651"/>
              <a:gd name="T27" fmla="*/ 0 h 501"/>
              <a:gd name="T28" fmla="*/ 500 w 651"/>
              <a:gd name="T29" fmla="*/ 0 h 501"/>
              <a:gd name="T30" fmla="*/ 375 w 651"/>
              <a:gd name="T31" fmla="*/ 50 h 501"/>
              <a:gd name="T32" fmla="*/ 275 w 651"/>
              <a:gd name="T33" fmla="*/ 50 h 501"/>
              <a:gd name="T34" fmla="*/ 225 w 651"/>
              <a:gd name="T35" fmla="*/ 50 h 501"/>
              <a:gd name="T36" fmla="*/ 125 w 651"/>
              <a:gd name="T37" fmla="*/ 50 h 501"/>
              <a:gd name="T38" fmla="*/ 100 w 651"/>
              <a:gd name="T39" fmla="*/ 75 h 501"/>
              <a:gd name="T40" fmla="*/ 25 w 651"/>
              <a:gd name="T41" fmla="*/ 150 h 501"/>
              <a:gd name="T42" fmla="*/ 25 w 651"/>
              <a:gd name="T43" fmla="*/ 200 h 501"/>
              <a:gd name="T44" fmla="*/ 25 w 651"/>
              <a:gd name="T45" fmla="*/ 250 h 501"/>
              <a:gd name="T46" fmla="*/ 75 w 651"/>
              <a:gd name="T47" fmla="*/ 32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501">
                <a:moveTo>
                  <a:pt x="75" y="325"/>
                </a:moveTo>
                <a:lnTo>
                  <a:pt x="75" y="325"/>
                </a:lnTo>
                <a:cubicBezTo>
                  <a:pt x="50" y="350"/>
                  <a:pt x="25" y="400"/>
                  <a:pt x="0" y="425"/>
                </a:cubicBezTo>
                <a:lnTo>
                  <a:pt x="0" y="425"/>
                </a:lnTo>
                <a:cubicBezTo>
                  <a:pt x="25" y="475"/>
                  <a:pt x="25" y="475"/>
                  <a:pt x="25" y="475"/>
                </a:cubicBezTo>
                <a:cubicBezTo>
                  <a:pt x="100" y="500"/>
                  <a:pt x="100" y="500"/>
                  <a:pt x="100" y="500"/>
                </a:cubicBezTo>
                <a:cubicBezTo>
                  <a:pt x="100" y="500"/>
                  <a:pt x="175" y="475"/>
                  <a:pt x="200" y="450"/>
                </a:cubicBezTo>
                <a:cubicBezTo>
                  <a:pt x="225" y="450"/>
                  <a:pt x="500" y="300"/>
                  <a:pt x="500" y="300"/>
                </a:cubicBezTo>
                <a:cubicBezTo>
                  <a:pt x="500" y="300"/>
                  <a:pt x="550" y="250"/>
                  <a:pt x="525" y="250"/>
                </a:cubicBezTo>
                <a:cubicBezTo>
                  <a:pt x="525" y="225"/>
                  <a:pt x="525" y="200"/>
                  <a:pt x="550" y="175"/>
                </a:cubicBezTo>
                <a:cubicBezTo>
                  <a:pt x="550" y="150"/>
                  <a:pt x="525" y="125"/>
                  <a:pt x="525" y="100"/>
                </a:cubicBezTo>
                <a:cubicBezTo>
                  <a:pt x="550" y="50"/>
                  <a:pt x="600" y="50"/>
                  <a:pt x="600" y="50"/>
                </a:cubicBezTo>
                <a:cubicBezTo>
                  <a:pt x="650" y="0"/>
                  <a:pt x="650" y="0"/>
                  <a:pt x="650" y="0"/>
                </a:cubicBezTo>
                <a:cubicBezTo>
                  <a:pt x="600" y="0"/>
                  <a:pt x="600" y="0"/>
                  <a:pt x="600" y="0"/>
                </a:cubicBezTo>
                <a:cubicBezTo>
                  <a:pt x="600" y="0"/>
                  <a:pt x="575" y="25"/>
                  <a:pt x="500" y="0"/>
                </a:cubicBezTo>
                <a:cubicBezTo>
                  <a:pt x="450" y="0"/>
                  <a:pt x="450" y="50"/>
                  <a:pt x="375" y="50"/>
                </a:cubicBezTo>
                <a:cubicBezTo>
                  <a:pt x="325" y="50"/>
                  <a:pt x="300" y="50"/>
                  <a:pt x="275" y="50"/>
                </a:cubicBezTo>
                <a:cubicBezTo>
                  <a:pt x="250" y="25"/>
                  <a:pt x="250" y="25"/>
                  <a:pt x="225" y="50"/>
                </a:cubicBezTo>
                <a:cubicBezTo>
                  <a:pt x="175" y="75"/>
                  <a:pt x="150" y="75"/>
                  <a:pt x="125" y="50"/>
                </a:cubicBezTo>
                <a:cubicBezTo>
                  <a:pt x="100" y="50"/>
                  <a:pt x="100" y="50"/>
                  <a:pt x="100" y="75"/>
                </a:cubicBezTo>
                <a:cubicBezTo>
                  <a:pt x="100" y="100"/>
                  <a:pt x="100" y="125"/>
                  <a:pt x="25" y="150"/>
                </a:cubicBezTo>
                <a:cubicBezTo>
                  <a:pt x="25" y="150"/>
                  <a:pt x="25" y="175"/>
                  <a:pt x="25" y="200"/>
                </a:cubicBezTo>
                <a:cubicBezTo>
                  <a:pt x="50" y="200"/>
                  <a:pt x="25" y="225"/>
                  <a:pt x="25" y="250"/>
                </a:cubicBezTo>
                <a:cubicBezTo>
                  <a:pt x="100" y="250"/>
                  <a:pt x="100" y="325"/>
                  <a:pt x="75" y="3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18" name="Freeform 44">
            <a:extLst>
              <a:ext uri="{FF2B5EF4-FFF2-40B4-BE49-F238E27FC236}">
                <a16:creationId xmlns:a16="http://schemas.microsoft.com/office/drawing/2014/main" id="{7D8883CF-0EFE-744F-A807-538774BF212B}"/>
              </a:ext>
            </a:extLst>
          </p:cNvPr>
          <p:cNvSpPr>
            <a:spLocks noChangeArrowheads="1"/>
          </p:cNvSpPr>
          <p:nvPr/>
        </p:nvSpPr>
        <p:spPr bwMode="auto">
          <a:xfrm>
            <a:off x="8388175" y="4015069"/>
            <a:ext cx="136405" cy="184219"/>
          </a:xfrm>
          <a:custGeom>
            <a:avLst/>
            <a:gdLst>
              <a:gd name="T0" fmla="*/ 425 w 426"/>
              <a:gd name="T1" fmla="*/ 475 h 576"/>
              <a:gd name="T2" fmla="*/ 425 w 426"/>
              <a:gd name="T3" fmla="*/ 475 h 576"/>
              <a:gd name="T4" fmla="*/ 375 w 426"/>
              <a:gd name="T5" fmla="*/ 299 h 576"/>
              <a:gd name="T6" fmla="*/ 300 w 426"/>
              <a:gd name="T7" fmla="*/ 375 h 576"/>
              <a:gd name="T8" fmla="*/ 325 w 426"/>
              <a:gd name="T9" fmla="*/ 275 h 576"/>
              <a:gd name="T10" fmla="*/ 400 w 426"/>
              <a:gd name="T11" fmla="*/ 174 h 576"/>
              <a:gd name="T12" fmla="*/ 325 w 426"/>
              <a:gd name="T13" fmla="*/ 149 h 576"/>
              <a:gd name="T14" fmla="*/ 225 w 426"/>
              <a:gd name="T15" fmla="*/ 149 h 576"/>
              <a:gd name="T16" fmla="*/ 175 w 426"/>
              <a:gd name="T17" fmla="*/ 100 h 576"/>
              <a:gd name="T18" fmla="*/ 100 w 426"/>
              <a:gd name="T19" fmla="*/ 50 h 576"/>
              <a:gd name="T20" fmla="*/ 25 w 426"/>
              <a:gd name="T21" fmla="*/ 50 h 576"/>
              <a:gd name="T22" fmla="*/ 100 w 426"/>
              <a:gd name="T23" fmla="*/ 125 h 576"/>
              <a:gd name="T24" fmla="*/ 50 w 426"/>
              <a:gd name="T25" fmla="*/ 174 h 576"/>
              <a:gd name="T26" fmla="*/ 75 w 426"/>
              <a:gd name="T27" fmla="*/ 324 h 576"/>
              <a:gd name="T28" fmla="*/ 100 w 426"/>
              <a:gd name="T29" fmla="*/ 475 h 576"/>
              <a:gd name="T30" fmla="*/ 150 w 426"/>
              <a:gd name="T31" fmla="*/ 475 h 576"/>
              <a:gd name="T32" fmla="*/ 225 w 426"/>
              <a:gd name="T33" fmla="*/ 424 h 576"/>
              <a:gd name="T34" fmla="*/ 300 w 426"/>
              <a:gd name="T35" fmla="*/ 399 h 576"/>
              <a:gd name="T36" fmla="*/ 350 w 426"/>
              <a:gd name="T37" fmla="*/ 524 h 576"/>
              <a:gd name="T38" fmla="*/ 350 w 426"/>
              <a:gd name="T39" fmla="*/ 575 h 576"/>
              <a:gd name="T40" fmla="*/ 400 w 426"/>
              <a:gd name="T41" fmla="*/ 524 h 576"/>
              <a:gd name="T42" fmla="*/ 425 w 426"/>
              <a:gd name="T43"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 h="576">
                <a:moveTo>
                  <a:pt x="425" y="475"/>
                </a:moveTo>
                <a:lnTo>
                  <a:pt x="425" y="475"/>
                </a:lnTo>
                <a:cubicBezTo>
                  <a:pt x="400" y="375"/>
                  <a:pt x="400" y="299"/>
                  <a:pt x="375" y="299"/>
                </a:cubicBezTo>
                <a:cubicBezTo>
                  <a:pt x="375" y="299"/>
                  <a:pt x="350" y="375"/>
                  <a:pt x="300" y="375"/>
                </a:cubicBezTo>
                <a:cubicBezTo>
                  <a:pt x="275" y="349"/>
                  <a:pt x="275" y="275"/>
                  <a:pt x="325" y="275"/>
                </a:cubicBezTo>
                <a:cubicBezTo>
                  <a:pt x="350" y="275"/>
                  <a:pt x="400" y="199"/>
                  <a:pt x="400" y="174"/>
                </a:cubicBezTo>
                <a:cubicBezTo>
                  <a:pt x="400" y="149"/>
                  <a:pt x="350" y="149"/>
                  <a:pt x="325" y="149"/>
                </a:cubicBezTo>
                <a:cubicBezTo>
                  <a:pt x="300" y="149"/>
                  <a:pt x="225" y="149"/>
                  <a:pt x="225" y="149"/>
                </a:cubicBezTo>
                <a:cubicBezTo>
                  <a:pt x="225" y="149"/>
                  <a:pt x="175" y="125"/>
                  <a:pt x="175" y="100"/>
                </a:cubicBezTo>
                <a:cubicBezTo>
                  <a:pt x="175" y="76"/>
                  <a:pt x="150" y="50"/>
                  <a:pt x="100" y="50"/>
                </a:cubicBezTo>
                <a:cubicBezTo>
                  <a:pt x="75" y="50"/>
                  <a:pt x="75" y="0"/>
                  <a:pt x="25" y="50"/>
                </a:cubicBezTo>
                <a:cubicBezTo>
                  <a:pt x="0" y="100"/>
                  <a:pt x="100" y="100"/>
                  <a:pt x="100" y="125"/>
                </a:cubicBezTo>
                <a:cubicBezTo>
                  <a:pt x="75" y="174"/>
                  <a:pt x="50" y="149"/>
                  <a:pt x="50" y="174"/>
                </a:cubicBezTo>
                <a:cubicBezTo>
                  <a:pt x="25" y="199"/>
                  <a:pt x="50" y="275"/>
                  <a:pt x="75" y="324"/>
                </a:cubicBezTo>
                <a:cubicBezTo>
                  <a:pt x="75" y="349"/>
                  <a:pt x="100" y="424"/>
                  <a:pt x="100" y="475"/>
                </a:cubicBezTo>
                <a:cubicBezTo>
                  <a:pt x="125" y="475"/>
                  <a:pt x="125" y="475"/>
                  <a:pt x="150" y="475"/>
                </a:cubicBezTo>
                <a:cubicBezTo>
                  <a:pt x="200" y="475"/>
                  <a:pt x="225" y="475"/>
                  <a:pt x="225" y="424"/>
                </a:cubicBezTo>
                <a:cubicBezTo>
                  <a:pt x="250" y="399"/>
                  <a:pt x="275" y="375"/>
                  <a:pt x="300" y="399"/>
                </a:cubicBezTo>
                <a:cubicBezTo>
                  <a:pt x="300" y="399"/>
                  <a:pt x="350" y="475"/>
                  <a:pt x="350" y="524"/>
                </a:cubicBezTo>
                <a:cubicBezTo>
                  <a:pt x="350" y="524"/>
                  <a:pt x="350" y="549"/>
                  <a:pt x="350" y="575"/>
                </a:cubicBezTo>
                <a:cubicBezTo>
                  <a:pt x="375" y="549"/>
                  <a:pt x="400" y="524"/>
                  <a:pt x="400" y="524"/>
                </a:cubicBezTo>
                <a:cubicBezTo>
                  <a:pt x="400" y="524"/>
                  <a:pt x="400" y="499"/>
                  <a:pt x="425" y="4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0" name="Freeform 46">
            <a:extLst>
              <a:ext uri="{FF2B5EF4-FFF2-40B4-BE49-F238E27FC236}">
                <a16:creationId xmlns:a16="http://schemas.microsoft.com/office/drawing/2014/main" id="{E00D78B1-746C-9D41-AC47-6411DEC05C4D}"/>
              </a:ext>
            </a:extLst>
          </p:cNvPr>
          <p:cNvSpPr>
            <a:spLocks noChangeArrowheads="1"/>
          </p:cNvSpPr>
          <p:nvPr/>
        </p:nvSpPr>
        <p:spPr bwMode="auto">
          <a:xfrm>
            <a:off x="8388175" y="3106640"/>
            <a:ext cx="940775" cy="407809"/>
          </a:xfrm>
          <a:custGeom>
            <a:avLst/>
            <a:gdLst>
              <a:gd name="T0" fmla="*/ 2826 w 2952"/>
              <a:gd name="T1" fmla="*/ 526 h 1277"/>
              <a:gd name="T2" fmla="*/ 2651 w 2952"/>
              <a:gd name="T3" fmla="*/ 526 h 1277"/>
              <a:gd name="T4" fmla="*/ 2575 w 2952"/>
              <a:gd name="T5" fmla="*/ 476 h 1277"/>
              <a:gd name="T6" fmla="*/ 2651 w 2952"/>
              <a:gd name="T7" fmla="*/ 276 h 1277"/>
              <a:gd name="T8" fmla="*/ 2501 w 2952"/>
              <a:gd name="T9" fmla="*/ 251 h 1277"/>
              <a:gd name="T10" fmla="*/ 2301 w 2952"/>
              <a:gd name="T11" fmla="*/ 301 h 1277"/>
              <a:gd name="T12" fmla="*/ 2101 w 2952"/>
              <a:gd name="T13" fmla="*/ 351 h 1277"/>
              <a:gd name="T14" fmla="*/ 1875 w 2952"/>
              <a:gd name="T15" fmla="*/ 325 h 1277"/>
              <a:gd name="T16" fmla="*/ 1726 w 2952"/>
              <a:gd name="T17" fmla="*/ 251 h 1277"/>
              <a:gd name="T18" fmla="*/ 1575 w 2952"/>
              <a:gd name="T19" fmla="*/ 201 h 1277"/>
              <a:gd name="T20" fmla="*/ 1426 w 2952"/>
              <a:gd name="T21" fmla="*/ 251 h 1277"/>
              <a:gd name="T22" fmla="*/ 1275 w 2952"/>
              <a:gd name="T23" fmla="*/ 176 h 1277"/>
              <a:gd name="T24" fmla="*/ 1175 w 2952"/>
              <a:gd name="T25" fmla="*/ 76 h 1277"/>
              <a:gd name="T26" fmla="*/ 1050 w 2952"/>
              <a:gd name="T27" fmla="*/ 26 h 1277"/>
              <a:gd name="T28" fmla="*/ 950 w 2952"/>
              <a:gd name="T29" fmla="*/ 26 h 1277"/>
              <a:gd name="T30" fmla="*/ 850 w 2952"/>
              <a:gd name="T31" fmla="*/ 101 h 1277"/>
              <a:gd name="T32" fmla="*/ 901 w 2952"/>
              <a:gd name="T33" fmla="*/ 251 h 1277"/>
              <a:gd name="T34" fmla="*/ 750 w 2952"/>
              <a:gd name="T35" fmla="*/ 276 h 1277"/>
              <a:gd name="T36" fmla="*/ 601 w 2952"/>
              <a:gd name="T37" fmla="*/ 251 h 1277"/>
              <a:gd name="T38" fmla="*/ 425 w 2952"/>
              <a:gd name="T39" fmla="*/ 176 h 1277"/>
              <a:gd name="T40" fmla="*/ 300 w 2952"/>
              <a:gd name="T41" fmla="*/ 201 h 1277"/>
              <a:gd name="T42" fmla="*/ 175 w 2952"/>
              <a:gd name="T43" fmla="*/ 276 h 1277"/>
              <a:gd name="T44" fmla="*/ 25 w 2952"/>
              <a:gd name="T45" fmla="*/ 351 h 1277"/>
              <a:gd name="T46" fmla="*/ 0 w 2952"/>
              <a:gd name="T47" fmla="*/ 376 h 1277"/>
              <a:gd name="T48" fmla="*/ 150 w 2952"/>
              <a:gd name="T49" fmla="*/ 501 h 1277"/>
              <a:gd name="T50" fmla="*/ 300 w 2952"/>
              <a:gd name="T51" fmla="*/ 626 h 1277"/>
              <a:gd name="T52" fmla="*/ 250 w 2952"/>
              <a:gd name="T53" fmla="*/ 801 h 1277"/>
              <a:gd name="T54" fmla="*/ 550 w 2952"/>
              <a:gd name="T55" fmla="*/ 901 h 1277"/>
              <a:gd name="T56" fmla="*/ 675 w 2952"/>
              <a:gd name="T57" fmla="*/ 1026 h 1277"/>
              <a:gd name="T58" fmla="*/ 850 w 2952"/>
              <a:gd name="T59" fmla="*/ 1126 h 1277"/>
              <a:gd name="T60" fmla="*/ 1250 w 2952"/>
              <a:gd name="T61" fmla="*/ 1176 h 1277"/>
              <a:gd name="T62" fmla="*/ 1450 w 2952"/>
              <a:gd name="T63" fmla="*/ 1226 h 1277"/>
              <a:gd name="T64" fmla="*/ 1675 w 2952"/>
              <a:gd name="T65" fmla="*/ 1176 h 1277"/>
              <a:gd name="T66" fmla="*/ 2075 w 2952"/>
              <a:gd name="T67" fmla="*/ 1101 h 1277"/>
              <a:gd name="T68" fmla="*/ 2150 w 2952"/>
              <a:gd name="T69" fmla="*/ 901 h 1277"/>
              <a:gd name="T70" fmla="*/ 2401 w 2952"/>
              <a:gd name="T71" fmla="*/ 851 h 1277"/>
              <a:gd name="T72" fmla="*/ 2626 w 2952"/>
              <a:gd name="T73" fmla="*/ 726 h 1277"/>
              <a:gd name="T74" fmla="*/ 2851 w 2952"/>
              <a:gd name="T75" fmla="*/ 676 h 1277"/>
              <a:gd name="T76" fmla="*/ 2826 w 2952"/>
              <a:gd name="T77" fmla="*/ 526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2" h="1277">
                <a:moveTo>
                  <a:pt x="2826" y="526"/>
                </a:moveTo>
                <a:lnTo>
                  <a:pt x="2826" y="526"/>
                </a:lnTo>
                <a:cubicBezTo>
                  <a:pt x="2801" y="501"/>
                  <a:pt x="2751" y="501"/>
                  <a:pt x="2751" y="526"/>
                </a:cubicBezTo>
                <a:cubicBezTo>
                  <a:pt x="2726" y="576"/>
                  <a:pt x="2701" y="526"/>
                  <a:pt x="2651" y="526"/>
                </a:cubicBezTo>
                <a:cubicBezTo>
                  <a:pt x="2601" y="526"/>
                  <a:pt x="2601" y="551"/>
                  <a:pt x="2551" y="526"/>
                </a:cubicBezTo>
                <a:cubicBezTo>
                  <a:pt x="2526" y="476"/>
                  <a:pt x="2575" y="476"/>
                  <a:pt x="2575" y="476"/>
                </a:cubicBezTo>
                <a:cubicBezTo>
                  <a:pt x="2575" y="426"/>
                  <a:pt x="2575" y="426"/>
                  <a:pt x="2575" y="426"/>
                </a:cubicBezTo>
                <a:cubicBezTo>
                  <a:pt x="2651" y="276"/>
                  <a:pt x="2651" y="276"/>
                  <a:pt x="2651" y="276"/>
                </a:cubicBezTo>
                <a:cubicBezTo>
                  <a:pt x="2626" y="276"/>
                  <a:pt x="2601" y="251"/>
                  <a:pt x="2575" y="276"/>
                </a:cubicBezTo>
                <a:cubicBezTo>
                  <a:pt x="2551" y="276"/>
                  <a:pt x="2501" y="276"/>
                  <a:pt x="2501" y="251"/>
                </a:cubicBezTo>
                <a:cubicBezTo>
                  <a:pt x="2501" y="225"/>
                  <a:pt x="2401" y="225"/>
                  <a:pt x="2375" y="251"/>
                </a:cubicBezTo>
                <a:cubicBezTo>
                  <a:pt x="2351" y="251"/>
                  <a:pt x="2301" y="276"/>
                  <a:pt x="2301" y="301"/>
                </a:cubicBezTo>
                <a:cubicBezTo>
                  <a:pt x="2301" y="325"/>
                  <a:pt x="2251" y="301"/>
                  <a:pt x="2226" y="325"/>
                </a:cubicBezTo>
                <a:cubicBezTo>
                  <a:pt x="2201" y="325"/>
                  <a:pt x="2101" y="351"/>
                  <a:pt x="2101" y="351"/>
                </a:cubicBezTo>
                <a:cubicBezTo>
                  <a:pt x="2101" y="376"/>
                  <a:pt x="2001" y="376"/>
                  <a:pt x="1975" y="351"/>
                </a:cubicBezTo>
                <a:cubicBezTo>
                  <a:pt x="1975" y="351"/>
                  <a:pt x="1875" y="351"/>
                  <a:pt x="1875" y="325"/>
                </a:cubicBezTo>
                <a:cubicBezTo>
                  <a:pt x="1850" y="301"/>
                  <a:pt x="1826" y="301"/>
                  <a:pt x="1826" y="276"/>
                </a:cubicBezTo>
                <a:cubicBezTo>
                  <a:pt x="1826" y="251"/>
                  <a:pt x="1750" y="251"/>
                  <a:pt x="1726" y="251"/>
                </a:cubicBezTo>
                <a:cubicBezTo>
                  <a:pt x="1726" y="225"/>
                  <a:pt x="1675" y="225"/>
                  <a:pt x="1675" y="225"/>
                </a:cubicBezTo>
                <a:cubicBezTo>
                  <a:pt x="1650" y="225"/>
                  <a:pt x="1601" y="201"/>
                  <a:pt x="1575" y="201"/>
                </a:cubicBezTo>
                <a:cubicBezTo>
                  <a:pt x="1550" y="201"/>
                  <a:pt x="1501" y="225"/>
                  <a:pt x="1501" y="225"/>
                </a:cubicBezTo>
                <a:cubicBezTo>
                  <a:pt x="1475" y="225"/>
                  <a:pt x="1450" y="251"/>
                  <a:pt x="1426" y="251"/>
                </a:cubicBezTo>
                <a:cubicBezTo>
                  <a:pt x="1401" y="251"/>
                  <a:pt x="1350" y="225"/>
                  <a:pt x="1350" y="225"/>
                </a:cubicBezTo>
                <a:cubicBezTo>
                  <a:pt x="1326" y="225"/>
                  <a:pt x="1301" y="201"/>
                  <a:pt x="1275" y="176"/>
                </a:cubicBezTo>
                <a:cubicBezTo>
                  <a:pt x="1275" y="151"/>
                  <a:pt x="1275" y="126"/>
                  <a:pt x="1275" y="101"/>
                </a:cubicBezTo>
                <a:cubicBezTo>
                  <a:pt x="1250" y="76"/>
                  <a:pt x="1201" y="76"/>
                  <a:pt x="1175" y="76"/>
                </a:cubicBezTo>
                <a:cubicBezTo>
                  <a:pt x="1150" y="51"/>
                  <a:pt x="1125" y="51"/>
                  <a:pt x="1101" y="51"/>
                </a:cubicBezTo>
                <a:lnTo>
                  <a:pt x="1050" y="26"/>
                </a:lnTo>
                <a:cubicBezTo>
                  <a:pt x="1050" y="26"/>
                  <a:pt x="1001" y="0"/>
                  <a:pt x="975" y="0"/>
                </a:cubicBezTo>
                <a:lnTo>
                  <a:pt x="950" y="26"/>
                </a:lnTo>
                <a:cubicBezTo>
                  <a:pt x="950" y="51"/>
                  <a:pt x="901" y="51"/>
                  <a:pt x="901" y="76"/>
                </a:cubicBezTo>
                <a:lnTo>
                  <a:pt x="850" y="101"/>
                </a:lnTo>
                <a:cubicBezTo>
                  <a:pt x="875" y="126"/>
                  <a:pt x="875" y="176"/>
                  <a:pt x="901" y="201"/>
                </a:cubicBezTo>
                <a:cubicBezTo>
                  <a:pt x="901" y="201"/>
                  <a:pt x="901" y="225"/>
                  <a:pt x="901" y="251"/>
                </a:cubicBezTo>
                <a:cubicBezTo>
                  <a:pt x="875" y="251"/>
                  <a:pt x="825" y="276"/>
                  <a:pt x="825" y="276"/>
                </a:cubicBezTo>
                <a:cubicBezTo>
                  <a:pt x="801" y="301"/>
                  <a:pt x="775" y="276"/>
                  <a:pt x="750" y="276"/>
                </a:cubicBezTo>
                <a:cubicBezTo>
                  <a:pt x="725" y="251"/>
                  <a:pt x="675" y="251"/>
                  <a:pt x="675" y="276"/>
                </a:cubicBezTo>
                <a:cubicBezTo>
                  <a:pt x="650" y="276"/>
                  <a:pt x="601" y="251"/>
                  <a:pt x="601" y="251"/>
                </a:cubicBezTo>
                <a:cubicBezTo>
                  <a:pt x="575" y="225"/>
                  <a:pt x="575" y="176"/>
                  <a:pt x="575" y="176"/>
                </a:cubicBezTo>
                <a:cubicBezTo>
                  <a:pt x="550" y="201"/>
                  <a:pt x="450" y="176"/>
                  <a:pt x="425" y="176"/>
                </a:cubicBezTo>
                <a:cubicBezTo>
                  <a:pt x="425" y="151"/>
                  <a:pt x="375" y="151"/>
                  <a:pt x="375" y="176"/>
                </a:cubicBezTo>
                <a:cubicBezTo>
                  <a:pt x="350" y="201"/>
                  <a:pt x="300" y="176"/>
                  <a:pt x="300" y="201"/>
                </a:cubicBezTo>
                <a:cubicBezTo>
                  <a:pt x="300" y="225"/>
                  <a:pt x="250" y="225"/>
                  <a:pt x="250" y="251"/>
                </a:cubicBezTo>
                <a:cubicBezTo>
                  <a:pt x="225" y="251"/>
                  <a:pt x="175" y="251"/>
                  <a:pt x="175" y="276"/>
                </a:cubicBezTo>
                <a:cubicBezTo>
                  <a:pt x="150" y="301"/>
                  <a:pt x="100" y="325"/>
                  <a:pt x="75" y="325"/>
                </a:cubicBezTo>
                <a:cubicBezTo>
                  <a:pt x="75" y="325"/>
                  <a:pt x="25" y="325"/>
                  <a:pt x="25" y="351"/>
                </a:cubicBezTo>
                <a:lnTo>
                  <a:pt x="0" y="351"/>
                </a:lnTo>
                <a:cubicBezTo>
                  <a:pt x="0" y="351"/>
                  <a:pt x="0" y="351"/>
                  <a:pt x="0" y="376"/>
                </a:cubicBezTo>
                <a:cubicBezTo>
                  <a:pt x="25" y="426"/>
                  <a:pt x="50" y="426"/>
                  <a:pt x="75" y="451"/>
                </a:cubicBezTo>
                <a:cubicBezTo>
                  <a:pt x="100" y="476"/>
                  <a:pt x="125" y="501"/>
                  <a:pt x="150" y="501"/>
                </a:cubicBezTo>
                <a:cubicBezTo>
                  <a:pt x="200" y="501"/>
                  <a:pt x="225" y="526"/>
                  <a:pt x="250" y="576"/>
                </a:cubicBezTo>
                <a:cubicBezTo>
                  <a:pt x="250" y="601"/>
                  <a:pt x="275" y="626"/>
                  <a:pt x="300" y="626"/>
                </a:cubicBezTo>
                <a:cubicBezTo>
                  <a:pt x="300" y="651"/>
                  <a:pt x="275" y="701"/>
                  <a:pt x="275" y="726"/>
                </a:cubicBezTo>
                <a:cubicBezTo>
                  <a:pt x="275" y="776"/>
                  <a:pt x="250" y="776"/>
                  <a:pt x="250" y="801"/>
                </a:cubicBezTo>
                <a:cubicBezTo>
                  <a:pt x="275" y="851"/>
                  <a:pt x="425" y="851"/>
                  <a:pt x="475" y="851"/>
                </a:cubicBezTo>
                <a:cubicBezTo>
                  <a:pt x="525" y="851"/>
                  <a:pt x="525" y="901"/>
                  <a:pt x="550" y="901"/>
                </a:cubicBezTo>
                <a:cubicBezTo>
                  <a:pt x="575" y="901"/>
                  <a:pt x="575" y="926"/>
                  <a:pt x="601" y="951"/>
                </a:cubicBezTo>
                <a:cubicBezTo>
                  <a:pt x="625" y="951"/>
                  <a:pt x="675" y="976"/>
                  <a:pt x="675" y="1026"/>
                </a:cubicBezTo>
                <a:cubicBezTo>
                  <a:pt x="701" y="1076"/>
                  <a:pt x="725" y="1101"/>
                  <a:pt x="725" y="1126"/>
                </a:cubicBezTo>
                <a:cubicBezTo>
                  <a:pt x="725" y="1151"/>
                  <a:pt x="801" y="1126"/>
                  <a:pt x="850" y="1126"/>
                </a:cubicBezTo>
                <a:cubicBezTo>
                  <a:pt x="901" y="1126"/>
                  <a:pt x="1050" y="1126"/>
                  <a:pt x="1075" y="1126"/>
                </a:cubicBezTo>
                <a:cubicBezTo>
                  <a:pt x="1125" y="1151"/>
                  <a:pt x="1201" y="1126"/>
                  <a:pt x="1250" y="1176"/>
                </a:cubicBezTo>
                <a:cubicBezTo>
                  <a:pt x="1301" y="1201"/>
                  <a:pt x="1326" y="1176"/>
                  <a:pt x="1350" y="1201"/>
                </a:cubicBezTo>
                <a:cubicBezTo>
                  <a:pt x="1375" y="1226"/>
                  <a:pt x="1401" y="1226"/>
                  <a:pt x="1450" y="1226"/>
                </a:cubicBezTo>
                <a:cubicBezTo>
                  <a:pt x="1501" y="1226"/>
                  <a:pt x="1501" y="1251"/>
                  <a:pt x="1526" y="1251"/>
                </a:cubicBezTo>
                <a:cubicBezTo>
                  <a:pt x="1550" y="1276"/>
                  <a:pt x="1601" y="1201"/>
                  <a:pt x="1675" y="1176"/>
                </a:cubicBezTo>
                <a:cubicBezTo>
                  <a:pt x="1750" y="1126"/>
                  <a:pt x="1850" y="1151"/>
                  <a:pt x="1901" y="1176"/>
                </a:cubicBezTo>
                <a:cubicBezTo>
                  <a:pt x="1926" y="1176"/>
                  <a:pt x="2026" y="1151"/>
                  <a:pt x="2075" y="1101"/>
                </a:cubicBezTo>
                <a:cubicBezTo>
                  <a:pt x="2101" y="1051"/>
                  <a:pt x="2175" y="1051"/>
                  <a:pt x="2175" y="1001"/>
                </a:cubicBezTo>
                <a:cubicBezTo>
                  <a:pt x="2175" y="951"/>
                  <a:pt x="2126" y="926"/>
                  <a:pt x="2150" y="901"/>
                </a:cubicBezTo>
                <a:cubicBezTo>
                  <a:pt x="2175" y="851"/>
                  <a:pt x="2226" y="851"/>
                  <a:pt x="2251" y="876"/>
                </a:cubicBezTo>
                <a:cubicBezTo>
                  <a:pt x="2275" y="876"/>
                  <a:pt x="2326" y="901"/>
                  <a:pt x="2401" y="851"/>
                </a:cubicBezTo>
                <a:cubicBezTo>
                  <a:pt x="2451" y="826"/>
                  <a:pt x="2475" y="826"/>
                  <a:pt x="2526" y="826"/>
                </a:cubicBezTo>
                <a:cubicBezTo>
                  <a:pt x="2601" y="801"/>
                  <a:pt x="2575" y="776"/>
                  <a:pt x="2626" y="726"/>
                </a:cubicBezTo>
                <a:cubicBezTo>
                  <a:pt x="2651" y="701"/>
                  <a:pt x="2701" y="701"/>
                  <a:pt x="2726" y="701"/>
                </a:cubicBezTo>
                <a:cubicBezTo>
                  <a:pt x="2775" y="701"/>
                  <a:pt x="2826" y="651"/>
                  <a:pt x="2851" y="676"/>
                </a:cubicBezTo>
                <a:cubicBezTo>
                  <a:pt x="2901" y="676"/>
                  <a:pt x="2951" y="676"/>
                  <a:pt x="2951" y="651"/>
                </a:cubicBezTo>
                <a:cubicBezTo>
                  <a:pt x="2951" y="626"/>
                  <a:pt x="2851" y="551"/>
                  <a:pt x="2826" y="5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1" name="Freeform 47">
            <a:extLst>
              <a:ext uri="{FF2B5EF4-FFF2-40B4-BE49-F238E27FC236}">
                <a16:creationId xmlns:a16="http://schemas.microsoft.com/office/drawing/2014/main" id="{0E99C90A-CB81-9E4D-BEBA-D733236874B5}"/>
              </a:ext>
            </a:extLst>
          </p:cNvPr>
          <p:cNvSpPr>
            <a:spLocks noChangeArrowheads="1"/>
          </p:cNvSpPr>
          <p:nvPr/>
        </p:nvSpPr>
        <p:spPr bwMode="auto">
          <a:xfrm>
            <a:off x="6801933" y="3816791"/>
            <a:ext cx="16875" cy="40780"/>
          </a:xfrm>
          <a:custGeom>
            <a:avLst/>
            <a:gdLst>
              <a:gd name="T0" fmla="*/ 25 w 51"/>
              <a:gd name="T1" fmla="*/ 0 h 126"/>
              <a:gd name="T2" fmla="*/ 25 w 51"/>
              <a:gd name="T3" fmla="*/ 0 h 126"/>
              <a:gd name="T4" fmla="*/ 0 w 51"/>
              <a:gd name="T5" fmla="*/ 75 h 126"/>
              <a:gd name="T6" fmla="*/ 25 w 51"/>
              <a:gd name="T7" fmla="*/ 125 h 126"/>
              <a:gd name="T8" fmla="*/ 50 w 51"/>
              <a:gd name="T9" fmla="*/ 25 h 126"/>
              <a:gd name="T10" fmla="*/ 50 w 51"/>
              <a:gd name="T11" fmla="*/ 0 h 126"/>
              <a:gd name="T12" fmla="*/ 25 w 51"/>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51" h="126">
                <a:moveTo>
                  <a:pt x="25" y="0"/>
                </a:moveTo>
                <a:lnTo>
                  <a:pt x="25" y="0"/>
                </a:lnTo>
                <a:cubicBezTo>
                  <a:pt x="0" y="0"/>
                  <a:pt x="0" y="50"/>
                  <a:pt x="0" y="75"/>
                </a:cubicBezTo>
                <a:cubicBezTo>
                  <a:pt x="0" y="75"/>
                  <a:pt x="0" y="100"/>
                  <a:pt x="25" y="125"/>
                </a:cubicBezTo>
                <a:cubicBezTo>
                  <a:pt x="50" y="75"/>
                  <a:pt x="50" y="25"/>
                  <a:pt x="50" y="25"/>
                </a:cubicBezTo>
                <a:cubicBezTo>
                  <a:pt x="50" y="0"/>
                  <a:pt x="50" y="0"/>
                  <a:pt x="50" y="0"/>
                </a:cubicBezTo>
                <a:cubicBezTo>
                  <a:pt x="25" y="0"/>
                  <a:pt x="25" y="0"/>
                  <a:pt x="25"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2" name="Freeform 48">
            <a:extLst>
              <a:ext uri="{FF2B5EF4-FFF2-40B4-BE49-F238E27FC236}">
                <a16:creationId xmlns:a16="http://schemas.microsoft.com/office/drawing/2014/main" id="{0B2FED70-19CB-6446-B27A-2E3BDBAA03D1}"/>
              </a:ext>
            </a:extLst>
          </p:cNvPr>
          <p:cNvSpPr>
            <a:spLocks noChangeArrowheads="1"/>
          </p:cNvSpPr>
          <p:nvPr/>
        </p:nvSpPr>
        <p:spPr bwMode="auto">
          <a:xfrm>
            <a:off x="6778028" y="3784445"/>
            <a:ext cx="40781" cy="127968"/>
          </a:xfrm>
          <a:custGeom>
            <a:avLst/>
            <a:gdLst>
              <a:gd name="T0" fmla="*/ 50 w 126"/>
              <a:gd name="T1" fmla="*/ 401 h 402"/>
              <a:gd name="T2" fmla="*/ 50 w 126"/>
              <a:gd name="T3" fmla="*/ 401 h 402"/>
              <a:gd name="T4" fmla="*/ 75 w 126"/>
              <a:gd name="T5" fmla="*/ 401 h 402"/>
              <a:gd name="T6" fmla="*/ 100 w 126"/>
              <a:gd name="T7" fmla="*/ 275 h 402"/>
              <a:gd name="T8" fmla="*/ 100 w 126"/>
              <a:gd name="T9" fmla="*/ 225 h 402"/>
              <a:gd name="T10" fmla="*/ 75 w 126"/>
              <a:gd name="T11" fmla="*/ 175 h 402"/>
              <a:gd name="T12" fmla="*/ 100 w 126"/>
              <a:gd name="T13" fmla="*/ 100 h 402"/>
              <a:gd name="T14" fmla="*/ 125 w 126"/>
              <a:gd name="T15" fmla="*/ 100 h 402"/>
              <a:gd name="T16" fmla="*/ 125 w 126"/>
              <a:gd name="T17" fmla="*/ 25 h 402"/>
              <a:gd name="T18" fmla="*/ 75 w 126"/>
              <a:gd name="T19" fmla="*/ 0 h 402"/>
              <a:gd name="T20" fmla="*/ 75 w 126"/>
              <a:gd name="T21" fmla="*/ 50 h 402"/>
              <a:gd name="T22" fmla="*/ 0 w 126"/>
              <a:gd name="T23" fmla="*/ 225 h 402"/>
              <a:gd name="T24" fmla="*/ 50 w 126"/>
              <a:gd name="T25" fmla="*/ 40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402">
                <a:moveTo>
                  <a:pt x="50" y="401"/>
                </a:moveTo>
                <a:lnTo>
                  <a:pt x="50" y="401"/>
                </a:lnTo>
                <a:lnTo>
                  <a:pt x="75" y="401"/>
                </a:lnTo>
                <a:cubicBezTo>
                  <a:pt x="75" y="350"/>
                  <a:pt x="100" y="275"/>
                  <a:pt x="100" y="275"/>
                </a:cubicBezTo>
                <a:cubicBezTo>
                  <a:pt x="100" y="250"/>
                  <a:pt x="100" y="250"/>
                  <a:pt x="100" y="225"/>
                </a:cubicBezTo>
                <a:cubicBezTo>
                  <a:pt x="75" y="200"/>
                  <a:pt x="75" y="175"/>
                  <a:pt x="75" y="175"/>
                </a:cubicBezTo>
                <a:cubicBezTo>
                  <a:pt x="75" y="150"/>
                  <a:pt x="75" y="100"/>
                  <a:pt x="100" y="100"/>
                </a:cubicBezTo>
                <a:cubicBezTo>
                  <a:pt x="100" y="100"/>
                  <a:pt x="100" y="100"/>
                  <a:pt x="125" y="100"/>
                </a:cubicBezTo>
                <a:cubicBezTo>
                  <a:pt x="125" y="75"/>
                  <a:pt x="125" y="50"/>
                  <a:pt x="125" y="25"/>
                </a:cubicBezTo>
                <a:cubicBezTo>
                  <a:pt x="75" y="0"/>
                  <a:pt x="75" y="0"/>
                  <a:pt x="75" y="0"/>
                </a:cubicBezTo>
                <a:cubicBezTo>
                  <a:pt x="75" y="25"/>
                  <a:pt x="75" y="50"/>
                  <a:pt x="75" y="50"/>
                </a:cubicBezTo>
                <a:cubicBezTo>
                  <a:pt x="50" y="100"/>
                  <a:pt x="25" y="200"/>
                  <a:pt x="0" y="225"/>
                </a:cubicBezTo>
                <a:cubicBezTo>
                  <a:pt x="50" y="401"/>
                  <a:pt x="50" y="401"/>
                  <a:pt x="50" y="40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3" name="Freeform 49">
            <a:extLst>
              <a:ext uri="{FF2B5EF4-FFF2-40B4-BE49-F238E27FC236}">
                <a16:creationId xmlns:a16="http://schemas.microsoft.com/office/drawing/2014/main" id="{D1082B17-D6EA-984D-9C75-F5BFA0F12FE9}"/>
              </a:ext>
            </a:extLst>
          </p:cNvPr>
          <p:cNvSpPr>
            <a:spLocks noChangeArrowheads="1"/>
          </p:cNvSpPr>
          <p:nvPr/>
        </p:nvSpPr>
        <p:spPr bwMode="auto">
          <a:xfrm>
            <a:off x="6801933" y="3784447"/>
            <a:ext cx="127968" cy="143436"/>
          </a:xfrm>
          <a:custGeom>
            <a:avLst/>
            <a:gdLst>
              <a:gd name="T0" fmla="*/ 350 w 401"/>
              <a:gd name="T1" fmla="*/ 0 h 451"/>
              <a:gd name="T2" fmla="*/ 350 w 401"/>
              <a:gd name="T3" fmla="*/ 0 h 451"/>
              <a:gd name="T4" fmla="*/ 250 w 401"/>
              <a:gd name="T5" fmla="*/ 50 h 451"/>
              <a:gd name="T6" fmla="*/ 150 w 401"/>
              <a:gd name="T7" fmla="*/ 100 h 451"/>
              <a:gd name="T8" fmla="*/ 75 w 401"/>
              <a:gd name="T9" fmla="*/ 75 h 451"/>
              <a:gd name="T10" fmla="*/ 50 w 401"/>
              <a:gd name="T11" fmla="*/ 25 h 451"/>
              <a:gd name="T12" fmla="*/ 50 w 401"/>
              <a:gd name="T13" fmla="*/ 25 h 451"/>
              <a:gd name="T14" fmla="*/ 50 w 401"/>
              <a:gd name="T15" fmla="*/ 125 h 451"/>
              <a:gd name="T16" fmla="*/ 25 w 401"/>
              <a:gd name="T17" fmla="*/ 275 h 451"/>
              <a:gd name="T18" fmla="*/ 0 w 401"/>
              <a:gd name="T19" fmla="*/ 401 h 451"/>
              <a:gd name="T20" fmla="*/ 75 w 401"/>
              <a:gd name="T21" fmla="*/ 450 h 451"/>
              <a:gd name="T22" fmla="*/ 150 w 401"/>
              <a:gd name="T23" fmla="*/ 375 h 451"/>
              <a:gd name="T24" fmla="*/ 200 w 401"/>
              <a:gd name="T25" fmla="*/ 350 h 451"/>
              <a:gd name="T26" fmla="*/ 275 w 401"/>
              <a:gd name="T27" fmla="*/ 325 h 451"/>
              <a:gd name="T28" fmla="*/ 200 w 401"/>
              <a:gd name="T29" fmla="*/ 225 h 451"/>
              <a:gd name="T30" fmla="*/ 300 w 401"/>
              <a:gd name="T31" fmla="*/ 175 h 451"/>
              <a:gd name="T32" fmla="*/ 375 w 401"/>
              <a:gd name="T33" fmla="*/ 150 h 451"/>
              <a:gd name="T34" fmla="*/ 400 w 401"/>
              <a:gd name="T35" fmla="*/ 150 h 451"/>
              <a:gd name="T36" fmla="*/ 375 w 401"/>
              <a:gd name="T37" fmla="*/ 50 h 451"/>
              <a:gd name="T38" fmla="*/ 350 w 401"/>
              <a:gd name="T3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1" h="451">
                <a:moveTo>
                  <a:pt x="350" y="0"/>
                </a:moveTo>
                <a:lnTo>
                  <a:pt x="350" y="0"/>
                </a:lnTo>
                <a:cubicBezTo>
                  <a:pt x="300" y="25"/>
                  <a:pt x="250" y="50"/>
                  <a:pt x="250" y="50"/>
                </a:cubicBezTo>
                <a:cubicBezTo>
                  <a:pt x="225" y="75"/>
                  <a:pt x="150" y="100"/>
                  <a:pt x="150" y="100"/>
                </a:cubicBezTo>
                <a:cubicBezTo>
                  <a:pt x="75" y="75"/>
                  <a:pt x="75" y="75"/>
                  <a:pt x="75" y="75"/>
                </a:cubicBezTo>
                <a:cubicBezTo>
                  <a:pt x="50" y="25"/>
                  <a:pt x="50" y="25"/>
                  <a:pt x="50" y="25"/>
                </a:cubicBezTo>
                <a:lnTo>
                  <a:pt x="50" y="25"/>
                </a:lnTo>
                <a:cubicBezTo>
                  <a:pt x="50" y="75"/>
                  <a:pt x="50" y="100"/>
                  <a:pt x="50" y="125"/>
                </a:cubicBezTo>
                <a:cubicBezTo>
                  <a:pt x="50" y="125"/>
                  <a:pt x="50" y="250"/>
                  <a:pt x="25" y="275"/>
                </a:cubicBezTo>
                <a:cubicBezTo>
                  <a:pt x="25" y="275"/>
                  <a:pt x="0" y="350"/>
                  <a:pt x="0" y="401"/>
                </a:cubicBezTo>
                <a:cubicBezTo>
                  <a:pt x="25" y="425"/>
                  <a:pt x="50" y="450"/>
                  <a:pt x="75" y="450"/>
                </a:cubicBezTo>
                <a:cubicBezTo>
                  <a:pt x="100" y="450"/>
                  <a:pt x="150" y="401"/>
                  <a:pt x="150" y="375"/>
                </a:cubicBezTo>
                <a:cubicBezTo>
                  <a:pt x="150" y="375"/>
                  <a:pt x="175" y="350"/>
                  <a:pt x="200" y="350"/>
                </a:cubicBezTo>
                <a:cubicBezTo>
                  <a:pt x="250" y="350"/>
                  <a:pt x="250" y="325"/>
                  <a:pt x="275" y="325"/>
                </a:cubicBezTo>
                <a:cubicBezTo>
                  <a:pt x="300" y="301"/>
                  <a:pt x="225" y="250"/>
                  <a:pt x="200" y="225"/>
                </a:cubicBezTo>
                <a:cubicBezTo>
                  <a:pt x="175" y="225"/>
                  <a:pt x="225" y="175"/>
                  <a:pt x="300" y="175"/>
                </a:cubicBezTo>
                <a:cubicBezTo>
                  <a:pt x="350" y="175"/>
                  <a:pt x="350" y="150"/>
                  <a:pt x="375" y="150"/>
                </a:cubicBezTo>
                <a:cubicBezTo>
                  <a:pt x="375" y="150"/>
                  <a:pt x="375" y="150"/>
                  <a:pt x="400" y="150"/>
                </a:cubicBezTo>
                <a:cubicBezTo>
                  <a:pt x="375" y="100"/>
                  <a:pt x="375" y="75"/>
                  <a:pt x="375" y="50"/>
                </a:cubicBezTo>
                <a:cubicBezTo>
                  <a:pt x="375" y="50"/>
                  <a:pt x="350" y="25"/>
                  <a:pt x="35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4" name="Freeform 50">
            <a:extLst>
              <a:ext uri="{FF2B5EF4-FFF2-40B4-BE49-F238E27FC236}">
                <a16:creationId xmlns:a16="http://schemas.microsoft.com/office/drawing/2014/main" id="{5368E525-CE29-BD4D-8959-5A3F570EE108}"/>
              </a:ext>
            </a:extLst>
          </p:cNvPr>
          <p:cNvSpPr>
            <a:spLocks noChangeArrowheads="1"/>
          </p:cNvSpPr>
          <p:nvPr/>
        </p:nvSpPr>
        <p:spPr bwMode="auto">
          <a:xfrm>
            <a:off x="7846773" y="3441323"/>
            <a:ext cx="327655" cy="143436"/>
          </a:xfrm>
          <a:custGeom>
            <a:avLst/>
            <a:gdLst>
              <a:gd name="T0" fmla="*/ 950 w 1026"/>
              <a:gd name="T1" fmla="*/ 100 h 451"/>
              <a:gd name="T2" fmla="*/ 950 w 1026"/>
              <a:gd name="T3" fmla="*/ 100 h 451"/>
              <a:gd name="T4" fmla="*/ 850 w 1026"/>
              <a:gd name="T5" fmla="*/ 75 h 451"/>
              <a:gd name="T6" fmla="*/ 625 w 1026"/>
              <a:gd name="T7" fmla="*/ 50 h 451"/>
              <a:gd name="T8" fmla="*/ 500 w 1026"/>
              <a:gd name="T9" fmla="*/ 25 h 451"/>
              <a:gd name="T10" fmla="*/ 399 w 1026"/>
              <a:gd name="T11" fmla="*/ 50 h 451"/>
              <a:gd name="T12" fmla="*/ 300 w 1026"/>
              <a:gd name="T13" fmla="*/ 75 h 451"/>
              <a:gd name="T14" fmla="*/ 174 w 1026"/>
              <a:gd name="T15" fmla="*/ 75 h 451"/>
              <a:gd name="T16" fmla="*/ 125 w 1026"/>
              <a:gd name="T17" fmla="*/ 150 h 451"/>
              <a:gd name="T18" fmla="*/ 100 w 1026"/>
              <a:gd name="T19" fmla="*/ 200 h 451"/>
              <a:gd name="T20" fmla="*/ 125 w 1026"/>
              <a:gd name="T21" fmla="*/ 225 h 451"/>
              <a:gd name="T22" fmla="*/ 200 w 1026"/>
              <a:gd name="T23" fmla="*/ 225 h 451"/>
              <a:gd name="T24" fmla="*/ 325 w 1026"/>
              <a:gd name="T25" fmla="*/ 275 h 451"/>
              <a:gd name="T26" fmla="*/ 300 w 1026"/>
              <a:gd name="T27" fmla="*/ 325 h 451"/>
              <a:gd name="T28" fmla="*/ 200 w 1026"/>
              <a:gd name="T29" fmla="*/ 350 h 451"/>
              <a:gd name="T30" fmla="*/ 74 w 1026"/>
              <a:gd name="T31" fmla="*/ 350 h 451"/>
              <a:gd name="T32" fmla="*/ 0 w 1026"/>
              <a:gd name="T33" fmla="*/ 425 h 451"/>
              <a:gd name="T34" fmla="*/ 125 w 1026"/>
              <a:gd name="T35" fmla="*/ 425 h 451"/>
              <a:gd name="T36" fmla="*/ 225 w 1026"/>
              <a:gd name="T37" fmla="*/ 425 h 451"/>
              <a:gd name="T38" fmla="*/ 300 w 1026"/>
              <a:gd name="T39" fmla="*/ 450 h 451"/>
              <a:gd name="T40" fmla="*/ 425 w 1026"/>
              <a:gd name="T41" fmla="*/ 425 h 451"/>
              <a:gd name="T42" fmla="*/ 425 w 1026"/>
              <a:gd name="T43" fmla="*/ 400 h 451"/>
              <a:gd name="T44" fmla="*/ 475 w 1026"/>
              <a:gd name="T45" fmla="*/ 375 h 451"/>
              <a:gd name="T46" fmla="*/ 525 w 1026"/>
              <a:gd name="T47" fmla="*/ 325 h 451"/>
              <a:gd name="T48" fmla="*/ 575 w 1026"/>
              <a:gd name="T49" fmla="*/ 325 h 451"/>
              <a:gd name="T50" fmla="*/ 650 w 1026"/>
              <a:gd name="T51" fmla="*/ 325 h 451"/>
              <a:gd name="T52" fmla="*/ 700 w 1026"/>
              <a:gd name="T53" fmla="*/ 300 h 451"/>
              <a:gd name="T54" fmla="*/ 775 w 1026"/>
              <a:gd name="T55" fmla="*/ 275 h 451"/>
              <a:gd name="T56" fmla="*/ 850 w 1026"/>
              <a:gd name="T57" fmla="*/ 225 h 451"/>
              <a:gd name="T58" fmla="*/ 925 w 1026"/>
              <a:gd name="T59" fmla="*/ 175 h 451"/>
              <a:gd name="T60" fmla="*/ 1025 w 1026"/>
              <a:gd name="T61" fmla="*/ 150 h 451"/>
              <a:gd name="T62" fmla="*/ 1025 w 1026"/>
              <a:gd name="T63" fmla="*/ 125 h 451"/>
              <a:gd name="T64" fmla="*/ 950 w 1026"/>
              <a:gd name="T65" fmla="*/ 10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6" h="451">
                <a:moveTo>
                  <a:pt x="950" y="100"/>
                </a:moveTo>
                <a:lnTo>
                  <a:pt x="950" y="100"/>
                </a:lnTo>
                <a:cubicBezTo>
                  <a:pt x="900" y="50"/>
                  <a:pt x="900" y="75"/>
                  <a:pt x="850" y="75"/>
                </a:cubicBezTo>
                <a:cubicBezTo>
                  <a:pt x="825" y="50"/>
                  <a:pt x="650" y="50"/>
                  <a:pt x="625" y="50"/>
                </a:cubicBezTo>
                <a:cubicBezTo>
                  <a:pt x="575" y="75"/>
                  <a:pt x="525" y="25"/>
                  <a:pt x="500" y="25"/>
                </a:cubicBezTo>
                <a:cubicBezTo>
                  <a:pt x="475" y="0"/>
                  <a:pt x="399" y="25"/>
                  <a:pt x="399" y="50"/>
                </a:cubicBezTo>
                <a:cubicBezTo>
                  <a:pt x="399" y="100"/>
                  <a:pt x="350" y="100"/>
                  <a:pt x="300" y="75"/>
                </a:cubicBezTo>
                <a:cubicBezTo>
                  <a:pt x="250" y="50"/>
                  <a:pt x="174" y="50"/>
                  <a:pt x="174" y="75"/>
                </a:cubicBezTo>
                <a:cubicBezTo>
                  <a:pt x="174" y="100"/>
                  <a:pt x="150" y="125"/>
                  <a:pt x="125" y="150"/>
                </a:cubicBezTo>
                <a:cubicBezTo>
                  <a:pt x="125" y="150"/>
                  <a:pt x="100" y="175"/>
                  <a:pt x="100" y="200"/>
                </a:cubicBezTo>
                <a:cubicBezTo>
                  <a:pt x="125" y="200"/>
                  <a:pt x="125" y="200"/>
                  <a:pt x="125" y="225"/>
                </a:cubicBezTo>
                <a:cubicBezTo>
                  <a:pt x="150" y="250"/>
                  <a:pt x="200" y="250"/>
                  <a:pt x="200" y="225"/>
                </a:cubicBezTo>
                <a:cubicBezTo>
                  <a:pt x="225" y="200"/>
                  <a:pt x="300" y="250"/>
                  <a:pt x="325" y="275"/>
                </a:cubicBezTo>
                <a:cubicBezTo>
                  <a:pt x="375" y="325"/>
                  <a:pt x="325" y="300"/>
                  <a:pt x="300" y="325"/>
                </a:cubicBezTo>
                <a:cubicBezTo>
                  <a:pt x="274" y="350"/>
                  <a:pt x="225" y="325"/>
                  <a:pt x="200" y="350"/>
                </a:cubicBezTo>
                <a:cubicBezTo>
                  <a:pt x="200" y="350"/>
                  <a:pt x="100" y="350"/>
                  <a:pt x="74" y="350"/>
                </a:cubicBezTo>
                <a:cubicBezTo>
                  <a:pt x="50" y="350"/>
                  <a:pt x="0" y="400"/>
                  <a:pt x="0" y="425"/>
                </a:cubicBezTo>
                <a:cubicBezTo>
                  <a:pt x="0" y="425"/>
                  <a:pt x="100" y="400"/>
                  <a:pt x="125" y="425"/>
                </a:cubicBezTo>
                <a:cubicBezTo>
                  <a:pt x="174" y="450"/>
                  <a:pt x="200" y="400"/>
                  <a:pt x="225" y="425"/>
                </a:cubicBezTo>
                <a:cubicBezTo>
                  <a:pt x="250" y="450"/>
                  <a:pt x="274" y="425"/>
                  <a:pt x="300" y="450"/>
                </a:cubicBezTo>
                <a:cubicBezTo>
                  <a:pt x="325" y="450"/>
                  <a:pt x="425" y="425"/>
                  <a:pt x="425" y="425"/>
                </a:cubicBezTo>
                <a:lnTo>
                  <a:pt x="425" y="400"/>
                </a:lnTo>
                <a:cubicBezTo>
                  <a:pt x="425" y="375"/>
                  <a:pt x="450" y="375"/>
                  <a:pt x="475" y="375"/>
                </a:cubicBezTo>
                <a:cubicBezTo>
                  <a:pt x="500" y="350"/>
                  <a:pt x="525" y="325"/>
                  <a:pt x="525" y="325"/>
                </a:cubicBezTo>
                <a:cubicBezTo>
                  <a:pt x="550" y="325"/>
                  <a:pt x="575" y="300"/>
                  <a:pt x="575" y="325"/>
                </a:cubicBezTo>
                <a:cubicBezTo>
                  <a:pt x="599" y="325"/>
                  <a:pt x="625" y="350"/>
                  <a:pt x="650" y="325"/>
                </a:cubicBezTo>
                <a:cubicBezTo>
                  <a:pt x="675" y="325"/>
                  <a:pt x="675" y="325"/>
                  <a:pt x="700" y="300"/>
                </a:cubicBezTo>
                <a:cubicBezTo>
                  <a:pt x="725" y="250"/>
                  <a:pt x="750" y="275"/>
                  <a:pt x="775" y="275"/>
                </a:cubicBezTo>
                <a:cubicBezTo>
                  <a:pt x="825" y="275"/>
                  <a:pt x="850" y="250"/>
                  <a:pt x="850" y="225"/>
                </a:cubicBezTo>
                <a:cubicBezTo>
                  <a:pt x="875" y="200"/>
                  <a:pt x="900" y="200"/>
                  <a:pt x="925" y="175"/>
                </a:cubicBezTo>
                <a:cubicBezTo>
                  <a:pt x="950" y="175"/>
                  <a:pt x="1000" y="150"/>
                  <a:pt x="1025" y="150"/>
                </a:cubicBezTo>
                <a:lnTo>
                  <a:pt x="1025" y="125"/>
                </a:lnTo>
                <a:cubicBezTo>
                  <a:pt x="1000" y="100"/>
                  <a:pt x="975" y="125"/>
                  <a:pt x="950"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5" name="Freeform 51">
            <a:extLst>
              <a:ext uri="{FF2B5EF4-FFF2-40B4-BE49-F238E27FC236}">
                <a16:creationId xmlns:a16="http://schemas.microsoft.com/office/drawing/2014/main" id="{A205EDCF-F421-694D-B827-2165E000D708}"/>
              </a:ext>
            </a:extLst>
          </p:cNvPr>
          <p:cNvSpPr>
            <a:spLocks noChangeArrowheads="1"/>
          </p:cNvSpPr>
          <p:nvPr/>
        </p:nvSpPr>
        <p:spPr bwMode="auto">
          <a:xfrm>
            <a:off x="6945371" y="3425853"/>
            <a:ext cx="208124" cy="95624"/>
          </a:xfrm>
          <a:custGeom>
            <a:avLst/>
            <a:gdLst>
              <a:gd name="T0" fmla="*/ 275 w 651"/>
              <a:gd name="T1" fmla="*/ 225 h 301"/>
              <a:gd name="T2" fmla="*/ 275 w 651"/>
              <a:gd name="T3" fmla="*/ 225 h 301"/>
              <a:gd name="T4" fmla="*/ 325 w 651"/>
              <a:gd name="T5" fmla="*/ 275 h 301"/>
              <a:gd name="T6" fmla="*/ 350 w 651"/>
              <a:gd name="T7" fmla="*/ 300 h 301"/>
              <a:gd name="T8" fmla="*/ 425 w 651"/>
              <a:gd name="T9" fmla="*/ 275 h 301"/>
              <a:gd name="T10" fmla="*/ 526 w 651"/>
              <a:gd name="T11" fmla="*/ 275 h 301"/>
              <a:gd name="T12" fmla="*/ 500 w 651"/>
              <a:gd name="T13" fmla="*/ 250 h 301"/>
              <a:gd name="T14" fmla="*/ 575 w 651"/>
              <a:gd name="T15" fmla="*/ 275 h 301"/>
              <a:gd name="T16" fmla="*/ 650 w 651"/>
              <a:gd name="T17" fmla="*/ 275 h 301"/>
              <a:gd name="T18" fmla="*/ 625 w 651"/>
              <a:gd name="T19" fmla="*/ 250 h 301"/>
              <a:gd name="T20" fmla="*/ 625 w 651"/>
              <a:gd name="T21" fmla="*/ 200 h 301"/>
              <a:gd name="T22" fmla="*/ 575 w 651"/>
              <a:gd name="T23" fmla="*/ 175 h 301"/>
              <a:gd name="T24" fmla="*/ 550 w 651"/>
              <a:gd name="T25" fmla="*/ 125 h 301"/>
              <a:gd name="T26" fmla="*/ 526 w 651"/>
              <a:gd name="T27" fmla="*/ 100 h 301"/>
              <a:gd name="T28" fmla="*/ 425 w 651"/>
              <a:gd name="T29" fmla="*/ 125 h 301"/>
              <a:gd name="T30" fmla="*/ 350 w 651"/>
              <a:gd name="T31" fmla="*/ 100 h 301"/>
              <a:gd name="T32" fmla="*/ 300 w 651"/>
              <a:gd name="T33" fmla="*/ 50 h 301"/>
              <a:gd name="T34" fmla="*/ 150 w 651"/>
              <a:gd name="T35" fmla="*/ 50 h 301"/>
              <a:gd name="T36" fmla="*/ 50 w 651"/>
              <a:gd name="T37" fmla="*/ 0 h 301"/>
              <a:gd name="T38" fmla="*/ 0 w 651"/>
              <a:gd name="T39" fmla="*/ 25 h 301"/>
              <a:gd name="T40" fmla="*/ 150 w 651"/>
              <a:gd name="T41" fmla="*/ 100 h 301"/>
              <a:gd name="T42" fmla="*/ 200 w 651"/>
              <a:gd name="T43" fmla="*/ 200 h 301"/>
              <a:gd name="T44" fmla="*/ 175 w 651"/>
              <a:gd name="T45" fmla="*/ 225 h 301"/>
              <a:gd name="T46" fmla="*/ 275 w 651"/>
              <a:gd name="T47" fmla="*/ 2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301">
                <a:moveTo>
                  <a:pt x="275" y="225"/>
                </a:moveTo>
                <a:lnTo>
                  <a:pt x="275" y="225"/>
                </a:lnTo>
                <a:cubicBezTo>
                  <a:pt x="300" y="225"/>
                  <a:pt x="300" y="250"/>
                  <a:pt x="325" y="275"/>
                </a:cubicBezTo>
                <a:cubicBezTo>
                  <a:pt x="325" y="275"/>
                  <a:pt x="325" y="300"/>
                  <a:pt x="350" y="300"/>
                </a:cubicBezTo>
                <a:cubicBezTo>
                  <a:pt x="375" y="275"/>
                  <a:pt x="400" y="275"/>
                  <a:pt x="425" y="275"/>
                </a:cubicBezTo>
                <a:cubicBezTo>
                  <a:pt x="450" y="275"/>
                  <a:pt x="500" y="275"/>
                  <a:pt x="526" y="275"/>
                </a:cubicBezTo>
                <a:cubicBezTo>
                  <a:pt x="500" y="275"/>
                  <a:pt x="500" y="275"/>
                  <a:pt x="500" y="250"/>
                </a:cubicBezTo>
                <a:cubicBezTo>
                  <a:pt x="526" y="250"/>
                  <a:pt x="550" y="275"/>
                  <a:pt x="575" y="275"/>
                </a:cubicBezTo>
                <a:cubicBezTo>
                  <a:pt x="600" y="300"/>
                  <a:pt x="625" y="300"/>
                  <a:pt x="650" y="275"/>
                </a:cubicBezTo>
                <a:lnTo>
                  <a:pt x="625" y="250"/>
                </a:lnTo>
                <a:cubicBezTo>
                  <a:pt x="625" y="225"/>
                  <a:pt x="625" y="225"/>
                  <a:pt x="625" y="200"/>
                </a:cubicBezTo>
                <a:cubicBezTo>
                  <a:pt x="600" y="200"/>
                  <a:pt x="575" y="175"/>
                  <a:pt x="575" y="175"/>
                </a:cubicBezTo>
                <a:cubicBezTo>
                  <a:pt x="575" y="175"/>
                  <a:pt x="575" y="125"/>
                  <a:pt x="550" y="125"/>
                </a:cubicBezTo>
                <a:cubicBezTo>
                  <a:pt x="526" y="125"/>
                  <a:pt x="526" y="100"/>
                  <a:pt x="526" y="100"/>
                </a:cubicBezTo>
                <a:cubicBezTo>
                  <a:pt x="500" y="100"/>
                  <a:pt x="425" y="100"/>
                  <a:pt x="425" y="125"/>
                </a:cubicBezTo>
                <a:cubicBezTo>
                  <a:pt x="400" y="125"/>
                  <a:pt x="375" y="100"/>
                  <a:pt x="350" y="100"/>
                </a:cubicBezTo>
                <a:cubicBezTo>
                  <a:pt x="350" y="100"/>
                  <a:pt x="325" y="75"/>
                  <a:pt x="300" y="50"/>
                </a:cubicBezTo>
                <a:cubicBezTo>
                  <a:pt x="300" y="50"/>
                  <a:pt x="175" y="75"/>
                  <a:pt x="150" y="50"/>
                </a:cubicBezTo>
                <a:cubicBezTo>
                  <a:pt x="125" y="25"/>
                  <a:pt x="75" y="0"/>
                  <a:pt x="50" y="0"/>
                </a:cubicBezTo>
                <a:cubicBezTo>
                  <a:pt x="25" y="0"/>
                  <a:pt x="25" y="25"/>
                  <a:pt x="0" y="25"/>
                </a:cubicBezTo>
                <a:cubicBezTo>
                  <a:pt x="75" y="50"/>
                  <a:pt x="150" y="50"/>
                  <a:pt x="150" y="100"/>
                </a:cubicBezTo>
                <a:cubicBezTo>
                  <a:pt x="175" y="175"/>
                  <a:pt x="200" y="150"/>
                  <a:pt x="200" y="200"/>
                </a:cubicBezTo>
                <a:cubicBezTo>
                  <a:pt x="200" y="225"/>
                  <a:pt x="175" y="225"/>
                  <a:pt x="175" y="225"/>
                </a:cubicBezTo>
                <a:cubicBezTo>
                  <a:pt x="200" y="250"/>
                  <a:pt x="250" y="250"/>
                  <a:pt x="275" y="2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6" name="Freeform 52">
            <a:extLst>
              <a:ext uri="{FF2B5EF4-FFF2-40B4-BE49-F238E27FC236}">
                <a16:creationId xmlns:a16="http://schemas.microsoft.com/office/drawing/2014/main" id="{C4BF7ED7-F933-4E4D-94E0-5BAC12C10ED1}"/>
              </a:ext>
            </a:extLst>
          </p:cNvPr>
          <p:cNvSpPr>
            <a:spLocks noChangeArrowheads="1"/>
          </p:cNvSpPr>
          <p:nvPr/>
        </p:nvSpPr>
        <p:spPr bwMode="auto">
          <a:xfrm>
            <a:off x="6530531" y="3480700"/>
            <a:ext cx="566716" cy="223593"/>
          </a:xfrm>
          <a:custGeom>
            <a:avLst/>
            <a:gdLst>
              <a:gd name="T0" fmla="*/ 1725 w 1776"/>
              <a:gd name="T1" fmla="*/ 475 h 701"/>
              <a:gd name="T2" fmla="*/ 1725 w 1776"/>
              <a:gd name="T3" fmla="*/ 475 h 701"/>
              <a:gd name="T4" fmla="*/ 1725 w 1776"/>
              <a:gd name="T5" fmla="*/ 375 h 701"/>
              <a:gd name="T6" fmla="*/ 1725 w 1776"/>
              <a:gd name="T7" fmla="*/ 300 h 701"/>
              <a:gd name="T8" fmla="*/ 1750 w 1776"/>
              <a:gd name="T9" fmla="*/ 250 h 701"/>
              <a:gd name="T10" fmla="*/ 1725 w 1776"/>
              <a:gd name="T11" fmla="*/ 225 h 701"/>
              <a:gd name="T12" fmla="*/ 1650 w 1776"/>
              <a:gd name="T13" fmla="*/ 200 h 701"/>
              <a:gd name="T14" fmla="*/ 1625 w 1776"/>
              <a:gd name="T15" fmla="*/ 100 h 701"/>
              <a:gd name="T16" fmla="*/ 1575 w 1776"/>
              <a:gd name="T17" fmla="*/ 50 h 701"/>
              <a:gd name="T18" fmla="*/ 1475 w 1776"/>
              <a:gd name="T19" fmla="*/ 50 h 701"/>
              <a:gd name="T20" fmla="*/ 1300 w 1776"/>
              <a:gd name="T21" fmla="*/ 125 h 701"/>
              <a:gd name="T22" fmla="*/ 1125 w 1776"/>
              <a:gd name="T23" fmla="*/ 125 h 701"/>
              <a:gd name="T24" fmla="*/ 1025 w 1776"/>
              <a:gd name="T25" fmla="*/ 75 h 701"/>
              <a:gd name="T26" fmla="*/ 925 w 1776"/>
              <a:gd name="T27" fmla="*/ 50 h 701"/>
              <a:gd name="T28" fmla="*/ 800 w 1776"/>
              <a:gd name="T29" fmla="*/ 0 h 701"/>
              <a:gd name="T30" fmla="*/ 500 w 1776"/>
              <a:gd name="T31" fmla="*/ 100 h 701"/>
              <a:gd name="T32" fmla="*/ 300 w 1776"/>
              <a:gd name="T33" fmla="*/ 100 h 701"/>
              <a:gd name="T34" fmla="*/ 250 w 1776"/>
              <a:gd name="T35" fmla="*/ 175 h 701"/>
              <a:gd name="T36" fmla="*/ 50 w 1776"/>
              <a:gd name="T37" fmla="*/ 200 h 701"/>
              <a:gd name="T38" fmla="*/ 50 w 1776"/>
              <a:gd name="T39" fmla="*/ 275 h 701"/>
              <a:gd name="T40" fmla="*/ 75 w 1776"/>
              <a:gd name="T41" fmla="*/ 300 h 701"/>
              <a:gd name="T42" fmla="*/ 100 w 1776"/>
              <a:gd name="T43" fmla="*/ 375 h 701"/>
              <a:gd name="T44" fmla="*/ 100 w 1776"/>
              <a:gd name="T45" fmla="*/ 425 h 701"/>
              <a:gd name="T46" fmla="*/ 100 w 1776"/>
              <a:gd name="T47" fmla="*/ 475 h 701"/>
              <a:gd name="T48" fmla="*/ 150 w 1776"/>
              <a:gd name="T49" fmla="*/ 525 h 701"/>
              <a:gd name="T50" fmla="*/ 200 w 1776"/>
              <a:gd name="T51" fmla="*/ 575 h 701"/>
              <a:gd name="T52" fmla="*/ 250 w 1776"/>
              <a:gd name="T53" fmla="*/ 575 h 701"/>
              <a:gd name="T54" fmla="*/ 300 w 1776"/>
              <a:gd name="T55" fmla="*/ 650 h 701"/>
              <a:gd name="T56" fmla="*/ 424 w 1776"/>
              <a:gd name="T57" fmla="*/ 625 h 701"/>
              <a:gd name="T58" fmla="*/ 500 w 1776"/>
              <a:gd name="T59" fmla="*/ 575 h 701"/>
              <a:gd name="T60" fmla="*/ 625 w 1776"/>
              <a:gd name="T61" fmla="*/ 650 h 701"/>
              <a:gd name="T62" fmla="*/ 725 w 1776"/>
              <a:gd name="T63" fmla="*/ 650 h 701"/>
              <a:gd name="T64" fmla="*/ 825 w 1776"/>
              <a:gd name="T65" fmla="*/ 575 h 701"/>
              <a:gd name="T66" fmla="*/ 900 w 1776"/>
              <a:gd name="T67" fmla="*/ 600 h 701"/>
              <a:gd name="T68" fmla="*/ 950 w 1776"/>
              <a:gd name="T69" fmla="*/ 575 h 701"/>
              <a:gd name="T70" fmla="*/ 925 w 1776"/>
              <a:gd name="T71" fmla="*/ 650 h 701"/>
              <a:gd name="T72" fmla="*/ 925 w 1776"/>
              <a:gd name="T73" fmla="*/ 700 h 701"/>
              <a:gd name="T74" fmla="*/ 1000 w 1776"/>
              <a:gd name="T75" fmla="*/ 625 h 701"/>
              <a:gd name="T76" fmla="*/ 1025 w 1776"/>
              <a:gd name="T77" fmla="*/ 600 h 701"/>
              <a:gd name="T78" fmla="*/ 1125 w 1776"/>
              <a:gd name="T79" fmla="*/ 600 h 701"/>
              <a:gd name="T80" fmla="*/ 1175 w 1776"/>
              <a:gd name="T81" fmla="*/ 600 h 701"/>
              <a:gd name="T82" fmla="*/ 1275 w 1776"/>
              <a:gd name="T83" fmla="*/ 600 h 701"/>
              <a:gd name="T84" fmla="*/ 1400 w 1776"/>
              <a:gd name="T85" fmla="*/ 550 h 701"/>
              <a:gd name="T86" fmla="*/ 1500 w 1776"/>
              <a:gd name="T87" fmla="*/ 550 h 701"/>
              <a:gd name="T88" fmla="*/ 1550 w 1776"/>
              <a:gd name="T89" fmla="*/ 550 h 701"/>
              <a:gd name="T90" fmla="*/ 1600 w 1776"/>
              <a:gd name="T91" fmla="*/ 525 h 701"/>
              <a:gd name="T92" fmla="*/ 1675 w 1776"/>
              <a:gd name="T93" fmla="*/ 550 h 701"/>
              <a:gd name="T94" fmla="*/ 1775 w 1776"/>
              <a:gd name="T95" fmla="*/ 550 h 701"/>
              <a:gd name="T96" fmla="*/ 1725 w 1776"/>
              <a:gd name="T97" fmla="*/ 475 h 701"/>
              <a:gd name="T98" fmla="*/ 175 w 1776"/>
              <a:gd name="T99" fmla="*/ 125 h 701"/>
              <a:gd name="T100" fmla="*/ 175 w 1776"/>
              <a:gd name="T101" fmla="*/ 125 h 701"/>
              <a:gd name="T102" fmla="*/ 300 w 1776"/>
              <a:gd name="T103" fmla="*/ 100 h 701"/>
              <a:gd name="T104" fmla="*/ 224 w 1776"/>
              <a:gd name="T105" fmla="*/ 50 h 701"/>
              <a:gd name="T106" fmla="*/ 200 w 1776"/>
              <a:gd name="T107" fmla="*/ 0 h 701"/>
              <a:gd name="T108" fmla="*/ 150 w 1776"/>
              <a:gd name="T109" fmla="*/ 25 h 701"/>
              <a:gd name="T110" fmla="*/ 50 w 1776"/>
              <a:gd name="T111" fmla="*/ 25 h 701"/>
              <a:gd name="T112" fmla="*/ 75 w 1776"/>
              <a:gd name="T113" fmla="*/ 75 h 701"/>
              <a:gd name="T114" fmla="*/ 50 w 1776"/>
              <a:gd name="T115" fmla="*/ 125 h 701"/>
              <a:gd name="T116" fmla="*/ 25 w 1776"/>
              <a:gd name="T117" fmla="*/ 150 h 701"/>
              <a:gd name="T118" fmla="*/ 75 w 1776"/>
              <a:gd name="T119" fmla="*/ 175 h 701"/>
              <a:gd name="T120" fmla="*/ 175 w 1776"/>
              <a:gd name="T121" fmla="*/ 125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6" h="701">
                <a:moveTo>
                  <a:pt x="1725" y="475"/>
                </a:moveTo>
                <a:lnTo>
                  <a:pt x="1725" y="475"/>
                </a:lnTo>
                <a:cubicBezTo>
                  <a:pt x="1725" y="475"/>
                  <a:pt x="1725" y="400"/>
                  <a:pt x="1725" y="375"/>
                </a:cubicBezTo>
                <a:cubicBezTo>
                  <a:pt x="1725" y="375"/>
                  <a:pt x="1700" y="300"/>
                  <a:pt x="1725" y="300"/>
                </a:cubicBezTo>
                <a:cubicBezTo>
                  <a:pt x="1750" y="300"/>
                  <a:pt x="1725" y="250"/>
                  <a:pt x="1750" y="250"/>
                </a:cubicBezTo>
                <a:lnTo>
                  <a:pt x="1725" y="225"/>
                </a:lnTo>
                <a:cubicBezTo>
                  <a:pt x="1725" y="200"/>
                  <a:pt x="1675" y="225"/>
                  <a:pt x="1650" y="200"/>
                </a:cubicBezTo>
                <a:cubicBezTo>
                  <a:pt x="1650" y="150"/>
                  <a:pt x="1650" y="150"/>
                  <a:pt x="1625" y="100"/>
                </a:cubicBezTo>
                <a:cubicBezTo>
                  <a:pt x="1600" y="75"/>
                  <a:pt x="1600" y="50"/>
                  <a:pt x="1575" y="50"/>
                </a:cubicBezTo>
                <a:cubicBezTo>
                  <a:pt x="1550" y="75"/>
                  <a:pt x="1500" y="75"/>
                  <a:pt x="1475" y="50"/>
                </a:cubicBezTo>
                <a:cubicBezTo>
                  <a:pt x="1425" y="100"/>
                  <a:pt x="1325" y="125"/>
                  <a:pt x="1300" y="125"/>
                </a:cubicBezTo>
                <a:cubicBezTo>
                  <a:pt x="1250" y="100"/>
                  <a:pt x="1175" y="125"/>
                  <a:pt x="1125" y="125"/>
                </a:cubicBezTo>
                <a:cubicBezTo>
                  <a:pt x="1075" y="125"/>
                  <a:pt x="1050" y="75"/>
                  <a:pt x="1025" y="75"/>
                </a:cubicBezTo>
                <a:cubicBezTo>
                  <a:pt x="975" y="100"/>
                  <a:pt x="975" y="50"/>
                  <a:pt x="925" y="50"/>
                </a:cubicBezTo>
                <a:cubicBezTo>
                  <a:pt x="900" y="50"/>
                  <a:pt x="925" y="25"/>
                  <a:pt x="800" y="0"/>
                </a:cubicBezTo>
                <a:cubicBezTo>
                  <a:pt x="675" y="0"/>
                  <a:pt x="550" y="75"/>
                  <a:pt x="500" y="100"/>
                </a:cubicBezTo>
                <a:cubicBezTo>
                  <a:pt x="475" y="125"/>
                  <a:pt x="325" y="100"/>
                  <a:pt x="300" y="100"/>
                </a:cubicBezTo>
                <a:cubicBezTo>
                  <a:pt x="300" y="125"/>
                  <a:pt x="300" y="175"/>
                  <a:pt x="250" y="175"/>
                </a:cubicBezTo>
                <a:cubicBezTo>
                  <a:pt x="200" y="200"/>
                  <a:pt x="100" y="175"/>
                  <a:pt x="50" y="200"/>
                </a:cubicBezTo>
                <a:cubicBezTo>
                  <a:pt x="25" y="225"/>
                  <a:pt x="0" y="275"/>
                  <a:pt x="50" y="275"/>
                </a:cubicBezTo>
                <a:cubicBezTo>
                  <a:pt x="75" y="275"/>
                  <a:pt x="100" y="275"/>
                  <a:pt x="75" y="300"/>
                </a:cubicBezTo>
                <a:cubicBezTo>
                  <a:pt x="75" y="300"/>
                  <a:pt x="100" y="350"/>
                  <a:pt x="100" y="375"/>
                </a:cubicBezTo>
                <a:cubicBezTo>
                  <a:pt x="75" y="375"/>
                  <a:pt x="75" y="425"/>
                  <a:pt x="100" y="425"/>
                </a:cubicBezTo>
                <a:cubicBezTo>
                  <a:pt x="125" y="450"/>
                  <a:pt x="125" y="475"/>
                  <a:pt x="100" y="475"/>
                </a:cubicBezTo>
                <a:cubicBezTo>
                  <a:pt x="75" y="475"/>
                  <a:pt x="150" y="525"/>
                  <a:pt x="150" y="525"/>
                </a:cubicBezTo>
                <a:cubicBezTo>
                  <a:pt x="150" y="550"/>
                  <a:pt x="200" y="550"/>
                  <a:pt x="200" y="575"/>
                </a:cubicBezTo>
                <a:cubicBezTo>
                  <a:pt x="200" y="575"/>
                  <a:pt x="224" y="600"/>
                  <a:pt x="250" y="575"/>
                </a:cubicBezTo>
                <a:cubicBezTo>
                  <a:pt x="275" y="575"/>
                  <a:pt x="300" y="625"/>
                  <a:pt x="300" y="650"/>
                </a:cubicBezTo>
                <a:cubicBezTo>
                  <a:pt x="325" y="675"/>
                  <a:pt x="424" y="650"/>
                  <a:pt x="424" y="625"/>
                </a:cubicBezTo>
                <a:cubicBezTo>
                  <a:pt x="424" y="600"/>
                  <a:pt x="450" y="575"/>
                  <a:pt x="500" y="575"/>
                </a:cubicBezTo>
                <a:cubicBezTo>
                  <a:pt x="550" y="600"/>
                  <a:pt x="600" y="650"/>
                  <a:pt x="625" y="650"/>
                </a:cubicBezTo>
                <a:cubicBezTo>
                  <a:pt x="650" y="675"/>
                  <a:pt x="700" y="650"/>
                  <a:pt x="725" y="650"/>
                </a:cubicBezTo>
                <a:cubicBezTo>
                  <a:pt x="750" y="650"/>
                  <a:pt x="800" y="600"/>
                  <a:pt x="825" y="575"/>
                </a:cubicBezTo>
                <a:cubicBezTo>
                  <a:pt x="825" y="575"/>
                  <a:pt x="850" y="625"/>
                  <a:pt x="900" y="600"/>
                </a:cubicBezTo>
                <a:cubicBezTo>
                  <a:pt x="925" y="600"/>
                  <a:pt x="950" y="575"/>
                  <a:pt x="950" y="575"/>
                </a:cubicBezTo>
                <a:cubicBezTo>
                  <a:pt x="975" y="600"/>
                  <a:pt x="925" y="650"/>
                  <a:pt x="925" y="650"/>
                </a:cubicBezTo>
                <a:cubicBezTo>
                  <a:pt x="950" y="675"/>
                  <a:pt x="950" y="675"/>
                  <a:pt x="925" y="700"/>
                </a:cubicBezTo>
                <a:cubicBezTo>
                  <a:pt x="1000" y="675"/>
                  <a:pt x="1000" y="650"/>
                  <a:pt x="1000" y="625"/>
                </a:cubicBezTo>
                <a:cubicBezTo>
                  <a:pt x="1000" y="600"/>
                  <a:pt x="1000" y="600"/>
                  <a:pt x="1025" y="600"/>
                </a:cubicBezTo>
                <a:cubicBezTo>
                  <a:pt x="1050" y="625"/>
                  <a:pt x="1075" y="625"/>
                  <a:pt x="1125" y="600"/>
                </a:cubicBezTo>
                <a:cubicBezTo>
                  <a:pt x="1150" y="575"/>
                  <a:pt x="1150" y="575"/>
                  <a:pt x="1175" y="600"/>
                </a:cubicBezTo>
                <a:cubicBezTo>
                  <a:pt x="1200" y="600"/>
                  <a:pt x="1225" y="600"/>
                  <a:pt x="1275" y="600"/>
                </a:cubicBezTo>
                <a:cubicBezTo>
                  <a:pt x="1350" y="600"/>
                  <a:pt x="1350" y="550"/>
                  <a:pt x="1400" y="550"/>
                </a:cubicBezTo>
                <a:cubicBezTo>
                  <a:pt x="1475" y="575"/>
                  <a:pt x="1500" y="550"/>
                  <a:pt x="1500" y="550"/>
                </a:cubicBezTo>
                <a:cubicBezTo>
                  <a:pt x="1550" y="550"/>
                  <a:pt x="1550" y="550"/>
                  <a:pt x="1550" y="550"/>
                </a:cubicBezTo>
                <a:cubicBezTo>
                  <a:pt x="1550" y="550"/>
                  <a:pt x="1550" y="525"/>
                  <a:pt x="1600" y="525"/>
                </a:cubicBezTo>
                <a:cubicBezTo>
                  <a:pt x="1625" y="525"/>
                  <a:pt x="1650" y="550"/>
                  <a:pt x="1675" y="550"/>
                </a:cubicBezTo>
                <a:cubicBezTo>
                  <a:pt x="1700" y="525"/>
                  <a:pt x="1775" y="600"/>
                  <a:pt x="1775" y="550"/>
                </a:cubicBezTo>
                <a:cubicBezTo>
                  <a:pt x="1775" y="550"/>
                  <a:pt x="1750" y="475"/>
                  <a:pt x="1725" y="475"/>
                </a:cubicBezTo>
                <a:close/>
                <a:moveTo>
                  <a:pt x="175" y="125"/>
                </a:moveTo>
                <a:lnTo>
                  <a:pt x="175" y="125"/>
                </a:lnTo>
                <a:cubicBezTo>
                  <a:pt x="200" y="100"/>
                  <a:pt x="275" y="125"/>
                  <a:pt x="300" y="100"/>
                </a:cubicBezTo>
                <a:cubicBezTo>
                  <a:pt x="300" y="100"/>
                  <a:pt x="250" y="75"/>
                  <a:pt x="224" y="50"/>
                </a:cubicBezTo>
                <a:cubicBezTo>
                  <a:pt x="200" y="50"/>
                  <a:pt x="200" y="25"/>
                  <a:pt x="200" y="0"/>
                </a:cubicBezTo>
                <a:cubicBezTo>
                  <a:pt x="175" y="25"/>
                  <a:pt x="175" y="25"/>
                  <a:pt x="150" y="25"/>
                </a:cubicBezTo>
                <a:cubicBezTo>
                  <a:pt x="125" y="0"/>
                  <a:pt x="75" y="0"/>
                  <a:pt x="50" y="25"/>
                </a:cubicBezTo>
                <a:cubicBezTo>
                  <a:pt x="50" y="25"/>
                  <a:pt x="75" y="50"/>
                  <a:pt x="75" y="75"/>
                </a:cubicBezTo>
                <a:cubicBezTo>
                  <a:pt x="75" y="100"/>
                  <a:pt x="50" y="100"/>
                  <a:pt x="50" y="125"/>
                </a:cubicBezTo>
                <a:lnTo>
                  <a:pt x="25" y="150"/>
                </a:lnTo>
                <a:cubicBezTo>
                  <a:pt x="50" y="175"/>
                  <a:pt x="50" y="175"/>
                  <a:pt x="75" y="175"/>
                </a:cubicBezTo>
                <a:cubicBezTo>
                  <a:pt x="125" y="175"/>
                  <a:pt x="125" y="125"/>
                  <a:pt x="175" y="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7" name="Freeform 53">
            <a:extLst>
              <a:ext uri="{FF2B5EF4-FFF2-40B4-BE49-F238E27FC236}">
                <a16:creationId xmlns:a16="http://schemas.microsoft.com/office/drawing/2014/main" id="{3E0C99E6-A526-2442-B492-BACCA33584B0}"/>
              </a:ext>
            </a:extLst>
          </p:cNvPr>
          <p:cNvSpPr>
            <a:spLocks noChangeArrowheads="1"/>
          </p:cNvSpPr>
          <p:nvPr/>
        </p:nvSpPr>
        <p:spPr bwMode="auto">
          <a:xfrm>
            <a:off x="8109739" y="3704291"/>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8" name="Freeform 54">
            <a:extLst>
              <a:ext uri="{FF2B5EF4-FFF2-40B4-BE49-F238E27FC236}">
                <a16:creationId xmlns:a16="http://schemas.microsoft.com/office/drawing/2014/main" id="{B003E8D2-1590-AF46-A54F-62386D8E1B60}"/>
              </a:ext>
            </a:extLst>
          </p:cNvPr>
          <p:cNvSpPr>
            <a:spLocks noChangeArrowheads="1"/>
          </p:cNvSpPr>
          <p:nvPr/>
        </p:nvSpPr>
        <p:spPr bwMode="auto">
          <a:xfrm>
            <a:off x="9456919" y="3456793"/>
            <a:ext cx="208124" cy="191249"/>
          </a:xfrm>
          <a:custGeom>
            <a:avLst/>
            <a:gdLst>
              <a:gd name="T0" fmla="*/ 625 w 651"/>
              <a:gd name="T1" fmla="*/ 25 h 601"/>
              <a:gd name="T2" fmla="*/ 625 w 651"/>
              <a:gd name="T3" fmla="*/ 25 h 601"/>
              <a:gd name="T4" fmla="*/ 550 w 651"/>
              <a:gd name="T5" fmla="*/ 0 h 601"/>
              <a:gd name="T6" fmla="*/ 500 w 651"/>
              <a:gd name="T7" fmla="*/ 75 h 601"/>
              <a:gd name="T8" fmla="*/ 425 w 651"/>
              <a:gd name="T9" fmla="*/ 125 h 601"/>
              <a:gd name="T10" fmla="*/ 400 w 651"/>
              <a:gd name="T11" fmla="*/ 150 h 601"/>
              <a:gd name="T12" fmla="*/ 325 w 651"/>
              <a:gd name="T13" fmla="*/ 175 h 601"/>
              <a:gd name="T14" fmla="*/ 275 w 651"/>
              <a:gd name="T15" fmla="*/ 150 h 601"/>
              <a:gd name="T16" fmla="*/ 200 w 651"/>
              <a:gd name="T17" fmla="*/ 200 h 601"/>
              <a:gd name="T18" fmla="*/ 25 w 651"/>
              <a:gd name="T19" fmla="*/ 300 h 601"/>
              <a:gd name="T20" fmla="*/ 0 w 651"/>
              <a:gd name="T21" fmla="*/ 350 h 601"/>
              <a:gd name="T22" fmla="*/ 125 w 651"/>
              <a:gd name="T23" fmla="*/ 400 h 601"/>
              <a:gd name="T24" fmla="*/ 50 w 651"/>
              <a:gd name="T25" fmla="*/ 500 h 601"/>
              <a:gd name="T26" fmla="*/ 75 w 651"/>
              <a:gd name="T27" fmla="*/ 550 h 601"/>
              <a:gd name="T28" fmla="*/ 125 w 651"/>
              <a:gd name="T29" fmla="*/ 575 h 601"/>
              <a:gd name="T30" fmla="*/ 200 w 651"/>
              <a:gd name="T31" fmla="*/ 575 h 601"/>
              <a:gd name="T32" fmla="*/ 225 w 651"/>
              <a:gd name="T33" fmla="*/ 575 h 601"/>
              <a:gd name="T34" fmla="*/ 275 w 651"/>
              <a:gd name="T35" fmla="*/ 550 h 601"/>
              <a:gd name="T36" fmla="*/ 350 w 651"/>
              <a:gd name="T37" fmla="*/ 525 h 601"/>
              <a:gd name="T38" fmla="*/ 400 w 651"/>
              <a:gd name="T39" fmla="*/ 500 h 601"/>
              <a:gd name="T40" fmla="*/ 325 w 651"/>
              <a:gd name="T41" fmla="*/ 425 h 601"/>
              <a:gd name="T42" fmla="*/ 350 w 651"/>
              <a:gd name="T43" fmla="*/ 350 h 601"/>
              <a:gd name="T44" fmla="*/ 525 w 651"/>
              <a:gd name="T45" fmla="*/ 250 h 601"/>
              <a:gd name="T46" fmla="*/ 550 w 651"/>
              <a:gd name="T47" fmla="*/ 125 h 601"/>
              <a:gd name="T48" fmla="*/ 650 w 651"/>
              <a:gd name="T49" fmla="*/ 25 h 601"/>
              <a:gd name="T50" fmla="*/ 625 w 651"/>
              <a:gd name="T51" fmla="*/ 2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1" h="601">
                <a:moveTo>
                  <a:pt x="625" y="25"/>
                </a:moveTo>
                <a:lnTo>
                  <a:pt x="625" y="25"/>
                </a:lnTo>
                <a:cubicBezTo>
                  <a:pt x="600" y="25"/>
                  <a:pt x="575" y="0"/>
                  <a:pt x="550" y="0"/>
                </a:cubicBezTo>
                <a:cubicBezTo>
                  <a:pt x="525" y="0"/>
                  <a:pt x="525" y="75"/>
                  <a:pt x="500" y="75"/>
                </a:cubicBezTo>
                <a:cubicBezTo>
                  <a:pt x="450" y="75"/>
                  <a:pt x="475" y="100"/>
                  <a:pt x="425" y="125"/>
                </a:cubicBezTo>
                <a:cubicBezTo>
                  <a:pt x="375" y="125"/>
                  <a:pt x="375" y="125"/>
                  <a:pt x="400" y="150"/>
                </a:cubicBezTo>
                <a:cubicBezTo>
                  <a:pt x="400" y="175"/>
                  <a:pt x="375" y="175"/>
                  <a:pt x="325" y="175"/>
                </a:cubicBezTo>
                <a:cubicBezTo>
                  <a:pt x="300" y="175"/>
                  <a:pt x="300" y="150"/>
                  <a:pt x="275" y="150"/>
                </a:cubicBezTo>
                <a:cubicBezTo>
                  <a:pt x="250" y="150"/>
                  <a:pt x="225" y="200"/>
                  <a:pt x="200" y="200"/>
                </a:cubicBezTo>
                <a:cubicBezTo>
                  <a:pt x="200" y="225"/>
                  <a:pt x="75" y="300"/>
                  <a:pt x="25" y="300"/>
                </a:cubicBezTo>
                <a:cubicBezTo>
                  <a:pt x="25" y="325"/>
                  <a:pt x="25" y="325"/>
                  <a:pt x="0" y="350"/>
                </a:cubicBezTo>
                <a:cubicBezTo>
                  <a:pt x="50" y="350"/>
                  <a:pt x="100" y="375"/>
                  <a:pt x="125" y="400"/>
                </a:cubicBezTo>
                <a:cubicBezTo>
                  <a:pt x="150" y="425"/>
                  <a:pt x="75" y="475"/>
                  <a:pt x="50" y="500"/>
                </a:cubicBezTo>
                <a:cubicBezTo>
                  <a:pt x="25" y="525"/>
                  <a:pt x="75" y="525"/>
                  <a:pt x="75" y="550"/>
                </a:cubicBezTo>
                <a:cubicBezTo>
                  <a:pt x="75" y="575"/>
                  <a:pt x="100" y="600"/>
                  <a:pt x="125" y="575"/>
                </a:cubicBezTo>
                <a:cubicBezTo>
                  <a:pt x="125" y="575"/>
                  <a:pt x="150" y="575"/>
                  <a:pt x="200" y="575"/>
                </a:cubicBezTo>
                <a:cubicBezTo>
                  <a:pt x="200" y="575"/>
                  <a:pt x="200" y="575"/>
                  <a:pt x="225" y="575"/>
                </a:cubicBezTo>
                <a:lnTo>
                  <a:pt x="275" y="550"/>
                </a:lnTo>
                <a:cubicBezTo>
                  <a:pt x="275" y="525"/>
                  <a:pt x="325" y="525"/>
                  <a:pt x="350" y="525"/>
                </a:cubicBezTo>
                <a:cubicBezTo>
                  <a:pt x="375" y="525"/>
                  <a:pt x="400" y="525"/>
                  <a:pt x="400" y="500"/>
                </a:cubicBezTo>
                <a:cubicBezTo>
                  <a:pt x="375" y="475"/>
                  <a:pt x="325" y="425"/>
                  <a:pt x="325" y="425"/>
                </a:cubicBezTo>
                <a:cubicBezTo>
                  <a:pt x="300" y="400"/>
                  <a:pt x="300" y="350"/>
                  <a:pt x="350" y="350"/>
                </a:cubicBezTo>
                <a:cubicBezTo>
                  <a:pt x="400" y="325"/>
                  <a:pt x="475" y="250"/>
                  <a:pt x="525" y="250"/>
                </a:cubicBezTo>
                <a:cubicBezTo>
                  <a:pt x="550" y="225"/>
                  <a:pt x="525" y="175"/>
                  <a:pt x="550" y="125"/>
                </a:cubicBezTo>
                <a:cubicBezTo>
                  <a:pt x="550" y="100"/>
                  <a:pt x="600" y="75"/>
                  <a:pt x="650" y="25"/>
                </a:cubicBezTo>
                <a:lnTo>
                  <a:pt x="625" y="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29" name="Freeform 55">
            <a:extLst>
              <a:ext uri="{FF2B5EF4-FFF2-40B4-BE49-F238E27FC236}">
                <a16:creationId xmlns:a16="http://schemas.microsoft.com/office/drawing/2014/main" id="{33ACBCD2-387D-FD47-9147-DFC1122A7137}"/>
              </a:ext>
            </a:extLst>
          </p:cNvPr>
          <p:cNvSpPr>
            <a:spLocks noChangeArrowheads="1"/>
          </p:cNvSpPr>
          <p:nvPr/>
        </p:nvSpPr>
        <p:spPr bwMode="auto">
          <a:xfrm>
            <a:off x="8165988" y="3895539"/>
            <a:ext cx="232029" cy="127968"/>
          </a:xfrm>
          <a:custGeom>
            <a:avLst/>
            <a:gdLst>
              <a:gd name="T0" fmla="*/ 725 w 726"/>
              <a:gd name="T1" fmla="*/ 251 h 401"/>
              <a:gd name="T2" fmla="*/ 725 w 726"/>
              <a:gd name="T3" fmla="*/ 251 h 401"/>
              <a:gd name="T4" fmla="*/ 700 w 726"/>
              <a:gd name="T5" fmla="*/ 251 h 401"/>
              <a:gd name="T6" fmla="*/ 575 w 726"/>
              <a:gd name="T7" fmla="*/ 225 h 401"/>
              <a:gd name="T8" fmla="*/ 400 w 726"/>
              <a:gd name="T9" fmla="*/ 151 h 401"/>
              <a:gd name="T10" fmla="*/ 200 w 726"/>
              <a:gd name="T11" fmla="*/ 25 h 401"/>
              <a:gd name="T12" fmla="*/ 125 w 726"/>
              <a:gd name="T13" fmla="*/ 0 h 401"/>
              <a:gd name="T14" fmla="*/ 75 w 726"/>
              <a:gd name="T15" fmla="*/ 25 h 401"/>
              <a:gd name="T16" fmla="*/ 25 w 726"/>
              <a:gd name="T17" fmla="*/ 75 h 401"/>
              <a:gd name="T18" fmla="*/ 0 w 726"/>
              <a:gd name="T19" fmla="*/ 151 h 401"/>
              <a:gd name="T20" fmla="*/ 50 w 726"/>
              <a:gd name="T21" fmla="*/ 175 h 401"/>
              <a:gd name="T22" fmla="*/ 125 w 726"/>
              <a:gd name="T23" fmla="*/ 225 h 401"/>
              <a:gd name="T24" fmla="*/ 200 w 726"/>
              <a:gd name="T25" fmla="*/ 251 h 401"/>
              <a:gd name="T26" fmla="*/ 275 w 726"/>
              <a:gd name="T27" fmla="*/ 300 h 401"/>
              <a:gd name="T28" fmla="*/ 375 w 726"/>
              <a:gd name="T29" fmla="*/ 275 h 401"/>
              <a:gd name="T30" fmla="*/ 425 w 726"/>
              <a:gd name="T31" fmla="*/ 351 h 401"/>
              <a:gd name="T32" fmla="*/ 550 w 726"/>
              <a:gd name="T33" fmla="*/ 375 h 401"/>
              <a:gd name="T34" fmla="*/ 700 w 726"/>
              <a:gd name="T35" fmla="*/ 375 h 401"/>
              <a:gd name="T36" fmla="*/ 700 w 726"/>
              <a:gd name="T37" fmla="*/ 275 h 401"/>
              <a:gd name="T38" fmla="*/ 725 w 726"/>
              <a:gd name="T39" fmla="*/ 25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6" h="401">
                <a:moveTo>
                  <a:pt x="725" y="251"/>
                </a:moveTo>
                <a:lnTo>
                  <a:pt x="725" y="251"/>
                </a:lnTo>
                <a:cubicBezTo>
                  <a:pt x="700" y="251"/>
                  <a:pt x="700" y="251"/>
                  <a:pt x="700" y="251"/>
                </a:cubicBezTo>
                <a:cubicBezTo>
                  <a:pt x="650" y="251"/>
                  <a:pt x="600" y="225"/>
                  <a:pt x="575" y="225"/>
                </a:cubicBezTo>
                <a:cubicBezTo>
                  <a:pt x="550" y="225"/>
                  <a:pt x="425" y="200"/>
                  <a:pt x="400" y="151"/>
                </a:cubicBezTo>
                <a:cubicBezTo>
                  <a:pt x="350" y="125"/>
                  <a:pt x="225" y="51"/>
                  <a:pt x="200" y="25"/>
                </a:cubicBezTo>
                <a:cubicBezTo>
                  <a:pt x="175" y="0"/>
                  <a:pt x="125" y="0"/>
                  <a:pt x="125" y="0"/>
                </a:cubicBezTo>
                <a:cubicBezTo>
                  <a:pt x="125" y="25"/>
                  <a:pt x="100" y="25"/>
                  <a:pt x="75" y="25"/>
                </a:cubicBezTo>
                <a:cubicBezTo>
                  <a:pt x="50" y="25"/>
                  <a:pt x="25" y="51"/>
                  <a:pt x="25" y="75"/>
                </a:cubicBezTo>
                <a:cubicBezTo>
                  <a:pt x="25" y="100"/>
                  <a:pt x="0" y="125"/>
                  <a:pt x="0" y="151"/>
                </a:cubicBezTo>
                <a:cubicBezTo>
                  <a:pt x="0" y="175"/>
                  <a:pt x="50" y="175"/>
                  <a:pt x="50" y="175"/>
                </a:cubicBezTo>
                <a:cubicBezTo>
                  <a:pt x="75" y="200"/>
                  <a:pt x="125" y="200"/>
                  <a:pt x="125" y="225"/>
                </a:cubicBezTo>
                <a:cubicBezTo>
                  <a:pt x="125" y="225"/>
                  <a:pt x="175" y="251"/>
                  <a:pt x="200" y="251"/>
                </a:cubicBezTo>
                <a:cubicBezTo>
                  <a:pt x="225" y="251"/>
                  <a:pt x="275" y="300"/>
                  <a:pt x="275" y="300"/>
                </a:cubicBezTo>
                <a:cubicBezTo>
                  <a:pt x="300" y="325"/>
                  <a:pt x="350" y="275"/>
                  <a:pt x="375" y="275"/>
                </a:cubicBezTo>
                <a:cubicBezTo>
                  <a:pt x="400" y="275"/>
                  <a:pt x="425" y="325"/>
                  <a:pt x="425" y="351"/>
                </a:cubicBezTo>
                <a:cubicBezTo>
                  <a:pt x="425" y="351"/>
                  <a:pt x="525" y="375"/>
                  <a:pt x="550" y="375"/>
                </a:cubicBezTo>
                <a:cubicBezTo>
                  <a:pt x="575" y="400"/>
                  <a:pt x="675" y="400"/>
                  <a:pt x="700" y="375"/>
                </a:cubicBezTo>
                <a:cubicBezTo>
                  <a:pt x="725" y="351"/>
                  <a:pt x="700" y="300"/>
                  <a:pt x="700" y="275"/>
                </a:cubicBezTo>
                <a:lnTo>
                  <a:pt x="725" y="251"/>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0" name="Freeform 56">
            <a:extLst>
              <a:ext uri="{FF2B5EF4-FFF2-40B4-BE49-F238E27FC236}">
                <a16:creationId xmlns:a16="http://schemas.microsoft.com/office/drawing/2014/main" id="{A27B1DD9-A41B-7D43-9994-95D7760D8B25}"/>
              </a:ext>
            </a:extLst>
          </p:cNvPr>
          <p:cNvSpPr>
            <a:spLocks noChangeArrowheads="1"/>
          </p:cNvSpPr>
          <p:nvPr/>
        </p:nvSpPr>
        <p:spPr bwMode="auto">
          <a:xfrm>
            <a:off x="8500673" y="3951789"/>
            <a:ext cx="255936" cy="566715"/>
          </a:xfrm>
          <a:custGeom>
            <a:avLst/>
            <a:gdLst>
              <a:gd name="T0" fmla="*/ 651 w 801"/>
              <a:gd name="T1" fmla="*/ 1624 h 1775"/>
              <a:gd name="T2" fmla="*/ 651 w 801"/>
              <a:gd name="T3" fmla="*/ 1624 h 1775"/>
              <a:gd name="T4" fmla="*/ 625 w 801"/>
              <a:gd name="T5" fmla="*/ 1549 h 1775"/>
              <a:gd name="T6" fmla="*/ 600 w 801"/>
              <a:gd name="T7" fmla="*/ 1424 h 1775"/>
              <a:gd name="T8" fmla="*/ 551 w 801"/>
              <a:gd name="T9" fmla="*/ 1324 h 1775"/>
              <a:gd name="T10" fmla="*/ 575 w 801"/>
              <a:gd name="T11" fmla="*/ 1275 h 1775"/>
              <a:gd name="T12" fmla="*/ 575 w 801"/>
              <a:gd name="T13" fmla="*/ 1224 h 1775"/>
              <a:gd name="T14" fmla="*/ 551 w 801"/>
              <a:gd name="T15" fmla="*/ 1149 h 1775"/>
              <a:gd name="T16" fmla="*/ 475 w 801"/>
              <a:gd name="T17" fmla="*/ 1075 h 1775"/>
              <a:gd name="T18" fmla="*/ 500 w 801"/>
              <a:gd name="T19" fmla="*/ 924 h 1775"/>
              <a:gd name="T20" fmla="*/ 551 w 801"/>
              <a:gd name="T21" fmla="*/ 899 h 1775"/>
              <a:gd name="T22" fmla="*/ 625 w 801"/>
              <a:gd name="T23" fmla="*/ 875 h 1775"/>
              <a:gd name="T24" fmla="*/ 700 w 801"/>
              <a:gd name="T25" fmla="*/ 824 h 1775"/>
              <a:gd name="T26" fmla="*/ 751 w 801"/>
              <a:gd name="T27" fmla="*/ 775 h 1775"/>
              <a:gd name="T28" fmla="*/ 800 w 801"/>
              <a:gd name="T29" fmla="*/ 699 h 1775"/>
              <a:gd name="T30" fmla="*/ 800 w 801"/>
              <a:gd name="T31" fmla="*/ 699 h 1775"/>
              <a:gd name="T32" fmla="*/ 775 w 801"/>
              <a:gd name="T33" fmla="*/ 724 h 1775"/>
              <a:gd name="T34" fmla="*/ 700 w 801"/>
              <a:gd name="T35" fmla="*/ 675 h 1775"/>
              <a:gd name="T36" fmla="*/ 651 w 801"/>
              <a:gd name="T37" fmla="*/ 649 h 1775"/>
              <a:gd name="T38" fmla="*/ 651 w 801"/>
              <a:gd name="T39" fmla="*/ 599 h 1775"/>
              <a:gd name="T40" fmla="*/ 625 w 801"/>
              <a:gd name="T41" fmla="*/ 549 h 1775"/>
              <a:gd name="T42" fmla="*/ 600 w 801"/>
              <a:gd name="T43" fmla="*/ 475 h 1775"/>
              <a:gd name="T44" fmla="*/ 500 w 801"/>
              <a:gd name="T45" fmla="*/ 449 h 1775"/>
              <a:gd name="T46" fmla="*/ 500 w 801"/>
              <a:gd name="T47" fmla="*/ 424 h 1775"/>
              <a:gd name="T48" fmla="*/ 575 w 801"/>
              <a:gd name="T49" fmla="*/ 276 h 1775"/>
              <a:gd name="T50" fmla="*/ 600 w 801"/>
              <a:gd name="T51" fmla="*/ 150 h 1775"/>
              <a:gd name="T52" fmla="*/ 551 w 801"/>
              <a:gd name="T53" fmla="*/ 100 h 1775"/>
              <a:gd name="T54" fmla="*/ 525 w 801"/>
              <a:gd name="T55" fmla="*/ 50 h 1775"/>
              <a:gd name="T56" fmla="*/ 475 w 801"/>
              <a:gd name="T57" fmla="*/ 25 h 1775"/>
              <a:gd name="T58" fmla="*/ 451 w 801"/>
              <a:gd name="T59" fmla="*/ 25 h 1775"/>
              <a:gd name="T60" fmla="*/ 451 w 801"/>
              <a:gd name="T61" fmla="*/ 25 h 1775"/>
              <a:gd name="T62" fmla="*/ 425 w 801"/>
              <a:gd name="T63" fmla="*/ 76 h 1775"/>
              <a:gd name="T64" fmla="*/ 451 w 801"/>
              <a:gd name="T65" fmla="*/ 150 h 1775"/>
              <a:gd name="T66" fmla="*/ 400 w 801"/>
              <a:gd name="T67" fmla="*/ 150 h 1775"/>
              <a:gd name="T68" fmla="*/ 325 w 801"/>
              <a:gd name="T69" fmla="*/ 176 h 1775"/>
              <a:gd name="T70" fmla="*/ 251 w 801"/>
              <a:gd name="T71" fmla="*/ 250 h 1775"/>
              <a:gd name="T72" fmla="*/ 225 w 801"/>
              <a:gd name="T73" fmla="*/ 349 h 1775"/>
              <a:gd name="T74" fmla="*/ 200 w 801"/>
              <a:gd name="T75" fmla="*/ 475 h 1775"/>
              <a:gd name="T76" fmla="*/ 125 w 801"/>
              <a:gd name="T77" fmla="*/ 475 h 1775"/>
              <a:gd name="T78" fmla="*/ 100 w 801"/>
              <a:gd name="T79" fmla="*/ 575 h 1775"/>
              <a:gd name="T80" fmla="*/ 75 w 801"/>
              <a:gd name="T81" fmla="*/ 675 h 1775"/>
              <a:gd name="T82" fmla="*/ 50 w 801"/>
              <a:gd name="T83" fmla="*/ 724 h 1775"/>
              <a:gd name="T84" fmla="*/ 0 w 801"/>
              <a:gd name="T85" fmla="*/ 775 h 1775"/>
              <a:gd name="T86" fmla="*/ 100 w 801"/>
              <a:gd name="T87" fmla="*/ 849 h 1775"/>
              <a:gd name="T88" fmla="*/ 200 w 801"/>
              <a:gd name="T89" fmla="*/ 1049 h 1775"/>
              <a:gd name="T90" fmla="*/ 200 w 801"/>
              <a:gd name="T91" fmla="*/ 1200 h 1775"/>
              <a:gd name="T92" fmla="*/ 225 w 801"/>
              <a:gd name="T93" fmla="*/ 1249 h 1775"/>
              <a:gd name="T94" fmla="*/ 325 w 801"/>
              <a:gd name="T95" fmla="*/ 1249 h 1775"/>
              <a:gd name="T96" fmla="*/ 400 w 801"/>
              <a:gd name="T97" fmla="*/ 1149 h 1775"/>
              <a:gd name="T98" fmla="*/ 451 w 801"/>
              <a:gd name="T99" fmla="*/ 1175 h 1775"/>
              <a:gd name="T100" fmla="*/ 475 w 801"/>
              <a:gd name="T101" fmla="*/ 1275 h 1775"/>
              <a:gd name="T102" fmla="*/ 525 w 801"/>
              <a:gd name="T103" fmla="*/ 1500 h 1775"/>
              <a:gd name="T104" fmla="*/ 575 w 801"/>
              <a:gd name="T105" fmla="*/ 1624 h 1775"/>
              <a:gd name="T106" fmla="*/ 575 w 801"/>
              <a:gd name="T107" fmla="*/ 1749 h 1775"/>
              <a:gd name="T108" fmla="*/ 575 w 801"/>
              <a:gd name="T109" fmla="*/ 1774 h 1775"/>
              <a:gd name="T110" fmla="*/ 651 w 801"/>
              <a:gd name="T111" fmla="*/ 1624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1" h="1775">
                <a:moveTo>
                  <a:pt x="651" y="1624"/>
                </a:moveTo>
                <a:lnTo>
                  <a:pt x="651" y="1624"/>
                </a:lnTo>
                <a:cubicBezTo>
                  <a:pt x="651" y="1575"/>
                  <a:pt x="625" y="1575"/>
                  <a:pt x="625" y="1549"/>
                </a:cubicBezTo>
                <a:cubicBezTo>
                  <a:pt x="625" y="1524"/>
                  <a:pt x="625" y="1475"/>
                  <a:pt x="600" y="1424"/>
                </a:cubicBezTo>
                <a:cubicBezTo>
                  <a:pt x="551" y="1400"/>
                  <a:pt x="525" y="1349"/>
                  <a:pt x="551" y="1324"/>
                </a:cubicBezTo>
                <a:cubicBezTo>
                  <a:pt x="575" y="1324"/>
                  <a:pt x="551" y="1249"/>
                  <a:pt x="575" y="1275"/>
                </a:cubicBezTo>
                <a:cubicBezTo>
                  <a:pt x="575" y="1275"/>
                  <a:pt x="600" y="1224"/>
                  <a:pt x="575" y="1224"/>
                </a:cubicBezTo>
                <a:cubicBezTo>
                  <a:pt x="551" y="1200"/>
                  <a:pt x="575" y="1175"/>
                  <a:pt x="551" y="1149"/>
                </a:cubicBezTo>
                <a:cubicBezTo>
                  <a:pt x="525" y="1149"/>
                  <a:pt x="475" y="1100"/>
                  <a:pt x="475" y="1075"/>
                </a:cubicBezTo>
                <a:cubicBezTo>
                  <a:pt x="475" y="1049"/>
                  <a:pt x="500" y="949"/>
                  <a:pt x="500" y="924"/>
                </a:cubicBezTo>
                <a:cubicBezTo>
                  <a:pt x="500" y="899"/>
                  <a:pt x="551" y="899"/>
                  <a:pt x="551" y="899"/>
                </a:cubicBezTo>
                <a:cubicBezTo>
                  <a:pt x="575" y="899"/>
                  <a:pt x="600" y="899"/>
                  <a:pt x="625" y="875"/>
                </a:cubicBezTo>
                <a:cubicBezTo>
                  <a:pt x="651" y="849"/>
                  <a:pt x="700" y="849"/>
                  <a:pt x="700" y="824"/>
                </a:cubicBezTo>
                <a:cubicBezTo>
                  <a:pt x="725" y="799"/>
                  <a:pt x="751" y="799"/>
                  <a:pt x="751" y="775"/>
                </a:cubicBezTo>
                <a:cubicBezTo>
                  <a:pt x="751" y="749"/>
                  <a:pt x="800" y="699"/>
                  <a:pt x="800" y="699"/>
                </a:cubicBezTo>
                <a:lnTo>
                  <a:pt x="800" y="699"/>
                </a:lnTo>
                <a:cubicBezTo>
                  <a:pt x="800" y="699"/>
                  <a:pt x="800" y="699"/>
                  <a:pt x="775" y="724"/>
                </a:cubicBezTo>
                <a:cubicBezTo>
                  <a:pt x="725" y="724"/>
                  <a:pt x="700" y="699"/>
                  <a:pt x="700" y="675"/>
                </a:cubicBezTo>
                <a:cubicBezTo>
                  <a:pt x="725" y="649"/>
                  <a:pt x="675" y="649"/>
                  <a:pt x="651" y="649"/>
                </a:cubicBezTo>
                <a:cubicBezTo>
                  <a:pt x="625" y="649"/>
                  <a:pt x="651" y="624"/>
                  <a:pt x="651" y="599"/>
                </a:cubicBezTo>
                <a:cubicBezTo>
                  <a:pt x="675" y="575"/>
                  <a:pt x="651" y="549"/>
                  <a:pt x="625" y="549"/>
                </a:cubicBezTo>
                <a:cubicBezTo>
                  <a:pt x="600" y="549"/>
                  <a:pt x="575" y="499"/>
                  <a:pt x="600" y="475"/>
                </a:cubicBezTo>
                <a:cubicBezTo>
                  <a:pt x="600" y="449"/>
                  <a:pt x="525" y="449"/>
                  <a:pt x="500" y="449"/>
                </a:cubicBezTo>
                <a:cubicBezTo>
                  <a:pt x="475" y="475"/>
                  <a:pt x="500" y="424"/>
                  <a:pt x="500" y="424"/>
                </a:cubicBezTo>
                <a:cubicBezTo>
                  <a:pt x="475" y="399"/>
                  <a:pt x="525" y="325"/>
                  <a:pt x="575" y="276"/>
                </a:cubicBezTo>
                <a:cubicBezTo>
                  <a:pt x="600" y="250"/>
                  <a:pt x="600" y="200"/>
                  <a:pt x="600" y="150"/>
                </a:cubicBezTo>
                <a:cubicBezTo>
                  <a:pt x="600" y="100"/>
                  <a:pt x="575" y="100"/>
                  <a:pt x="551" y="100"/>
                </a:cubicBezTo>
                <a:cubicBezTo>
                  <a:pt x="525" y="100"/>
                  <a:pt x="525" y="76"/>
                  <a:pt x="525" y="50"/>
                </a:cubicBezTo>
                <a:cubicBezTo>
                  <a:pt x="525" y="25"/>
                  <a:pt x="500" y="0"/>
                  <a:pt x="475" y="25"/>
                </a:cubicBezTo>
                <a:lnTo>
                  <a:pt x="451" y="25"/>
                </a:lnTo>
                <a:lnTo>
                  <a:pt x="451" y="25"/>
                </a:lnTo>
                <a:cubicBezTo>
                  <a:pt x="451" y="25"/>
                  <a:pt x="451" y="76"/>
                  <a:pt x="425" y="76"/>
                </a:cubicBezTo>
                <a:cubicBezTo>
                  <a:pt x="425" y="76"/>
                  <a:pt x="425" y="100"/>
                  <a:pt x="451" y="150"/>
                </a:cubicBezTo>
                <a:cubicBezTo>
                  <a:pt x="475" y="176"/>
                  <a:pt x="400" y="150"/>
                  <a:pt x="400" y="150"/>
                </a:cubicBezTo>
                <a:cubicBezTo>
                  <a:pt x="400" y="125"/>
                  <a:pt x="351" y="150"/>
                  <a:pt x="325" y="176"/>
                </a:cubicBezTo>
                <a:cubicBezTo>
                  <a:pt x="300" y="200"/>
                  <a:pt x="251" y="200"/>
                  <a:pt x="251" y="250"/>
                </a:cubicBezTo>
                <a:cubicBezTo>
                  <a:pt x="251" y="276"/>
                  <a:pt x="225" y="325"/>
                  <a:pt x="225" y="349"/>
                </a:cubicBezTo>
                <a:cubicBezTo>
                  <a:pt x="251" y="399"/>
                  <a:pt x="200" y="449"/>
                  <a:pt x="200" y="475"/>
                </a:cubicBezTo>
                <a:cubicBezTo>
                  <a:pt x="200" y="499"/>
                  <a:pt x="125" y="475"/>
                  <a:pt x="125" y="475"/>
                </a:cubicBezTo>
                <a:cubicBezTo>
                  <a:pt x="125" y="475"/>
                  <a:pt x="125" y="549"/>
                  <a:pt x="100" y="575"/>
                </a:cubicBezTo>
                <a:cubicBezTo>
                  <a:pt x="100" y="575"/>
                  <a:pt x="100" y="675"/>
                  <a:pt x="75" y="675"/>
                </a:cubicBezTo>
                <a:cubicBezTo>
                  <a:pt x="50" y="675"/>
                  <a:pt x="50" y="724"/>
                  <a:pt x="50" y="724"/>
                </a:cubicBezTo>
                <a:cubicBezTo>
                  <a:pt x="50" y="724"/>
                  <a:pt x="25" y="749"/>
                  <a:pt x="0" y="775"/>
                </a:cubicBezTo>
                <a:cubicBezTo>
                  <a:pt x="25" y="799"/>
                  <a:pt x="50" y="849"/>
                  <a:pt x="100" y="849"/>
                </a:cubicBezTo>
                <a:cubicBezTo>
                  <a:pt x="151" y="875"/>
                  <a:pt x="175" y="1000"/>
                  <a:pt x="200" y="1049"/>
                </a:cubicBezTo>
                <a:cubicBezTo>
                  <a:pt x="225" y="1100"/>
                  <a:pt x="200" y="1175"/>
                  <a:pt x="200" y="1200"/>
                </a:cubicBezTo>
                <a:cubicBezTo>
                  <a:pt x="175" y="1224"/>
                  <a:pt x="200" y="1224"/>
                  <a:pt x="225" y="1249"/>
                </a:cubicBezTo>
                <a:cubicBezTo>
                  <a:pt x="251" y="1275"/>
                  <a:pt x="300" y="1275"/>
                  <a:pt x="325" y="1249"/>
                </a:cubicBezTo>
                <a:cubicBezTo>
                  <a:pt x="351" y="1200"/>
                  <a:pt x="400" y="1175"/>
                  <a:pt x="400" y="1149"/>
                </a:cubicBezTo>
                <a:cubicBezTo>
                  <a:pt x="400" y="1100"/>
                  <a:pt x="425" y="1149"/>
                  <a:pt x="451" y="1175"/>
                </a:cubicBezTo>
                <a:cubicBezTo>
                  <a:pt x="475" y="1200"/>
                  <a:pt x="475" y="1249"/>
                  <a:pt x="475" y="1275"/>
                </a:cubicBezTo>
                <a:cubicBezTo>
                  <a:pt x="500" y="1324"/>
                  <a:pt x="500" y="1449"/>
                  <a:pt x="525" y="1500"/>
                </a:cubicBezTo>
                <a:cubicBezTo>
                  <a:pt x="575" y="1524"/>
                  <a:pt x="575" y="1600"/>
                  <a:pt x="575" y="1624"/>
                </a:cubicBezTo>
                <a:cubicBezTo>
                  <a:pt x="551" y="1674"/>
                  <a:pt x="600" y="1724"/>
                  <a:pt x="575" y="1749"/>
                </a:cubicBezTo>
                <a:lnTo>
                  <a:pt x="575" y="1774"/>
                </a:lnTo>
                <a:cubicBezTo>
                  <a:pt x="600" y="1774"/>
                  <a:pt x="651" y="1624"/>
                  <a:pt x="651" y="162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1" name="Freeform 57">
            <a:extLst>
              <a:ext uri="{FF2B5EF4-FFF2-40B4-BE49-F238E27FC236}">
                <a16:creationId xmlns:a16="http://schemas.microsoft.com/office/drawing/2014/main" id="{3E43ED1B-D416-0D4F-BB3A-AE27A6949E07}"/>
              </a:ext>
            </a:extLst>
          </p:cNvPr>
          <p:cNvSpPr>
            <a:spLocks noChangeArrowheads="1"/>
          </p:cNvSpPr>
          <p:nvPr/>
        </p:nvSpPr>
        <p:spPr bwMode="auto">
          <a:xfrm>
            <a:off x="8412079" y="3960228"/>
            <a:ext cx="95624" cy="56249"/>
          </a:xfrm>
          <a:custGeom>
            <a:avLst/>
            <a:gdLst>
              <a:gd name="T0" fmla="*/ 275 w 301"/>
              <a:gd name="T1" fmla="*/ 75 h 176"/>
              <a:gd name="T2" fmla="*/ 275 w 301"/>
              <a:gd name="T3" fmla="*/ 75 h 176"/>
              <a:gd name="T4" fmla="*/ 175 w 301"/>
              <a:gd name="T5" fmla="*/ 25 h 176"/>
              <a:gd name="T6" fmla="*/ 100 w 301"/>
              <a:gd name="T7" fmla="*/ 25 h 176"/>
              <a:gd name="T8" fmla="*/ 25 w 301"/>
              <a:gd name="T9" fmla="*/ 75 h 176"/>
              <a:gd name="T10" fmla="*/ 0 w 301"/>
              <a:gd name="T11" fmla="*/ 125 h 176"/>
              <a:gd name="T12" fmla="*/ 25 w 301"/>
              <a:gd name="T13" fmla="*/ 151 h 176"/>
              <a:gd name="T14" fmla="*/ 100 w 301"/>
              <a:gd name="T15" fmla="*/ 151 h 176"/>
              <a:gd name="T16" fmla="*/ 175 w 301"/>
              <a:gd name="T17" fmla="*/ 175 h 176"/>
              <a:gd name="T18" fmla="*/ 275 w 301"/>
              <a:gd name="T19" fmla="*/ 151 h 176"/>
              <a:gd name="T20" fmla="*/ 275 w 301"/>
              <a:gd name="T21"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176">
                <a:moveTo>
                  <a:pt x="275" y="75"/>
                </a:moveTo>
                <a:lnTo>
                  <a:pt x="275" y="75"/>
                </a:lnTo>
                <a:cubicBezTo>
                  <a:pt x="225" y="25"/>
                  <a:pt x="200" y="51"/>
                  <a:pt x="175" y="25"/>
                </a:cubicBezTo>
                <a:cubicBezTo>
                  <a:pt x="125" y="25"/>
                  <a:pt x="125" y="0"/>
                  <a:pt x="100" y="25"/>
                </a:cubicBezTo>
                <a:cubicBezTo>
                  <a:pt x="75" y="51"/>
                  <a:pt x="50" y="25"/>
                  <a:pt x="25" y="75"/>
                </a:cubicBezTo>
                <a:cubicBezTo>
                  <a:pt x="25" y="100"/>
                  <a:pt x="25" y="100"/>
                  <a:pt x="0" y="125"/>
                </a:cubicBezTo>
                <a:cubicBezTo>
                  <a:pt x="25" y="125"/>
                  <a:pt x="25" y="151"/>
                  <a:pt x="25" y="151"/>
                </a:cubicBezTo>
                <a:cubicBezTo>
                  <a:pt x="50" y="151"/>
                  <a:pt x="75" y="175"/>
                  <a:pt x="100" y="151"/>
                </a:cubicBezTo>
                <a:cubicBezTo>
                  <a:pt x="125" y="151"/>
                  <a:pt x="150" y="175"/>
                  <a:pt x="175" y="175"/>
                </a:cubicBezTo>
                <a:cubicBezTo>
                  <a:pt x="225" y="151"/>
                  <a:pt x="275" y="175"/>
                  <a:pt x="275" y="151"/>
                </a:cubicBezTo>
                <a:cubicBezTo>
                  <a:pt x="300" y="125"/>
                  <a:pt x="275" y="75"/>
                  <a:pt x="27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2" name="Freeform 58">
            <a:extLst>
              <a:ext uri="{FF2B5EF4-FFF2-40B4-BE49-F238E27FC236}">
                <a16:creationId xmlns:a16="http://schemas.microsoft.com/office/drawing/2014/main" id="{B92B3E0F-0049-CC4F-A1FF-60AD9A97C874}"/>
              </a:ext>
            </a:extLst>
          </p:cNvPr>
          <p:cNvSpPr>
            <a:spLocks noChangeArrowheads="1"/>
          </p:cNvSpPr>
          <p:nvPr/>
        </p:nvSpPr>
        <p:spPr bwMode="auto">
          <a:xfrm>
            <a:off x="8787545" y="4119132"/>
            <a:ext cx="223592" cy="462653"/>
          </a:xfrm>
          <a:custGeom>
            <a:avLst/>
            <a:gdLst>
              <a:gd name="T0" fmla="*/ 525 w 701"/>
              <a:gd name="T1" fmla="*/ 175 h 1452"/>
              <a:gd name="T2" fmla="*/ 525 w 701"/>
              <a:gd name="T3" fmla="*/ 175 h 1452"/>
              <a:gd name="T4" fmla="*/ 425 w 701"/>
              <a:gd name="T5" fmla="*/ 100 h 1452"/>
              <a:gd name="T6" fmla="*/ 400 w 701"/>
              <a:gd name="T7" fmla="*/ 51 h 1452"/>
              <a:gd name="T8" fmla="*/ 325 w 701"/>
              <a:gd name="T9" fmla="*/ 25 h 1452"/>
              <a:gd name="T10" fmla="*/ 251 w 701"/>
              <a:gd name="T11" fmla="*/ 51 h 1452"/>
              <a:gd name="T12" fmla="*/ 200 w 701"/>
              <a:gd name="T13" fmla="*/ 75 h 1452"/>
              <a:gd name="T14" fmla="*/ 100 w 701"/>
              <a:gd name="T15" fmla="*/ 75 h 1452"/>
              <a:gd name="T16" fmla="*/ 51 w 701"/>
              <a:gd name="T17" fmla="*/ 75 h 1452"/>
              <a:gd name="T18" fmla="*/ 0 w 701"/>
              <a:gd name="T19" fmla="*/ 100 h 1452"/>
              <a:gd name="T20" fmla="*/ 51 w 701"/>
              <a:gd name="T21" fmla="*/ 151 h 1452"/>
              <a:gd name="T22" fmla="*/ 100 w 701"/>
              <a:gd name="T23" fmla="*/ 225 h 1452"/>
              <a:gd name="T24" fmla="*/ 176 w 701"/>
              <a:gd name="T25" fmla="*/ 275 h 1452"/>
              <a:gd name="T26" fmla="*/ 225 w 701"/>
              <a:gd name="T27" fmla="*/ 275 h 1452"/>
              <a:gd name="T28" fmla="*/ 276 w 701"/>
              <a:gd name="T29" fmla="*/ 351 h 1452"/>
              <a:gd name="T30" fmla="*/ 200 w 701"/>
              <a:gd name="T31" fmla="*/ 400 h 1452"/>
              <a:gd name="T32" fmla="*/ 300 w 701"/>
              <a:gd name="T33" fmla="*/ 476 h 1452"/>
              <a:gd name="T34" fmla="*/ 351 w 701"/>
              <a:gd name="T35" fmla="*/ 576 h 1452"/>
              <a:gd name="T36" fmla="*/ 425 w 701"/>
              <a:gd name="T37" fmla="*/ 676 h 1452"/>
              <a:gd name="T38" fmla="*/ 500 w 701"/>
              <a:gd name="T39" fmla="*/ 751 h 1452"/>
              <a:gd name="T40" fmla="*/ 525 w 701"/>
              <a:gd name="T41" fmla="*/ 825 h 1452"/>
              <a:gd name="T42" fmla="*/ 551 w 701"/>
              <a:gd name="T43" fmla="*/ 1000 h 1452"/>
              <a:gd name="T44" fmla="*/ 476 w 701"/>
              <a:gd name="T45" fmla="*/ 1100 h 1452"/>
              <a:gd name="T46" fmla="*/ 400 w 701"/>
              <a:gd name="T47" fmla="*/ 1150 h 1452"/>
              <a:gd name="T48" fmla="*/ 400 w 701"/>
              <a:gd name="T49" fmla="*/ 1225 h 1452"/>
              <a:gd name="T50" fmla="*/ 300 w 701"/>
              <a:gd name="T51" fmla="*/ 1225 h 1452"/>
              <a:gd name="T52" fmla="*/ 225 w 701"/>
              <a:gd name="T53" fmla="*/ 1276 h 1452"/>
              <a:gd name="T54" fmla="*/ 276 w 701"/>
              <a:gd name="T55" fmla="*/ 1300 h 1452"/>
              <a:gd name="T56" fmla="*/ 251 w 701"/>
              <a:gd name="T57" fmla="*/ 1400 h 1452"/>
              <a:gd name="T58" fmla="*/ 300 w 701"/>
              <a:gd name="T59" fmla="*/ 1425 h 1452"/>
              <a:gd name="T60" fmla="*/ 376 w 701"/>
              <a:gd name="T61" fmla="*/ 1376 h 1452"/>
              <a:gd name="T62" fmla="*/ 400 w 701"/>
              <a:gd name="T63" fmla="*/ 1325 h 1452"/>
              <a:gd name="T64" fmla="*/ 425 w 701"/>
              <a:gd name="T65" fmla="*/ 1276 h 1452"/>
              <a:gd name="T66" fmla="*/ 476 w 701"/>
              <a:gd name="T67" fmla="*/ 1276 h 1452"/>
              <a:gd name="T68" fmla="*/ 625 w 701"/>
              <a:gd name="T69" fmla="*/ 1200 h 1452"/>
              <a:gd name="T70" fmla="*/ 676 w 701"/>
              <a:gd name="T71" fmla="*/ 1076 h 1452"/>
              <a:gd name="T72" fmla="*/ 676 w 701"/>
              <a:gd name="T73" fmla="*/ 876 h 1452"/>
              <a:gd name="T74" fmla="*/ 576 w 701"/>
              <a:gd name="T75" fmla="*/ 725 h 1452"/>
              <a:gd name="T76" fmla="*/ 425 w 701"/>
              <a:gd name="T77" fmla="*/ 600 h 1452"/>
              <a:gd name="T78" fmla="*/ 376 w 701"/>
              <a:gd name="T79" fmla="*/ 525 h 1452"/>
              <a:gd name="T80" fmla="*/ 351 w 701"/>
              <a:gd name="T81" fmla="*/ 400 h 1452"/>
              <a:gd name="T82" fmla="*/ 425 w 701"/>
              <a:gd name="T83" fmla="*/ 300 h 1452"/>
              <a:gd name="T84" fmla="*/ 450 w 701"/>
              <a:gd name="T85" fmla="*/ 251 h 1452"/>
              <a:gd name="T86" fmla="*/ 525 w 701"/>
              <a:gd name="T87" fmla="*/ 200 h 1452"/>
              <a:gd name="T88" fmla="*/ 551 w 701"/>
              <a:gd name="T89" fmla="*/ 200 h 1452"/>
              <a:gd name="T90" fmla="*/ 525 w 701"/>
              <a:gd name="T91" fmla="*/ 17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1452">
                <a:moveTo>
                  <a:pt x="525" y="175"/>
                </a:moveTo>
                <a:lnTo>
                  <a:pt x="525" y="175"/>
                </a:lnTo>
                <a:cubicBezTo>
                  <a:pt x="500" y="175"/>
                  <a:pt x="425" y="125"/>
                  <a:pt x="425" y="100"/>
                </a:cubicBezTo>
                <a:cubicBezTo>
                  <a:pt x="425" y="100"/>
                  <a:pt x="476" y="51"/>
                  <a:pt x="400" y="51"/>
                </a:cubicBezTo>
                <a:cubicBezTo>
                  <a:pt x="351" y="51"/>
                  <a:pt x="351" y="25"/>
                  <a:pt x="325" y="25"/>
                </a:cubicBezTo>
                <a:cubicBezTo>
                  <a:pt x="325" y="0"/>
                  <a:pt x="276" y="25"/>
                  <a:pt x="251" y="51"/>
                </a:cubicBezTo>
                <a:cubicBezTo>
                  <a:pt x="251" y="100"/>
                  <a:pt x="225" y="51"/>
                  <a:pt x="200" y="75"/>
                </a:cubicBezTo>
                <a:cubicBezTo>
                  <a:pt x="151" y="100"/>
                  <a:pt x="125" y="51"/>
                  <a:pt x="100" y="75"/>
                </a:cubicBezTo>
                <a:cubicBezTo>
                  <a:pt x="100" y="100"/>
                  <a:pt x="51" y="51"/>
                  <a:pt x="51" y="75"/>
                </a:cubicBezTo>
                <a:cubicBezTo>
                  <a:pt x="25" y="100"/>
                  <a:pt x="25" y="100"/>
                  <a:pt x="0" y="100"/>
                </a:cubicBezTo>
                <a:cubicBezTo>
                  <a:pt x="25" y="125"/>
                  <a:pt x="51" y="125"/>
                  <a:pt x="51" y="151"/>
                </a:cubicBezTo>
                <a:cubicBezTo>
                  <a:pt x="51" y="175"/>
                  <a:pt x="100" y="200"/>
                  <a:pt x="100" y="225"/>
                </a:cubicBezTo>
                <a:cubicBezTo>
                  <a:pt x="100" y="251"/>
                  <a:pt x="151" y="275"/>
                  <a:pt x="176" y="275"/>
                </a:cubicBezTo>
                <a:cubicBezTo>
                  <a:pt x="200" y="251"/>
                  <a:pt x="225" y="251"/>
                  <a:pt x="225" y="275"/>
                </a:cubicBezTo>
                <a:cubicBezTo>
                  <a:pt x="251" y="325"/>
                  <a:pt x="276" y="325"/>
                  <a:pt x="276" y="351"/>
                </a:cubicBezTo>
                <a:cubicBezTo>
                  <a:pt x="276" y="375"/>
                  <a:pt x="200" y="375"/>
                  <a:pt x="200" y="400"/>
                </a:cubicBezTo>
                <a:cubicBezTo>
                  <a:pt x="176" y="425"/>
                  <a:pt x="300" y="451"/>
                  <a:pt x="300" y="476"/>
                </a:cubicBezTo>
                <a:cubicBezTo>
                  <a:pt x="300" y="500"/>
                  <a:pt x="325" y="525"/>
                  <a:pt x="351" y="576"/>
                </a:cubicBezTo>
                <a:cubicBezTo>
                  <a:pt x="351" y="600"/>
                  <a:pt x="400" y="625"/>
                  <a:pt x="425" y="676"/>
                </a:cubicBezTo>
                <a:cubicBezTo>
                  <a:pt x="425" y="700"/>
                  <a:pt x="476" y="725"/>
                  <a:pt x="500" y="751"/>
                </a:cubicBezTo>
                <a:cubicBezTo>
                  <a:pt x="525" y="751"/>
                  <a:pt x="525" y="800"/>
                  <a:pt x="525" y="825"/>
                </a:cubicBezTo>
                <a:cubicBezTo>
                  <a:pt x="500" y="876"/>
                  <a:pt x="500" y="925"/>
                  <a:pt x="551" y="1000"/>
                </a:cubicBezTo>
                <a:cubicBezTo>
                  <a:pt x="576" y="1051"/>
                  <a:pt x="500" y="1076"/>
                  <a:pt x="476" y="1100"/>
                </a:cubicBezTo>
                <a:cubicBezTo>
                  <a:pt x="450" y="1125"/>
                  <a:pt x="476" y="1176"/>
                  <a:pt x="400" y="1150"/>
                </a:cubicBezTo>
                <a:cubicBezTo>
                  <a:pt x="325" y="1125"/>
                  <a:pt x="400" y="1200"/>
                  <a:pt x="400" y="1225"/>
                </a:cubicBezTo>
                <a:cubicBezTo>
                  <a:pt x="376" y="1250"/>
                  <a:pt x="300" y="1200"/>
                  <a:pt x="300" y="1225"/>
                </a:cubicBezTo>
                <a:cubicBezTo>
                  <a:pt x="300" y="1250"/>
                  <a:pt x="251" y="1276"/>
                  <a:pt x="225" y="1276"/>
                </a:cubicBezTo>
                <a:cubicBezTo>
                  <a:pt x="251" y="1300"/>
                  <a:pt x="251" y="1300"/>
                  <a:pt x="276" y="1300"/>
                </a:cubicBezTo>
                <a:cubicBezTo>
                  <a:pt x="300" y="1325"/>
                  <a:pt x="251" y="1351"/>
                  <a:pt x="251" y="1400"/>
                </a:cubicBezTo>
                <a:cubicBezTo>
                  <a:pt x="251" y="1425"/>
                  <a:pt x="276" y="1451"/>
                  <a:pt x="300" y="1425"/>
                </a:cubicBezTo>
                <a:cubicBezTo>
                  <a:pt x="300" y="1400"/>
                  <a:pt x="351" y="1376"/>
                  <a:pt x="376" y="1376"/>
                </a:cubicBezTo>
                <a:cubicBezTo>
                  <a:pt x="400" y="1351"/>
                  <a:pt x="376" y="1325"/>
                  <a:pt x="400" y="1325"/>
                </a:cubicBezTo>
                <a:cubicBezTo>
                  <a:pt x="425" y="1325"/>
                  <a:pt x="425" y="1300"/>
                  <a:pt x="425" y="1276"/>
                </a:cubicBezTo>
                <a:cubicBezTo>
                  <a:pt x="425" y="1250"/>
                  <a:pt x="450" y="1276"/>
                  <a:pt x="476" y="1276"/>
                </a:cubicBezTo>
                <a:cubicBezTo>
                  <a:pt x="525" y="1276"/>
                  <a:pt x="576" y="1250"/>
                  <a:pt x="625" y="1200"/>
                </a:cubicBezTo>
                <a:cubicBezTo>
                  <a:pt x="651" y="1176"/>
                  <a:pt x="676" y="1176"/>
                  <a:pt x="676" y="1076"/>
                </a:cubicBezTo>
                <a:cubicBezTo>
                  <a:pt x="700" y="1000"/>
                  <a:pt x="676" y="900"/>
                  <a:pt x="676" y="876"/>
                </a:cubicBezTo>
                <a:cubicBezTo>
                  <a:pt x="676" y="851"/>
                  <a:pt x="600" y="725"/>
                  <a:pt x="576" y="725"/>
                </a:cubicBezTo>
                <a:cubicBezTo>
                  <a:pt x="551" y="725"/>
                  <a:pt x="450" y="600"/>
                  <a:pt x="425" y="600"/>
                </a:cubicBezTo>
                <a:cubicBezTo>
                  <a:pt x="400" y="576"/>
                  <a:pt x="400" y="551"/>
                  <a:pt x="376" y="525"/>
                </a:cubicBezTo>
                <a:cubicBezTo>
                  <a:pt x="351" y="500"/>
                  <a:pt x="351" y="425"/>
                  <a:pt x="351" y="400"/>
                </a:cubicBezTo>
                <a:cubicBezTo>
                  <a:pt x="376" y="351"/>
                  <a:pt x="425" y="325"/>
                  <a:pt x="425" y="300"/>
                </a:cubicBezTo>
                <a:cubicBezTo>
                  <a:pt x="425" y="275"/>
                  <a:pt x="425" y="251"/>
                  <a:pt x="450" y="251"/>
                </a:cubicBezTo>
                <a:cubicBezTo>
                  <a:pt x="500" y="251"/>
                  <a:pt x="525" y="225"/>
                  <a:pt x="525" y="200"/>
                </a:cubicBezTo>
                <a:lnTo>
                  <a:pt x="551" y="200"/>
                </a:lnTo>
                <a:cubicBezTo>
                  <a:pt x="525" y="175"/>
                  <a:pt x="525" y="175"/>
                  <a:pt x="525" y="1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3" name="Freeform 59">
            <a:extLst>
              <a:ext uri="{FF2B5EF4-FFF2-40B4-BE49-F238E27FC236}">
                <a16:creationId xmlns:a16="http://schemas.microsoft.com/office/drawing/2014/main" id="{856F235B-15AD-4343-9E17-E62AF449575C}"/>
              </a:ext>
            </a:extLst>
          </p:cNvPr>
          <p:cNvSpPr>
            <a:spLocks noChangeArrowheads="1"/>
          </p:cNvSpPr>
          <p:nvPr/>
        </p:nvSpPr>
        <p:spPr bwMode="auto">
          <a:xfrm>
            <a:off x="8787548" y="4397567"/>
            <a:ext cx="184217" cy="127968"/>
          </a:xfrm>
          <a:custGeom>
            <a:avLst/>
            <a:gdLst>
              <a:gd name="T0" fmla="*/ 300 w 577"/>
              <a:gd name="T1" fmla="*/ 349 h 401"/>
              <a:gd name="T2" fmla="*/ 300 w 577"/>
              <a:gd name="T3" fmla="*/ 349 h 401"/>
              <a:gd name="T4" fmla="*/ 400 w 577"/>
              <a:gd name="T5" fmla="*/ 349 h 401"/>
              <a:gd name="T6" fmla="*/ 400 w 577"/>
              <a:gd name="T7" fmla="*/ 274 h 401"/>
              <a:gd name="T8" fmla="*/ 476 w 577"/>
              <a:gd name="T9" fmla="*/ 224 h 401"/>
              <a:gd name="T10" fmla="*/ 551 w 577"/>
              <a:gd name="T11" fmla="*/ 124 h 401"/>
              <a:gd name="T12" fmla="*/ 525 w 577"/>
              <a:gd name="T13" fmla="*/ 0 h 401"/>
              <a:gd name="T14" fmla="*/ 450 w 577"/>
              <a:gd name="T15" fmla="*/ 0 h 401"/>
              <a:gd name="T16" fmla="*/ 376 w 577"/>
              <a:gd name="T17" fmla="*/ 24 h 401"/>
              <a:gd name="T18" fmla="*/ 351 w 577"/>
              <a:gd name="T19" fmla="*/ 49 h 401"/>
              <a:gd name="T20" fmla="*/ 300 w 577"/>
              <a:gd name="T21" fmla="*/ 24 h 401"/>
              <a:gd name="T22" fmla="*/ 176 w 577"/>
              <a:gd name="T23" fmla="*/ 24 h 401"/>
              <a:gd name="T24" fmla="*/ 51 w 577"/>
              <a:gd name="T25" fmla="*/ 75 h 401"/>
              <a:gd name="T26" fmla="*/ 51 w 577"/>
              <a:gd name="T27" fmla="*/ 175 h 401"/>
              <a:gd name="T28" fmla="*/ 51 w 577"/>
              <a:gd name="T29" fmla="*/ 224 h 401"/>
              <a:gd name="T30" fmla="*/ 51 w 577"/>
              <a:gd name="T31" fmla="*/ 249 h 401"/>
              <a:gd name="T32" fmla="*/ 76 w 577"/>
              <a:gd name="T33" fmla="*/ 324 h 401"/>
              <a:gd name="T34" fmla="*/ 151 w 577"/>
              <a:gd name="T35" fmla="*/ 324 h 401"/>
              <a:gd name="T36" fmla="*/ 151 w 577"/>
              <a:gd name="T37" fmla="*/ 374 h 401"/>
              <a:gd name="T38" fmla="*/ 225 w 577"/>
              <a:gd name="T39" fmla="*/ 400 h 401"/>
              <a:gd name="T40" fmla="*/ 225 w 577"/>
              <a:gd name="T41" fmla="*/ 400 h 401"/>
              <a:gd name="T42" fmla="*/ 300 w 577"/>
              <a:gd name="T43" fmla="*/ 34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7" h="401">
                <a:moveTo>
                  <a:pt x="300" y="349"/>
                </a:moveTo>
                <a:lnTo>
                  <a:pt x="300" y="349"/>
                </a:lnTo>
                <a:cubicBezTo>
                  <a:pt x="300" y="324"/>
                  <a:pt x="376" y="374"/>
                  <a:pt x="400" y="349"/>
                </a:cubicBezTo>
                <a:cubicBezTo>
                  <a:pt x="400" y="324"/>
                  <a:pt x="325" y="249"/>
                  <a:pt x="400" y="274"/>
                </a:cubicBezTo>
                <a:cubicBezTo>
                  <a:pt x="476" y="300"/>
                  <a:pt x="450" y="249"/>
                  <a:pt x="476" y="224"/>
                </a:cubicBezTo>
                <a:cubicBezTo>
                  <a:pt x="500" y="200"/>
                  <a:pt x="576" y="175"/>
                  <a:pt x="551" y="124"/>
                </a:cubicBezTo>
                <a:cubicBezTo>
                  <a:pt x="525" y="75"/>
                  <a:pt x="525" y="24"/>
                  <a:pt x="525" y="0"/>
                </a:cubicBezTo>
                <a:cubicBezTo>
                  <a:pt x="500" y="24"/>
                  <a:pt x="476" y="24"/>
                  <a:pt x="450" y="0"/>
                </a:cubicBezTo>
                <a:cubicBezTo>
                  <a:pt x="425" y="0"/>
                  <a:pt x="376" y="0"/>
                  <a:pt x="376" y="24"/>
                </a:cubicBezTo>
                <a:cubicBezTo>
                  <a:pt x="376" y="75"/>
                  <a:pt x="351" y="75"/>
                  <a:pt x="351" y="49"/>
                </a:cubicBezTo>
                <a:cubicBezTo>
                  <a:pt x="351" y="49"/>
                  <a:pt x="325" y="49"/>
                  <a:pt x="300" y="24"/>
                </a:cubicBezTo>
                <a:cubicBezTo>
                  <a:pt x="276" y="0"/>
                  <a:pt x="200" y="24"/>
                  <a:pt x="176" y="24"/>
                </a:cubicBezTo>
                <a:cubicBezTo>
                  <a:pt x="151" y="0"/>
                  <a:pt x="76" y="24"/>
                  <a:pt x="51" y="75"/>
                </a:cubicBezTo>
                <a:cubicBezTo>
                  <a:pt x="0" y="124"/>
                  <a:pt x="51" y="124"/>
                  <a:pt x="51" y="175"/>
                </a:cubicBezTo>
                <a:cubicBezTo>
                  <a:pt x="51" y="200"/>
                  <a:pt x="76" y="200"/>
                  <a:pt x="51" y="224"/>
                </a:cubicBezTo>
                <a:cubicBezTo>
                  <a:pt x="51" y="224"/>
                  <a:pt x="51" y="224"/>
                  <a:pt x="51" y="249"/>
                </a:cubicBezTo>
                <a:cubicBezTo>
                  <a:pt x="100" y="249"/>
                  <a:pt x="76" y="300"/>
                  <a:pt x="76" y="324"/>
                </a:cubicBezTo>
                <a:cubicBezTo>
                  <a:pt x="100" y="349"/>
                  <a:pt x="125" y="324"/>
                  <a:pt x="151" y="324"/>
                </a:cubicBezTo>
                <a:cubicBezTo>
                  <a:pt x="176" y="324"/>
                  <a:pt x="125" y="374"/>
                  <a:pt x="151" y="374"/>
                </a:cubicBezTo>
                <a:cubicBezTo>
                  <a:pt x="176" y="400"/>
                  <a:pt x="225" y="374"/>
                  <a:pt x="225" y="400"/>
                </a:cubicBezTo>
                <a:lnTo>
                  <a:pt x="225" y="400"/>
                </a:lnTo>
                <a:cubicBezTo>
                  <a:pt x="251" y="400"/>
                  <a:pt x="300" y="374"/>
                  <a:pt x="300" y="3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4" name="Freeform 60">
            <a:extLst>
              <a:ext uri="{FF2B5EF4-FFF2-40B4-BE49-F238E27FC236}">
                <a16:creationId xmlns:a16="http://schemas.microsoft.com/office/drawing/2014/main" id="{1D6F7AB9-C76B-EC4D-98DD-BD9A45EAE26E}"/>
              </a:ext>
            </a:extLst>
          </p:cNvPr>
          <p:cNvSpPr>
            <a:spLocks noChangeArrowheads="1"/>
          </p:cNvSpPr>
          <p:nvPr/>
        </p:nvSpPr>
        <p:spPr bwMode="auto">
          <a:xfrm>
            <a:off x="8731296" y="4150068"/>
            <a:ext cx="223592" cy="271405"/>
          </a:xfrm>
          <a:custGeom>
            <a:avLst/>
            <a:gdLst>
              <a:gd name="T0" fmla="*/ 475 w 701"/>
              <a:gd name="T1" fmla="*/ 376 h 852"/>
              <a:gd name="T2" fmla="*/ 475 w 701"/>
              <a:gd name="T3" fmla="*/ 376 h 852"/>
              <a:gd name="T4" fmla="*/ 375 w 701"/>
              <a:gd name="T5" fmla="*/ 300 h 852"/>
              <a:gd name="T6" fmla="*/ 451 w 701"/>
              <a:gd name="T7" fmla="*/ 251 h 852"/>
              <a:gd name="T8" fmla="*/ 400 w 701"/>
              <a:gd name="T9" fmla="*/ 175 h 852"/>
              <a:gd name="T10" fmla="*/ 351 w 701"/>
              <a:gd name="T11" fmla="*/ 175 h 852"/>
              <a:gd name="T12" fmla="*/ 275 w 701"/>
              <a:gd name="T13" fmla="*/ 125 h 852"/>
              <a:gd name="T14" fmla="*/ 226 w 701"/>
              <a:gd name="T15" fmla="*/ 51 h 852"/>
              <a:gd name="T16" fmla="*/ 175 w 701"/>
              <a:gd name="T17" fmla="*/ 0 h 852"/>
              <a:gd name="T18" fmla="*/ 150 w 701"/>
              <a:gd name="T19" fmla="*/ 0 h 852"/>
              <a:gd name="T20" fmla="*/ 126 w 701"/>
              <a:gd name="T21" fmla="*/ 51 h 852"/>
              <a:gd name="T22" fmla="*/ 126 w 701"/>
              <a:gd name="T23" fmla="*/ 125 h 852"/>
              <a:gd name="T24" fmla="*/ 75 w 701"/>
              <a:gd name="T25" fmla="*/ 75 h 852"/>
              <a:gd name="T26" fmla="*/ 26 w 701"/>
              <a:gd name="T27" fmla="*/ 151 h 852"/>
              <a:gd name="T28" fmla="*/ 0 w 701"/>
              <a:gd name="T29" fmla="*/ 175 h 852"/>
              <a:gd name="T30" fmla="*/ 26 w 701"/>
              <a:gd name="T31" fmla="*/ 200 h 852"/>
              <a:gd name="T32" fmla="*/ 26 w 701"/>
              <a:gd name="T33" fmla="*/ 275 h 852"/>
              <a:gd name="T34" fmla="*/ 100 w 701"/>
              <a:gd name="T35" fmla="*/ 300 h 852"/>
              <a:gd name="T36" fmla="*/ 75 w 701"/>
              <a:gd name="T37" fmla="*/ 400 h 852"/>
              <a:gd name="T38" fmla="*/ 50 w 701"/>
              <a:gd name="T39" fmla="*/ 476 h 852"/>
              <a:gd name="T40" fmla="*/ 150 w 701"/>
              <a:gd name="T41" fmla="*/ 451 h 852"/>
              <a:gd name="T42" fmla="*/ 226 w 701"/>
              <a:gd name="T43" fmla="*/ 425 h 852"/>
              <a:gd name="T44" fmla="*/ 275 w 701"/>
              <a:gd name="T45" fmla="*/ 425 h 852"/>
              <a:gd name="T46" fmla="*/ 351 w 701"/>
              <a:gd name="T47" fmla="*/ 425 h 852"/>
              <a:gd name="T48" fmla="*/ 426 w 701"/>
              <a:gd name="T49" fmla="*/ 476 h 852"/>
              <a:gd name="T50" fmla="*/ 451 w 701"/>
              <a:gd name="T51" fmla="*/ 600 h 852"/>
              <a:gd name="T52" fmla="*/ 500 w 701"/>
              <a:gd name="T53" fmla="*/ 700 h 852"/>
              <a:gd name="T54" fmla="*/ 500 w 701"/>
              <a:gd name="T55" fmla="*/ 800 h 852"/>
              <a:gd name="T56" fmla="*/ 526 w 701"/>
              <a:gd name="T57" fmla="*/ 825 h 852"/>
              <a:gd name="T58" fmla="*/ 551 w 701"/>
              <a:gd name="T59" fmla="*/ 800 h 852"/>
              <a:gd name="T60" fmla="*/ 625 w 701"/>
              <a:gd name="T61" fmla="*/ 776 h 852"/>
              <a:gd name="T62" fmla="*/ 700 w 701"/>
              <a:gd name="T63" fmla="*/ 776 h 852"/>
              <a:gd name="T64" fmla="*/ 700 w 701"/>
              <a:gd name="T65" fmla="*/ 725 h 852"/>
              <a:gd name="T66" fmla="*/ 675 w 701"/>
              <a:gd name="T67" fmla="*/ 651 h 852"/>
              <a:gd name="T68" fmla="*/ 600 w 701"/>
              <a:gd name="T69" fmla="*/ 576 h 852"/>
              <a:gd name="T70" fmla="*/ 526 w 701"/>
              <a:gd name="T71" fmla="*/ 476 h 852"/>
              <a:gd name="T72" fmla="*/ 475 w 701"/>
              <a:gd name="T73" fmla="*/ 37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852">
                <a:moveTo>
                  <a:pt x="475" y="376"/>
                </a:moveTo>
                <a:lnTo>
                  <a:pt x="475" y="376"/>
                </a:lnTo>
                <a:cubicBezTo>
                  <a:pt x="475" y="351"/>
                  <a:pt x="351" y="325"/>
                  <a:pt x="375" y="300"/>
                </a:cubicBezTo>
                <a:cubicBezTo>
                  <a:pt x="375" y="275"/>
                  <a:pt x="451" y="275"/>
                  <a:pt x="451" y="251"/>
                </a:cubicBezTo>
                <a:cubicBezTo>
                  <a:pt x="451" y="225"/>
                  <a:pt x="426" y="225"/>
                  <a:pt x="400" y="175"/>
                </a:cubicBezTo>
                <a:cubicBezTo>
                  <a:pt x="400" y="151"/>
                  <a:pt x="375" y="151"/>
                  <a:pt x="351" y="175"/>
                </a:cubicBezTo>
                <a:cubicBezTo>
                  <a:pt x="326" y="175"/>
                  <a:pt x="275" y="151"/>
                  <a:pt x="275" y="125"/>
                </a:cubicBezTo>
                <a:cubicBezTo>
                  <a:pt x="275" y="100"/>
                  <a:pt x="226" y="75"/>
                  <a:pt x="226" y="51"/>
                </a:cubicBezTo>
                <a:cubicBezTo>
                  <a:pt x="226" y="25"/>
                  <a:pt x="200" y="25"/>
                  <a:pt x="175" y="0"/>
                </a:cubicBezTo>
                <a:lnTo>
                  <a:pt x="150" y="0"/>
                </a:lnTo>
                <a:lnTo>
                  <a:pt x="126" y="51"/>
                </a:lnTo>
                <a:cubicBezTo>
                  <a:pt x="150" y="51"/>
                  <a:pt x="150" y="125"/>
                  <a:pt x="126" y="125"/>
                </a:cubicBezTo>
                <a:cubicBezTo>
                  <a:pt x="100" y="125"/>
                  <a:pt x="100" y="75"/>
                  <a:pt x="75" y="75"/>
                </a:cubicBezTo>
                <a:cubicBezTo>
                  <a:pt x="75" y="75"/>
                  <a:pt x="26" y="125"/>
                  <a:pt x="26" y="151"/>
                </a:cubicBezTo>
                <a:cubicBezTo>
                  <a:pt x="26" y="175"/>
                  <a:pt x="26" y="175"/>
                  <a:pt x="0" y="175"/>
                </a:cubicBezTo>
                <a:cubicBezTo>
                  <a:pt x="0" y="200"/>
                  <a:pt x="26" y="200"/>
                  <a:pt x="26" y="200"/>
                </a:cubicBezTo>
                <a:cubicBezTo>
                  <a:pt x="26" y="225"/>
                  <a:pt x="26" y="251"/>
                  <a:pt x="26" y="275"/>
                </a:cubicBezTo>
                <a:cubicBezTo>
                  <a:pt x="50" y="300"/>
                  <a:pt x="75" y="251"/>
                  <a:pt x="100" y="300"/>
                </a:cubicBezTo>
                <a:cubicBezTo>
                  <a:pt x="100" y="351"/>
                  <a:pt x="75" y="351"/>
                  <a:pt x="75" y="400"/>
                </a:cubicBezTo>
                <a:cubicBezTo>
                  <a:pt x="75" y="451"/>
                  <a:pt x="50" y="425"/>
                  <a:pt x="50" y="476"/>
                </a:cubicBezTo>
                <a:cubicBezTo>
                  <a:pt x="75" y="500"/>
                  <a:pt x="126" y="476"/>
                  <a:pt x="150" y="451"/>
                </a:cubicBezTo>
                <a:cubicBezTo>
                  <a:pt x="175" y="425"/>
                  <a:pt x="200" y="425"/>
                  <a:pt x="226" y="425"/>
                </a:cubicBezTo>
                <a:cubicBezTo>
                  <a:pt x="226" y="451"/>
                  <a:pt x="275" y="451"/>
                  <a:pt x="275" y="425"/>
                </a:cubicBezTo>
                <a:cubicBezTo>
                  <a:pt x="275" y="400"/>
                  <a:pt x="351" y="400"/>
                  <a:pt x="351" y="425"/>
                </a:cubicBezTo>
                <a:cubicBezTo>
                  <a:pt x="375" y="451"/>
                  <a:pt x="400" y="476"/>
                  <a:pt x="426" y="476"/>
                </a:cubicBezTo>
                <a:cubicBezTo>
                  <a:pt x="451" y="500"/>
                  <a:pt x="400" y="600"/>
                  <a:pt x="451" y="600"/>
                </a:cubicBezTo>
                <a:cubicBezTo>
                  <a:pt x="475" y="600"/>
                  <a:pt x="500" y="651"/>
                  <a:pt x="500" y="700"/>
                </a:cubicBezTo>
                <a:cubicBezTo>
                  <a:pt x="500" y="751"/>
                  <a:pt x="526" y="776"/>
                  <a:pt x="500" y="800"/>
                </a:cubicBezTo>
                <a:cubicBezTo>
                  <a:pt x="500" y="825"/>
                  <a:pt x="526" y="825"/>
                  <a:pt x="526" y="825"/>
                </a:cubicBezTo>
                <a:cubicBezTo>
                  <a:pt x="526" y="851"/>
                  <a:pt x="551" y="851"/>
                  <a:pt x="551" y="800"/>
                </a:cubicBezTo>
                <a:cubicBezTo>
                  <a:pt x="551" y="776"/>
                  <a:pt x="600" y="776"/>
                  <a:pt x="625" y="776"/>
                </a:cubicBezTo>
                <a:cubicBezTo>
                  <a:pt x="651" y="800"/>
                  <a:pt x="675" y="800"/>
                  <a:pt x="700" y="776"/>
                </a:cubicBezTo>
                <a:cubicBezTo>
                  <a:pt x="700" y="751"/>
                  <a:pt x="700" y="751"/>
                  <a:pt x="700" y="725"/>
                </a:cubicBezTo>
                <a:cubicBezTo>
                  <a:pt x="700" y="700"/>
                  <a:pt x="700" y="651"/>
                  <a:pt x="675" y="651"/>
                </a:cubicBezTo>
                <a:cubicBezTo>
                  <a:pt x="651" y="625"/>
                  <a:pt x="600" y="600"/>
                  <a:pt x="600" y="576"/>
                </a:cubicBezTo>
                <a:cubicBezTo>
                  <a:pt x="575" y="525"/>
                  <a:pt x="526" y="500"/>
                  <a:pt x="526" y="476"/>
                </a:cubicBezTo>
                <a:cubicBezTo>
                  <a:pt x="500" y="425"/>
                  <a:pt x="475" y="400"/>
                  <a:pt x="475" y="3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5" name="Freeform 61">
            <a:extLst>
              <a:ext uri="{FF2B5EF4-FFF2-40B4-BE49-F238E27FC236}">
                <a16:creationId xmlns:a16="http://schemas.microsoft.com/office/drawing/2014/main" id="{C01768CE-4269-5147-866B-ACEB88F56435}"/>
              </a:ext>
            </a:extLst>
          </p:cNvPr>
          <p:cNvSpPr>
            <a:spLocks noChangeArrowheads="1"/>
          </p:cNvSpPr>
          <p:nvPr/>
        </p:nvSpPr>
        <p:spPr bwMode="auto">
          <a:xfrm>
            <a:off x="8652548" y="4206319"/>
            <a:ext cx="247499" cy="462653"/>
          </a:xfrm>
          <a:custGeom>
            <a:avLst/>
            <a:gdLst>
              <a:gd name="T0" fmla="*/ 476 w 777"/>
              <a:gd name="T1" fmla="*/ 776 h 1451"/>
              <a:gd name="T2" fmla="*/ 476 w 777"/>
              <a:gd name="T3" fmla="*/ 776 h 1451"/>
              <a:gd name="T4" fmla="*/ 476 w 777"/>
              <a:gd name="T5" fmla="*/ 676 h 1451"/>
              <a:gd name="T6" fmla="*/ 601 w 777"/>
              <a:gd name="T7" fmla="*/ 625 h 1451"/>
              <a:gd name="T8" fmla="*/ 725 w 777"/>
              <a:gd name="T9" fmla="*/ 625 h 1451"/>
              <a:gd name="T10" fmla="*/ 750 w 777"/>
              <a:gd name="T11" fmla="*/ 625 h 1451"/>
              <a:gd name="T12" fmla="*/ 750 w 777"/>
              <a:gd name="T13" fmla="*/ 525 h 1451"/>
              <a:gd name="T14" fmla="*/ 701 w 777"/>
              <a:gd name="T15" fmla="*/ 425 h 1451"/>
              <a:gd name="T16" fmla="*/ 676 w 777"/>
              <a:gd name="T17" fmla="*/ 301 h 1451"/>
              <a:gd name="T18" fmla="*/ 601 w 777"/>
              <a:gd name="T19" fmla="*/ 250 h 1451"/>
              <a:gd name="T20" fmla="*/ 525 w 777"/>
              <a:gd name="T21" fmla="*/ 250 h 1451"/>
              <a:gd name="T22" fmla="*/ 476 w 777"/>
              <a:gd name="T23" fmla="*/ 250 h 1451"/>
              <a:gd name="T24" fmla="*/ 400 w 777"/>
              <a:gd name="T25" fmla="*/ 276 h 1451"/>
              <a:gd name="T26" fmla="*/ 300 w 777"/>
              <a:gd name="T27" fmla="*/ 301 h 1451"/>
              <a:gd name="T28" fmla="*/ 325 w 777"/>
              <a:gd name="T29" fmla="*/ 225 h 1451"/>
              <a:gd name="T30" fmla="*/ 350 w 777"/>
              <a:gd name="T31" fmla="*/ 125 h 1451"/>
              <a:gd name="T32" fmla="*/ 276 w 777"/>
              <a:gd name="T33" fmla="*/ 100 h 1451"/>
              <a:gd name="T34" fmla="*/ 276 w 777"/>
              <a:gd name="T35" fmla="*/ 25 h 1451"/>
              <a:gd name="T36" fmla="*/ 250 w 777"/>
              <a:gd name="T37" fmla="*/ 0 h 1451"/>
              <a:gd name="T38" fmla="*/ 225 w 777"/>
              <a:gd name="T39" fmla="*/ 25 h 1451"/>
              <a:gd name="T40" fmla="*/ 150 w 777"/>
              <a:gd name="T41" fmla="*/ 76 h 1451"/>
              <a:gd name="T42" fmla="*/ 76 w 777"/>
              <a:gd name="T43" fmla="*/ 100 h 1451"/>
              <a:gd name="T44" fmla="*/ 25 w 777"/>
              <a:gd name="T45" fmla="*/ 125 h 1451"/>
              <a:gd name="T46" fmla="*/ 0 w 777"/>
              <a:gd name="T47" fmla="*/ 276 h 1451"/>
              <a:gd name="T48" fmla="*/ 76 w 777"/>
              <a:gd name="T49" fmla="*/ 350 h 1451"/>
              <a:gd name="T50" fmla="*/ 100 w 777"/>
              <a:gd name="T51" fmla="*/ 425 h 1451"/>
              <a:gd name="T52" fmla="*/ 100 w 777"/>
              <a:gd name="T53" fmla="*/ 476 h 1451"/>
              <a:gd name="T54" fmla="*/ 76 w 777"/>
              <a:gd name="T55" fmla="*/ 525 h 1451"/>
              <a:gd name="T56" fmla="*/ 125 w 777"/>
              <a:gd name="T57" fmla="*/ 625 h 1451"/>
              <a:gd name="T58" fmla="*/ 150 w 777"/>
              <a:gd name="T59" fmla="*/ 750 h 1451"/>
              <a:gd name="T60" fmla="*/ 176 w 777"/>
              <a:gd name="T61" fmla="*/ 825 h 1451"/>
              <a:gd name="T62" fmla="*/ 100 w 777"/>
              <a:gd name="T63" fmla="*/ 975 h 1451"/>
              <a:gd name="T64" fmla="*/ 76 w 777"/>
              <a:gd name="T65" fmla="*/ 1101 h 1451"/>
              <a:gd name="T66" fmla="*/ 76 w 777"/>
              <a:gd name="T67" fmla="*/ 1201 h 1451"/>
              <a:gd name="T68" fmla="*/ 200 w 777"/>
              <a:gd name="T69" fmla="*/ 1326 h 1451"/>
              <a:gd name="T70" fmla="*/ 225 w 777"/>
              <a:gd name="T71" fmla="*/ 1350 h 1451"/>
              <a:gd name="T72" fmla="*/ 276 w 777"/>
              <a:gd name="T73" fmla="*/ 1376 h 1451"/>
              <a:gd name="T74" fmla="*/ 325 w 777"/>
              <a:gd name="T75" fmla="*/ 1426 h 1451"/>
              <a:gd name="T76" fmla="*/ 400 w 777"/>
              <a:gd name="T77" fmla="*/ 1426 h 1451"/>
              <a:gd name="T78" fmla="*/ 425 w 777"/>
              <a:gd name="T79" fmla="*/ 1401 h 1451"/>
              <a:gd name="T80" fmla="*/ 325 w 777"/>
              <a:gd name="T81" fmla="*/ 1326 h 1451"/>
              <a:gd name="T82" fmla="*/ 250 w 777"/>
              <a:gd name="T83" fmla="*/ 1225 h 1451"/>
              <a:gd name="T84" fmla="*/ 225 w 777"/>
              <a:gd name="T85" fmla="*/ 1125 h 1451"/>
              <a:gd name="T86" fmla="*/ 176 w 777"/>
              <a:gd name="T87" fmla="*/ 1101 h 1451"/>
              <a:gd name="T88" fmla="*/ 176 w 777"/>
              <a:gd name="T89" fmla="*/ 950 h 1451"/>
              <a:gd name="T90" fmla="*/ 225 w 777"/>
              <a:gd name="T91" fmla="*/ 750 h 1451"/>
              <a:gd name="T92" fmla="*/ 300 w 777"/>
              <a:gd name="T93" fmla="*/ 725 h 1451"/>
              <a:gd name="T94" fmla="*/ 376 w 777"/>
              <a:gd name="T95" fmla="*/ 776 h 1451"/>
              <a:gd name="T96" fmla="*/ 476 w 777"/>
              <a:gd name="T97" fmla="*/ 825 h 1451"/>
              <a:gd name="T98" fmla="*/ 476 w 777"/>
              <a:gd name="T99" fmla="*/ 850 h 1451"/>
              <a:gd name="T100" fmla="*/ 476 w 777"/>
              <a:gd name="T101" fmla="*/ 825 h 1451"/>
              <a:gd name="T102" fmla="*/ 476 w 777"/>
              <a:gd name="T103" fmla="*/ 77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7" h="1451">
                <a:moveTo>
                  <a:pt x="476" y="776"/>
                </a:moveTo>
                <a:lnTo>
                  <a:pt x="476" y="776"/>
                </a:lnTo>
                <a:cubicBezTo>
                  <a:pt x="476" y="725"/>
                  <a:pt x="425" y="725"/>
                  <a:pt x="476" y="676"/>
                </a:cubicBezTo>
                <a:cubicBezTo>
                  <a:pt x="501" y="625"/>
                  <a:pt x="576" y="601"/>
                  <a:pt x="601" y="625"/>
                </a:cubicBezTo>
                <a:cubicBezTo>
                  <a:pt x="625" y="625"/>
                  <a:pt x="701" y="601"/>
                  <a:pt x="725" y="625"/>
                </a:cubicBezTo>
                <a:cubicBezTo>
                  <a:pt x="725" y="625"/>
                  <a:pt x="725" y="625"/>
                  <a:pt x="750" y="625"/>
                </a:cubicBezTo>
                <a:cubicBezTo>
                  <a:pt x="776" y="601"/>
                  <a:pt x="750" y="576"/>
                  <a:pt x="750" y="525"/>
                </a:cubicBezTo>
                <a:cubicBezTo>
                  <a:pt x="750" y="476"/>
                  <a:pt x="725" y="425"/>
                  <a:pt x="701" y="425"/>
                </a:cubicBezTo>
                <a:cubicBezTo>
                  <a:pt x="650" y="425"/>
                  <a:pt x="701" y="325"/>
                  <a:pt x="676" y="301"/>
                </a:cubicBezTo>
                <a:cubicBezTo>
                  <a:pt x="650" y="301"/>
                  <a:pt x="625" y="276"/>
                  <a:pt x="601" y="250"/>
                </a:cubicBezTo>
                <a:cubicBezTo>
                  <a:pt x="601" y="225"/>
                  <a:pt x="525" y="225"/>
                  <a:pt x="525" y="250"/>
                </a:cubicBezTo>
                <a:cubicBezTo>
                  <a:pt x="525" y="276"/>
                  <a:pt x="476" y="276"/>
                  <a:pt x="476" y="250"/>
                </a:cubicBezTo>
                <a:cubicBezTo>
                  <a:pt x="450" y="250"/>
                  <a:pt x="425" y="250"/>
                  <a:pt x="400" y="276"/>
                </a:cubicBezTo>
                <a:cubicBezTo>
                  <a:pt x="376" y="301"/>
                  <a:pt x="325" y="325"/>
                  <a:pt x="300" y="301"/>
                </a:cubicBezTo>
                <a:cubicBezTo>
                  <a:pt x="300" y="250"/>
                  <a:pt x="325" y="276"/>
                  <a:pt x="325" y="225"/>
                </a:cubicBezTo>
                <a:cubicBezTo>
                  <a:pt x="325" y="176"/>
                  <a:pt x="350" y="176"/>
                  <a:pt x="350" y="125"/>
                </a:cubicBezTo>
                <a:cubicBezTo>
                  <a:pt x="325" y="76"/>
                  <a:pt x="300" y="125"/>
                  <a:pt x="276" y="100"/>
                </a:cubicBezTo>
                <a:cubicBezTo>
                  <a:pt x="276" y="76"/>
                  <a:pt x="276" y="50"/>
                  <a:pt x="276" y="25"/>
                </a:cubicBezTo>
                <a:cubicBezTo>
                  <a:pt x="276" y="25"/>
                  <a:pt x="250" y="25"/>
                  <a:pt x="250" y="0"/>
                </a:cubicBezTo>
                <a:cubicBezTo>
                  <a:pt x="250" y="25"/>
                  <a:pt x="250" y="25"/>
                  <a:pt x="225" y="25"/>
                </a:cubicBezTo>
                <a:cubicBezTo>
                  <a:pt x="225" y="50"/>
                  <a:pt x="176" y="50"/>
                  <a:pt x="150" y="76"/>
                </a:cubicBezTo>
                <a:cubicBezTo>
                  <a:pt x="125" y="100"/>
                  <a:pt x="100" y="100"/>
                  <a:pt x="76" y="100"/>
                </a:cubicBezTo>
                <a:cubicBezTo>
                  <a:pt x="76" y="100"/>
                  <a:pt x="25" y="100"/>
                  <a:pt x="25" y="125"/>
                </a:cubicBezTo>
                <a:cubicBezTo>
                  <a:pt x="25" y="150"/>
                  <a:pt x="0" y="250"/>
                  <a:pt x="0" y="276"/>
                </a:cubicBezTo>
                <a:cubicBezTo>
                  <a:pt x="0" y="301"/>
                  <a:pt x="50" y="350"/>
                  <a:pt x="76" y="350"/>
                </a:cubicBezTo>
                <a:cubicBezTo>
                  <a:pt x="100" y="376"/>
                  <a:pt x="76" y="401"/>
                  <a:pt x="100" y="425"/>
                </a:cubicBezTo>
                <a:cubicBezTo>
                  <a:pt x="125" y="425"/>
                  <a:pt x="100" y="476"/>
                  <a:pt x="100" y="476"/>
                </a:cubicBezTo>
                <a:cubicBezTo>
                  <a:pt x="76" y="450"/>
                  <a:pt x="100" y="525"/>
                  <a:pt x="76" y="525"/>
                </a:cubicBezTo>
                <a:cubicBezTo>
                  <a:pt x="50" y="550"/>
                  <a:pt x="76" y="601"/>
                  <a:pt x="125" y="625"/>
                </a:cubicBezTo>
                <a:cubicBezTo>
                  <a:pt x="150" y="676"/>
                  <a:pt x="150" y="725"/>
                  <a:pt x="150" y="750"/>
                </a:cubicBezTo>
                <a:cubicBezTo>
                  <a:pt x="150" y="776"/>
                  <a:pt x="176" y="776"/>
                  <a:pt x="176" y="825"/>
                </a:cubicBezTo>
                <a:cubicBezTo>
                  <a:pt x="176" y="825"/>
                  <a:pt x="125" y="975"/>
                  <a:pt x="100" y="975"/>
                </a:cubicBezTo>
                <a:cubicBezTo>
                  <a:pt x="100" y="1025"/>
                  <a:pt x="76" y="1076"/>
                  <a:pt x="76" y="1101"/>
                </a:cubicBezTo>
                <a:cubicBezTo>
                  <a:pt x="76" y="1150"/>
                  <a:pt x="50" y="1201"/>
                  <a:pt x="76" y="1201"/>
                </a:cubicBezTo>
                <a:cubicBezTo>
                  <a:pt x="100" y="1201"/>
                  <a:pt x="150" y="1250"/>
                  <a:pt x="200" y="1326"/>
                </a:cubicBezTo>
                <a:cubicBezTo>
                  <a:pt x="225" y="1326"/>
                  <a:pt x="225" y="1350"/>
                  <a:pt x="225" y="1350"/>
                </a:cubicBezTo>
                <a:cubicBezTo>
                  <a:pt x="250" y="1350"/>
                  <a:pt x="276" y="1350"/>
                  <a:pt x="276" y="1376"/>
                </a:cubicBezTo>
                <a:cubicBezTo>
                  <a:pt x="325" y="1376"/>
                  <a:pt x="325" y="1401"/>
                  <a:pt x="325" y="1426"/>
                </a:cubicBezTo>
                <a:cubicBezTo>
                  <a:pt x="325" y="1450"/>
                  <a:pt x="400" y="1426"/>
                  <a:pt x="400" y="1426"/>
                </a:cubicBezTo>
                <a:cubicBezTo>
                  <a:pt x="425" y="1426"/>
                  <a:pt x="400" y="1401"/>
                  <a:pt x="425" y="1401"/>
                </a:cubicBezTo>
                <a:cubicBezTo>
                  <a:pt x="425" y="1376"/>
                  <a:pt x="376" y="1326"/>
                  <a:pt x="325" y="1326"/>
                </a:cubicBezTo>
                <a:cubicBezTo>
                  <a:pt x="276" y="1326"/>
                  <a:pt x="250" y="1250"/>
                  <a:pt x="250" y="1225"/>
                </a:cubicBezTo>
                <a:cubicBezTo>
                  <a:pt x="276" y="1201"/>
                  <a:pt x="225" y="1176"/>
                  <a:pt x="225" y="1125"/>
                </a:cubicBezTo>
                <a:cubicBezTo>
                  <a:pt x="225" y="1101"/>
                  <a:pt x="200" y="1101"/>
                  <a:pt x="176" y="1101"/>
                </a:cubicBezTo>
                <a:cubicBezTo>
                  <a:pt x="125" y="1076"/>
                  <a:pt x="176" y="975"/>
                  <a:pt x="176" y="950"/>
                </a:cubicBezTo>
                <a:cubicBezTo>
                  <a:pt x="176" y="901"/>
                  <a:pt x="250" y="776"/>
                  <a:pt x="225" y="750"/>
                </a:cubicBezTo>
                <a:cubicBezTo>
                  <a:pt x="200" y="725"/>
                  <a:pt x="300" y="676"/>
                  <a:pt x="300" y="725"/>
                </a:cubicBezTo>
                <a:cubicBezTo>
                  <a:pt x="325" y="776"/>
                  <a:pt x="325" y="776"/>
                  <a:pt x="376" y="776"/>
                </a:cubicBezTo>
                <a:cubicBezTo>
                  <a:pt x="425" y="776"/>
                  <a:pt x="425" y="825"/>
                  <a:pt x="476" y="825"/>
                </a:cubicBezTo>
                <a:cubicBezTo>
                  <a:pt x="476" y="825"/>
                  <a:pt x="476" y="825"/>
                  <a:pt x="476" y="850"/>
                </a:cubicBezTo>
                <a:cubicBezTo>
                  <a:pt x="476" y="825"/>
                  <a:pt x="476" y="825"/>
                  <a:pt x="476" y="825"/>
                </a:cubicBezTo>
                <a:cubicBezTo>
                  <a:pt x="501" y="801"/>
                  <a:pt x="476" y="801"/>
                  <a:pt x="476" y="7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6" name="Freeform 62">
            <a:extLst>
              <a:ext uri="{FF2B5EF4-FFF2-40B4-BE49-F238E27FC236}">
                <a16:creationId xmlns:a16="http://schemas.microsoft.com/office/drawing/2014/main" id="{FA0AD0E5-2786-9A40-82C8-459E50DE39C7}"/>
              </a:ext>
            </a:extLst>
          </p:cNvPr>
          <p:cNvSpPr>
            <a:spLocks noChangeArrowheads="1"/>
          </p:cNvSpPr>
          <p:nvPr/>
        </p:nvSpPr>
        <p:spPr bwMode="auto">
          <a:xfrm>
            <a:off x="6187407" y="2978669"/>
            <a:ext cx="295311" cy="240467"/>
          </a:xfrm>
          <a:custGeom>
            <a:avLst/>
            <a:gdLst>
              <a:gd name="T0" fmla="*/ 26 w 927"/>
              <a:gd name="T1" fmla="*/ 151 h 752"/>
              <a:gd name="T2" fmla="*/ 26 w 927"/>
              <a:gd name="T3" fmla="*/ 151 h 752"/>
              <a:gd name="T4" fmla="*/ 26 w 927"/>
              <a:gd name="T5" fmla="*/ 251 h 752"/>
              <a:gd name="T6" fmla="*/ 26 w 927"/>
              <a:gd name="T7" fmla="*/ 300 h 752"/>
              <a:gd name="T8" fmla="*/ 50 w 927"/>
              <a:gd name="T9" fmla="*/ 351 h 752"/>
              <a:gd name="T10" fmla="*/ 75 w 927"/>
              <a:gd name="T11" fmla="*/ 400 h 752"/>
              <a:gd name="T12" fmla="*/ 101 w 927"/>
              <a:gd name="T13" fmla="*/ 476 h 752"/>
              <a:gd name="T14" fmla="*/ 101 w 927"/>
              <a:gd name="T15" fmla="*/ 501 h 752"/>
              <a:gd name="T16" fmla="*/ 150 w 927"/>
              <a:gd name="T17" fmla="*/ 551 h 752"/>
              <a:gd name="T18" fmla="*/ 201 w 927"/>
              <a:gd name="T19" fmla="*/ 576 h 752"/>
              <a:gd name="T20" fmla="*/ 251 w 927"/>
              <a:gd name="T21" fmla="*/ 601 h 752"/>
              <a:gd name="T22" fmla="*/ 301 w 927"/>
              <a:gd name="T23" fmla="*/ 601 h 752"/>
              <a:gd name="T24" fmla="*/ 326 w 927"/>
              <a:gd name="T25" fmla="*/ 625 h 752"/>
              <a:gd name="T26" fmla="*/ 401 w 927"/>
              <a:gd name="T27" fmla="*/ 651 h 752"/>
              <a:gd name="T28" fmla="*/ 451 w 927"/>
              <a:gd name="T29" fmla="*/ 701 h 752"/>
              <a:gd name="T30" fmla="*/ 501 w 927"/>
              <a:gd name="T31" fmla="*/ 701 h 752"/>
              <a:gd name="T32" fmla="*/ 575 w 927"/>
              <a:gd name="T33" fmla="*/ 701 h 752"/>
              <a:gd name="T34" fmla="*/ 651 w 927"/>
              <a:gd name="T35" fmla="*/ 701 h 752"/>
              <a:gd name="T36" fmla="*/ 726 w 927"/>
              <a:gd name="T37" fmla="*/ 725 h 752"/>
              <a:gd name="T38" fmla="*/ 775 w 927"/>
              <a:gd name="T39" fmla="*/ 751 h 752"/>
              <a:gd name="T40" fmla="*/ 775 w 927"/>
              <a:gd name="T41" fmla="*/ 676 h 752"/>
              <a:gd name="T42" fmla="*/ 875 w 927"/>
              <a:gd name="T43" fmla="*/ 601 h 752"/>
              <a:gd name="T44" fmla="*/ 901 w 927"/>
              <a:gd name="T45" fmla="*/ 551 h 752"/>
              <a:gd name="T46" fmla="*/ 875 w 927"/>
              <a:gd name="T47" fmla="*/ 476 h 752"/>
              <a:gd name="T48" fmla="*/ 875 w 927"/>
              <a:gd name="T49" fmla="*/ 376 h 752"/>
              <a:gd name="T50" fmla="*/ 826 w 927"/>
              <a:gd name="T51" fmla="*/ 326 h 752"/>
              <a:gd name="T52" fmla="*/ 901 w 927"/>
              <a:gd name="T53" fmla="*/ 300 h 752"/>
              <a:gd name="T54" fmla="*/ 875 w 927"/>
              <a:gd name="T55" fmla="*/ 200 h 752"/>
              <a:gd name="T56" fmla="*/ 875 w 927"/>
              <a:gd name="T57" fmla="*/ 126 h 752"/>
              <a:gd name="T58" fmla="*/ 801 w 927"/>
              <a:gd name="T59" fmla="*/ 76 h 752"/>
              <a:gd name="T60" fmla="*/ 801 w 927"/>
              <a:gd name="T61" fmla="*/ 76 h 752"/>
              <a:gd name="T62" fmla="*/ 551 w 927"/>
              <a:gd name="T63" fmla="*/ 76 h 752"/>
              <a:gd name="T64" fmla="*/ 501 w 927"/>
              <a:gd name="T65" fmla="*/ 51 h 752"/>
              <a:gd name="T66" fmla="*/ 451 w 927"/>
              <a:gd name="T67" fmla="*/ 76 h 752"/>
              <a:gd name="T68" fmla="*/ 401 w 927"/>
              <a:gd name="T69" fmla="*/ 26 h 752"/>
              <a:gd name="T70" fmla="*/ 201 w 927"/>
              <a:gd name="T71" fmla="*/ 76 h 752"/>
              <a:gd name="T72" fmla="*/ 50 w 927"/>
              <a:gd name="T73" fmla="*/ 126 h 752"/>
              <a:gd name="T74" fmla="*/ 26 w 927"/>
              <a:gd name="T75" fmla="*/ 15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7" h="752">
                <a:moveTo>
                  <a:pt x="26" y="151"/>
                </a:moveTo>
                <a:lnTo>
                  <a:pt x="26" y="151"/>
                </a:lnTo>
                <a:cubicBezTo>
                  <a:pt x="26" y="176"/>
                  <a:pt x="50" y="226"/>
                  <a:pt x="26" y="251"/>
                </a:cubicBezTo>
                <a:cubicBezTo>
                  <a:pt x="0" y="276"/>
                  <a:pt x="26" y="300"/>
                  <a:pt x="26" y="300"/>
                </a:cubicBezTo>
                <a:cubicBezTo>
                  <a:pt x="50" y="300"/>
                  <a:pt x="50" y="326"/>
                  <a:pt x="50" y="351"/>
                </a:cubicBezTo>
                <a:cubicBezTo>
                  <a:pt x="50" y="351"/>
                  <a:pt x="75" y="351"/>
                  <a:pt x="75" y="400"/>
                </a:cubicBezTo>
                <a:cubicBezTo>
                  <a:pt x="75" y="426"/>
                  <a:pt x="75" y="451"/>
                  <a:pt x="101" y="476"/>
                </a:cubicBezTo>
                <a:lnTo>
                  <a:pt x="101" y="501"/>
                </a:lnTo>
                <a:cubicBezTo>
                  <a:pt x="101" y="526"/>
                  <a:pt x="126" y="526"/>
                  <a:pt x="150" y="551"/>
                </a:cubicBezTo>
                <a:cubicBezTo>
                  <a:pt x="201" y="551"/>
                  <a:pt x="201" y="576"/>
                  <a:pt x="201" y="576"/>
                </a:cubicBezTo>
                <a:cubicBezTo>
                  <a:pt x="201" y="601"/>
                  <a:pt x="251" y="625"/>
                  <a:pt x="251" y="601"/>
                </a:cubicBezTo>
                <a:cubicBezTo>
                  <a:pt x="275" y="576"/>
                  <a:pt x="301" y="601"/>
                  <a:pt x="301" y="601"/>
                </a:cubicBezTo>
                <a:cubicBezTo>
                  <a:pt x="326" y="601"/>
                  <a:pt x="326" y="625"/>
                  <a:pt x="326" y="625"/>
                </a:cubicBezTo>
                <a:cubicBezTo>
                  <a:pt x="351" y="651"/>
                  <a:pt x="375" y="625"/>
                  <a:pt x="401" y="651"/>
                </a:cubicBezTo>
                <a:cubicBezTo>
                  <a:pt x="426" y="651"/>
                  <a:pt x="426" y="701"/>
                  <a:pt x="451" y="701"/>
                </a:cubicBezTo>
                <a:cubicBezTo>
                  <a:pt x="451" y="725"/>
                  <a:pt x="475" y="676"/>
                  <a:pt x="501" y="701"/>
                </a:cubicBezTo>
                <a:cubicBezTo>
                  <a:pt x="501" y="701"/>
                  <a:pt x="551" y="725"/>
                  <a:pt x="575" y="701"/>
                </a:cubicBezTo>
                <a:cubicBezTo>
                  <a:pt x="601" y="701"/>
                  <a:pt x="626" y="725"/>
                  <a:pt x="651" y="701"/>
                </a:cubicBezTo>
                <a:cubicBezTo>
                  <a:pt x="675" y="701"/>
                  <a:pt x="726" y="725"/>
                  <a:pt x="726" y="725"/>
                </a:cubicBezTo>
                <a:cubicBezTo>
                  <a:pt x="726" y="725"/>
                  <a:pt x="751" y="751"/>
                  <a:pt x="775" y="751"/>
                </a:cubicBezTo>
                <a:cubicBezTo>
                  <a:pt x="801" y="725"/>
                  <a:pt x="775" y="701"/>
                  <a:pt x="775" y="676"/>
                </a:cubicBezTo>
                <a:cubicBezTo>
                  <a:pt x="775" y="676"/>
                  <a:pt x="851" y="601"/>
                  <a:pt x="875" y="601"/>
                </a:cubicBezTo>
                <a:cubicBezTo>
                  <a:pt x="875" y="576"/>
                  <a:pt x="901" y="576"/>
                  <a:pt x="901" y="551"/>
                </a:cubicBezTo>
                <a:cubicBezTo>
                  <a:pt x="926" y="551"/>
                  <a:pt x="875" y="476"/>
                  <a:pt x="875" y="476"/>
                </a:cubicBezTo>
                <a:cubicBezTo>
                  <a:pt x="875" y="451"/>
                  <a:pt x="851" y="400"/>
                  <a:pt x="875" y="376"/>
                </a:cubicBezTo>
                <a:cubicBezTo>
                  <a:pt x="875" y="376"/>
                  <a:pt x="826" y="351"/>
                  <a:pt x="826" y="326"/>
                </a:cubicBezTo>
                <a:cubicBezTo>
                  <a:pt x="826" y="326"/>
                  <a:pt x="875" y="300"/>
                  <a:pt x="901" y="300"/>
                </a:cubicBezTo>
                <a:cubicBezTo>
                  <a:pt x="901" y="276"/>
                  <a:pt x="901" y="226"/>
                  <a:pt x="875" y="200"/>
                </a:cubicBezTo>
                <a:cubicBezTo>
                  <a:pt x="875" y="200"/>
                  <a:pt x="851" y="176"/>
                  <a:pt x="875" y="126"/>
                </a:cubicBezTo>
                <a:cubicBezTo>
                  <a:pt x="875" y="100"/>
                  <a:pt x="801" y="76"/>
                  <a:pt x="801" y="76"/>
                </a:cubicBezTo>
                <a:lnTo>
                  <a:pt x="801" y="76"/>
                </a:lnTo>
                <a:cubicBezTo>
                  <a:pt x="726" y="100"/>
                  <a:pt x="551" y="76"/>
                  <a:pt x="551" y="76"/>
                </a:cubicBezTo>
                <a:cubicBezTo>
                  <a:pt x="551" y="76"/>
                  <a:pt x="526" y="51"/>
                  <a:pt x="501" y="51"/>
                </a:cubicBezTo>
                <a:cubicBezTo>
                  <a:pt x="501" y="76"/>
                  <a:pt x="475" y="76"/>
                  <a:pt x="451" y="76"/>
                </a:cubicBezTo>
                <a:cubicBezTo>
                  <a:pt x="401" y="76"/>
                  <a:pt x="401" y="51"/>
                  <a:pt x="401" y="26"/>
                </a:cubicBezTo>
                <a:cubicBezTo>
                  <a:pt x="401" y="0"/>
                  <a:pt x="251" y="26"/>
                  <a:pt x="201" y="76"/>
                </a:cubicBezTo>
                <a:cubicBezTo>
                  <a:pt x="150" y="126"/>
                  <a:pt x="50" y="100"/>
                  <a:pt x="50" y="126"/>
                </a:cubicBezTo>
                <a:cubicBezTo>
                  <a:pt x="50" y="151"/>
                  <a:pt x="50" y="151"/>
                  <a:pt x="26" y="1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7" name="Freeform 63">
            <a:extLst>
              <a:ext uri="{FF2B5EF4-FFF2-40B4-BE49-F238E27FC236}">
                <a16:creationId xmlns:a16="http://schemas.microsoft.com/office/drawing/2014/main" id="{5F857813-7F12-484D-86D9-CE051426772E}"/>
              </a:ext>
            </a:extLst>
          </p:cNvPr>
          <p:cNvSpPr>
            <a:spLocks noChangeArrowheads="1"/>
          </p:cNvSpPr>
          <p:nvPr/>
        </p:nvSpPr>
        <p:spPr bwMode="auto">
          <a:xfrm>
            <a:off x="6235220" y="3361168"/>
            <a:ext cx="104061" cy="104061"/>
          </a:xfrm>
          <a:custGeom>
            <a:avLst/>
            <a:gdLst>
              <a:gd name="T0" fmla="*/ 251 w 326"/>
              <a:gd name="T1" fmla="*/ 300 h 326"/>
              <a:gd name="T2" fmla="*/ 251 w 326"/>
              <a:gd name="T3" fmla="*/ 300 h 326"/>
              <a:gd name="T4" fmla="*/ 325 w 326"/>
              <a:gd name="T5" fmla="*/ 200 h 326"/>
              <a:gd name="T6" fmla="*/ 325 w 326"/>
              <a:gd name="T7" fmla="*/ 75 h 326"/>
              <a:gd name="T8" fmla="*/ 251 w 326"/>
              <a:gd name="T9" fmla="*/ 25 h 326"/>
              <a:gd name="T10" fmla="*/ 101 w 326"/>
              <a:gd name="T11" fmla="*/ 25 h 326"/>
              <a:gd name="T12" fmla="*/ 51 w 326"/>
              <a:gd name="T13" fmla="*/ 25 h 326"/>
              <a:gd name="T14" fmla="*/ 0 w 326"/>
              <a:gd name="T15" fmla="*/ 50 h 326"/>
              <a:gd name="T16" fmla="*/ 51 w 326"/>
              <a:gd name="T17" fmla="*/ 125 h 326"/>
              <a:gd name="T18" fmla="*/ 125 w 326"/>
              <a:gd name="T19" fmla="*/ 200 h 326"/>
              <a:gd name="T20" fmla="*/ 201 w 326"/>
              <a:gd name="T21" fmla="*/ 300 h 326"/>
              <a:gd name="T22" fmla="*/ 251 w 326"/>
              <a:gd name="T23" fmla="*/ 325 h 326"/>
              <a:gd name="T24" fmla="*/ 251 w 326"/>
              <a:gd name="T25" fmla="*/ 30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26">
                <a:moveTo>
                  <a:pt x="251" y="300"/>
                </a:moveTo>
                <a:lnTo>
                  <a:pt x="251" y="300"/>
                </a:lnTo>
                <a:cubicBezTo>
                  <a:pt x="251" y="275"/>
                  <a:pt x="301" y="200"/>
                  <a:pt x="325" y="200"/>
                </a:cubicBezTo>
                <a:cubicBezTo>
                  <a:pt x="325" y="200"/>
                  <a:pt x="325" y="125"/>
                  <a:pt x="325" y="75"/>
                </a:cubicBezTo>
                <a:cubicBezTo>
                  <a:pt x="276" y="50"/>
                  <a:pt x="251" y="25"/>
                  <a:pt x="251" y="25"/>
                </a:cubicBezTo>
                <a:cubicBezTo>
                  <a:pt x="251" y="25"/>
                  <a:pt x="125" y="25"/>
                  <a:pt x="101" y="25"/>
                </a:cubicBezTo>
                <a:cubicBezTo>
                  <a:pt x="76" y="0"/>
                  <a:pt x="51" y="50"/>
                  <a:pt x="51" y="25"/>
                </a:cubicBezTo>
                <a:cubicBezTo>
                  <a:pt x="25" y="0"/>
                  <a:pt x="0" y="25"/>
                  <a:pt x="0" y="50"/>
                </a:cubicBezTo>
                <a:cubicBezTo>
                  <a:pt x="0" y="75"/>
                  <a:pt x="51" y="75"/>
                  <a:pt x="51" y="125"/>
                </a:cubicBezTo>
                <a:cubicBezTo>
                  <a:pt x="51" y="150"/>
                  <a:pt x="125" y="200"/>
                  <a:pt x="125" y="200"/>
                </a:cubicBezTo>
                <a:cubicBezTo>
                  <a:pt x="125" y="225"/>
                  <a:pt x="176" y="250"/>
                  <a:pt x="201" y="300"/>
                </a:cubicBezTo>
                <a:cubicBezTo>
                  <a:pt x="201" y="300"/>
                  <a:pt x="225" y="325"/>
                  <a:pt x="251" y="325"/>
                </a:cubicBezTo>
                <a:lnTo>
                  <a:pt x="251" y="3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8" name="Freeform 64">
            <a:extLst>
              <a:ext uri="{FF2B5EF4-FFF2-40B4-BE49-F238E27FC236}">
                <a16:creationId xmlns:a16="http://schemas.microsoft.com/office/drawing/2014/main" id="{52DABBB4-0350-3940-A186-64387B0CFD3E}"/>
              </a:ext>
            </a:extLst>
          </p:cNvPr>
          <p:cNvSpPr>
            <a:spLocks noChangeArrowheads="1"/>
          </p:cNvSpPr>
          <p:nvPr/>
        </p:nvSpPr>
        <p:spPr bwMode="auto">
          <a:xfrm>
            <a:off x="6180375" y="3313355"/>
            <a:ext cx="160312" cy="143436"/>
          </a:xfrm>
          <a:custGeom>
            <a:avLst/>
            <a:gdLst>
              <a:gd name="T0" fmla="*/ 300 w 501"/>
              <a:gd name="T1" fmla="*/ 350 h 451"/>
              <a:gd name="T2" fmla="*/ 300 w 501"/>
              <a:gd name="T3" fmla="*/ 350 h 451"/>
              <a:gd name="T4" fmla="*/ 226 w 501"/>
              <a:gd name="T5" fmla="*/ 275 h 451"/>
              <a:gd name="T6" fmla="*/ 175 w 501"/>
              <a:gd name="T7" fmla="*/ 200 h 451"/>
              <a:gd name="T8" fmla="*/ 226 w 501"/>
              <a:gd name="T9" fmla="*/ 175 h 451"/>
              <a:gd name="T10" fmla="*/ 276 w 501"/>
              <a:gd name="T11" fmla="*/ 175 h 451"/>
              <a:gd name="T12" fmla="*/ 426 w 501"/>
              <a:gd name="T13" fmla="*/ 175 h 451"/>
              <a:gd name="T14" fmla="*/ 500 w 501"/>
              <a:gd name="T15" fmla="*/ 225 h 451"/>
              <a:gd name="T16" fmla="*/ 500 w 501"/>
              <a:gd name="T17" fmla="*/ 200 h 451"/>
              <a:gd name="T18" fmla="*/ 476 w 501"/>
              <a:gd name="T19" fmla="*/ 125 h 451"/>
              <a:gd name="T20" fmla="*/ 451 w 501"/>
              <a:gd name="T21" fmla="*/ 75 h 451"/>
              <a:gd name="T22" fmla="*/ 426 w 501"/>
              <a:gd name="T23" fmla="*/ 75 h 451"/>
              <a:gd name="T24" fmla="*/ 326 w 501"/>
              <a:gd name="T25" fmla="*/ 75 h 451"/>
              <a:gd name="T26" fmla="*/ 251 w 501"/>
              <a:gd name="T27" fmla="*/ 0 h 451"/>
              <a:gd name="T28" fmla="*/ 175 w 501"/>
              <a:gd name="T29" fmla="*/ 50 h 451"/>
              <a:gd name="T30" fmla="*/ 151 w 501"/>
              <a:gd name="T31" fmla="*/ 100 h 451"/>
              <a:gd name="T32" fmla="*/ 126 w 501"/>
              <a:gd name="T33" fmla="*/ 125 h 451"/>
              <a:gd name="T34" fmla="*/ 75 w 501"/>
              <a:gd name="T35" fmla="*/ 125 h 451"/>
              <a:gd name="T36" fmla="*/ 0 w 501"/>
              <a:gd name="T37" fmla="*/ 150 h 451"/>
              <a:gd name="T38" fmla="*/ 25 w 501"/>
              <a:gd name="T39" fmla="*/ 175 h 451"/>
              <a:gd name="T40" fmla="*/ 100 w 501"/>
              <a:gd name="T41" fmla="*/ 225 h 451"/>
              <a:gd name="T42" fmla="*/ 175 w 501"/>
              <a:gd name="T43" fmla="*/ 350 h 451"/>
              <a:gd name="T44" fmla="*/ 251 w 501"/>
              <a:gd name="T45" fmla="*/ 375 h 451"/>
              <a:gd name="T46" fmla="*/ 326 w 501"/>
              <a:gd name="T47" fmla="*/ 425 h 451"/>
              <a:gd name="T48" fmla="*/ 376 w 501"/>
              <a:gd name="T49" fmla="*/ 450 h 451"/>
              <a:gd name="T50" fmla="*/ 300 w 501"/>
              <a:gd name="T51" fmla="*/ 3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1" h="451">
                <a:moveTo>
                  <a:pt x="300" y="350"/>
                </a:moveTo>
                <a:lnTo>
                  <a:pt x="300" y="350"/>
                </a:lnTo>
                <a:cubicBezTo>
                  <a:pt x="300" y="350"/>
                  <a:pt x="226" y="300"/>
                  <a:pt x="226" y="275"/>
                </a:cubicBezTo>
                <a:cubicBezTo>
                  <a:pt x="226" y="225"/>
                  <a:pt x="175" y="225"/>
                  <a:pt x="175" y="200"/>
                </a:cubicBezTo>
                <a:cubicBezTo>
                  <a:pt x="175" y="175"/>
                  <a:pt x="200" y="150"/>
                  <a:pt x="226" y="175"/>
                </a:cubicBezTo>
                <a:cubicBezTo>
                  <a:pt x="226" y="200"/>
                  <a:pt x="251" y="150"/>
                  <a:pt x="276" y="175"/>
                </a:cubicBezTo>
                <a:cubicBezTo>
                  <a:pt x="300" y="175"/>
                  <a:pt x="426" y="175"/>
                  <a:pt x="426" y="175"/>
                </a:cubicBezTo>
                <a:cubicBezTo>
                  <a:pt x="426" y="175"/>
                  <a:pt x="451" y="200"/>
                  <a:pt x="500" y="225"/>
                </a:cubicBezTo>
                <a:cubicBezTo>
                  <a:pt x="500" y="200"/>
                  <a:pt x="500" y="200"/>
                  <a:pt x="500" y="200"/>
                </a:cubicBezTo>
                <a:cubicBezTo>
                  <a:pt x="500" y="175"/>
                  <a:pt x="500" y="150"/>
                  <a:pt x="476" y="125"/>
                </a:cubicBezTo>
                <a:cubicBezTo>
                  <a:pt x="451" y="125"/>
                  <a:pt x="451" y="100"/>
                  <a:pt x="451" y="75"/>
                </a:cubicBezTo>
                <a:cubicBezTo>
                  <a:pt x="426" y="75"/>
                  <a:pt x="426" y="75"/>
                  <a:pt x="426" y="75"/>
                </a:cubicBezTo>
                <a:cubicBezTo>
                  <a:pt x="400" y="100"/>
                  <a:pt x="326" y="100"/>
                  <a:pt x="326" y="75"/>
                </a:cubicBezTo>
                <a:cubicBezTo>
                  <a:pt x="300" y="50"/>
                  <a:pt x="251" y="25"/>
                  <a:pt x="251" y="0"/>
                </a:cubicBezTo>
                <a:cubicBezTo>
                  <a:pt x="226" y="25"/>
                  <a:pt x="200" y="50"/>
                  <a:pt x="175" y="50"/>
                </a:cubicBezTo>
                <a:cubicBezTo>
                  <a:pt x="175" y="50"/>
                  <a:pt x="175" y="100"/>
                  <a:pt x="151" y="100"/>
                </a:cubicBezTo>
                <a:lnTo>
                  <a:pt x="126" y="125"/>
                </a:lnTo>
                <a:cubicBezTo>
                  <a:pt x="126" y="150"/>
                  <a:pt x="75" y="125"/>
                  <a:pt x="75" y="125"/>
                </a:cubicBezTo>
                <a:cubicBezTo>
                  <a:pt x="51" y="125"/>
                  <a:pt x="25" y="150"/>
                  <a:pt x="0" y="150"/>
                </a:cubicBezTo>
                <a:cubicBezTo>
                  <a:pt x="0" y="150"/>
                  <a:pt x="0" y="175"/>
                  <a:pt x="25" y="175"/>
                </a:cubicBezTo>
                <a:cubicBezTo>
                  <a:pt x="51" y="175"/>
                  <a:pt x="100" y="175"/>
                  <a:pt x="100" y="225"/>
                </a:cubicBezTo>
                <a:cubicBezTo>
                  <a:pt x="100" y="250"/>
                  <a:pt x="151" y="325"/>
                  <a:pt x="175" y="350"/>
                </a:cubicBezTo>
                <a:cubicBezTo>
                  <a:pt x="200" y="375"/>
                  <a:pt x="251" y="375"/>
                  <a:pt x="251" y="375"/>
                </a:cubicBezTo>
                <a:cubicBezTo>
                  <a:pt x="251" y="400"/>
                  <a:pt x="300" y="425"/>
                  <a:pt x="326" y="425"/>
                </a:cubicBezTo>
                <a:cubicBezTo>
                  <a:pt x="351" y="425"/>
                  <a:pt x="351" y="425"/>
                  <a:pt x="376" y="450"/>
                </a:cubicBezTo>
                <a:cubicBezTo>
                  <a:pt x="351" y="400"/>
                  <a:pt x="300" y="375"/>
                  <a:pt x="300" y="3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39" name="Freeform 65">
            <a:extLst>
              <a:ext uri="{FF2B5EF4-FFF2-40B4-BE49-F238E27FC236}">
                <a16:creationId xmlns:a16="http://schemas.microsoft.com/office/drawing/2014/main" id="{8DBB9B07-45A2-D644-9982-04DF9F71009E}"/>
              </a:ext>
            </a:extLst>
          </p:cNvPr>
          <p:cNvSpPr>
            <a:spLocks noChangeArrowheads="1"/>
          </p:cNvSpPr>
          <p:nvPr/>
        </p:nvSpPr>
        <p:spPr bwMode="auto">
          <a:xfrm>
            <a:off x="6332252" y="3465228"/>
            <a:ext cx="56249" cy="104061"/>
          </a:xfrm>
          <a:custGeom>
            <a:avLst/>
            <a:gdLst>
              <a:gd name="T0" fmla="*/ 124 w 176"/>
              <a:gd name="T1" fmla="*/ 275 h 326"/>
              <a:gd name="T2" fmla="*/ 124 w 176"/>
              <a:gd name="T3" fmla="*/ 275 h 326"/>
              <a:gd name="T4" fmla="*/ 150 w 176"/>
              <a:gd name="T5" fmla="*/ 250 h 326"/>
              <a:gd name="T6" fmla="*/ 175 w 176"/>
              <a:gd name="T7" fmla="*/ 200 h 326"/>
              <a:gd name="T8" fmla="*/ 175 w 176"/>
              <a:gd name="T9" fmla="*/ 200 h 326"/>
              <a:gd name="T10" fmla="*/ 124 w 176"/>
              <a:gd name="T11" fmla="*/ 125 h 326"/>
              <a:gd name="T12" fmla="*/ 150 w 176"/>
              <a:gd name="T13" fmla="*/ 25 h 326"/>
              <a:gd name="T14" fmla="*/ 50 w 176"/>
              <a:gd name="T15" fmla="*/ 0 h 326"/>
              <a:gd name="T16" fmla="*/ 24 w 176"/>
              <a:gd name="T17" fmla="*/ 50 h 326"/>
              <a:gd name="T18" fmla="*/ 50 w 176"/>
              <a:gd name="T19" fmla="*/ 125 h 326"/>
              <a:gd name="T20" fmla="*/ 24 w 176"/>
              <a:gd name="T21" fmla="*/ 250 h 326"/>
              <a:gd name="T22" fmla="*/ 100 w 176"/>
              <a:gd name="T23" fmla="*/ 325 h 326"/>
              <a:gd name="T24" fmla="*/ 124 w 176"/>
              <a:gd name="T25" fmla="*/ 2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326">
                <a:moveTo>
                  <a:pt x="124" y="275"/>
                </a:moveTo>
                <a:lnTo>
                  <a:pt x="124" y="275"/>
                </a:lnTo>
                <a:cubicBezTo>
                  <a:pt x="150" y="275"/>
                  <a:pt x="124" y="275"/>
                  <a:pt x="150" y="250"/>
                </a:cubicBezTo>
                <a:cubicBezTo>
                  <a:pt x="175" y="225"/>
                  <a:pt x="175" y="200"/>
                  <a:pt x="175" y="200"/>
                </a:cubicBezTo>
                <a:lnTo>
                  <a:pt x="175" y="200"/>
                </a:lnTo>
                <a:cubicBezTo>
                  <a:pt x="150" y="175"/>
                  <a:pt x="124" y="150"/>
                  <a:pt x="124" y="125"/>
                </a:cubicBezTo>
                <a:cubicBezTo>
                  <a:pt x="124" y="100"/>
                  <a:pt x="124" y="75"/>
                  <a:pt x="150" y="25"/>
                </a:cubicBezTo>
                <a:cubicBezTo>
                  <a:pt x="124" y="25"/>
                  <a:pt x="75" y="0"/>
                  <a:pt x="50" y="0"/>
                </a:cubicBezTo>
                <a:cubicBezTo>
                  <a:pt x="50" y="0"/>
                  <a:pt x="24" y="25"/>
                  <a:pt x="24" y="50"/>
                </a:cubicBezTo>
                <a:cubicBezTo>
                  <a:pt x="50" y="75"/>
                  <a:pt x="75" y="100"/>
                  <a:pt x="50" y="125"/>
                </a:cubicBezTo>
                <a:cubicBezTo>
                  <a:pt x="24" y="150"/>
                  <a:pt x="0" y="225"/>
                  <a:pt x="24" y="250"/>
                </a:cubicBezTo>
                <a:cubicBezTo>
                  <a:pt x="75" y="275"/>
                  <a:pt x="75" y="325"/>
                  <a:pt x="100" y="325"/>
                </a:cubicBezTo>
                <a:cubicBezTo>
                  <a:pt x="100" y="300"/>
                  <a:pt x="100" y="275"/>
                  <a:pt x="124" y="2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1" name="Freeform 67">
            <a:extLst>
              <a:ext uri="{FF2B5EF4-FFF2-40B4-BE49-F238E27FC236}">
                <a16:creationId xmlns:a16="http://schemas.microsoft.com/office/drawing/2014/main" id="{6F02DAA7-77C9-594F-B99B-54EFA3BD7FC2}"/>
              </a:ext>
            </a:extLst>
          </p:cNvPr>
          <p:cNvSpPr>
            <a:spLocks noChangeArrowheads="1"/>
          </p:cNvSpPr>
          <p:nvPr/>
        </p:nvSpPr>
        <p:spPr bwMode="auto">
          <a:xfrm>
            <a:off x="6252096" y="3234605"/>
            <a:ext cx="191249" cy="112499"/>
          </a:xfrm>
          <a:custGeom>
            <a:avLst/>
            <a:gdLst>
              <a:gd name="T0" fmla="*/ 574 w 601"/>
              <a:gd name="T1" fmla="*/ 50 h 351"/>
              <a:gd name="T2" fmla="*/ 574 w 601"/>
              <a:gd name="T3" fmla="*/ 50 h 351"/>
              <a:gd name="T4" fmla="*/ 550 w 601"/>
              <a:gd name="T5" fmla="*/ 50 h 351"/>
              <a:gd name="T6" fmla="*/ 500 w 601"/>
              <a:gd name="T7" fmla="*/ 25 h 351"/>
              <a:gd name="T8" fmla="*/ 425 w 601"/>
              <a:gd name="T9" fmla="*/ 0 h 351"/>
              <a:gd name="T10" fmla="*/ 325 w 601"/>
              <a:gd name="T11" fmla="*/ 50 h 351"/>
              <a:gd name="T12" fmla="*/ 225 w 601"/>
              <a:gd name="T13" fmla="*/ 75 h 351"/>
              <a:gd name="T14" fmla="*/ 100 w 601"/>
              <a:gd name="T15" fmla="*/ 75 h 351"/>
              <a:gd name="T16" fmla="*/ 100 w 601"/>
              <a:gd name="T17" fmla="*/ 75 h 351"/>
              <a:gd name="T18" fmla="*/ 74 w 601"/>
              <a:gd name="T19" fmla="*/ 100 h 351"/>
              <a:gd name="T20" fmla="*/ 25 w 601"/>
              <a:gd name="T21" fmla="*/ 125 h 351"/>
              <a:gd name="T22" fmla="*/ 25 w 601"/>
              <a:gd name="T23" fmla="*/ 150 h 351"/>
              <a:gd name="T24" fmla="*/ 0 w 601"/>
              <a:gd name="T25" fmla="*/ 200 h 351"/>
              <a:gd name="T26" fmla="*/ 0 w 601"/>
              <a:gd name="T27" fmla="*/ 225 h 351"/>
              <a:gd name="T28" fmla="*/ 25 w 601"/>
              <a:gd name="T29" fmla="*/ 250 h 351"/>
              <a:gd name="T30" fmla="*/ 25 w 601"/>
              <a:gd name="T31" fmla="*/ 250 h 351"/>
              <a:gd name="T32" fmla="*/ 100 w 601"/>
              <a:gd name="T33" fmla="*/ 325 h 351"/>
              <a:gd name="T34" fmla="*/ 200 w 601"/>
              <a:gd name="T35" fmla="*/ 325 h 351"/>
              <a:gd name="T36" fmla="*/ 325 w 601"/>
              <a:gd name="T37" fmla="*/ 300 h 351"/>
              <a:gd name="T38" fmla="*/ 350 w 601"/>
              <a:gd name="T39" fmla="*/ 300 h 351"/>
              <a:gd name="T40" fmla="*/ 374 w 601"/>
              <a:gd name="T41" fmla="*/ 325 h 351"/>
              <a:gd name="T42" fmla="*/ 450 w 601"/>
              <a:gd name="T43" fmla="*/ 275 h 351"/>
              <a:gd name="T44" fmla="*/ 525 w 601"/>
              <a:gd name="T45" fmla="*/ 125 h 351"/>
              <a:gd name="T46" fmla="*/ 600 w 601"/>
              <a:gd name="T47" fmla="*/ 100 h 351"/>
              <a:gd name="T48" fmla="*/ 574 w 601"/>
              <a:gd name="T49" fmla="*/ 5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51">
                <a:moveTo>
                  <a:pt x="574" y="50"/>
                </a:moveTo>
                <a:lnTo>
                  <a:pt x="574" y="50"/>
                </a:lnTo>
                <a:cubicBezTo>
                  <a:pt x="574" y="50"/>
                  <a:pt x="574" y="50"/>
                  <a:pt x="550" y="50"/>
                </a:cubicBezTo>
                <a:cubicBezTo>
                  <a:pt x="525" y="50"/>
                  <a:pt x="500" y="25"/>
                  <a:pt x="500" y="25"/>
                </a:cubicBezTo>
                <a:cubicBezTo>
                  <a:pt x="474" y="0"/>
                  <a:pt x="425" y="0"/>
                  <a:pt x="425" y="0"/>
                </a:cubicBezTo>
                <a:cubicBezTo>
                  <a:pt x="400" y="0"/>
                  <a:pt x="350" y="50"/>
                  <a:pt x="325" y="50"/>
                </a:cubicBezTo>
                <a:cubicBezTo>
                  <a:pt x="300" y="50"/>
                  <a:pt x="225" y="75"/>
                  <a:pt x="225" y="75"/>
                </a:cubicBezTo>
                <a:cubicBezTo>
                  <a:pt x="225" y="100"/>
                  <a:pt x="125" y="100"/>
                  <a:pt x="100" y="75"/>
                </a:cubicBezTo>
                <a:lnTo>
                  <a:pt x="100" y="75"/>
                </a:lnTo>
                <a:cubicBezTo>
                  <a:pt x="74" y="75"/>
                  <a:pt x="74" y="75"/>
                  <a:pt x="74" y="100"/>
                </a:cubicBezTo>
                <a:cubicBezTo>
                  <a:pt x="74" y="125"/>
                  <a:pt x="50" y="125"/>
                  <a:pt x="25" y="125"/>
                </a:cubicBezTo>
                <a:lnTo>
                  <a:pt x="25" y="150"/>
                </a:lnTo>
                <a:cubicBezTo>
                  <a:pt x="25" y="175"/>
                  <a:pt x="25" y="200"/>
                  <a:pt x="0" y="200"/>
                </a:cubicBezTo>
                <a:cubicBezTo>
                  <a:pt x="0" y="200"/>
                  <a:pt x="0" y="200"/>
                  <a:pt x="0" y="225"/>
                </a:cubicBezTo>
                <a:lnTo>
                  <a:pt x="25" y="250"/>
                </a:lnTo>
                <a:lnTo>
                  <a:pt x="25" y="250"/>
                </a:lnTo>
                <a:cubicBezTo>
                  <a:pt x="25" y="275"/>
                  <a:pt x="74" y="300"/>
                  <a:pt x="100" y="325"/>
                </a:cubicBezTo>
                <a:cubicBezTo>
                  <a:pt x="100" y="350"/>
                  <a:pt x="174" y="350"/>
                  <a:pt x="200" y="325"/>
                </a:cubicBezTo>
                <a:cubicBezTo>
                  <a:pt x="225" y="325"/>
                  <a:pt x="325" y="300"/>
                  <a:pt x="325" y="300"/>
                </a:cubicBezTo>
                <a:lnTo>
                  <a:pt x="350" y="300"/>
                </a:lnTo>
                <a:cubicBezTo>
                  <a:pt x="350" y="300"/>
                  <a:pt x="374" y="300"/>
                  <a:pt x="374" y="325"/>
                </a:cubicBezTo>
                <a:cubicBezTo>
                  <a:pt x="400" y="300"/>
                  <a:pt x="425" y="300"/>
                  <a:pt x="450" y="275"/>
                </a:cubicBezTo>
                <a:cubicBezTo>
                  <a:pt x="474" y="250"/>
                  <a:pt x="525" y="150"/>
                  <a:pt x="525" y="125"/>
                </a:cubicBezTo>
                <a:cubicBezTo>
                  <a:pt x="550" y="125"/>
                  <a:pt x="574" y="100"/>
                  <a:pt x="600" y="100"/>
                </a:cubicBezTo>
                <a:cubicBezTo>
                  <a:pt x="600" y="75"/>
                  <a:pt x="600" y="75"/>
                  <a:pt x="574" y="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2" name="Freeform 68">
            <a:extLst>
              <a:ext uri="{FF2B5EF4-FFF2-40B4-BE49-F238E27FC236}">
                <a16:creationId xmlns:a16="http://schemas.microsoft.com/office/drawing/2014/main" id="{250A6D47-E15A-314E-8919-96E27FCFE2C1}"/>
              </a:ext>
            </a:extLst>
          </p:cNvPr>
          <p:cNvSpPr>
            <a:spLocks noChangeArrowheads="1"/>
          </p:cNvSpPr>
          <p:nvPr/>
        </p:nvSpPr>
        <p:spPr bwMode="auto">
          <a:xfrm>
            <a:off x="6132565" y="3138981"/>
            <a:ext cx="191249" cy="95624"/>
          </a:xfrm>
          <a:custGeom>
            <a:avLst/>
            <a:gdLst>
              <a:gd name="T0" fmla="*/ 575 w 601"/>
              <a:gd name="T1" fmla="*/ 150 h 301"/>
              <a:gd name="T2" fmla="*/ 575 w 601"/>
              <a:gd name="T3" fmla="*/ 150 h 301"/>
              <a:gd name="T4" fmla="*/ 500 w 601"/>
              <a:gd name="T5" fmla="*/ 124 h 301"/>
              <a:gd name="T6" fmla="*/ 475 w 601"/>
              <a:gd name="T7" fmla="*/ 100 h 301"/>
              <a:gd name="T8" fmla="*/ 425 w 601"/>
              <a:gd name="T9" fmla="*/ 100 h 301"/>
              <a:gd name="T10" fmla="*/ 375 w 601"/>
              <a:gd name="T11" fmla="*/ 75 h 301"/>
              <a:gd name="T12" fmla="*/ 324 w 601"/>
              <a:gd name="T13" fmla="*/ 50 h 301"/>
              <a:gd name="T14" fmla="*/ 275 w 601"/>
              <a:gd name="T15" fmla="*/ 0 h 301"/>
              <a:gd name="T16" fmla="*/ 249 w 601"/>
              <a:gd name="T17" fmla="*/ 25 h 301"/>
              <a:gd name="T18" fmla="*/ 200 w 601"/>
              <a:gd name="T19" fmla="*/ 25 h 301"/>
              <a:gd name="T20" fmla="*/ 124 w 601"/>
              <a:gd name="T21" fmla="*/ 50 h 301"/>
              <a:gd name="T22" fmla="*/ 24 w 601"/>
              <a:gd name="T23" fmla="*/ 100 h 301"/>
              <a:gd name="T24" fmla="*/ 49 w 601"/>
              <a:gd name="T25" fmla="*/ 150 h 301"/>
              <a:gd name="T26" fmla="*/ 75 w 601"/>
              <a:gd name="T27" fmla="*/ 224 h 301"/>
              <a:gd name="T28" fmla="*/ 174 w 601"/>
              <a:gd name="T29" fmla="*/ 300 h 301"/>
              <a:gd name="T30" fmla="*/ 174 w 601"/>
              <a:gd name="T31" fmla="*/ 300 h 301"/>
              <a:gd name="T32" fmla="*/ 249 w 601"/>
              <a:gd name="T33" fmla="*/ 300 h 301"/>
              <a:gd name="T34" fmla="*/ 275 w 601"/>
              <a:gd name="T35" fmla="*/ 250 h 301"/>
              <a:gd name="T36" fmla="*/ 349 w 601"/>
              <a:gd name="T37" fmla="*/ 275 h 301"/>
              <a:gd name="T38" fmla="*/ 425 w 601"/>
              <a:gd name="T39" fmla="*/ 300 h 301"/>
              <a:gd name="T40" fmla="*/ 425 w 601"/>
              <a:gd name="T41" fmla="*/ 300 h 301"/>
              <a:gd name="T42" fmla="*/ 449 w 601"/>
              <a:gd name="T43" fmla="*/ 275 h 301"/>
              <a:gd name="T44" fmla="*/ 549 w 601"/>
              <a:gd name="T45" fmla="*/ 224 h 301"/>
              <a:gd name="T46" fmla="*/ 600 w 601"/>
              <a:gd name="T47" fmla="*/ 200 h 301"/>
              <a:gd name="T48" fmla="*/ 575 w 601"/>
              <a:gd name="T49" fmla="*/ 15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01">
                <a:moveTo>
                  <a:pt x="575" y="150"/>
                </a:moveTo>
                <a:lnTo>
                  <a:pt x="575" y="150"/>
                </a:lnTo>
                <a:cubicBezTo>
                  <a:pt x="549" y="124"/>
                  <a:pt x="525" y="150"/>
                  <a:pt x="500" y="124"/>
                </a:cubicBezTo>
                <a:cubicBezTo>
                  <a:pt x="500" y="124"/>
                  <a:pt x="500" y="100"/>
                  <a:pt x="475" y="100"/>
                </a:cubicBezTo>
                <a:cubicBezTo>
                  <a:pt x="475" y="100"/>
                  <a:pt x="449" y="75"/>
                  <a:pt x="425" y="100"/>
                </a:cubicBezTo>
                <a:cubicBezTo>
                  <a:pt x="425" y="124"/>
                  <a:pt x="375" y="100"/>
                  <a:pt x="375" y="75"/>
                </a:cubicBezTo>
                <a:cubicBezTo>
                  <a:pt x="375" y="75"/>
                  <a:pt x="375" y="50"/>
                  <a:pt x="324" y="50"/>
                </a:cubicBezTo>
                <a:cubicBezTo>
                  <a:pt x="300" y="25"/>
                  <a:pt x="275" y="25"/>
                  <a:pt x="275" y="0"/>
                </a:cubicBezTo>
                <a:cubicBezTo>
                  <a:pt x="275" y="25"/>
                  <a:pt x="275" y="25"/>
                  <a:pt x="249" y="25"/>
                </a:cubicBezTo>
                <a:cubicBezTo>
                  <a:pt x="249" y="25"/>
                  <a:pt x="224" y="0"/>
                  <a:pt x="200" y="25"/>
                </a:cubicBezTo>
                <a:cubicBezTo>
                  <a:pt x="200" y="25"/>
                  <a:pt x="149" y="25"/>
                  <a:pt x="124" y="50"/>
                </a:cubicBezTo>
                <a:cubicBezTo>
                  <a:pt x="100" y="75"/>
                  <a:pt x="75" y="100"/>
                  <a:pt x="24" y="100"/>
                </a:cubicBezTo>
                <a:cubicBezTo>
                  <a:pt x="0" y="100"/>
                  <a:pt x="24" y="124"/>
                  <a:pt x="49" y="150"/>
                </a:cubicBezTo>
                <a:cubicBezTo>
                  <a:pt x="49" y="175"/>
                  <a:pt x="49" y="200"/>
                  <a:pt x="75" y="224"/>
                </a:cubicBezTo>
                <a:cubicBezTo>
                  <a:pt x="100" y="250"/>
                  <a:pt x="174" y="275"/>
                  <a:pt x="174" y="300"/>
                </a:cubicBezTo>
                <a:lnTo>
                  <a:pt x="174" y="300"/>
                </a:lnTo>
                <a:cubicBezTo>
                  <a:pt x="200" y="300"/>
                  <a:pt x="249" y="300"/>
                  <a:pt x="249" y="300"/>
                </a:cubicBezTo>
                <a:cubicBezTo>
                  <a:pt x="249" y="275"/>
                  <a:pt x="275" y="250"/>
                  <a:pt x="275" y="250"/>
                </a:cubicBezTo>
                <a:cubicBezTo>
                  <a:pt x="275" y="250"/>
                  <a:pt x="324" y="250"/>
                  <a:pt x="349" y="275"/>
                </a:cubicBezTo>
                <a:cubicBezTo>
                  <a:pt x="375" y="300"/>
                  <a:pt x="425" y="300"/>
                  <a:pt x="425" y="300"/>
                </a:cubicBezTo>
                <a:lnTo>
                  <a:pt x="425" y="300"/>
                </a:lnTo>
                <a:cubicBezTo>
                  <a:pt x="449" y="300"/>
                  <a:pt x="449" y="275"/>
                  <a:pt x="449" y="275"/>
                </a:cubicBezTo>
                <a:cubicBezTo>
                  <a:pt x="475" y="275"/>
                  <a:pt x="525" y="275"/>
                  <a:pt x="549" y="224"/>
                </a:cubicBezTo>
                <a:cubicBezTo>
                  <a:pt x="549" y="224"/>
                  <a:pt x="575" y="200"/>
                  <a:pt x="600" y="200"/>
                </a:cubicBezTo>
                <a:cubicBezTo>
                  <a:pt x="600" y="175"/>
                  <a:pt x="575" y="150"/>
                  <a:pt x="57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3" name="Freeform 69">
            <a:extLst>
              <a:ext uri="{FF2B5EF4-FFF2-40B4-BE49-F238E27FC236}">
                <a16:creationId xmlns:a16="http://schemas.microsoft.com/office/drawing/2014/main" id="{EB6F597A-7D83-334F-9DD0-7CEAB07A33CF}"/>
              </a:ext>
            </a:extLst>
          </p:cNvPr>
          <p:cNvSpPr>
            <a:spLocks noChangeArrowheads="1"/>
          </p:cNvSpPr>
          <p:nvPr/>
        </p:nvSpPr>
        <p:spPr bwMode="auto">
          <a:xfrm>
            <a:off x="6267565" y="3193826"/>
            <a:ext cx="167343" cy="71719"/>
          </a:xfrm>
          <a:custGeom>
            <a:avLst/>
            <a:gdLst>
              <a:gd name="T0" fmla="*/ 400 w 525"/>
              <a:gd name="T1" fmla="*/ 25 h 226"/>
              <a:gd name="T2" fmla="*/ 400 w 525"/>
              <a:gd name="T3" fmla="*/ 25 h 226"/>
              <a:gd name="T4" fmla="*/ 324 w 525"/>
              <a:gd name="T5" fmla="*/ 25 h 226"/>
              <a:gd name="T6" fmla="*/ 250 w 525"/>
              <a:gd name="T7" fmla="*/ 25 h 226"/>
              <a:gd name="T8" fmla="*/ 200 w 525"/>
              <a:gd name="T9" fmla="*/ 25 h 226"/>
              <a:gd name="T10" fmla="*/ 175 w 525"/>
              <a:gd name="T11" fmla="*/ 25 h 226"/>
              <a:gd name="T12" fmla="*/ 124 w 525"/>
              <a:gd name="T13" fmla="*/ 49 h 226"/>
              <a:gd name="T14" fmla="*/ 24 w 525"/>
              <a:gd name="T15" fmla="*/ 100 h 226"/>
              <a:gd name="T16" fmla="*/ 0 w 525"/>
              <a:gd name="T17" fmla="*/ 125 h 226"/>
              <a:gd name="T18" fmla="*/ 50 w 525"/>
              <a:gd name="T19" fmla="*/ 200 h 226"/>
              <a:gd name="T20" fmla="*/ 175 w 525"/>
              <a:gd name="T21" fmla="*/ 200 h 226"/>
              <a:gd name="T22" fmla="*/ 275 w 525"/>
              <a:gd name="T23" fmla="*/ 175 h 226"/>
              <a:gd name="T24" fmla="*/ 375 w 525"/>
              <a:gd name="T25" fmla="*/ 125 h 226"/>
              <a:gd name="T26" fmla="*/ 450 w 525"/>
              <a:gd name="T27" fmla="*/ 150 h 226"/>
              <a:gd name="T28" fmla="*/ 500 w 525"/>
              <a:gd name="T29" fmla="*/ 175 h 226"/>
              <a:gd name="T30" fmla="*/ 500 w 525"/>
              <a:gd name="T31" fmla="*/ 150 h 226"/>
              <a:gd name="T32" fmla="*/ 524 w 525"/>
              <a:gd name="T33" fmla="*/ 75 h 226"/>
              <a:gd name="T34" fmla="*/ 524 w 525"/>
              <a:gd name="T35" fmla="*/ 75 h 226"/>
              <a:gd name="T36" fmla="*/ 475 w 525"/>
              <a:gd name="T37" fmla="*/ 49 h 226"/>
              <a:gd name="T38" fmla="*/ 400 w 525"/>
              <a:gd name="T39" fmla="*/ 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5" h="226">
                <a:moveTo>
                  <a:pt x="400" y="25"/>
                </a:moveTo>
                <a:lnTo>
                  <a:pt x="400" y="25"/>
                </a:lnTo>
                <a:cubicBezTo>
                  <a:pt x="375" y="49"/>
                  <a:pt x="350" y="25"/>
                  <a:pt x="324" y="25"/>
                </a:cubicBezTo>
                <a:cubicBezTo>
                  <a:pt x="300" y="49"/>
                  <a:pt x="250" y="25"/>
                  <a:pt x="250" y="25"/>
                </a:cubicBezTo>
                <a:cubicBezTo>
                  <a:pt x="224" y="0"/>
                  <a:pt x="200" y="49"/>
                  <a:pt x="200" y="25"/>
                </a:cubicBezTo>
                <a:cubicBezTo>
                  <a:pt x="175" y="25"/>
                  <a:pt x="175" y="25"/>
                  <a:pt x="175" y="25"/>
                </a:cubicBezTo>
                <a:cubicBezTo>
                  <a:pt x="150" y="25"/>
                  <a:pt x="124" y="49"/>
                  <a:pt x="124" y="49"/>
                </a:cubicBezTo>
                <a:cubicBezTo>
                  <a:pt x="100" y="100"/>
                  <a:pt x="50" y="100"/>
                  <a:pt x="24" y="100"/>
                </a:cubicBezTo>
                <a:cubicBezTo>
                  <a:pt x="24" y="100"/>
                  <a:pt x="24" y="125"/>
                  <a:pt x="0" y="125"/>
                </a:cubicBezTo>
                <a:cubicBezTo>
                  <a:pt x="24" y="150"/>
                  <a:pt x="24" y="200"/>
                  <a:pt x="50" y="200"/>
                </a:cubicBezTo>
                <a:cubicBezTo>
                  <a:pt x="75" y="225"/>
                  <a:pt x="175" y="225"/>
                  <a:pt x="175" y="200"/>
                </a:cubicBezTo>
                <a:cubicBezTo>
                  <a:pt x="175" y="200"/>
                  <a:pt x="250" y="175"/>
                  <a:pt x="275" y="175"/>
                </a:cubicBezTo>
                <a:cubicBezTo>
                  <a:pt x="300" y="175"/>
                  <a:pt x="350" y="125"/>
                  <a:pt x="375" y="125"/>
                </a:cubicBezTo>
                <a:cubicBezTo>
                  <a:pt x="375" y="125"/>
                  <a:pt x="424" y="125"/>
                  <a:pt x="450" y="150"/>
                </a:cubicBezTo>
                <a:cubicBezTo>
                  <a:pt x="450" y="150"/>
                  <a:pt x="475" y="175"/>
                  <a:pt x="500" y="175"/>
                </a:cubicBezTo>
                <a:cubicBezTo>
                  <a:pt x="500" y="150"/>
                  <a:pt x="500" y="150"/>
                  <a:pt x="500" y="150"/>
                </a:cubicBezTo>
                <a:cubicBezTo>
                  <a:pt x="500" y="125"/>
                  <a:pt x="524" y="75"/>
                  <a:pt x="524" y="75"/>
                </a:cubicBezTo>
                <a:lnTo>
                  <a:pt x="524" y="75"/>
                </a:lnTo>
                <a:cubicBezTo>
                  <a:pt x="500" y="75"/>
                  <a:pt x="475" y="49"/>
                  <a:pt x="475" y="49"/>
                </a:cubicBezTo>
                <a:cubicBezTo>
                  <a:pt x="475" y="49"/>
                  <a:pt x="424" y="25"/>
                  <a:pt x="40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4" name="Freeform 70">
            <a:extLst>
              <a:ext uri="{FF2B5EF4-FFF2-40B4-BE49-F238E27FC236}">
                <a16:creationId xmlns:a16="http://schemas.microsoft.com/office/drawing/2014/main" id="{BF4CCE61-612C-9B4F-988D-2201DF9DA868}"/>
              </a:ext>
            </a:extLst>
          </p:cNvPr>
          <p:cNvSpPr>
            <a:spLocks noChangeArrowheads="1"/>
          </p:cNvSpPr>
          <p:nvPr/>
        </p:nvSpPr>
        <p:spPr bwMode="auto">
          <a:xfrm>
            <a:off x="5478661" y="3480697"/>
            <a:ext cx="112499" cy="184219"/>
          </a:xfrm>
          <a:custGeom>
            <a:avLst/>
            <a:gdLst>
              <a:gd name="T0" fmla="*/ 250 w 351"/>
              <a:gd name="T1" fmla="*/ 475 h 576"/>
              <a:gd name="T2" fmla="*/ 250 w 351"/>
              <a:gd name="T3" fmla="*/ 475 h 576"/>
              <a:gd name="T4" fmla="*/ 225 w 351"/>
              <a:gd name="T5" fmla="*/ 425 h 576"/>
              <a:gd name="T6" fmla="*/ 250 w 351"/>
              <a:gd name="T7" fmla="*/ 375 h 576"/>
              <a:gd name="T8" fmla="*/ 225 w 351"/>
              <a:gd name="T9" fmla="*/ 325 h 576"/>
              <a:gd name="T10" fmla="*/ 250 w 351"/>
              <a:gd name="T11" fmla="*/ 275 h 576"/>
              <a:gd name="T12" fmla="*/ 250 w 351"/>
              <a:gd name="T13" fmla="*/ 225 h 576"/>
              <a:gd name="T14" fmla="*/ 250 w 351"/>
              <a:gd name="T15" fmla="*/ 125 h 576"/>
              <a:gd name="T16" fmla="*/ 325 w 351"/>
              <a:gd name="T17" fmla="*/ 75 h 576"/>
              <a:gd name="T18" fmla="*/ 300 w 351"/>
              <a:gd name="T19" fmla="*/ 50 h 576"/>
              <a:gd name="T20" fmla="*/ 225 w 351"/>
              <a:gd name="T21" fmla="*/ 25 h 576"/>
              <a:gd name="T22" fmla="*/ 200 w 351"/>
              <a:gd name="T23" fmla="*/ 25 h 576"/>
              <a:gd name="T24" fmla="*/ 150 w 351"/>
              <a:gd name="T25" fmla="*/ 25 h 576"/>
              <a:gd name="T26" fmla="*/ 100 w 351"/>
              <a:gd name="T27" fmla="*/ 0 h 576"/>
              <a:gd name="T28" fmla="*/ 75 w 351"/>
              <a:gd name="T29" fmla="*/ 25 h 576"/>
              <a:gd name="T30" fmla="*/ 75 w 351"/>
              <a:gd name="T31" fmla="*/ 75 h 576"/>
              <a:gd name="T32" fmla="*/ 25 w 351"/>
              <a:gd name="T33" fmla="*/ 300 h 576"/>
              <a:gd name="T34" fmla="*/ 50 w 351"/>
              <a:gd name="T35" fmla="*/ 400 h 576"/>
              <a:gd name="T36" fmla="*/ 75 w 351"/>
              <a:gd name="T37" fmla="*/ 550 h 576"/>
              <a:gd name="T38" fmla="*/ 150 w 351"/>
              <a:gd name="T39" fmla="*/ 575 h 576"/>
              <a:gd name="T40" fmla="*/ 225 w 351"/>
              <a:gd name="T41" fmla="*/ 550 h 576"/>
              <a:gd name="T42" fmla="*/ 200 w 351"/>
              <a:gd name="T43" fmla="*/ 525 h 576"/>
              <a:gd name="T44" fmla="*/ 250 w 351"/>
              <a:gd name="T45"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576">
                <a:moveTo>
                  <a:pt x="250" y="475"/>
                </a:moveTo>
                <a:lnTo>
                  <a:pt x="250" y="475"/>
                </a:lnTo>
                <a:cubicBezTo>
                  <a:pt x="275" y="450"/>
                  <a:pt x="225" y="425"/>
                  <a:pt x="225" y="425"/>
                </a:cubicBezTo>
                <a:cubicBezTo>
                  <a:pt x="225" y="400"/>
                  <a:pt x="225" y="375"/>
                  <a:pt x="250" y="375"/>
                </a:cubicBezTo>
                <a:cubicBezTo>
                  <a:pt x="275" y="375"/>
                  <a:pt x="250" y="350"/>
                  <a:pt x="225" y="325"/>
                </a:cubicBezTo>
                <a:cubicBezTo>
                  <a:pt x="200" y="300"/>
                  <a:pt x="225" y="275"/>
                  <a:pt x="250" y="275"/>
                </a:cubicBezTo>
                <a:cubicBezTo>
                  <a:pt x="275" y="275"/>
                  <a:pt x="225" y="250"/>
                  <a:pt x="250" y="225"/>
                </a:cubicBezTo>
                <a:cubicBezTo>
                  <a:pt x="275" y="200"/>
                  <a:pt x="250" y="150"/>
                  <a:pt x="250" y="125"/>
                </a:cubicBezTo>
                <a:cubicBezTo>
                  <a:pt x="250" y="100"/>
                  <a:pt x="275" y="100"/>
                  <a:pt x="325" y="75"/>
                </a:cubicBezTo>
                <a:cubicBezTo>
                  <a:pt x="350" y="50"/>
                  <a:pt x="300" y="50"/>
                  <a:pt x="300" y="50"/>
                </a:cubicBezTo>
                <a:cubicBezTo>
                  <a:pt x="300" y="25"/>
                  <a:pt x="250" y="0"/>
                  <a:pt x="225" y="25"/>
                </a:cubicBezTo>
                <a:cubicBezTo>
                  <a:pt x="200" y="50"/>
                  <a:pt x="225" y="25"/>
                  <a:pt x="200" y="25"/>
                </a:cubicBezTo>
                <a:cubicBezTo>
                  <a:pt x="175" y="25"/>
                  <a:pt x="150" y="25"/>
                  <a:pt x="150" y="25"/>
                </a:cubicBezTo>
                <a:cubicBezTo>
                  <a:pt x="150" y="0"/>
                  <a:pt x="125" y="0"/>
                  <a:pt x="100" y="0"/>
                </a:cubicBezTo>
                <a:cubicBezTo>
                  <a:pt x="100" y="25"/>
                  <a:pt x="100" y="25"/>
                  <a:pt x="75" y="25"/>
                </a:cubicBezTo>
                <a:cubicBezTo>
                  <a:pt x="75" y="50"/>
                  <a:pt x="75" y="75"/>
                  <a:pt x="75" y="75"/>
                </a:cubicBezTo>
                <a:cubicBezTo>
                  <a:pt x="100" y="125"/>
                  <a:pt x="50" y="275"/>
                  <a:pt x="25" y="300"/>
                </a:cubicBezTo>
                <a:cubicBezTo>
                  <a:pt x="0" y="350"/>
                  <a:pt x="25" y="375"/>
                  <a:pt x="50" y="400"/>
                </a:cubicBezTo>
                <a:cubicBezTo>
                  <a:pt x="100" y="425"/>
                  <a:pt x="75" y="525"/>
                  <a:pt x="75" y="550"/>
                </a:cubicBezTo>
                <a:cubicBezTo>
                  <a:pt x="75" y="575"/>
                  <a:pt x="100" y="575"/>
                  <a:pt x="150" y="575"/>
                </a:cubicBezTo>
                <a:cubicBezTo>
                  <a:pt x="175" y="575"/>
                  <a:pt x="200" y="550"/>
                  <a:pt x="225" y="550"/>
                </a:cubicBezTo>
                <a:cubicBezTo>
                  <a:pt x="200" y="550"/>
                  <a:pt x="200" y="525"/>
                  <a:pt x="200" y="525"/>
                </a:cubicBezTo>
                <a:cubicBezTo>
                  <a:pt x="200" y="500"/>
                  <a:pt x="200" y="475"/>
                  <a:pt x="250" y="4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5" name="Freeform 71">
            <a:extLst>
              <a:ext uri="{FF2B5EF4-FFF2-40B4-BE49-F238E27FC236}">
                <a16:creationId xmlns:a16="http://schemas.microsoft.com/office/drawing/2014/main" id="{53680B74-F41D-544A-B29E-7C9C4AA0DEF8}"/>
              </a:ext>
            </a:extLst>
          </p:cNvPr>
          <p:cNvSpPr>
            <a:spLocks noChangeArrowheads="1"/>
          </p:cNvSpPr>
          <p:nvPr/>
        </p:nvSpPr>
        <p:spPr bwMode="auto">
          <a:xfrm>
            <a:off x="5861157" y="3041951"/>
            <a:ext cx="127968" cy="104061"/>
          </a:xfrm>
          <a:custGeom>
            <a:avLst/>
            <a:gdLst>
              <a:gd name="T0" fmla="*/ 126 w 401"/>
              <a:gd name="T1" fmla="*/ 251 h 327"/>
              <a:gd name="T2" fmla="*/ 126 w 401"/>
              <a:gd name="T3" fmla="*/ 251 h 327"/>
              <a:gd name="T4" fmla="*/ 200 w 401"/>
              <a:gd name="T5" fmla="*/ 276 h 327"/>
              <a:gd name="T6" fmla="*/ 275 w 401"/>
              <a:gd name="T7" fmla="*/ 326 h 327"/>
              <a:gd name="T8" fmla="*/ 275 w 401"/>
              <a:gd name="T9" fmla="*/ 326 h 327"/>
              <a:gd name="T10" fmla="*/ 300 w 401"/>
              <a:gd name="T11" fmla="*/ 276 h 327"/>
              <a:gd name="T12" fmla="*/ 300 w 401"/>
              <a:gd name="T13" fmla="*/ 226 h 327"/>
              <a:gd name="T14" fmla="*/ 351 w 401"/>
              <a:gd name="T15" fmla="*/ 200 h 327"/>
              <a:gd name="T16" fmla="*/ 375 w 401"/>
              <a:gd name="T17" fmla="*/ 176 h 327"/>
              <a:gd name="T18" fmla="*/ 351 w 401"/>
              <a:gd name="T19" fmla="*/ 126 h 327"/>
              <a:gd name="T20" fmla="*/ 400 w 401"/>
              <a:gd name="T21" fmla="*/ 76 h 327"/>
              <a:gd name="T22" fmla="*/ 400 w 401"/>
              <a:gd name="T23" fmla="*/ 0 h 327"/>
              <a:gd name="T24" fmla="*/ 375 w 401"/>
              <a:gd name="T25" fmla="*/ 26 h 327"/>
              <a:gd name="T26" fmla="*/ 275 w 401"/>
              <a:gd name="T27" fmla="*/ 26 h 327"/>
              <a:gd name="T28" fmla="*/ 226 w 401"/>
              <a:gd name="T29" fmla="*/ 76 h 327"/>
              <a:gd name="T30" fmla="*/ 200 w 401"/>
              <a:gd name="T31" fmla="*/ 76 h 327"/>
              <a:gd name="T32" fmla="*/ 150 w 401"/>
              <a:gd name="T33" fmla="*/ 100 h 327"/>
              <a:gd name="T34" fmla="*/ 100 w 401"/>
              <a:gd name="T35" fmla="*/ 176 h 327"/>
              <a:gd name="T36" fmla="*/ 26 w 401"/>
              <a:gd name="T37" fmla="*/ 276 h 327"/>
              <a:gd name="T38" fmla="*/ 0 w 401"/>
              <a:gd name="T39" fmla="*/ 276 h 327"/>
              <a:gd name="T40" fmla="*/ 50 w 401"/>
              <a:gd name="T41" fmla="*/ 301 h 327"/>
              <a:gd name="T42" fmla="*/ 126 w 401"/>
              <a:gd name="T43" fmla="*/ 25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1" h="327">
                <a:moveTo>
                  <a:pt x="126" y="251"/>
                </a:moveTo>
                <a:lnTo>
                  <a:pt x="126" y="251"/>
                </a:lnTo>
                <a:cubicBezTo>
                  <a:pt x="150" y="251"/>
                  <a:pt x="175" y="251"/>
                  <a:pt x="200" y="276"/>
                </a:cubicBezTo>
                <a:cubicBezTo>
                  <a:pt x="226" y="276"/>
                  <a:pt x="250" y="301"/>
                  <a:pt x="275" y="326"/>
                </a:cubicBezTo>
                <a:lnTo>
                  <a:pt x="275" y="326"/>
                </a:lnTo>
                <a:cubicBezTo>
                  <a:pt x="300" y="326"/>
                  <a:pt x="300" y="276"/>
                  <a:pt x="300" y="276"/>
                </a:cubicBezTo>
                <a:cubicBezTo>
                  <a:pt x="300" y="251"/>
                  <a:pt x="300" y="226"/>
                  <a:pt x="300" y="226"/>
                </a:cubicBezTo>
                <a:cubicBezTo>
                  <a:pt x="326" y="226"/>
                  <a:pt x="351" y="226"/>
                  <a:pt x="351" y="200"/>
                </a:cubicBezTo>
                <a:cubicBezTo>
                  <a:pt x="351" y="176"/>
                  <a:pt x="375" y="176"/>
                  <a:pt x="375" y="176"/>
                </a:cubicBezTo>
                <a:cubicBezTo>
                  <a:pt x="375" y="151"/>
                  <a:pt x="351" y="126"/>
                  <a:pt x="351" y="126"/>
                </a:cubicBezTo>
                <a:cubicBezTo>
                  <a:pt x="351" y="100"/>
                  <a:pt x="375" y="100"/>
                  <a:pt x="400" y="76"/>
                </a:cubicBezTo>
                <a:cubicBezTo>
                  <a:pt x="400" y="51"/>
                  <a:pt x="400" y="26"/>
                  <a:pt x="400" y="0"/>
                </a:cubicBezTo>
                <a:cubicBezTo>
                  <a:pt x="375" y="26"/>
                  <a:pt x="375" y="26"/>
                  <a:pt x="375" y="26"/>
                </a:cubicBezTo>
                <a:cubicBezTo>
                  <a:pt x="351" y="0"/>
                  <a:pt x="326" y="0"/>
                  <a:pt x="275" y="26"/>
                </a:cubicBezTo>
                <a:cubicBezTo>
                  <a:pt x="226" y="26"/>
                  <a:pt x="226" y="76"/>
                  <a:pt x="226" y="76"/>
                </a:cubicBezTo>
                <a:cubicBezTo>
                  <a:pt x="250" y="100"/>
                  <a:pt x="200" y="100"/>
                  <a:pt x="200" y="76"/>
                </a:cubicBezTo>
                <a:cubicBezTo>
                  <a:pt x="175" y="76"/>
                  <a:pt x="150" y="76"/>
                  <a:pt x="150" y="100"/>
                </a:cubicBezTo>
                <a:cubicBezTo>
                  <a:pt x="150" y="126"/>
                  <a:pt x="100" y="151"/>
                  <a:pt x="100" y="176"/>
                </a:cubicBezTo>
                <a:cubicBezTo>
                  <a:pt x="100" y="226"/>
                  <a:pt x="50" y="251"/>
                  <a:pt x="26" y="276"/>
                </a:cubicBezTo>
                <a:cubicBezTo>
                  <a:pt x="26" y="276"/>
                  <a:pt x="26" y="276"/>
                  <a:pt x="0" y="276"/>
                </a:cubicBezTo>
                <a:cubicBezTo>
                  <a:pt x="26" y="276"/>
                  <a:pt x="50" y="301"/>
                  <a:pt x="50" y="301"/>
                </a:cubicBezTo>
                <a:cubicBezTo>
                  <a:pt x="75" y="301"/>
                  <a:pt x="126" y="276"/>
                  <a:pt x="126" y="2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6" name="Freeform 72">
            <a:extLst>
              <a:ext uri="{FF2B5EF4-FFF2-40B4-BE49-F238E27FC236}">
                <a16:creationId xmlns:a16="http://schemas.microsoft.com/office/drawing/2014/main" id="{99ED00A4-4D33-044C-B4BA-8536026E70AC}"/>
              </a:ext>
            </a:extLst>
          </p:cNvPr>
          <p:cNvSpPr>
            <a:spLocks noChangeArrowheads="1"/>
          </p:cNvSpPr>
          <p:nvPr/>
        </p:nvSpPr>
        <p:spPr bwMode="auto">
          <a:xfrm>
            <a:off x="5941317" y="3178358"/>
            <a:ext cx="23905" cy="23905"/>
          </a:xfrm>
          <a:custGeom>
            <a:avLst/>
            <a:gdLst>
              <a:gd name="T0" fmla="*/ 50 w 77"/>
              <a:gd name="T1" fmla="*/ 0 h 77"/>
              <a:gd name="T2" fmla="*/ 50 w 77"/>
              <a:gd name="T3" fmla="*/ 0 h 77"/>
              <a:gd name="T4" fmla="*/ 0 w 77"/>
              <a:gd name="T5" fmla="*/ 76 h 77"/>
              <a:gd name="T6" fmla="*/ 76 w 77"/>
              <a:gd name="T7" fmla="*/ 76 h 77"/>
              <a:gd name="T8" fmla="*/ 50 w 77"/>
              <a:gd name="T9" fmla="*/ 0 h 77"/>
            </a:gdLst>
            <a:ahLst/>
            <a:cxnLst>
              <a:cxn ang="0">
                <a:pos x="T0" y="T1"/>
              </a:cxn>
              <a:cxn ang="0">
                <a:pos x="T2" y="T3"/>
              </a:cxn>
              <a:cxn ang="0">
                <a:pos x="T4" y="T5"/>
              </a:cxn>
              <a:cxn ang="0">
                <a:pos x="T6" y="T7"/>
              </a:cxn>
              <a:cxn ang="0">
                <a:pos x="T8" y="T9"/>
              </a:cxn>
            </a:cxnLst>
            <a:rect l="0" t="0" r="r" b="b"/>
            <a:pathLst>
              <a:path w="77" h="77">
                <a:moveTo>
                  <a:pt x="50" y="0"/>
                </a:moveTo>
                <a:lnTo>
                  <a:pt x="50" y="0"/>
                </a:lnTo>
                <a:cubicBezTo>
                  <a:pt x="25" y="0"/>
                  <a:pt x="0" y="26"/>
                  <a:pt x="0" y="76"/>
                </a:cubicBezTo>
                <a:cubicBezTo>
                  <a:pt x="25" y="76"/>
                  <a:pt x="50" y="76"/>
                  <a:pt x="76" y="76"/>
                </a:cubicBezTo>
                <a:cubicBezTo>
                  <a:pt x="76" y="26"/>
                  <a:pt x="50" y="26"/>
                  <a:pt x="5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7" name="Freeform 73">
            <a:extLst>
              <a:ext uri="{FF2B5EF4-FFF2-40B4-BE49-F238E27FC236}">
                <a16:creationId xmlns:a16="http://schemas.microsoft.com/office/drawing/2014/main" id="{5EAF0931-4D35-4847-89C2-42F4C7DD62EB}"/>
              </a:ext>
            </a:extLst>
          </p:cNvPr>
          <p:cNvSpPr>
            <a:spLocks noChangeArrowheads="1"/>
          </p:cNvSpPr>
          <p:nvPr/>
        </p:nvSpPr>
        <p:spPr bwMode="auto">
          <a:xfrm>
            <a:off x="5845689" y="3122105"/>
            <a:ext cx="119531" cy="80155"/>
          </a:xfrm>
          <a:custGeom>
            <a:avLst/>
            <a:gdLst>
              <a:gd name="T0" fmla="*/ 0 w 377"/>
              <a:gd name="T1" fmla="*/ 75 h 251"/>
              <a:gd name="T2" fmla="*/ 0 w 377"/>
              <a:gd name="T3" fmla="*/ 75 h 251"/>
              <a:gd name="T4" fmla="*/ 50 w 377"/>
              <a:gd name="T5" fmla="*/ 100 h 251"/>
              <a:gd name="T6" fmla="*/ 100 w 377"/>
              <a:gd name="T7" fmla="*/ 125 h 251"/>
              <a:gd name="T8" fmla="*/ 150 w 377"/>
              <a:gd name="T9" fmla="*/ 174 h 251"/>
              <a:gd name="T10" fmla="*/ 176 w 377"/>
              <a:gd name="T11" fmla="*/ 200 h 251"/>
              <a:gd name="T12" fmla="*/ 225 w 377"/>
              <a:gd name="T13" fmla="*/ 174 h 251"/>
              <a:gd name="T14" fmla="*/ 250 w 377"/>
              <a:gd name="T15" fmla="*/ 225 h 251"/>
              <a:gd name="T16" fmla="*/ 300 w 377"/>
              <a:gd name="T17" fmla="*/ 250 h 251"/>
              <a:gd name="T18" fmla="*/ 300 w 377"/>
              <a:gd name="T19" fmla="*/ 250 h 251"/>
              <a:gd name="T20" fmla="*/ 350 w 377"/>
              <a:gd name="T21" fmla="*/ 174 h 251"/>
              <a:gd name="T22" fmla="*/ 350 w 377"/>
              <a:gd name="T23" fmla="*/ 150 h 251"/>
              <a:gd name="T24" fmla="*/ 325 w 377"/>
              <a:gd name="T25" fmla="*/ 100 h 251"/>
              <a:gd name="T26" fmla="*/ 325 w 377"/>
              <a:gd name="T27" fmla="*/ 75 h 251"/>
              <a:gd name="T28" fmla="*/ 325 w 377"/>
              <a:gd name="T29" fmla="*/ 75 h 251"/>
              <a:gd name="T30" fmla="*/ 250 w 377"/>
              <a:gd name="T31" fmla="*/ 25 h 251"/>
              <a:gd name="T32" fmla="*/ 176 w 377"/>
              <a:gd name="T33" fmla="*/ 0 h 251"/>
              <a:gd name="T34" fmla="*/ 100 w 377"/>
              <a:gd name="T35" fmla="*/ 50 h 251"/>
              <a:gd name="T36" fmla="*/ 50 w 377"/>
              <a:gd name="T37" fmla="*/ 25 h 251"/>
              <a:gd name="T38" fmla="*/ 0 w 377"/>
              <a:gd name="T39" fmla="*/ 50 h 251"/>
              <a:gd name="T40" fmla="*/ 0 w 377"/>
              <a:gd name="T41" fmla="*/ 7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251">
                <a:moveTo>
                  <a:pt x="0" y="75"/>
                </a:moveTo>
                <a:lnTo>
                  <a:pt x="0" y="75"/>
                </a:lnTo>
                <a:cubicBezTo>
                  <a:pt x="25" y="75"/>
                  <a:pt x="25" y="125"/>
                  <a:pt x="50" y="100"/>
                </a:cubicBezTo>
                <a:cubicBezTo>
                  <a:pt x="50" y="100"/>
                  <a:pt x="76" y="125"/>
                  <a:pt x="100" y="125"/>
                </a:cubicBezTo>
                <a:cubicBezTo>
                  <a:pt x="100" y="150"/>
                  <a:pt x="150" y="150"/>
                  <a:pt x="150" y="174"/>
                </a:cubicBezTo>
                <a:cubicBezTo>
                  <a:pt x="150" y="174"/>
                  <a:pt x="150" y="200"/>
                  <a:pt x="176" y="200"/>
                </a:cubicBezTo>
                <a:cubicBezTo>
                  <a:pt x="200" y="200"/>
                  <a:pt x="225" y="174"/>
                  <a:pt x="225" y="174"/>
                </a:cubicBezTo>
                <a:cubicBezTo>
                  <a:pt x="225" y="200"/>
                  <a:pt x="225" y="225"/>
                  <a:pt x="250" y="225"/>
                </a:cubicBezTo>
                <a:cubicBezTo>
                  <a:pt x="276" y="225"/>
                  <a:pt x="276" y="250"/>
                  <a:pt x="300" y="250"/>
                </a:cubicBezTo>
                <a:lnTo>
                  <a:pt x="300" y="250"/>
                </a:lnTo>
                <a:cubicBezTo>
                  <a:pt x="300" y="200"/>
                  <a:pt x="325" y="174"/>
                  <a:pt x="350" y="174"/>
                </a:cubicBezTo>
                <a:lnTo>
                  <a:pt x="350" y="150"/>
                </a:lnTo>
                <a:cubicBezTo>
                  <a:pt x="376" y="125"/>
                  <a:pt x="325" y="100"/>
                  <a:pt x="325" y="100"/>
                </a:cubicBezTo>
                <a:cubicBezTo>
                  <a:pt x="325" y="75"/>
                  <a:pt x="325" y="75"/>
                  <a:pt x="325" y="75"/>
                </a:cubicBezTo>
                <a:lnTo>
                  <a:pt x="325" y="75"/>
                </a:lnTo>
                <a:cubicBezTo>
                  <a:pt x="300" y="50"/>
                  <a:pt x="276" y="25"/>
                  <a:pt x="250" y="25"/>
                </a:cubicBezTo>
                <a:cubicBezTo>
                  <a:pt x="225" y="0"/>
                  <a:pt x="200" y="0"/>
                  <a:pt x="176" y="0"/>
                </a:cubicBezTo>
                <a:cubicBezTo>
                  <a:pt x="176" y="25"/>
                  <a:pt x="125" y="50"/>
                  <a:pt x="100" y="50"/>
                </a:cubicBezTo>
                <a:cubicBezTo>
                  <a:pt x="100" y="50"/>
                  <a:pt x="76" y="25"/>
                  <a:pt x="50" y="25"/>
                </a:cubicBezTo>
                <a:cubicBezTo>
                  <a:pt x="50" y="50"/>
                  <a:pt x="25" y="50"/>
                  <a:pt x="0" y="50"/>
                </a:cubicBezTo>
                <a:cubicBezTo>
                  <a:pt x="0" y="50"/>
                  <a:pt x="0" y="50"/>
                  <a:pt x="0"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8" name="Freeform 74">
            <a:extLst>
              <a:ext uri="{FF2B5EF4-FFF2-40B4-BE49-F238E27FC236}">
                <a16:creationId xmlns:a16="http://schemas.microsoft.com/office/drawing/2014/main" id="{D9B8FE34-5571-E845-A24E-343841CAADB8}"/>
              </a:ext>
            </a:extLst>
          </p:cNvPr>
          <p:cNvSpPr>
            <a:spLocks noChangeArrowheads="1"/>
          </p:cNvSpPr>
          <p:nvPr/>
        </p:nvSpPr>
        <p:spPr bwMode="auto">
          <a:xfrm>
            <a:off x="6371626" y="3241637"/>
            <a:ext cx="271404" cy="184219"/>
          </a:xfrm>
          <a:custGeom>
            <a:avLst/>
            <a:gdLst>
              <a:gd name="T0" fmla="*/ 776 w 852"/>
              <a:gd name="T1" fmla="*/ 375 h 576"/>
              <a:gd name="T2" fmla="*/ 776 w 852"/>
              <a:gd name="T3" fmla="*/ 375 h 576"/>
              <a:gd name="T4" fmla="*/ 725 w 852"/>
              <a:gd name="T5" fmla="*/ 350 h 576"/>
              <a:gd name="T6" fmla="*/ 725 w 852"/>
              <a:gd name="T7" fmla="*/ 350 h 576"/>
              <a:gd name="T8" fmla="*/ 725 w 852"/>
              <a:gd name="T9" fmla="*/ 250 h 576"/>
              <a:gd name="T10" fmla="*/ 651 w 852"/>
              <a:gd name="T11" fmla="*/ 125 h 576"/>
              <a:gd name="T12" fmla="*/ 601 w 852"/>
              <a:gd name="T13" fmla="*/ 0 h 576"/>
              <a:gd name="T14" fmla="*/ 551 w 852"/>
              <a:gd name="T15" fmla="*/ 25 h 576"/>
              <a:gd name="T16" fmla="*/ 501 w 852"/>
              <a:gd name="T17" fmla="*/ 50 h 576"/>
              <a:gd name="T18" fmla="*/ 451 w 852"/>
              <a:gd name="T19" fmla="*/ 75 h 576"/>
              <a:gd name="T20" fmla="*/ 400 w 852"/>
              <a:gd name="T21" fmla="*/ 75 h 576"/>
              <a:gd name="T22" fmla="*/ 351 w 852"/>
              <a:gd name="T23" fmla="*/ 50 h 576"/>
              <a:gd name="T24" fmla="*/ 251 w 852"/>
              <a:gd name="T25" fmla="*/ 50 h 576"/>
              <a:gd name="T26" fmla="*/ 226 w 852"/>
              <a:gd name="T27" fmla="*/ 50 h 576"/>
              <a:gd name="T28" fmla="*/ 226 w 852"/>
              <a:gd name="T29" fmla="*/ 75 h 576"/>
              <a:gd name="T30" fmla="*/ 151 w 852"/>
              <a:gd name="T31" fmla="*/ 100 h 576"/>
              <a:gd name="T32" fmla="*/ 76 w 852"/>
              <a:gd name="T33" fmla="*/ 250 h 576"/>
              <a:gd name="T34" fmla="*/ 0 w 852"/>
              <a:gd name="T35" fmla="*/ 300 h 576"/>
              <a:gd name="T36" fmla="*/ 51 w 852"/>
              <a:gd name="T37" fmla="*/ 350 h 576"/>
              <a:gd name="T38" fmla="*/ 76 w 852"/>
              <a:gd name="T39" fmla="*/ 375 h 576"/>
              <a:gd name="T40" fmla="*/ 76 w 852"/>
              <a:gd name="T41" fmla="*/ 450 h 576"/>
              <a:gd name="T42" fmla="*/ 200 w 852"/>
              <a:gd name="T43" fmla="*/ 475 h 576"/>
              <a:gd name="T44" fmla="*/ 200 w 852"/>
              <a:gd name="T45" fmla="*/ 500 h 576"/>
              <a:gd name="T46" fmla="*/ 251 w 852"/>
              <a:gd name="T47" fmla="*/ 550 h 576"/>
              <a:gd name="T48" fmla="*/ 351 w 852"/>
              <a:gd name="T49" fmla="*/ 550 h 576"/>
              <a:gd name="T50" fmla="*/ 451 w 852"/>
              <a:gd name="T51" fmla="*/ 550 h 576"/>
              <a:gd name="T52" fmla="*/ 526 w 852"/>
              <a:gd name="T53" fmla="*/ 525 h 576"/>
              <a:gd name="T54" fmla="*/ 626 w 852"/>
              <a:gd name="T55" fmla="*/ 525 h 576"/>
              <a:gd name="T56" fmla="*/ 701 w 852"/>
              <a:gd name="T57" fmla="*/ 525 h 576"/>
              <a:gd name="T58" fmla="*/ 751 w 852"/>
              <a:gd name="T59" fmla="*/ 550 h 576"/>
              <a:gd name="T60" fmla="*/ 751 w 852"/>
              <a:gd name="T61" fmla="*/ 525 h 576"/>
              <a:gd name="T62" fmla="*/ 801 w 852"/>
              <a:gd name="T63" fmla="*/ 425 h 576"/>
              <a:gd name="T64" fmla="*/ 851 w 852"/>
              <a:gd name="T65" fmla="*/ 375 h 576"/>
              <a:gd name="T66" fmla="*/ 851 w 852"/>
              <a:gd name="T67" fmla="*/ 375 h 576"/>
              <a:gd name="T68" fmla="*/ 826 w 852"/>
              <a:gd name="T69" fmla="*/ 350 h 576"/>
              <a:gd name="T70" fmla="*/ 776 w 852"/>
              <a:gd name="T71" fmla="*/ 3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2" h="576">
                <a:moveTo>
                  <a:pt x="776" y="375"/>
                </a:moveTo>
                <a:lnTo>
                  <a:pt x="776" y="375"/>
                </a:lnTo>
                <a:cubicBezTo>
                  <a:pt x="751" y="375"/>
                  <a:pt x="725" y="375"/>
                  <a:pt x="725" y="350"/>
                </a:cubicBezTo>
                <a:lnTo>
                  <a:pt x="725" y="350"/>
                </a:lnTo>
                <a:cubicBezTo>
                  <a:pt x="701" y="325"/>
                  <a:pt x="701" y="275"/>
                  <a:pt x="725" y="250"/>
                </a:cubicBezTo>
                <a:cubicBezTo>
                  <a:pt x="751" y="225"/>
                  <a:pt x="676" y="150"/>
                  <a:pt x="651" y="125"/>
                </a:cubicBezTo>
                <a:cubicBezTo>
                  <a:pt x="651" y="100"/>
                  <a:pt x="626" y="50"/>
                  <a:pt x="601" y="0"/>
                </a:cubicBezTo>
                <a:cubicBezTo>
                  <a:pt x="576" y="25"/>
                  <a:pt x="551" y="25"/>
                  <a:pt x="551" y="25"/>
                </a:cubicBezTo>
                <a:cubicBezTo>
                  <a:pt x="551" y="50"/>
                  <a:pt x="526" y="50"/>
                  <a:pt x="501" y="50"/>
                </a:cubicBezTo>
                <a:cubicBezTo>
                  <a:pt x="476" y="50"/>
                  <a:pt x="476" y="50"/>
                  <a:pt x="451" y="75"/>
                </a:cubicBezTo>
                <a:cubicBezTo>
                  <a:pt x="426" y="75"/>
                  <a:pt x="426" y="75"/>
                  <a:pt x="400" y="75"/>
                </a:cubicBezTo>
                <a:cubicBezTo>
                  <a:pt x="400" y="75"/>
                  <a:pt x="376" y="50"/>
                  <a:pt x="351" y="50"/>
                </a:cubicBezTo>
                <a:cubicBezTo>
                  <a:pt x="326" y="50"/>
                  <a:pt x="276" y="50"/>
                  <a:pt x="251" y="50"/>
                </a:cubicBezTo>
                <a:lnTo>
                  <a:pt x="226" y="50"/>
                </a:lnTo>
                <a:cubicBezTo>
                  <a:pt x="226" y="50"/>
                  <a:pt x="226" y="50"/>
                  <a:pt x="226" y="75"/>
                </a:cubicBezTo>
                <a:cubicBezTo>
                  <a:pt x="200" y="75"/>
                  <a:pt x="176" y="100"/>
                  <a:pt x="151" y="100"/>
                </a:cubicBezTo>
                <a:cubicBezTo>
                  <a:pt x="151" y="125"/>
                  <a:pt x="100" y="225"/>
                  <a:pt x="76" y="250"/>
                </a:cubicBezTo>
                <a:cubicBezTo>
                  <a:pt x="26" y="275"/>
                  <a:pt x="0" y="275"/>
                  <a:pt x="0" y="300"/>
                </a:cubicBezTo>
                <a:cubicBezTo>
                  <a:pt x="0" y="300"/>
                  <a:pt x="51" y="325"/>
                  <a:pt x="51" y="350"/>
                </a:cubicBezTo>
                <a:cubicBezTo>
                  <a:pt x="51" y="375"/>
                  <a:pt x="51" y="375"/>
                  <a:pt x="76" y="375"/>
                </a:cubicBezTo>
                <a:cubicBezTo>
                  <a:pt x="100" y="375"/>
                  <a:pt x="76" y="425"/>
                  <a:pt x="76" y="450"/>
                </a:cubicBezTo>
                <a:cubicBezTo>
                  <a:pt x="100" y="450"/>
                  <a:pt x="200" y="450"/>
                  <a:pt x="200" y="475"/>
                </a:cubicBezTo>
                <a:lnTo>
                  <a:pt x="200" y="500"/>
                </a:lnTo>
                <a:cubicBezTo>
                  <a:pt x="226" y="525"/>
                  <a:pt x="251" y="550"/>
                  <a:pt x="251" y="550"/>
                </a:cubicBezTo>
                <a:cubicBezTo>
                  <a:pt x="251" y="550"/>
                  <a:pt x="326" y="550"/>
                  <a:pt x="351" y="550"/>
                </a:cubicBezTo>
                <a:cubicBezTo>
                  <a:pt x="351" y="550"/>
                  <a:pt x="426" y="550"/>
                  <a:pt x="451" y="550"/>
                </a:cubicBezTo>
                <a:cubicBezTo>
                  <a:pt x="476" y="575"/>
                  <a:pt x="501" y="550"/>
                  <a:pt x="526" y="525"/>
                </a:cubicBezTo>
                <a:cubicBezTo>
                  <a:pt x="526" y="525"/>
                  <a:pt x="601" y="500"/>
                  <a:pt x="626" y="525"/>
                </a:cubicBezTo>
                <a:cubicBezTo>
                  <a:pt x="651" y="525"/>
                  <a:pt x="701" y="525"/>
                  <a:pt x="701" y="525"/>
                </a:cubicBezTo>
                <a:cubicBezTo>
                  <a:pt x="701" y="550"/>
                  <a:pt x="725" y="550"/>
                  <a:pt x="751" y="550"/>
                </a:cubicBezTo>
                <a:lnTo>
                  <a:pt x="751" y="525"/>
                </a:lnTo>
                <a:cubicBezTo>
                  <a:pt x="751" y="475"/>
                  <a:pt x="776" y="450"/>
                  <a:pt x="801" y="425"/>
                </a:cubicBezTo>
                <a:cubicBezTo>
                  <a:pt x="826" y="425"/>
                  <a:pt x="851" y="425"/>
                  <a:pt x="851" y="375"/>
                </a:cubicBezTo>
                <a:lnTo>
                  <a:pt x="851" y="375"/>
                </a:lnTo>
                <a:lnTo>
                  <a:pt x="826" y="350"/>
                </a:lnTo>
                <a:cubicBezTo>
                  <a:pt x="801" y="350"/>
                  <a:pt x="776" y="375"/>
                  <a:pt x="776" y="3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49" name="Freeform 75">
            <a:extLst>
              <a:ext uri="{FF2B5EF4-FFF2-40B4-BE49-F238E27FC236}">
                <a16:creationId xmlns:a16="http://schemas.microsoft.com/office/drawing/2014/main" id="{FF1B8D8F-2D25-3940-A2A0-F9D63C571E88}"/>
              </a:ext>
            </a:extLst>
          </p:cNvPr>
          <p:cNvSpPr>
            <a:spLocks noChangeArrowheads="1"/>
          </p:cNvSpPr>
          <p:nvPr/>
        </p:nvSpPr>
        <p:spPr bwMode="auto">
          <a:xfrm>
            <a:off x="6562876" y="3241637"/>
            <a:ext cx="88593" cy="112499"/>
          </a:xfrm>
          <a:custGeom>
            <a:avLst/>
            <a:gdLst>
              <a:gd name="T0" fmla="*/ 200 w 276"/>
              <a:gd name="T1" fmla="*/ 75 h 351"/>
              <a:gd name="T2" fmla="*/ 200 w 276"/>
              <a:gd name="T3" fmla="*/ 75 h 351"/>
              <a:gd name="T4" fmla="*/ 150 w 276"/>
              <a:gd name="T5" fmla="*/ 25 h 351"/>
              <a:gd name="T6" fmla="*/ 75 w 276"/>
              <a:gd name="T7" fmla="*/ 0 h 351"/>
              <a:gd name="T8" fmla="*/ 0 w 276"/>
              <a:gd name="T9" fmla="*/ 0 h 351"/>
              <a:gd name="T10" fmla="*/ 50 w 276"/>
              <a:gd name="T11" fmla="*/ 125 h 351"/>
              <a:gd name="T12" fmla="*/ 124 w 276"/>
              <a:gd name="T13" fmla="*/ 250 h 351"/>
              <a:gd name="T14" fmla="*/ 124 w 276"/>
              <a:gd name="T15" fmla="*/ 350 h 351"/>
              <a:gd name="T16" fmla="*/ 175 w 276"/>
              <a:gd name="T17" fmla="*/ 275 h 351"/>
              <a:gd name="T18" fmla="*/ 225 w 276"/>
              <a:gd name="T19" fmla="*/ 225 h 351"/>
              <a:gd name="T20" fmla="*/ 275 w 276"/>
              <a:gd name="T21" fmla="*/ 250 h 351"/>
              <a:gd name="T22" fmla="*/ 275 w 276"/>
              <a:gd name="T23" fmla="*/ 175 h 351"/>
              <a:gd name="T24" fmla="*/ 200 w 276"/>
              <a:gd name="T25" fmla="*/ 75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351">
                <a:moveTo>
                  <a:pt x="200" y="75"/>
                </a:moveTo>
                <a:lnTo>
                  <a:pt x="200" y="75"/>
                </a:lnTo>
                <a:cubicBezTo>
                  <a:pt x="200" y="50"/>
                  <a:pt x="150" y="25"/>
                  <a:pt x="150" y="25"/>
                </a:cubicBezTo>
                <a:cubicBezTo>
                  <a:pt x="124" y="25"/>
                  <a:pt x="75" y="0"/>
                  <a:pt x="75" y="0"/>
                </a:cubicBezTo>
                <a:cubicBezTo>
                  <a:pt x="50" y="0"/>
                  <a:pt x="25" y="0"/>
                  <a:pt x="0" y="0"/>
                </a:cubicBezTo>
                <a:cubicBezTo>
                  <a:pt x="25" y="50"/>
                  <a:pt x="50" y="100"/>
                  <a:pt x="50" y="125"/>
                </a:cubicBezTo>
                <a:cubicBezTo>
                  <a:pt x="75" y="150"/>
                  <a:pt x="150" y="225"/>
                  <a:pt x="124" y="250"/>
                </a:cubicBezTo>
                <a:cubicBezTo>
                  <a:pt x="100" y="275"/>
                  <a:pt x="100" y="325"/>
                  <a:pt x="124" y="350"/>
                </a:cubicBezTo>
                <a:cubicBezTo>
                  <a:pt x="150" y="350"/>
                  <a:pt x="175" y="275"/>
                  <a:pt x="175" y="275"/>
                </a:cubicBezTo>
                <a:cubicBezTo>
                  <a:pt x="175" y="250"/>
                  <a:pt x="200" y="225"/>
                  <a:pt x="225" y="225"/>
                </a:cubicBezTo>
                <a:cubicBezTo>
                  <a:pt x="250" y="250"/>
                  <a:pt x="275" y="250"/>
                  <a:pt x="275" y="250"/>
                </a:cubicBezTo>
                <a:cubicBezTo>
                  <a:pt x="275" y="225"/>
                  <a:pt x="275" y="200"/>
                  <a:pt x="275" y="175"/>
                </a:cubicBezTo>
                <a:cubicBezTo>
                  <a:pt x="250" y="175"/>
                  <a:pt x="225" y="125"/>
                  <a:pt x="200"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0" name="Freeform 76">
            <a:extLst>
              <a:ext uri="{FF2B5EF4-FFF2-40B4-BE49-F238E27FC236}">
                <a16:creationId xmlns:a16="http://schemas.microsoft.com/office/drawing/2014/main" id="{77100DC0-3A9A-2F43-B056-F764FC95DD24}"/>
              </a:ext>
            </a:extLst>
          </p:cNvPr>
          <p:cNvSpPr>
            <a:spLocks noChangeArrowheads="1"/>
          </p:cNvSpPr>
          <p:nvPr/>
        </p:nvSpPr>
        <p:spPr bwMode="auto">
          <a:xfrm>
            <a:off x="6427876" y="3401948"/>
            <a:ext cx="184217" cy="104061"/>
          </a:xfrm>
          <a:custGeom>
            <a:avLst/>
            <a:gdLst>
              <a:gd name="T0" fmla="*/ 450 w 576"/>
              <a:gd name="T1" fmla="*/ 25 h 326"/>
              <a:gd name="T2" fmla="*/ 450 w 576"/>
              <a:gd name="T3" fmla="*/ 25 h 326"/>
              <a:gd name="T4" fmla="*/ 350 w 576"/>
              <a:gd name="T5" fmla="*/ 25 h 326"/>
              <a:gd name="T6" fmla="*/ 275 w 576"/>
              <a:gd name="T7" fmla="*/ 50 h 326"/>
              <a:gd name="T8" fmla="*/ 175 w 576"/>
              <a:gd name="T9" fmla="*/ 50 h 326"/>
              <a:gd name="T10" fmla="*/ 75 w 576"/>
              <a:gd name="T11" fmla="*/ 50 h 326"/>
              <a:gd name="T12" fmla="*/ 24 w 576"/>
              <a:gd name="T13" fmla="*/ 0 h 326"/>
              <a:gd name="T14" fmla="*/ 0 w 576"/>
              <a:gd name="T15" fmla="*/ 25 h 326"/>
              <a:gd name="T16" fmla="*/ 0 w 576"/>
              <a:gd name="T17" fmla="*/ 75 h 326"/>
              <a:gd name="T18" fmla="*/ 50 w 576"/>
              <a:gd name="T19" fmla="*/ 150 h 326"/>
              <a:gd name="T20" fmla="*/ 0 w 576"/>
              <a:gd name="T21" fmla="*/ 175 h 326"/>
              <a:gd name="T22" fmla="*/ 0 w 576"/>
              <a:gd name="T23" fmla="*/ 225 h 326"/>
              <a:gd name="T24" fmla="*/ 50 w 576"/>
              <a:gd name="T25" fmla="*/ 300 h 326"/>
              <a:gd name="T26" fmla="*/ 75 w 576"/>
              <a:gd name="T27" fmla="*/ 325 h 326"/>
              <a:gd name="T28" fmla="*/ 200 w 576"/>
              <a:gd name="T29" fmla="*/ 325 h 326"/>
              <a:gd name="T30" fmla="*/ 300 w 576"/>
              <a:gd name="T31" fmla="*/ 325 h 326"/>
              <a:gd name="T32" fmla="*/ 350 w 576"/>
              <a:gd name="T33" fmla="*/ 300 h 326"/>
              <a:gd name="T34" fmla="*/ 375 w 576"/>
              <a:gd name="T35" fmla="*/ 300 h 326"/>
              <a:gd name="T36" fmla="*/ 375 w 576"/>
              <a:gd name="T37" fmla="*/ 275 h 326"/>
              <a:gd name="T38" fmla="*/ 475 w 576"/>
              <a:gd name="T39" fmla="*/ 275 h 326"/>
              <a:gd name="T40" fmla="*/ 525 w 576"/>
              <a:gd name="T41" fmla="*/ 250 h 326"/>
              <a:gd name="T42" fmla="*/ 500 w 576"/>
              <a:gd name="T43" fmla="*/ 225 h 326"/>
              <a:gd name="T44" fmla="*/ 500 w 576"/>
              <a:gd name="T45" fmla="*/ 175 h 326"/>
              <a:gd name="T46" fmla="*/ 575 w 576"/>
              <a:gd name="T47" fmla="*/ 75 h 326"/>
              <a:gd name="T48" fmla="*/ 575 w 576"/>
              <a:gd name="T49" fmla="*/ 50 h 326"/>
              <a:gd name="T50" fmla="*/ 525 w 576"/>
              <a:gd name="T51" fmla="*/ 25 h 326"/>
              <a:gd name="T52" fmla="*/ 450 w 576"/>
              <a:gd name="T53"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326">
                <a:moveTo>
                  <a:pt x="450" y="25"/>
                </a:moveTo>
                <a:lnTo>
                  <a:pt x="450" y="25"/>
                </a:lnTo>
                <a:cubicBezTo>
                  <a:pt x="425" y="0"/>
                  <a:pt x="350" y="25"/>
                  <a:pt x="350" y="25"/>
                </a:cubicBezTo>
                <a:cubicBezTo>
                  <a:pt x="325" y="50"/>
                  <a:pt x="300" y="75"/>
                  <a:pt x="275" y="50"/>
                </a:cubicBezTo>
                <a:cubicBezTo>
                  <a:pt x="250" y="50"/>
                  <a:pt x="175" y="50"/>
                  <a:pt x="175" y="50"/>
                </a:cubicBezTo>
                <a:cubicBezTo>
                  <a:pt x="150" y="50"/>
                  <a:pt x="75" y="50"/>
                  <a:pt x="75" y="50"/>
                </a:cubicBezTo>
                <a:cubicBezTo>
                  <a:pt x="75" y="50"/>
                  <a:pt x="50" y="25"/>
                  <a:pt x="24" y="0"/>
                </a:cubicBezTo>
                <a:cubicBezTo>
                  <a:pt x="24" y="25"/>
                  <a:pt x="24" y="25"/>
                  <a:pt x="0" y="25"/>
                </a:cubicBezTo>
                <a:lnTo>
                  <a:pt x="0" y="75"/>
                </a:lnTo>
                <a:cubicBezTo>
                  <a:pt x="24" y="100"/>
                  <a:pt x="50" y="150"/>
                  <a:pt x="50" y="150"/>
                </a:cubicBezTo>
                <a:cubicBezTo>
                  <a:pt x="24" y="150"/>
                  <a:pt x="0" y="175"/>
                  <a:pt x="0" y="175"/>
                </a:cubicBezTo>
                <a:cubicBezTo>
                  <a:pt x="0" y="200"/>
                  <a:pt x="0" y="225"/>
                  <a:pt x="0" y="225"/>
                </a:cubicBezTo>
                <a:cubicBezTo>
                  <a:pt x="24" y="225"/>
                  <a:pt x="50" y="275"/>
                  <a:pt x="50" y="300"/>
                </a:cubicBezTo>
                <a:cubicBezTo>
                  <a:pt x="75" y="300"/>
                  <a:pt x="75" y="300"/>
                  <a:pt x="75" y="325"/>
                </a:cubicBezTo>
                <a:cubicBezTo>
                  <a:pt x="124" y="300"/>
                  <a:pt x="200" y="300"/>
                  <a:pt x="200" y="325"/>
                </a:cubicBezTo>
                <a:cubicBezTo>
                  <a:pt x="224" y="325"/>
                  <a:pt x="300" y="325"/>
                  <a:pt x="300" y="325"/>
                </a:cubicBezTo>
                <a:cubicBezTo>
                  <a:pt x="325" y="325"/>
                  <a:pt x="350" y="325"/>
                  <a:pt x="350" y="300"/>
                </a:cubicBezTo>
                <a:lnTo>
                  <a:pt x="375" y="300"/>
                </a:lnTo>
                <a:cubicBezTo>
                  <a:pt x="375" y="275"/>
                  <a:pt x="375" y="275"/>
                  <a:pt x="375" y="275"/>
                </a:cubicBezTo>
                <a:cubicBezTo>
                  <a:pt x="400" y="250"/>
                  <a:pt x="450" y="250"/>
                  <a:pt x="475" y="275"/>
                </a:cubicBezTo>
                <a:cubicBezTo>
                  <a:pt x="500" y="275"/>
                  <a:pt x="500" y="275"/>
                  <a:pt x="525" y="250"/>
                </a:cubicBezTo>
                <a:cubicBezTo>
                  <a:pt x="525" y="250"/>
                  <a:pt x="525" y="225"/>
                  <a:pt x="500" y="225"/>
                </a:cubicBezTo>
                <a:cubicBezTo>
                  <a:pt x="500" y="225"/>
                  <a:pt x="475" y="175"/>
                  <a:pt x="500" y="175"/>
                </a:cubicBezTo>
                <a:cubicBezTo>
                  <a:pt x="500" y="150"/>
                  <a:pt x="525" y="100"/>
                  <a:pt x="575" y="75"/>
                </a:cubicBezTo>
                <a:cubicBezTo>
                  <a:pt x="575" y="75"/>
                  <a:pt x="575" y="75"/>
                  <a:pt x="575" y="50"/>
                </a:cubicBezTo>
                <a:cubicBezTo>
                  <a:pt x="549" y="50"/>
                  <a:pt x="525" y="50"/>
                  <a:pt x="525" y="25"/>
                </a:cubicBezTo>
                <a:cubicBezTo>
                  <a:pt x="525" y="25"/>
                  <a:pt x="475" y="25"/>
                  <a:pt x="4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1" name="Freeform 77">
            <a:extLst>
              <a:ext uri="{FF2B5EF4-FFF2-40B4-BE49-F238E27FC236}">
                <a16:creationId xmlns:a16="http://schemas.microsoft.com/office/drawing/2014/main" id="{453086CF-FF0D-3E43-8008-B88C76DDAB71}"/>
              </a:ext>
            </a:extLst>
          </p:cNvPr>
          <p:cNvSpPr>
            <a:spLocks noChangeArrowheads="1"/>
          </p:cNvSpPr>
          <p:nvPr/>
        </p:nvSpPr>
        <p:spPr bwMode="auto">
          <a:xfrm>
            <a:off x="6371625" y="3465230"/>
            <a:ext cx="80155" cy="64687"/>
          </a:xfrm>
          <a:custGeom>
            <a:avLst/>
            <a:gdLst>
              <a:gd name="T0" fmla="*/ 51 w 252"/>
              <a:gd name="T1" fmla="*/ 200 h 201"/>
              <a:gd name="T2" fmla="*/ 51 w 252"/>
              <a:gd name="T3" fmla="*/ 200 h 201"/>
              <a:gd name="T4" fmla="*/ 51 w 252"/>
              <a:gd name="T5" fmla="*/ 200 h 201"/>
              <a:gd name="T6" fmla="*/ 76 w 252"/>
              <a:gd name="T7" fmla="*/ 200 h 201"/>
              <a:gd name="T8" fmla="*/ 76 w 252"/>
              <a:gd name="T9" fmla="*/ 200 h 201"/>
              <a:gd name="T10" fmla="*/ 76 w 252"/>
              <a:gd name="T11" fmla="*/ 200 h 201"/>
              <a:gd name="T12" fmla="*/ 76 w 252"/>
              <a:gd name="T13" fmla="*/ 200 h 201"/>
              <a:gd name="T14" fmla="*/ 100 w 252"/>
              <a:gd name="T15" fmla="*/ 200 h 201"/>
              <a:gd name="T16" fmla="*/ 100 w 252"/>
              <a:gd name="T17" fmla="*/ 200 h 201"/>
              <a:gd name="T18" fmla="*/ 100 w 252"/>
              <a:gd name="T19" fmla="*/ 175 h 201"/>
              <a:gd name="T20" fmla="*/ 126 w 252"/>
              <a:gd name="T21" fmla="*/ 175 h 201"/>
              <a:gd name="T22" fmla="*/ 126 w 252"/>
              <a:gd name="T23" fmla="*/ 175 h 201"/>
              <a:gd name="T24" fmla="*/ 176 w 252"/>
              <a:gd name="T25" fmla="*/ 150 h 201"/>
              <a:gd name="T26" fmla="*/ 251 w 252"/>
              <a:gd name="T27" fmla="*/ 125 h 201"/>
              <a:gd name="T28" fmla="*/ 251 w 252"/>
              <a:gd name="T29" fmla="*/ 125 h 201"/>
              <a:gd name="T30" fmla="*/ 226 w 252"/>
              <a:gd name="T31" fmla="*/ 100 h 201"/>
              <a:gd name="T32" fmla="*/ 176 w 252"/>
              <a:gd name="T33" fmla="*/ 25 h 201"/>
              <a:gd name="T34" fmla="*/ 176 w 252"/>
              <a:gd name="T35" fmla="*/ 25 h 201"/>
              <a:gd name="T36" fmla="*/ 176 w 252"/>
              <a:gd name="T37" fmla="*/ 25 h 201"/>
              <a:gd name="T38" fmla="*/ 176 w 252"/>
              <a:gd name="T39" fmla="*/ 0 h 201"/>
              <a:gd name="T40" fmla="*/ 26 w 252"/>
              <a:gd name="T41" fmla="*/ 50 h 201"/>
              <a:gd name="T42" fmla="*/ 26 w 252"/>
              <a:gd name="T43" fmla="*/ 25 h 201"/>
              <a:gd name="T44" fmla="*/ 0 w 252"/>
              <a:gd name="T45" fmla="*/ 125 h 201"/>
              <a:gd name="T46" fmla="*/ 51 w 252"/>
              <a:gd name="T47" fmla="*/ 2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2" h="201">
                <a:moveTo>
                  <a:pt x="51" y="200"/>
                </a:moveTo>
                <a:lnTo>
                  <a:pt x="51" y="200"/>
                </a:lnTo>
                <a:lnTo>
                  <a:pt x="51" y="200"/>
                </a:lnTo>
                <a:cubicBezTo>
                  <a:pt x="51" y="200"/>
                  <a:pt x="51" y="200"/>
                  <a:pt x="76" y="200"/>
                </a:cubicBezTo>
                <a:lnTo>
                  <a:pt x="76" y="200"/>
                </a:lnTo>
                <a:lnTo>
                  <a:pt x="76" y="200"/>
                </a:lnTo>
                <a:lnTo>
                  <a:pt x="76" y="200"/>
                </a:lnTo>
                <a:lnTo>
                  <a:pt x="100" y="200"/>
                </a:lnTo>
                <a:lnTo>
                  <a:pt x="100" y="200"/>
                </a:lnTo>
                <a:cubicBezTo>
                  <a:pt x="100" y="200"/>
                  <a:pt x="100" y="200"/>
                  <a:pt x="100" y="175"/>
                </a:cubicBezTo>
                <a:cubicBezTo>
                  <a:pt x="100" y="175"/>
                  <a:pt x="100" y="175"/>
                  <a:pt x="126" y="175"/>
                </a:cubicBezTo>
                <a:lnTo>
                  <a:pt x="126" y="175"/>
                </a:lnTo>
                <a:cubicBezTo>
                  <a:pt x="151" y="175"/>
                  <a:pt x="151" y="150"/>
                  <a:pt x="176" y="150"/>
                </a:cubicBezTo>
                <a:cubicBezTo>
                  <a:pt x="176" y="175"/>
                  <a:pt x="251" y="125"/>
                  <a:pt x="251" y="125"/>
                </a:cubicBezTo>
                <a:lnTo>
                  <a:pt x="251" y="125"/>
                </a:lnTo>
                <a:cubicBezTo>
                  <a:pt x="251" y="100"/>
                  <a:pt x="251" y="100"/>
                  <a:pt x="226" y="100"/>
                </a:cubicBezTo>
                <a:cubicBezTo>
                  <a:pt x="226" y="75"/>
                  <a:pt x="200" y="25"/>
                  <a:pt x="176" y="25"/>
                </a:cubicBezTo>
                <a:lnTo>
                  <a:pt x="176" y="25"/>
                </a:lnTo>
                <a:lnTo>
                  <a:pt x="176" y="25"/>
                </a:lnTo>
                <a:cubicBezTo>
                  <a:pt x="176" y="25"/>
                  <a:pt x="176" y="25"/>
                  <a:pt x="176" y="0"/>
                </a:cubicBezTo>
                <a:cubicBezTo>
                  <a:pt x="126" y="25"/>
                  <a:pt x="26" y="50"/>
                  <a:pt x="26" y="50"/>
                </a:cubicBezTo>
                <a:cubicBezTo>
                  <a:pt x="26" y="50"/>
                  <a:pt x="26" y="50"/>
                  <a:pt x="26" y="25"/>
                </a:cubicBezTo>
                <a:cubicBezTo>
                  <a:pt x="0" y="75"/>
                  <a:pt x="0" y="100"/>
                  <a:pt x="0" y="125"/>
                </a:cubicBezTo>
                <a:cubicBezTo>
                  <a:pt x="0" y="150"/>
                  <a:pt x="26" y="175"/>
                  <a:pt x="51"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2" name="Freeform 78">
            <a:extLst>
              <a:ext uri="{FF2B5EF4-FFF2-40B4-BE49-F238E27FC236}">
                <a16:creationId xmlns:a16="http://schemas.microsoft.com/office/drawing/2014/main" id="{EADFB044-FC1D-A04C-83AF-8E1570A96ECA}"/>
              </a:ext>
            </a:extLst>
          </p:cNvPr>
          <p:cNvSpPr>
            <a:spLocks noChangeArrowheads="1"/>
          </p:cNvSpPr>
          <p:nvPr/>
        </p:nvSpPr>
        <p:spPr bwMode="auto">
          <a:xfrm>
            <a:off x="6427875" y="3082732"/>
            <a:ext cx="534372" cy="310779"/>
          </a:xfrm>
          <a:custGeom>
            <a:avLst/>
            <a:gdLst>
              <a:gd name="T0" fmla="*/ 1475 w 1676"/>
              <a:gd name="T1" fmla="*/ 625 h 976"/>
              <a:gd name="T2" fmla="*/ 1625 w 1676"/>
              <a:gd name="T3" fmla="*/ 575 h 976"/>
              <a:gd name="T4" fmla="*/ 1625 w 1676"/>
              <a:gd name="T5" fmla="*/ 475 h 976"/>
              <a:gd name="T6" fmla="*/ 1625 w 1676"/>
              <a:gd name="T7" fmla="*/ 425 h 976"/>
              <a:gd name="T8" fmla="*/ 1600 w 1676"/>
              <a:gd name="T9" fmla="*/ 350 h 976"/>
              <a:gd name="T10" fmla="*/ 1450 w 1676"/>
              <a:gd name="T11" fmla="*/ 325 h 976"/>
              <a:gd name="T12" fmla="*/ 1350 w 1676"/>
              <a:gd name="T13" fmla="*/ 275 h 976"/>
              <a:gd name="T14" fmla="*/ 1275 w 1676"/>
              <a:gd name="T15" fmla="*/ 250 h 976"/>
              <a:gd name="T16" fmla="*/ 1200 w 1676"/>
              <a:gd name="T17" fmla="*/ 175 h 976"/>
              <a:gd name="T18" fmla="*/ 1100 w 1676"/>
              <a:gd name="T19" fmla="*/ 100 h 976"/>
              <a:gd name="T20" fmla="*/ 1000 w 1676"/>
              <a:gd name="T21" fmla="*/ 25 h 976"/>
              <a:gd name="T22" fmla="*/ 900 w 1676"/>
              <a:gd name="T23" fmla="*/ 50 h 976"/>
              <a:gd name="T24" fmla="*/ 825 w 1676"/>
              <a:gd name="T25" fmla="*/ 50 h 976"/>
              <a:gd name="T26" fmla="*/ 749 w 1676"/>
              <a:gd name="T27" fmla="*/ 125 h 976"/>
              <a:gd name="T28" fmla="*/ 600 w 1676"/>
              <a:gd name="T29" fmla="*/ 100 h 976"/>
              <a:gd name="T30" fmla="*/ 475 w 1676"/>
              <a:gd name="T31" fmla="*/ 100 h 976"/>
              <a:gd name="T32" fmla="*/ 224 w 1676"/>
              <a:gd name="T33" fmla="*/ 74 h 976"/>
              <a:gd name="T34" fmla="*/ 124 w 1676"/>
              <a:gd name="T35" fmla="*/ 100 h 976"/>
              <a:gd name="T36" fmla="*/ 150 w 1676"/>
              <a:gd name="T37" fmla="*/ 225 h 976"/>
              <a:gd name="T38" fmla="*/ 24 w 1676"/>
              <a:gd name="T39" fmla="*/ 350 h 976"/>
              <a:gd name="T40" fmla="*/ 0 w 1676"/>
              <a:gd name="T41" fmla="*/ 500 h 976"/>
              <a:gd name="T42" fmla="*/ 50 w 1676"/>
              <a:gd name="T43" fmla="*/ 550 h 976"/>
              <a:gd name="T44" fmla="*/ 175 w 1676"/>
              <a:gd name="T45" fmla="*/ 550 h 976"/>
              <a:gd name="T46" fmla="*/ 275 w 1676"/>
              <a:gd name="T47" fmla="*/ 575 h 976"/>
              <a:gd name="T48" fmla="*/ 375 w 1676"/>
              <a:gd name="T49" fmla="*/ 525 h 976"/>
              <a:gd name="T50" fmla="*/ 575 w 1676"/>
              <a:gd name="T51" fmla="*/ 525 h 976"/>
              <a:gd name="T52" fmla="*/ 700 w 1676"/>
              <a:gd name="T53" fmla="*/ 675 h 976"/>
              <a:gd name="T54" fmla="*/ 650 w 1676"/>
              <a:gd name="T55" fmla="*/ 725 h 976"/>
              <a:gd name="T56" fmla="*/ 549 w 1676"/>
              <a:gd name="T57" fmla="*/ 850 h 976"/>
              <a:gd name="T58" fmla="*/ 650 w 1676"/>
              <a:gd name="T59" fmla="*/ 850 h 976"/>
              <a:gd name="T60" fmla="*/ 725 w 1676"/>
              <a:gd name="T61" fmla="*/ 800 h 976"/>
              <a:gd name="T62" fmla="*/ 900 w 1676"/>
              <a:gd name="T63" fmla="*/ 700 h 976"/>
              <a:gd name="T64" fmla="*/ 1075 w 1676"/>
              <a:gd name="T65" fmla="*/ 775 h 976"/>
              <a:gd name="T66" fmla="*/ 1050 w 1676"/>
              <a:gd name="T67" fmla="*/ 900 h 976"/>
              <a:gd name="T68" fmla="*/ 1125 w 1676"/>
              <a:gd name="T69" fmla="*/ 950 h 976"/>
              <a:gd name="T70" fmla="*/ 1325 w 1676"/>
              <a:gd name="T71" fmla="*/ 900 h 976"/>
              <a:gd name="T72" fmla="*/ 1175 w 1676"/>
              <a:gd name="T73" fmla="*/ 800 h 976"/>
              <a:gd name="T74" fmla="*/ 1400 w 1676"/>
              <a:gd name="T75" fmla="*/ 675 h 976"/>
              <a:gd name="T76" fmla="*/ 1475 w 1676"/>
              <a:gd name="T77" fmla="*/ 625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76" h="976">
                <a:moveTo>
                  <a:pt x="1475" y="625"/>
                </a:moveTo>
                <a:lnTo>
                  <a:pt x="1475" y="625"/>
                </a:lnTo>
                <a:cubicBezTo>
                  <a:pt x="1500" y="625"/>
                  <a:pt x="1550" y="575"/>
                  <a:pt x="1550" y="575"/>
                </a:cubicBezTo>
                <a:cubicBezTo>
                  <a:pt x="1575" y="575"/>
                  <a:pt x="1625" y="575"/>
                  <a:pt x="1625" y="575"/>
                </a:cubicBezTo>
                <a:cubicBezTo>
                  <a:pt x="1625" y="550"/>
                  <a:pt x="1650" y="525"/>
                  <a:pt x="1650" y="500"/>
                </a:cubicBezTo>
                <a:lnTo>
                  <a:pt x="1625" y="475"/>
                </a:lnTo>
                <a:cubicBezTo>
                  <a:pt x="1625" y="475"/>
                  <a:pt x="1650" y="475"/>
                  <a:pt x="1650" y="450"/>
                </a:cubicBezTo>
                <a:lnTo>
                  <a:pt x="1625" y="425"/>
                </a:lnTo>
                <a:cubicBezTo>
                  <a:pt x="1625" y="425"/>
                  <a:pt x="1675" y="399"/>
                  <a:pt x="1675" y="375"/>
                </a:cubicBezTo>
                <a:cubicBezTo>
                  <a:pt x="1650" y="375"/>
                  <a:pt x="1625" y="375"/>
                  <a:pt x="1600" y="350"/>
                </a:cubicBezTo>
                <a:cubicBezTo>
                  <a:pt x="1575" y="350"/>
                  <a:pt x="1550" y="350"/>
                  <a:pt x="1525" y="325"/>
                </a:cubicBezTo>
                <a:cubicBezTo>
                  <a:pt x="1500" y="325"/>
                  <a:pt x="1450" y="325"/>
                  <a:pt x="1450" y="325"/>
                </a:cubicBezTo>
                <a:cubicBezTo>
                  <a:pt x="1450" y="299"/>
                  <a:pt x="1425" y="275"/>
                  <a:pt x="1400" y="275"/>
                </a:cubicBezTo>
                <a:cubicBezTo>
                  <a:pt x="1400" y="250"/>
                  <a:pt x="1375" y="275"/>
                  <a:pt x="1350" y="275"/>
                </a:cubicBezTo>
                <a:cubicBezTo>
                  <a:pt x="1350" y="275"/>
                  <a:pt x="1325" y="299"/>
                  <a:pt x="1300" y="275"/>
                </a:cubicBezTo>
                <a:lnTo>
                  <a:pt x="1275" y="250"/>
                </a:lnTo>
                <a:cubicBezTo>
                  <a:pt x="1250" y="275"/>
                  <a:pt x="1225" y="250"/>
                  <a:pt x="1225" y="250"/>
                </a:cubicBezTo>
                <a:cubicBezTo>
                  <a:pt x="1225" y="225"/>
                  <a:pt x="1200" y="175"/>
                  <a:pt x="1200" y="175"/>
                </a:cubicBezTo>
                <a:cubicBezTo>
                  <a:pt x="1175" y="150"/>
                  <a:pt x="1125" y="175"/>
                  <a:pt x="1125" y="150"/>
                </a:cubicBezTo>
                <a:cubicBezTo>
                  <a:pt x="1100" y="125"/>
                  <a:pt x="1100" y="100"/>
                  <a:pt x="1100" y="100"/>
                </a:cubicBezTo>
                <a:cubicBezTo>
                  <a:pt x="1100" y="74"/>
                  <a:pt x="1100" y="50"/>
                  <a:pt x="1075" y="25"/>
                </a:cubicBezTo>
                <a:cubicBezTo>
                  <a:pt x="1075" y="0"/>
                  <a:pt x="1025" y="0"/>
                  <a:pt x="1000" y="25"/>
                </a:cubicBezTo>
                <a:cubicBezTo>
                  <a:pt x="1000" y="25"/>
                  <a:pt x="950" y="0"/>
                  <a:pt x="950" y="25"/>
                </a:cubicBezTo>
                <a:cubicBezTo>
                  <a:pt x="925" y="25"/>
                  <a:pt x="925" y="50"/>
                  <a:pt x="900" y="50"/>
                </a:cubicBezTo>
                <a:cubicBezTo>
                  <a:pt x="900" y="50"/>
                  <a:pt x="875" y="50"/>
                  <a:pt x="875" y="25"/>
                </a:cubicBezTo>
                <a:cubicBezTo>
                  <a:pt x="850" y="50"/>
                  <a:pt x="825" y="50"/>
                  <a:pt x="825" y="50"/>
                </a:cubicBezTo>
                <a:lnTo>
                  <a:pt x="749" y="100"/>
                </a:lnTo>
                <a:cubicBezTo>
                  <a:pt x="749" y="125"/>
                  <a:pt x="749" y="150"/>
                  <a:pt x="749" y="125"/>
                </a:cubicBezTo>
                <a:cubicBezTo>
                  <a:pt x="725" y="125"/>
                  <a:pt x="675" y="125"/>
                  <a:pt x="650" y="125"/>
                </a:cubicBezTo>
                <a:cubicBezTo>
                  <a:pt x="650" y="150"/>
                  <a:pt x="625" y="100"/>
                  <a:pt x="600" y="100"/>
                </a:cubicBezTo>
                <a:cubicBezTo>
                  <a:pt x="575" y="125"/>
                  <a:pt x="549" y="100"/>
                  <a:pt x="525" y="100"/>
                </a:cubicBezTo>
                <a:cubicBezTo>
                  <a:pt x="525" y="125"/>
                  <a:pt x="500" y="100"/>
                  <a:pt x="475" y="100"/>
                </a:cubicBezTo>
                <a:cubicBezTo>
                  <a:pt x="450" y="74"/>
                  <a:pt x="400" y="100"/>
                  <a:pt x="375" y="74"/>
                </a:cubicBezTo>
                <a:cubicBezTo>
                  <a:pt x="375" y="74"/>
                  <a:pt x="250" y="74"/>
                  <a:pt x="224" y="74"/>
                </a:cubicBezTo>
                <a:cubicBezTo>
                  <a:pt x="200" y="74"/>
                  <a:pt x="175" y="74"/>
                  <a:pt x="175" y="100"/>
                </a:cubicBezTo>
                <a:cubicBezTo>
                  <a:pt x="150" y="125"/>
                  <a:pt x="124" y="100"/>
                  <a:pt x="124" y="100"/>
                </a:cubicBezTo>
                <a:cubicBezTo>
                  <a:pt x="124" y="125"/>
                  <a:pt x="124" y="125"/>
                  <a:pt x="124" y="150"/>
                </a:cubicBezTo>
                <a:cubicBezTo>
                  <a:pt x="124" y="150"/>
                  <a:pt x="175" y="225"/>
                  <a:pt x="150" y="225"/>
                </a:cubicBezTo>
                <a:cubicBezTo>
                  <a:pt x="150" y="250"/>
                  <a:pt x="124" y="250"/>
                  <a:pt x="124" y="275"/>
                </a:cubicBezTo>
                <a:cubicBezTo>
                  <a:pt x="100" y="275"/>
                  <a:pt x="24" y="350"/>
                  <a:pt x="24" y="350"/>
                </a:cubicBezTo>
                <a:cubicBezTo>
                  <a:pt x="24" y="375"/>
                  <a:pt x="50" y="425"/>
                  <a:pt x="24" y="425"/>
                </a:cubicBezTo>
                <a:cubicBezTo>
                  <a:pt x="24" y="425"/>
                  <a:pt x="0" y="475"/>
                  <a:pt x="0" y="500"/>
                </a:cubicBezTo>
                <a:lnTo>
                  <a:pt x="24" y="525"/>
                </a:lnTo>
                <a:cubicBezTo>
                  <a:pt x="50" y="550"/>
                  <a:pt x="50" y="550"/>
                  <a:pt x="50" y="550"/>
                </a:cubicBezTo>
                <a:lnTo>
                  <a:pt x="75" y="550"/>
                </a:lnTo>
                <a:cubicBezTo>
                  <a:pt x="100" y="550"/>
                  <a:pt x="150" y="550"/>
                  <a:pt x="175" y="550"/>
                </a:cubicBezTo>
                <a:cubicBezTo>
                  <a:pt x="200" y="550"/>
                  <a:pt x="224" y="575"/>
                  <a:pt x="224" y="575"/>
                </a:cubicBezTo>
                <a:cubicBezTo>
                  <a:pt x="250" y="575"/>
                  <a:pt x="250" y="575"/>
                  <a:pt x="275" y="575"/>
                </a:cubicBezTo>
                <a:cubicBezTo>
                  <a:pt x="300" y="550"/>
                  <a:pt x="300" y="550"/>
                  <a:pt x="325" y="550"/>
                </a:cubicBezTo>
                <a:cubicBezTo>
                  <a:pt x="350" y="550"/>
                  <a:pt x="375" y="550"/>
                  <a:pt x="375" y="525"/>
                </a:cubicBezTo>
                <a:cubicBezTo>
                  <a:pt x="375" y="525"/>
                  <a:pt x="475" y="500"/>
                  <a:pt x="500" y="500"/>
                </a:cubicBezTo>
                <a:cubicBezTo>
                  <a:pt x="500" y="500"/>
                  <a:pt x="549" y="525"/>
                  <a:pt x="575" y="525"/>
                </a:cubicBezTo>
                <a:cubicBezTo>
                  <a:pt x="575" y="525"/>
                  <a:pt x="625" y="550"/>
                  <a:pt x="625" y="575"/>
                </a:cubicBezTo>
                <a:cubicBezTo>
                  <a:pt x="650" y="625"/>
                  <a:pt x="675" y="675"/>
                  <a:pt x="700" y="675"/>
                </a:cubicBezTo>
                <a:cubicBezTo>
                  <a:pt x="700" y="700"/>
                  <a:pt x="700" y="725"/>
                  <a:pt x="700" y="750"/>
                </a:cubicBezTo>
                <a:cubicBezTo>
                  <a:pt x="700" y="750"/>
                  <a:pt x="675" y="750"/>
                  <a:pt x="650" y="725"/>
                </a:cubicBezTo>
                <a:cubicBezTo>
                  <a:pt x="625" y="725"/>
                  <a:pt x="600" y="750"/>
                  <a:pt x="600" y="775"/>
                </a:cubicBezTo>
                <a:cubicBezTo>
                  <a:pt x="600" y="800"/>
                  <a:pt x="575" y="850"/>
                  <a:pt x="549" y="850"/>
                </a:cubicBezTo>
                <a:cubicBezTo>
                  <a:pt x="549" y="875"/>
                  <a:pt x="575" y="875"/>
                  <a:pt x="600" y="875"/>
                </a:cubicBezTo>
                <a:cubicBezTo>
                  <a:pt x="600" y="875"/>
                  <a:pt x="625" y="850"/>
                  <a:pt x="650" y="850"/>
                </a:cubicBezTo>
                <a:lnTo>
                  <a:pt x="675" y="875"/>
                </a:lnTo>
                <a:cubicBezTo>
                  <a:pt x="675" y="825"/>
                  <a:pt x="675" y="850"/>
                  <a:pt x="725" y="800"/>
                </a:cubicBezTo>
                <a:cubicBezTo>
                  <a:pt x="775" y="775"/>
                  <a:pt x="775" y="725"/>
                  <a:pt x="800" y="725"/>
                </a:cubicBezTo>
                <a:cubicBezTo>
                  <a:pt x="850" y="700"/>
                  <a:pt x="850" y="700"/>
                  <a:pt x="900" y="700"/>
                </a:cubicBezTo>
                <a:cubicBezTo>
                  <a:pt x="950" y="700"/>
                  <a:pt x="875" y="750"/>
                  <a:pt x="925" y="750"/>
                </a:cubicBezTo>
                <a:cubicBezTo>
                  <a:pt x="950" y="775"/>
                  <a:pt x="1075" y="750"/>
                  <a:pt x="1075" y="775"/>
                </a:cubicBezTo>
                <a:cubicBezTo>
                  <a:pt x="1075" y="800"/>
                  <a:pt x="950" y="850"/>
                  <a:pt x="950" y="850"/>
                </a:cubicBezTo>
                <a:cubicBezTo>
                  <a:pt x="950" y="875"/>
                  <a:pt x="1025" y="875"/>
                  <a:pt x="1050" y="900"/>
                </a:cubicBezTo>
                <a:cubicBezTo>
                  <a:pt x="1075" y="900"/>
                  <a:pt x="1025" y="950"/>
                  <a:pt x="1050" y="975"/>
                </a:cubicBezTo>
                <a:cubicBezTo>
                  <a:pt x="1050" y="975"/>
                  <a:pt x="1100" y="975"/>
                  <a:pt x="1125" y="950"/>
                </a:cubicBezTo>
                <a:cubicBezTo>
                  <a:pt x="1150" y="925"/>
                  <a:pt x="1175" y="925"/>
                  <a:pt x="1200" y="900"/>
                </a:cubicBezTo>
                <a:cubicBezTo>
                  <a:pt x="1250" y="875"/>
                  <a:pt x="1325" y="900"/>
                  <a:pt x="1325" y="900"/>
                </a:cubicBezTo>
                <a:cubicBezTo>
                  <a:pt x="1350" y="875"/>
                  <a:pt x="1325" y="875"/>
                  <a:pt x="1250" y="875"/>
                </a:cubicBezTo>
                <a:cubicBezTo>
                  <a:pt x="1175" y="875"/>
                  <a:pt x="1175" y="800"/>
                  <a:pt x="1175" y="800"/>
                </a:cubicBezTo>
                <a:cubicBezTo>
                  <a:pt x="1175" y="775"/>
                  <a:pt x="1250" y="725"/>
                  <a:pt x="1275" y="725"/>
                </a:cubicBezTo>
                <a:cubicBezTo>
                  <a:pt x="1325" y="725"/>
                  <a:pt x="1350" y="700"/>
                  <a:pt x="1400" y="675"/>
                </a:cubicBezTo>
                <a:cubicBezTo>
                  <a:pt x="1425" y="675"/>
                  <a:pt x="1450" y="675"/>
                  <a:pt x="1475" y="650"/>
                </a:cubicBezTo>
                <a:lnTo>
                  <a:pt x="1475" y="6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3" name="Freeform 79">
            <a:extLst>
              <a:ext uri="{FF2B5EF4-FFF2-40B4-BE49-F238E27FC236}">
                <a16:creationId xmlns:a16="http://schemas.microsoft.com/office/drawing/2014/main" id="{2D1EE95C-FF0E-8A45-A5AE-A5ABB47D164A}"/>
              </a:ext>
            </a:extLst>
          </p:cNvPr>
          <p:cNvSpPr>
            <a:spLocks noChangeArrowheads="1"/>
          </p:cNvSpPr>
          <p:nvPr/>
        </p:nvSpPr>
        <p:spPr bwMode="auto">
          <a:xfrm>
            <a:off x="6451781" y="2923827"/>
            <a:ext cx="286873" cy="208124"/>
          </a:xfrm>
          <a:custGeom>
            <a:avLst/>
            <a:gdLst>
              <a:gd name="T0" fmla="*/ 825 w 901"/>
              <a:gd name="T1" fmla="*/ 325 h 651"/>
              <a:gd name="T2" fmla="*/ 825 w 901"/>
              <a:gd name="T3" fmla="*/ 325 h 651"/>
              <a:gd name="T4" fmla="*/ 775 w 901"/>
              <a:gd name="T5" fmla="*/ 274 h 651"/>
              <a:gd name="T6" fmla="*/ 750 w 901"/>
              <a:gd name="T7" fmla="*/ 225 h 651"/>
              <a:gd name="T8" fmla="*/ 725 w 901"/>
              <a:gd name="T9" fmla="*/ 150 h 651"/>
              <a:gd name="T10" fmla="*/ 725 w 901"/>
              <a:gd name="T11" fmla="*/ 74 h 651"/>
              <a:gd name="T12" fmla="*/ 625 w 901"/>
              <a:gd name="T13" fmla="*/ 50 h 651"/>
              <a:gd name="T14" fmla="*/ 575 w 901"/>
              <a:gd name="T15" fmla="*/ 50 h 651"/>
              <a:gd name="T16" fmla="*/ 525 w 901"/>
              <a:gd name="T17" fmla="*/ 25 h 651"/>
              <a:gd name="T18" fmla="*/ 474 w 901"/>
              <a:gd name="T19" fmla="*/ 25 h 651"/>
              <a:gd name="T20" fmla="*/ 474 w 901"/>
              <a:gd name="T21" fmla="*/ 0 h 651"/>
              <a:gd name="T22" fmla="*/ 450 w 901"/>
              <a:gd name="T23" fmla="*/ 25 h 651"/>
              <a:gd name="T24" fmla="*/ 425 w 901"/>
              <a:gd name="T25" fmla="*/ 50 h 651"/>
              <a:gd name="T26" fmla="*/ 350 w 901"/>
              <a:gd name="T27" fmla="*/ 74 h 651"/>
              <a:gd name="T28" fmla="*/ 325 w 901"/>
              <a:gd name="T29" fmla="*/ 125 h 651"/>
              <a:gd name="T30" fmla="*/ 325 w 901"/>
              <a:gd name="T31" fmla="*/ 150 h 651"/>
              <a:gd name="T32" fmla="*/ 275 w 901"/>
              <a:gd name="T33" fmla="*/ 174 h 651"/>
              <a:gd name="T34" fmla="*/ 225 w 901"/>
              <a:gd name="T35" fmla="*/ 225 h 651"/>
              <a:gd name="T36" fmla="*/ 225 w 901"/>
              <a:gd name="T37" fmla="*/ 274 h 651"/>
              <a:gd name="T38" fmla="*/ 149 w 901"/>
              <a:gd name="T39" fmla="*/ 274 h 651"/>
              <a:gd name="T40" fmla="*/ 125 w 901"/>
              <a:gd name="T41" fmla="*/ 300 h 651"/>
              <a:gd name="T42" fmla="*/ 49 w 901"/>
              <a:gd name="T43" fmla="*/ 300 h 651"/>
              <a:gd name="T44" fmla="*/ 49 w 901"/>
              <a:gd name="T45" fmla="*/ 300 h 651"/>
              <a:gd name="T46" fmla="*/ 49 w 901"/>
              <a:gd name="T47" fmla="*/ 374 h 651"/>
              <a:gd name="T48" fmla="*/ 75 w 901"/>
              <a:gd name="T49" fmla="*/ 474 h 651"/>
              <a:gd name="T50" fmla="*/ 0 w 901"/>
              <a:gd name="T51" fmla="*/ 500 h 651"/>
              <a:gd name="T52" fmla="*/ 49 w 901"/>
              <a:gd name="T53" fmla="*/ 550 h 651"/>
              <a:gd name="T54" fmla="*/ 49 w 901"/>
              <a:gd name="T55" fmla="*/ 600 h 651"/>
              <a:gd name="T56" fmla="*/ 100 w 901"/>
              <a:gd name="T57" fmla="*/ 600 h 651"/>
              <a:gd name="T58" fmla="*/ 149 w 901"/>
              <a:gd name="T59" fmla="*/ 574 h 651"/>
              <a:gd name="T60" fmla="*/ 300 w 901"/>
              <a:gd name="T61" fmla="*/ 574 h 651"/>
              <a:gd name="T62" fmla="*/ 400 w 901"/>
              <a:gd name="T63" fmla="*/ 600 h 651"/>
              <a:gd name="T64" fmla="*/ 450 w 901"/>
              <a:gd name="T65" fmla="*/ 600 h 651"/>
              <a:gd name="T66" fmla="*/ 525 w 901"/>
              <a:gd name="T67" fmla="*/ 600 h 651"/>
              <a:gd name="T68" fmla="*/ 575 w 901"/>
              <a:gd name="T69" fmla="*/ 625 h 651"/>
              <a:gd name="T70" fmla="*/ 674 w 901"/>
              <a:gd name="T71" fmla="*/ 625 h 651"/>
              <a:gd name="T72" fmla="*/ 674 w 901"/>
              <a:gd name="T73" fmla="*/ 600 h 651"/>
              <a:gd name="T74" fmla="*/ 750 w 901"/>
              <a:gd name="T75" fmla="*/ 550 h 651"/>
              <a:gd name="T76" fmla="*/ 800 w 901"/>
              <a:gd name="T77" fmla="*/ 525 h 651"/>
              <a:gd name="T78" fmla="*/ 800 w 901"/>
              <a:gd name="T79" fmla="*/ 500 h 651"/>
              <a:gd name="T80" fmla="*/ 775 w 901"/>
              <a:gd name="T81" fmla="*/ 400 h 651"/>
              <a:gd name="T82" fmla="*/ 850 w 901"/>
              <a:gd name="T83" fmla="*/ 425 h 651"/>
              <a:gd name="T84" fmla="*/ 900 w 901"/>
              <a:gd name="T85" fmla="*/ 374 h 651"/>
              <a:gd name="T86" fmla="*/ 825 w 901"/>
              <a:gd name="T87" fmla="*/ 32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1" h="651">
                <a:moveTo>
                  <a:pt x="825" y="325"/>
                </a:moveTo>
                <a:lnTo>
                  <a:pt x="825" y="325"/>
                </a:lnTo>
                <a:cubicBezTo>
                  <a:pt x="825" y="325"/>
                  <a:pt x="800" y="274"/>
                  <a:pt x="775" y="274"/>
                </a:cubicBezTo>
                <a:cubicBezTo>
                  <a:pt x="750" y="250"/>
                  <a:pt x="750" y="225"/>
                  <a:pt x="750" y="225"/>
                </a:cubicBezTo>
                <a:cubicBezTo>
                  <a:pt x="725" y="200"/>
                  <a:pt x="725" y="174"/>
                  <a:pt x="725" y="150"/>
                </a:cubicBezTo>
                <a:cubicBezTo>
                  <a:pt x="725" y="125"/>
                  <a:pt x="725" y="100"/>
                  <a:pt x="725" y="74"/>
                </a:cubicBezTo>
                <a:cubicBezTo>
                  <a:pt x="700" y="74"/>
                  <a:pt x="650" y="50"/>
                  <a:pt x="625" y="50"/>
                </a:cubicBezTo>
                <a:cubicBezTo>
                  <a:pt x="600" y="74"/>
                  <a:pt x="600" y="74"/>
                  <a:pt x="575" y="50"/>
                </a:cubicBezTo>
                <a:cubicBezTo>
                  <a:pt x="575" y="50"/>
                  <a:pt x="550" y="25"/>
                  <a:pt x="525" y="25"/>
                </a:cubicBezTo>
                <a:cubicBezTo>
                  <a:pt x="500" y="50"/>
                  <a:pt x="500" y="25"/>
                  <a:pt x="474" y="25"/>
                </a:cubicBezTo>
                <a:cubicBezTo>
                  <a:pt x="474" y="25"/>
                  <a:pt x="474" y="25"/>
                  <a:pt x="474" y="0"/>
                </a:cubicBezTo>
                <a:cubicBezTo>
                  <a:pt x="474" y="25"/>
                  <a:pt x="450" y="25"/>
                  <a:pt x="450" y="25"/>
                </a:cubicBezTo>
                <a:cubicBezTo>
                  <a:pt x="425" y="25"/>
                  <a:pt x="425" y="50"/>
                  <a:pt x="425" y="50"/>
                </a:cubicBezTo>
                <a:cubicBezTo>
                  <a:pt x="400" y="50"/>
                  <a:pt x="375" y="50"/>
                  <a:pt x="350" y="74"/>
                </a:cubicBezTo>
                <a:cubicBezTo>
                  <a:pt x="325" y="74"/>
                  <a:pt x="325" y="100"/>
                  <a:pt x="325" y="125"/>
                </a:cubicBezTo>
                <a:lnTo>
                  <a:pt x="325" y="150"/>
                </a:lnTo>
                <a:cubicBezTo>
                  <a:pt x="300" y="150"/>
                  <a:pt x="300" y="174"/>
                  <a:pt x="275" y="174"/>
                </a:cubicBezTo>
                <a:cubicBezTo>
                  <a:pt x="275" y="174"/>
                  <a:pt x="250" y="200"/>
                  <a:pt x="225" y="225"/>
                </a:cubicBezTo>
                <a:lnTo>
                  <a:pt x="225" y="274"/>
                </a:lnTo>
                <a:cubicBezTo>
                  <a:pt x="200" y="274"/>
                  <a:pt x="175" y="274"/>
                  <a:pt x="149" y="274"/>
                </a:cubicBezTo>
                <a:cubicBezTo>
                  <a:pt x="149" y="300"/>
                  <a:pt x="125" y="325"/>
                  <a:pt x="125" y="300"/>
                </a:cubicBezTo>
                <a:cubicBezTo>
                  <a:pt x="100" y="300"/>
                  <a:pt x="75" y="300"/>
                  <a:pt x="49" y="300"/>
                </a:cubicBezTo>
                <a:lnTo>
                  <a:pt x="49" y="300"/>
                </a:lnTo>
                <a:cubicBezTo>
                  <a:pt x="25" y="350"/>
                  <a:pt x="49" y="374"/>
                  <a:pt x="49" y="374"/>
                </a:cubicBezTo>
                <a:cubicBezTo>
                  <a:pt x="75" y="400"/>
                  <a:pt x="75" y="450"/>
                  <a:pt x="75" y="474"/>
                </a:cubicBezTo>
                <a:cubicBezTo>
                  <a:pt x="49" y="474"/>
                  <a:pt x="0" y="500"/>
                  <a:pt x="0" y="500"/>
                </a:cubicBezTo>
                <a:cubicBezTo>
                  <a:pt x="0" y="525"/>
                  <a:pt x="49" y="550"/>
                  <a:pt x="49" y="550"/>
                </a:cubicBezTo>
                <a:cubicBezTo>
                  <a:pt x="25" y="574"/>
                  <a:pt x="25" y="600"/>
                  <a:pt x="49" y="600"/>
                </a:cubicBezTo>
                <a:cubicBezTo>
                  <a:pt x="49" y="600"/>
                  <a:pt x="75" y="625"/>
                  <a:pt x="100" y="600"/>
                </a:cubicBezTo>
                <a:cubicBezTo>
                  <a:pt x="100" y="574"/>
                  <a:pt x="125" y="574"/>
                  <a:pt x="149" y="574"/>
                </a:cubicBezTo>
                <a:cubicBezTo>
                  <a:pt x="175" y="574"/>
                  <a:pt x="300" y="574"/>
                  <a:pt x="300" y="574"/>
                </a:cubicBezTo>
                <a:cubicBezTo>
                  <a:pt x="325" y="600"/>
                  <a:pt x="375" y="574"/>
                  <a:pt x="400" y="600"/>
                </a:cubicBezTo>
                <a:cubicBezTo>
                  <a:pt x="425" y="600"/>
                  <a:pt x="450" y="625"/>
                  <a:pt x="450" y="600"/>
                </a:cubicBezTo>
                <a:cubicBezTo>
                  <a:pt x="474" y="600"/>
                  <a:pt x="500" y="625"/>
                  <a:pt x="525" y="600"/>
                </a:cubicBezTo>
                <a:cubicBezTo>
                  <a:pt x="550" y="600"/>
                  <a:pt x="575" y="650"/>
                  <a:pt x="575" y="625"/>
                </a:cubicBezTo>
                <a:cubicBezTo>
                  <a:pt x="600" y="625"/>
                  <a:pt x="650" y="625"/>
                  <a:pt x="674" y="625"/>
                </a:cubicBezTo>
                <a:cubicBezTo>
                  <a:pt x="674" y="650"/>
                  <a:pt x="674" y="625"/>
                  <a:pt x="674" y="600"/>
                </a:cubicBezTo>
                <a:lnTo>
                  <a:pt x="750" y="550"/>
                </a:lnTo>
                <a:cubicBezTo>
                  <a:pt x="750" y="550"/>
                  <a:pt x="775" y="550"/>
                  <a:pt x="800" y="525"/>
                </a:cubicBezTo>
                <a:lnTo>
                  <a:pt x="800" y="500"/>
                </a:lnTo>
                <a:cubicBezTo>
                  <a:pt x="775" y="450"/>
                  <a:pt x="750" y="425"/>
                  <a:pt x="775" y="400"/>
                </a:cubicBezTo>
                <a:cubicBezTo>
                  <a:pt x="775" y="400"/>
                  <a:pt x="825" y="425"/>
                  <a:pt x="850" y="425"/>
                </a:cubicBezTo>
                <a:cubicBezTo>
                  <a:pt x="850" y="400"/>
                  <a:pt x="900" y="400"/>
                  <a:pt x="900" y="374"/>
                </a:cubicBezTo>
                <a:cubicBezTo>
                  <a:pt x="875" y="350"/>
                  <a:pt x="850" y="325"/>
                  <a:pt x="825" y="3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4" name="Freeform 80">
            <a:extLst>
              <a:ext uri="{FF2B5EF4-FFF2-40B4-BE49-F238E27FC236}">
                <a16:creationId xmlns:a16="http://schemas.microsoft.com/office/drawing/2014/main" id="{47385D98-FB09-794B-A5C7-46B2DAC5DB35}"/>
              </a:ext>
            </a:extLst>
          </p:cNvPr>
          <p:cNvSpPr>
            <a:spLocks noChangeArrowheads="1"/>
          </p:cNvSpPr>
          <p:nvPr/>
        </p:nvSpPr>
        <p:spPr bwMode="auto">
          <a:xfrm>
            <a:off x="6380061" y="2843672"/>
            <a:ext cx="223592" cy="104061"/>
          </a:xfrm>
          <a:custGeom>
            <a:avLst/>
            <a:gdLst>
              <a:gd name="T0" fmla="*/ 250 w 700"/>
              <a:gd name="T1" fmla="*/ 224 h 325"/>
              <a:gd name="T2" fmla="*/ 250 w 700"/>
              <a:gd name="T3" fmla="*/ 224 h 325"/>
              <a:gd name="T4" fmla="*/ 374 w 700"/>
              <a:gd name="T5" fmla="*/ 224 h 325"/>
              <a:gd name="T6" fmla="*/ 425 w 700"/>
              <a:gd name="T7" fmla="*/ 250 h 325"/>
              <a:gd name="T8" fmla="*/ 500 w 700"/>
              <a:gd name="T9" fmla="*/ 300 h 325"/>
              <a:gd name="T10" fmla="*/ 550 w 700"/>
              <a:gd name="T11" fmla="*/ 324 h 325"/>
              <a:gd name="T12" fmla="*/ 575 w 700"/>
              <a:gd name="T13" fmla="*/ 324 h 325"/>
              <a:gd name="T14" fmla="*/ 650 w 700"/>
              <a:gd name="T15" fmla="*/ 300 h 325"/>
              <a:gd name="T16" fmla="*/ 675 w 700"/>
              <a:gd name="T17" fmla="*/ 275 h 325"/>
              <a:gd name="T18" fmla="*/ 699 w 700"/>
              <a:gd name="T19" fmla="*/ 250 h 325"/>
              <a:gd name="T20" fmla="*/ 675 w 700"/>
              <a:gd name="T21" fmla="*/ 200 h 325"/>
              <a:gd name="T22" fmla="*/ 650 w 700"/>
              <a:gd name="T23" fmla="*/ 150 h 325"/>
              <a:gd name="T24" fmla="*/ 650 w 700"/>
              <a:gd name="T25" fmla="*/ 100 h 325"/>
              <a:gd name="T26" fmla="*/ 625 w 700"/>
              <a:gd name="T27" fmla="*/ 75 h 325"/>
              <a:gd name="T28" fmla="*/ 550 w 700"/>
              <a:gd name="T29" fmla="*/ 75 h 325"/>
              <a:gd name="T30" fmla="*/ 450 w 700"/>
              <a:gd name="T31" fmla="*/ 24 h 325"/>
              <a:gd name="T32" fmla="*/ 350 w 700"/>
              <a:gd name="T33" fmla="*/ 24 h 325"/>
              <a:gd name="T34" fmla="*/ 325 w 700"/>
              <a:gd name="T35" fmla="*/ 100 h 325"/>
              <a:gd name="T36" fmla="*/ 250 w 700"/>
              <a:gd name="T37" fmla="*/ 150 h 325"/>
              <a:gd name="T38" fmla="*/ 174 w 700"/>
              <a:gd name="T39" fmla="*/ 50 h 325"/>
              <a:gd name="T40" fmla="*/ 74 w 700"/>
              <a:gd name="T41" fmla="*/ 100 h 325"/>
              <a:gd name="T42" fmla="*/ 50 w 700"/>
              <a:gd name="T43" fmla="*/ 175 h 325"/>
              <a:gd name="T44" fmla="*/ 25 w 700"/>
              <a:gd name="T45" fmla="*/ 250 h 325"/>
              <a:gd name="T46" fmla="*/ 25 w 700"/>
              <a:gd name="T47" fmla="*/ 250 h 325"/>
              <a:gd name="T48" fmla="*/ 100 w 700"/>
              <a:gd name="T49" fmla="*/ 224 h 325"/>
              <a:gd name="T50" fmla="*/ 250 w 700"/>
              <a:gd name="T51" fmla="*/ 22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0" h="325">
                <a:moveTo>
                  <a:pt x="250" y="224"/>
                </a:moveTo>
                <a:lnTo>
                  <a:pt x="250" y="224"/>
                </a:lnTo>
                <a:cubicBezTo>
                  <a:pt x="274" y="224"/>
                  <a:pt x="325" y="250"/>
                  <a:pt x="374" y="224"/>
                </a:cubicBezTo>
                <a:cubicBezTo>
                  <a:pt x="400" y="224"/>
                  <a:pt x="400" y="275"/>
                  <a:pt x="425" y="250"/>
                </a:cubicBezTo>
                <a:cubicBezTo>
                  <a:pt x="450" y="250"/>
                  <a:pt x="475" y="275"/>
                  <a:pt x="500" y="300"/>
                </a:cubicBezTo>
                <a:cubicBezTo>
                  <a:pt x="525" y="324"/>
                  <a:pt x="550" y="324"/>
                  <a:pt x="550" y="324"/>
                </a:cubicBezTo>
                <a:lnTo>
                  <a:pt x="575" y="324"/>
                </a:lnTo>
                <a:cubicBezTo>
                  <a:pt x="600" y="300"/>
                  <a:pt x="625" y="300"/>
                  <a:pt x="650" y="300"/>
                </a:cubicBezTo>
                <a:cubicBezTo>
                  <a:pt x="650" y="300"/>
                  <a:pt x="650" y="275"/>
                  <a:pt x="675" y="275"/>
                </a:cubicBezTo>
                <a:cubicBezTo>
                  <a:pt x="675" y="275"/>
                  <a:pt x="699" y="275"/>
                  <a:pt x="699" y="250"/>
                </a:cubicBezTo>
                <a:cubicBezTo>
                  <a:pt x="699" y="250"/>
                  <a:pt x="699" y="224"/>
                  <a:pt x="675" y="200"/>
                </a:cubicBezTo>
                <a:cubicBezTo>
                  <a:pt x="675" y="200"/>
                  <a:pt x="650" y="175"/>
                  <a:pt x="650" y="150"/>
                </a:cubicBezTo>
                <a:cubicBezTo>
                  <a:pt x="650" y="124"/>
                  <a:pt x="650" y="124"/>
                  <a:pt x="650" y="100"/>
                </a:cubicBezTo>
                <a:lnTo>
                  <a:pt x="625" y="75"/>
                </a:lnTo>
                <a:cubicBezTo>
                  <a:pt x="600" y="75"/>
                  <a:pt x="550" y="75"/>
                  <a:pt x="550" y="75"/>
                </a:cubicBezTo>
                <a:cubicBezTo>
                  <a:pt x="525" y="75"/>
                  <a:pt x="450" y="24"/>
                  <a:pt x="450" y="24"/>
                </a:cubicBezTo>
                <a:cubicBezTo>
                  <a:pt x="450" y="0"/>
                  <a:pt x="400" y="0"/>
                  <a:pt x="350" y="24"/>
                </a:cubicBezTo>
                <a:cubicBezTo>
                  <a:pt x="325" y="50"/>
                  <a:pt x="325" y="75"/>
                  <a:pt x="325" y="100"/>
                </a:cubicBezTo>
                <a:cubicBezTo>
                  <a:pt x="325" y="150"/>
                  <a:pt x="274" y="150"/>
                  <a:pt x="250" y="150"/>
                </a:cubicBezTo>
                <a:cubicBezTo>
                  <a:pt x="225" y="150"/>
                  <a:pt x="200" y="75"/>
                  <a:pt x="174" y="50"/>
                </a:cubicBezTo>
                <a:cubicBezTo>
                  <a:pt x="150" y="24"/>
                  <a:pt x="125" y="75"/>
                  <a:pt x="74" y="100"/>
                </a:cubicBezTo>
                <a:cubicBezTo>
                  <a:pt x="50" y="100"/>
                  <a:pt x="74" y="150"/>
                  <a:pt x="50" y="175"/>
                </a:cubicBezTo>
                <a:cubicBezTo>
                  <a:pt x="25" y="175"/>
                  <a:pt x="0" y="200"/>
                  <a:pt x="25" y="250"/>
                </a:cubicBezTo>
                <a:lnTo>
                  <a:pt x="25" y="250"/>
                </a:lnTo>
                <a:cubicBezTo>
                  <a:pt x="74" y="250"/>
                  <a:pt x="100" y="250"/>
                  <a:pt x="100" y="224"/>
                </a:cubicBezTo>
                <a:cubicBezTo>
                  <a:pt x="150" y="224"/>
                  <a:pt x="225" y="224"/>
                  <a:pt x="250" y="22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5" name="Freeform 81">
            <a:extLst>
              <a:ext uri="{FF2B5EF4-FFF2-40B4-BE49-F238E27FC236}">
                <a16:creationId xmlns:a16="http://schemas.microsoft.com/office/drawing/2014/main" id="{E6C88B81-1DCB-B143-92D0-09E9BAA10A29}"/>
              </a:ext>
            </a:extLst>
          </p:cNvPr>
          <p:cNvSpPr>
            <a:spLocks noChangeArrowheads="1"/>
          </p:cNvSpPr>
          <p:nvPr/>
        </p:nvSpPr>
        <p:spPr bwMode="auto">
          <a:xfrm>
            <a:off x="6380063" y="2915389"/>
            <a:ext cx="175780" cy="112499"/>
          </a:xfrm>
          <a:custGeom>
            <a:avLst/>
            <a:gdLst>
              <a:gd name="T0" fmla="*/ 100 w 551"/>
              <a:gd name="T1" fmla="*/ 176 h 352"/>
              <a:gd name="T2" fmla="*/ 100 w 551"/>
              <a:gd name="T3" fmla="*/ 176 h 352"/>
              <a:gd name="T4" fmla="*/ 150 w 551"/>
              <a:gd name="T5" fmla="*/ 176 h 352"/>
              <a:gd name="T6" fmla="*/ 200 w 551"/>
              <a:gd name="T7" fmla="*/ 226 h 352"/>
              <a:gd name="T8" fmla="*/ 200 w 551"/>
              <a:gd name="T9" fmla="*/ 276 h 352"/>
              <a:gd name="T10" fmla="*/ 274 w 551"/>
              <a:gd name="T11" fmla="*/ 326 h 352"/>
              <a:gd name="T12" fmla="*/ 350 w 551"/>
              <a:gd name="T13" fmla="*/ 326 h 352"/>
              <a:gd name="T14" fmla="*/ 374 w 551"/>
              <a:gd name="T15" fmla="*/ 300 h 352"/>
              <a:gd name="T16" fmla="*/ 450 w 551"/>
              <a:gd name="T17" fmla="*/ 300 h 352"/>
              <a:gd name="T18" fmla="*/ 450 w 551"/>
              <a:gd name="T19" fmla="*/ 251 h 352"/>
              <a:gd name="T20" fmla="*/ 500 w 551"/>
              <a:gd name="T21" fmla="*/ 200 h 352"/>
              <a:gd name="T22" fmla="*/ 550 w 551"/>
              <a:gd name="T23" fmla="*/ 176 h 352"/>
              <a:gd name="T24" fmla="*/ 550 w 551"/>
              <a:gd name="T25" fmla="*/ 151 h 352"/>
              <a:gd name="T26" fmla="*/ 550 w 551"/>
              <a:gd name="T27" fmla="*/ 100 h 352"/>
              <a:gd name="T28" fmla="*/ 500 w 551"/>
              <a:gd name="T29" fmla="*/ 76 h 352"/>
              <a:gd name="T30" fmla="*/ 425 w 551"/>
              <a:gd name="T31" fmla="*/ 26 h 352"/>
              <a:gd name="T32" fmla="*/ 374 w 551"/>
              <a:gd name="T33" fmla="*/ 0 h 352"/>
              <a:gd name="T34" fmla="*/ 250 w 551"/>
              <a:gd name="T35" fmla="*/ 0 h 352"/>
              <a:gd name="T36" fmla="*/ 100 w 551"/>
              <a:gd name="T37" fmla="*/ 0 h 352"/>
              <a:gd name="T38" fmla="*/ 25 w 551"/>
              <a:gd name="T39" fmla="*/ 26 h 352"/>
              <a:gd name="T40" fmla="*/ 25 w 551"/>
              <a:gd name="T41" fmla="*/ 126 h 352"/>
              <a:gd name="T42" fmla="*/ 25 w 551"/>
              <a:gd name="T43" fmla="*/ 151 h 352"/>
              <a:gd name="T44" fmla="*/ 100 w 551"/>
              <a:gd name="T45"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1" h="352">
                <a:moveTo>
                  <a:pt x="100" y="176"/>
                </a:moveTo>
                <a:lnTo>
                  <a:pt x="100" y="176"/>
                </a:lnTo>
                <a:cubicBezTo>
                  <a:pt x="100" y="176"/>
                  <a:pt x="125" y="200"/>
                  <a:pt x="150" y="176"/>
                </a:cubicBezTo>
                <a:cubicBezTo>
                  <a:pt x="150" y="176"/>
                  <a:pt x="200" y="200"/>
                  <a:pt x="200" y="226"/>
                </a:cubicBezTo>
                <a:cubicBezTo>
                  <a:pt x="200" y="226"/>
                  <a:pt x="174" y="276"/>
                  <a:pt x="200" y="276"/>
                </a:cubicBezTo>
                <a:cubicBezTo>
                  <a:pt x="200" y="276"/>
                  <a:pt x="274" y="300"/>
                  <a:pt x="274" y="326"/>
                </a:cubicBezTo>
                <a:cubicBezTo>
                  <a:pt x="300" y="326"/>
                  <a:pt x="325" y="326"/>
                  <a:pt x="350" y="326"/>
                </a:cubicBezTo>
                <a:cubicBezTo>
                  <a:pt x="350" y="351"/>
                  <a:pt x="374" y="326"/>
                  <a:pt x="374" y="300"/>
                </a:cubicBezTo>
                <a:cubicBezTo>
                  <a:pt x="400" y="300"/>
                  <a:pt x="425" y="300"/>
                  <a:pt x="450" y="300"/>
                </a:cubicBezTo>
                <a:lnTo>
                  <a:pt x="450" y="251"/>
                </a:lnTo>
                <a:cubicBezTo>
                  <a:pt x="475" y="226"/>
                  <a:pt x="500" y="200"/>
                  <a:pt x="500" y="200"/>
                </a:cubicBezTo>
                <a:cubicBezTo>
                  <a:pt x="525" y="200"/>
                  <a:pt x="525" y="176"/>
                  <a:pt x="550" y="176"/>
                </a:cubicBezTo>
                <a:lnTo>
                  <a:pt x="550" y="151"/>
                </a:lnTo>
                <a:cubicBezTo>
                  <a:pt x="550" y="126"/>
                  <a:pt x="550" y="126"/>
                  <a:pt x="550" y="100"/>
                </a:cubicBezTo>
                <a:cubicBezTo>
                  <a:pt x="550" y="100"/>
                  <a:pt x="525" y="100"/>
                  <a:pt x="500" y="76"/>
                </a:cubicBezTo>
                <a:cubicBezTo>
                  <a:pt x="475" y="51"/>
                  <a:pt x="450" y="26"/>
                  <a:pt x="425" y="26"/>
                </a:cubicBezTo>
                <a:cubicBezTo>
                  <a:pt x="400" y="51"/>
                  <a:pt x="400" y="0"/>
                  <a:pt x="374" y="0"/>
                </a:cubicBezTo>
                <a:cubicBezTo>
                  <a:pt x="325" y="26"/>
                  <a:pt x="274" y="0"/>
                  <a:pt x="250" y="0"/>
                </a:cubicBezTo>
                <a:cubicBezTo>
                  <a:pt x="225" y="0"/>
                  <a:pt x="150" y="0"/>
                  <a:pt x="100" y="0"/>
                </a:cubicBezTo>
                <a:cubicBezTo>
                  <a:pt x="100" y="26"/>
                  <a:pt x="74" y="26"/>
                  <a:pt x="25" y="26"/>
                </a:cubicBezTo>
                <a:cubicBezTo>
                  <a:pt x="50" y="76"/>
                  <a:pt x="50" y="100"/>
                  <a:pt x="25" y="126"/>
                </a:cubicBezTo>
                <a:cubicBezTo>
                  <a:pt x="0" y="151"/>
                  <a:pt x="25" y="151"/>
                  <a:pt x="25" y="151"/>
                </a:cubicBezTo>
                <a:cubicBezTo>
                  <a:pt x="50" y="151"/>
                  <a:pt x="74" y="151"/>
                  <a:pt x="100" y="1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6" name="Freeform 82">
            <a:extLst>
              <a:ext uri="{FF2B5EF4-FFF2-40B4-BE49-F238E27FC236}">
                <a16:creationId xmlns:a16="http://schemas.microsoft.com/office/drawing/2014/main" id="{C2DD8312-8CF9-254B-8B58-AAA15BB52FDB}"/>
              </a:ext>
            </a:extLst>
          </p:cNvPr>
          <p:cNvSpPr>
            <a:spLocks noChangeArrowheads="1"/>
          </p:cNvSpPr>
          <p:nvPr/>
        </p:nvSpPr>
        <p:spPr bwMode="auto">
          <a:xfrm>
            <a:off x="5956784" y="3273980"/>
            <a:ext cx="136405" cy="71717"/>
          </a:xfrm>
          <a:custGeom>
            <a:avLst/>
            <a:gdLst>
              <a:gd name="T0" fmla="*/ 375 w 427"/>
              <a:gd name="T1" fmla="*/ 100 h 226"/>
              <a:gd name="T2" fmla="*/ 375 w 427"/>
              <a:gd name="T3" fmla="*/ 100 h 226"/>
              <a:gd name="T4" fmla="*/ 326 w 427"/>
              <a:gd name="T5" fmla="*/ 75 h 226"/>
              <a:gd name="T6" fmla="*/ 326 w 427"/>
              <a:gd name="T7" fmla="*/ 25 h 226"/>
              <a:gd name="T8" fmla="*/ 275 w 427"/>
              <a:gd name="T9" fmla="*/ 0 h 226"/>
              <a:gd name="T10" fmla="*/ 200 w 427"/>
              <a:gd name="T11" fmla="*/ 0 h 226"/>
              <a:gd name="T12" fmla="*/ 126 w 427"/>
              <a:gd name="T13" fmla="*/ 0 h 226"/>
              <a:gd name="T14" fmla="*/ 126 w 427"/>
              <a:gd name="T15" fmla="*/ 25 h 226"/>
              <a:gd name="T16" fmla="*/ 75 w 427"/>
              <a:gd name="T17" fmla="*/ 50 h 226"/>
              <a:gd name="T18" fmla="*/ 0 w 427"/>
              <a:gd name="T19" fmla="*/ 125 h 226"/>
              <a:gd name="T20" fmla="*/ 26 w 427"/>
              <a:gd name="T21" fmla="*/ 175 h 226"/>
              <a:gd name="T22" fmla="*/ 51 w 427"/>
              <a:gd name="T23" fmla="*/ 175 h 226"/>
              <a:gd name="T24" fmla="*/ 75 w 427"/>
              <a:gd name="T25" fmla="*/ 225 h 226"/>
              <a:gd name="T26" fmla="*/ 75 w 427"/>
              <a:gd name="T27" fmla="*/ 225 h 226"/>
              <a:gd name="T28" fmla="*/ 151 w 427"/>
              <a:gd name="T29" fmla="*/ 225 h 226"/>
              <a:gd name="T30" fmla="*/ 200 w 427"/>
              <a:gd name="T31" fmla="*/ 150 h 226"/>
              <a:gd name="T32" fmla="*/ 251 w 427"/>
              <a:gd name="T33" fmla="*/ 200 h 226"/>
              <a:gd name="T34" fmla="*/ 275 w 427"/>
              <a:gd name="T35" fmla="*/ 175 h 226"/>
              <a:gd name="T36" fmla="*/ 326 w 427"/>
              <a:gd name="T37" fmla="*/ 150 h 226"/>
              <a:gd name="T38" fmla="*/ 351 w 427"/>
              <a:gd name="T39" fmla="*/ 150 h 226"/>
              <a:gd name="T40" fmla="*/ 375 w 427"/>
              <a:gd name="T41" fmla="*/ 125 h 226"/>
              <a:gd name="T42" fmla="*/ 400 w 427"/>
              <a:gd name="T43" fmla="*/ 125 h 226"/>
              <a:gd name="T44" fmla="*/ 426 w 427"/>
              <a:gd name="T45" fmla="*/ 100 h 226"/>
              <a:gd name="T46" fmla="*/ 375 w 427"/>
              <a:gd name="T47" fmla="*/ 10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7" h="226">
                <a:moveTo>
                  <a:pt x="375" y="100"/>
                </a:moveTo>
                <a:lnTo>
                  <a:pt x="375" y="100"/>
                </a:lnTo>
                <a:cubicBezTo>
                  <a:pt x="351" y="100"/>
                  <a:pt x="326" y="75"/>
                  <a:pt x="326" y="75"/>
                </a:cubicBezTo>
                <a:cubicBezTo>
                  <a:pt x="326" y="50"/>
                  <a:pt x="326" y="50"/>
                  <a:pt x="326" y="25"/>
                </a:cubicBezTo>
                <a:cubicBezTo>
                  <a:pt x="300" y="25"/>
                  <a:pt x="275" y="0"/>
                  <a:pt x="275" y="0"/>
                </a:cubicBezTo>
                <a:cubicBezTo>
                  <a:pt x="251" y="0"/>
                  <a:pt x="226" y="0"/>
                  <a:pt x="200" y="0"/>
                </a:cubicBezTo>
                <a:cubicBezTo>
                  <a:pt x="200" y="0"/>
                  <a:pt x="151" y="0"/>
                  <a:pt x="126" y="0"/>
                </a:cubicBezTo>
                <a:cubicBezTo>
                  <a:pt x="126" y="25"/>
                  <a:pt x="126" y="25"/>
                  <a:pt x="126" y="25"/>
                </a:cubicBezTo>
                <a:cubicBezTo>
                  <a:pt x="100" y="25"/>
                  <a:pt x="75" y="50"/>
                  <a:pt x="75" y="50"/>
                </a:cubicBezTo>
                <a:cubicBezTo>
                  <a:pt x="51" y="75"/>
                  <a:pt x="26" y="100"/>
                  <a:pt x="0" y="125"/>
                </a:cubicBezTo>
                <a:cubicBezTo>
                  <a:pt x="0" y="175"/>
                  <a:pt x="0" y="200"/>
                  <a:pt x="26" y="175"/>
                </a:cubicBezTo>
                <a:cubicBezTo>
                  <a:pt x="26" y="150"/>
                  <a:pt x="51" y="150"/>
                  <a:pt x="51" y="175"/>
                </a:cubicBezTo>
                <a:cubicBezTo>
                  <a:pt x="51" y="200"/>
                  <a:pt x="75" y="200"/>
                  <a:pt x="75" y="225"/>
                </a:cubicBezTo>
                <a:lnTo>
                  <a:pt x="75" y="225"/>
                </a:lnTo>
                <a:cubicBezTo>
                  <a:pt x="100" y="225"/>
                  <a:pt x="151" y="225"/>
                  <a:pt x="151" y="225"/>
                </a:cubicBezTo>
                <a:cubicBezTo>
                  <a:pt x="175" y="225"/>
                  <a:pt x="200" y="150"/>
                  <a:pt x="200" y="150"/>
                </a:cubicBezTo>
                <a:cubicBezTo>
                  <a:pt x="200" y="150"/>
                  <a:pt x="226" y="200"/>
                  <a:pt x="251" y="200"/>
                </a:cubicBezTo>
                <a:cubicBezTo>
                  <a:pt x="275" y="225"/>
                  <a:pt x="275" y="200"/>
                  <a:pt x="275" y="175"/>
                </a:cubicBezTo>
                <a:cubicBezTo>
                  <a:pt x="275" y="150"/>
                  <a:pt x="300" y="150"/>
                  <a:pt x="326" y="150"/>
                </a:cubicBezTo>
                <a:cubicBezTo>
                  <a:pt x="326" y="150"/>
                  <a:pt x="351" y="175"/>
                  <a:pt x="351" y="150"/>
                </a:cubicBezTo>
                <a:cubicBezTo>
                  <a:pt x="351" y="125"/>
                  <a:pt x="375" y="125"/>
                  <a:pt x="375" y="125"/>
                </a:cubicBezTo>
                <a:cubicBezTo>
                  <a:pt x="400" y="125"/>
                  <a:pt x="400" y="125"/>
                  <a:pt x="400" y="125"/>
                </a:cubicBezTo>
                <a:cubicBezTo>
                  <a:pt x="426" y="100"/>
                  <a:pt x="426" y="100"/>
                  <a:pt x="426" y="100"/>
                </a:cubicBezTo>
                <a:cubicBezTo>
                  <a:pt x="400" y="100"/>
                  <a:pt x="375" y="75"/>
                  <a:pt x="375"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8" name="Freeform 84">
            <a:extLst>
              <a:ext uri="{FF2B5EF4-FFF2-40B4-BE49-F238E27FC236}">
                <a16:creationId xmlns:a16="http://schemas.microsoft.com/office/drawing/2014/main" id="{2F5CACE7-4ED6-3149-905D-C984CE09E544}"/>
              </a:ext>
            </a:extLst>
          </p:cNvPr>
          <p:cNvSpPr>
            <a:spLocks noChangeArrowheads="1"/>
          </p:cNvSpPr>
          <p:nvPr/>
        </p:nvSpPr>
        <p:spPr bwMode="auto">
          <a:xfrm>
            <a:off x="6387094" y="2261487"/>
            <a:ext cx="319217" cy="502028"/>
          </a:xfrm>
          <a:custGeom>
            <a:avLst/>
            <a:gdLst>
              <a:gd name="T0" fmla="*/ 850 w 1001"/>
              <a:gd name="T1" fmla="*/ 1301 h 1576"/>
              <a:gd name="T2" fmla="*/ 850 w 1001"/>
              <a:gd name="T3" fmla="*/ 1301 h 1576"/>
              <a:gd name="T4" fmla="*/ 975 w 1001"/>
              <a:gd name="T5" fmla="*/ 1176 h 1576"/>
              <a:gd name="T6" fmla="*/ 950 w 1001"/>
              <a:gd name="T7" fmla="*/ 1101 h 1576"/>
              <a:gd name="T8" fmla="*/ 850 w 1001"/>
              <a:gd name="T9" fmla="*/ 1001 h 1576"/>
              <a:gd name="T10" fmla="*/ 900 w 1001"/>
              <a:gd name="T11" fmla="*/ 950 h 1576"/>
              <a:gd name="T12" fmla="*/ 850 w 1001"/>
              <a:gd name="T13" fmla="*/ 901 h 1576"/>
              <a:gd name="T14" fmla="*/ 850 w 1001"/>
              <a:gd name="T15" fmla="*/ 850 h 1576"/>
              <a:gd name="T16" fmla="*/ 825 w 1001"/>
              <a:gd name="T17" fmla="*/ 825 h 1576"/>
              <a:gd name="T18" fmla="*/ 825 w 1001"/>
              <a:gd name="T19" fmla="*/ 801 h 1576"/>
              <a:gd name="T20" fmla="*/ 825 w 1001"/>
              <a:gd name="T21" fmla="*/ 725 h 1576"/>
              <a:gd name="T22" fmla="*/ 850 w 1001"/>
              <a:gd name="T23" fmla="*/ 676 h 1576"/>
              <a:gd name="T24" fmla="*/ 775 w 1001"/>
              <a:gd name="T25" fmla="*/ 525 h 1576"/>
              <a:gd name="T26" fmla="*/ 800 w 1001"/>
              <a:gd name="T27" fmla="*/ 476 h 1576"/>
              <a:gd name="T28" fmla="*/ 850 w 1001"/>
              <a:gd name="T29" fmla="*/ 401 h 1576"/>
              <a:gd name="T30" fmla="*/ 775 w 1001"/>
              <a:gd name="T31" fmla="*/ 350 h 1576"/>
              <a:gd name="T32" fmla="*/ 725 w 1001"/>
              <a:gd name="T33" fmla="*/ 301 h 1576"/>
              <a:gd name="T34" fmla="*/ 700 w 1001"/>
              <a:gd name="T35" fmla="*/ 250 h 1576"/>
              <a:gd name="T36" fmla="*/ 725 w 1001"/>
              <a:gd name="T37" fmla="*/ 200 h 1576"/>
              <a:gd name="T38" fmla="*/ 750 w 1001"/>
              <a:gd name="T39" fmla="*/ 175 h 1576"/>
              <a:gd name="T40" fmla="*/ 775 w 1001"/>
              <a:gd name="T41" fmla="*/ 150 h 1576"/>
              <a:gd name="T42" fmla="*/ 775 w 1001"/>
              <a:gd name="T43" fmla="*/ 76 h 1576"/>
              <a:gd name="T44" fmla="*/ 674 w 1001"/>
              <a:gd name="T45" fmla="*/ 25 h 1576"/>
              <a:gd name="T46" fmla="*/ 600 w 1001"/>
              <a:gd name="T47" fmla="*/ 25 h 1576"/>
              <a:gd name="T48" fmla="*/ 525 w 1001"/>
              <a:gd name="T49" fmla="*/ 50 h 1576"/>
              <a:gd name="T50" fmla="*/ 450 w 1001"/>
              <a:gd name="T51" fmla="*/ 100 h 1576"/>
              <a:gd name="T52" fmla="*/ 450 w 1001"/>
              <a:gd name="T53" fmla="*/ 175 h 1576"/>
              <a:gd name="T54" fmla="*/ 400 w 1001"/>
              <a:gd name="T55" fmla="*/ 250 h 1576"/>
              <a:gd name="T56" fmla="*/ 349 w 1001"/>
              <a:gd name="T57" fmla="*/ 225 h 1576"/>
              <a:gd name="T58" fmla="*/ 275 w 1001"/>
              <a:gd name="T59" fmla="*/ 225 h 1576"/>
              <a:gd name="T60" fmla="*/ 175 w 1001"/>
              <a:gd name="T61" fmla="*/ 225 h 1576"/>
              <a:gd name="T62" fmla="*/ 75 w 1001"/>
              <a:gd name="T63" fmla="*/ 150 h 1576"/>
              <a:gd name="T64" fmla="*/ 0 w 1001"/>
              <a:gd name="T65" fmla="*/ 175 h 1576"/>
              <a:gd name="T66" fmla="*/ 100 w 1001"/>
              <a:gd name="T67" fmla="*/ 250 h 1576"/>
              <a:gd name="T68" fmla="*/ 249 w 1001"/>
              <a:gd name="T69" fmla="*/ 350 h 1576"/>
              <a:gd name="T70" fmla="*/ 249 w 1001"/>
              <a:gd name="T71" fmla="*/ 425 h 1576"/>
              <a:gd name="T72" fmla="*/ 275 w 1001"/>
              <a:gd name="T73" fmla="*/ 525 h 1576"/>
              <a:gd name="T74" fmla="*/ 275 w 1001"/>
              <a:gd name="T75" fmla="*/ 601 h 1576"/>
              <a:gd name="T76" fmla="*/ 275 w 1001"/>
              <a:gd name="T77" fmla="*/ 650 h 1576"/>
              <a:gd name="T78" fmla="*/ 300 w 1001"/>
              <a:gd name="T79" fmla="*/ 701 h 1576"/>
              <a:gd name="T80" fmla="*/ 375 w 1001"/>
              <a:gd name="T81" fmla="*/ 725 h 1576"/>
              <a:gd name="T82" fmla="*/ 400 w 1001"/>
              <a:gd name="T83" fmla="*/ 801 h 1576"/>
              <a:gd name="T84" fmla="*/ 400 w 1001"/>
              <a:gd name="T85" fmla="*/ 825 h 1576"/>
              <a:gd name="T86" fmla="*/ 325 w 1001"/>
              <a:gd name="T87" fmla="*/ 876 h 1576"/>
              <a:gd name="T88" fmla="*/ 249 w 1001"/>
              <a:gd name="T89" fmla="*/ 976 h 1576"/>
              <a:gd name="T90" fmla="*/ 175 w 1001"/>
              <a:gd name="T91" fmla="*/ 1001 h 1576"/>
              <a:gd name="T92" fmla="*/ 125 w 1001"/>
              <a:gd name="T93" fmla="*/ 1050 h 1576"/>
              <a:gd name="T94" fmla="*/ 75 w 1001"/>
              <a:gd name="T95" fmla="*/ 1101 h 1576"/>
              <a:gd name="T96" fmla="*/ 25 w 1001"/>
              <a:gd name="T97" fmla="*/ 1150 h 1576"/>
              <a:gd name="T98" fmla="*/ 25 w 1001"/>
              <a:gd name="T99" fmla="*/ 1201 h 1576"/>
              <a:gd name="T100" fmla="*/ 49 w 1001"/>
              <a:gd name="T101" fmla="*/ 1276 h 1576"/>
              <a:gd name="T102" fmla="*/ 49 w 1001"/>
              <a:gd name="T103" fmla="*/ 1376 h 1576"/>
              <a:gd name="T104" fmla="*/ 25 w 1001"/>
              <a:gd name="T105" fmla="*/ 1476 h 1576"/>
              <a:gd name="T106" fmla="*/ 125 w 1001"/>
              <a:gd name="T107" fmla="*/ 1501 h 1576"/>
              <a:gd name="T108" fmla="*/ 175 w 1001"/>
              <a:gd name="T109" fmla="*/ 1550 h 1576"/>
              <a:gd name="T110" fmla="*/ 275 w 1001"/>
              <a:gd name="T111" fmla="*/ 1550 h 1576"/>
              <a:gd name="T112" fmla="*/ 575 w 1001"/>
              <a:gd name="T113" fmla="*/ 1501 h 1576"/>
              <a:gd name="T114" fmla="*/ 650 w 1001"/>
              <a:gd name="T115" fmla="*/ 1476 h 1576"/>
              <a:gd name="T116" fmla="*/ 700 w 1001"/>
              <a:gd name="T117" fmla="*/ 1425 h 1576"/>
              <a:gd name="T118" fmla="*/ 850 w 1001"/>
              <a:gd name="T119" fmla="*/ 1301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1" h="1576">
                <a:moveTo>
                  <a:pt x="850" y="1301"/>
                </a:moveTo>
                <a:lnTo>
                  <a:pt x="850" y="1301"/>
                </a:lnTo>
                <a:cubicBezTo>
                  <a:pt x="874" y="1250"/>
                  <a:pt x="975" y="1225"/>
                  <a:pt x="975" y="1176"/>
                </a:cubicBezTo>
                <a:cubicBezTo>
                  <a:pt x="1000" y="1150"/>
                  <a:pt x="1000" y="1150"/>
                  <a:pt x="950" y="1101"/>
                </a:cubicBezTo>
                <a:cubicBezTo>
                  <a:pt x="925" y="1050"/>
                  <a:pt x="850" y="1025"/>
                  <a:pt x="850" y="1001"/>
                </a:cubicBezTo>
                <a:cubicBezTo>
                  <a:pt x="825" y="1001"/>
                  <a:pt x="900" y="976"/>
                  <a:pt x="900" y="950"/>
                </a:cubicBezTo>
                <a:cubicBezTo>
                  <a:pt x="900" y="925"/>
                  <a:pt x="850" y="925"/>
                  <a:pt x="850" y="901"/>
                </a:cubicBezTo>
                <a:cubicBezTo>
                  <a:pt x="825" y="876"/>
                  <a:pt x="874" y="876"/>
                  <a:pt x="850" y="850"/>
                </a:cubicBezTo>
                <a:cubicBezTo>
                  <a:pt x="850" y="850"/>
                  <a:pt x="825" y="850"/>
                  <a:pt x="825" y="825"/>
                </a:cubicBezTo>
                <a:cubicBezTo>
                  <a:pt x="800" y="825"/>
                  <a:pt x="850" y="825"/>
                  <a:pt x="825" y="801"/>
                </a:cubicBezTo>
                <a:cubicBezTo>
                  <a:pt x="825" y="776"/>
                  <a:pt x="800" y="750"/>
                  <a:pt x="825" y="725"/>
                </a:cubicBezTo>
                <a:cubicBezTo>
                  <a:pt x="850" y="701"/>
                  <a:pt x="874" y="725"/>
                  <a:pt x="850" y="676"/>
                </a:cubicBezTo>
                <a:cubicBezTo>
                  <a:pt x="825" y="625"/>
                  <a:pt x="775" y="550"/>
                  <a:pt x="775" y="525"/>
                </a:cubicBezTo>
                <a:cubicBezTo>
                  <a:pt x="750" y="525"/>
                  <a:pt x="775" y="501"/>
                  <a:pt x="800" y="476"/>
                </a:cubicBezTo>
                <a:cubicBezTo>
                  <a:pt x="800" y="476"/>
                  <a:pt x="850" y="425"/>
                  <a:pt x="850" y="401"/>
                </a:cubicBezTo>
                <a:cubicBezTo>
                  <a:pt x="850" y="401"/>
                  <a:pt x="800" y="350"/>
                  <a:pt x="775" y="350"/>
                </a:cubicBezTo>
                <a:cubicBezTo>
                  <a:pt x="775" y="325"/>
                  <a:pt x="750" y="325"/>
                  <a:pt x="725" y="301"/>
                </a:cubicBezTo>
                <a:cubicBezTo>
                  <a:pt x="700" y="275"/>
                  <a:pt x="700" y="275"/>
                  <a:pt x="700" y="250"/>
                </a:cubicBezTo>
                <a:cubicBezTo>
                  <a:pt x="725" y="225"/>
                  <a:pt x="725" y="225"/>
                  <a:pt x="725" y="200"/>
                </a:cubicBezTo>
                <a:cubicBezTo>
                  <a:pt x="725" y="175"/>
                  <a:pt x="750" y="200"/>
                  <a:pt x="750" y="175"/>
                </a:cubicBezTo>
                <a:cubicBezTo>
                  <a:pt x="775" y="150"/>
                  <a:pt x="775" y="150"/>
                  <a:pt x="775" y="150"/>
                </a:cubicBezTo>
                <a:cubicBezTo>
                  <a:pt x="775" y="125"/>
                  <a:pt x="775" y="100"/>
                  <a:pt x="775" y="76"/>
                </a:cubicBezTo>
                <a:cubicBezTo>
                  <a:pt x="775" y="50"/>
                  <a:pt x="700" y="50"/>
                  <a:pt x="674" y="25"/>
                </a:cubicBezTo>
                <a:cubicBezTo>
                  <a:pt x="674" y="0"/>
                  <a:pt x="625" y="0"/>
                  <a:pt x="600" y="25"/>
                </a:cubicBezTo>
                <a:cubicBezTo>
                  <a:pt x="600" y="50"/>
                  <a:pt x="525" y="25"/>
                  <a:pt x="525" y="50"/>
                </a:cubicBezTo>
                <a:cubicBezTo>
                  <a:pt x="525" y="76"/>
                  <a:pt x="450" y="76"/>
                  <a:pt x="450" y="100"/>
                </a:cubicBezTo>
                <a:cubicBezTo>
                  <a:pt x="450" y="125"/>
                  <a:pt x="475" y="200"/>
                  <a:pt x="450" y="175"/>
                </a:cubicBezTo>
                <a:cubicBezTo>
                  <a:pt x="400" y="175"/>
                  <a:pt x="425" y="200"/>
                  <a:pt x="400" y="250"/>
                </a:cubicBezTo>
                <a:cubicBezTo>
                  <a:pt x="375" y="275"/>
                  <a:pt x="375" y="225"/>
                  <a:pt x="349" y="225"/>
                </a:cubicBezTo>
                <a:cubicBezTo>
                  <a:pt x="325" y="225"/>
                  <a:pt x="275" y="200"/>
                  <a:pt x="275" y="225"/>
                </a:cubicBezTo>
                <a:cubicBezTo>
                  <a:pt x="249" y="250"/>
                  <a:pt x="225" y="225"/>
                  <a:pt x="175" y="225"/>
                </a:cubicBezTo>
                <a:cubicBezTo>
                  <a:pt x="125" y="200"/>
                  <a:pt x="100" y="150"/>
                  <a:pt x="75" y="150"/>
                </a:cubicBezTo>
                <a:cubicBezTo>
                  <a:pt x="49" y="150"/>
                  <a:pt x="25" y="150"/>
                  <a:pt x="0" y="175"/>
                </a:cubicBezTo>
                <a:cubicBezTo>
                  <a:pt x="49" y="200"/>
                  <a:pt x="75" y="250"/>
                  <a:pt x="100" y="250"/>
                </a:cubicBezTo>
                <a:cubicBezTo>
                  <a:pt x="149" y="275"/>
                  <a:pt x="249" y="301"/>
                  <a:pt x="249" y="350"/>
                </a:cubicBezTo>
                <a:cubicBezTo>
                  <a:pt x="249" y="376"/>
                  <a:pt x="225" y="425"/>
                  <a:pt x="249" y="425"/>
                </a:cubicBezTo>
                <a:cubicBezTo>
                  <a:pt x="275" y="450"/>
                  <a:pt x="249" y="501"/>
                  <a:pt x="275" y="525"/>
                </a:cubicBezTo>
                <a:cubicBezTo>
                  <a:pt x="300" y="525"/>
                  <a:pt x="275" y="601"/>
                  <a:pt x="275" y="601"/>
                </a:cubicBezTo>
                <a:cubicBezTo>
                  <a:pt x="249" y="601"/>
                  <a:pt x="275" y="625"/>
                  <a:pt x="275" y="650"/>
                </a:cubicBezTo>
                <a:cubicBezTo>
                  <a:pt x="300" y="650"/>
                  <a:pt x="300" y="676"/>
                  <a:pt x="300" y="701"/>
                </a:cubicBezTo>
                <a:cubicBezTo>
                  <a:pt x="325" y="701"/>
                  <a:pt x="349" y="701"/>
                  <a:pt x="375" y="725"/>
                </a:cubicBezTo>
                <a:cubicBezTo>
                  <a:pt x="400" y="750"/>
                  <a:pt x="400" y="776"/>
                  <a:pt x="400" y="801"/>
                </a:cubicBezTo>
                <a:cubicBezTo>
                  <a:pt x="400" y="825"/>
                  <a:pt x="400" y="850"/>
                  <a:pt x="400" y="825"/>
                </a:cubicBezTo>
                <a:cubicBezTo>
                  <a:pt x="375" y="825"/>
                  <a:pt x="349" y="825"/>
                  <a:pt x="325" y="876"/>
                </a:cubicBezTo>
                <a:cubicBezTo>
                  <a:pt x="325" y="901"/>
                  <a:pt x="275" y="950"/>
                  <a:pt x="249" y="976"/>
                </a:cubicBezTo>
                <a:cubicBezTo>
                  <a:pt x="200" y="976"/>
                  <a:pt x="200" y="1001"/>
                  <a:pt x="175" y="1001"/>
                </a:cubicBezTo>
                <a:cubicBezTo>
                  <a:pt x="149" y="1025"/>
                  <a:pt x="125" y="1025"/>
                  <a:pt x="125" y="1050"/>
                </a:cubicBezTo>
                <a:cubicBezTo>
                  <a:pt x="125" y="1101"/>
                  <a:pt x="100" y="1101"/>
                  <a:pt x="75" y="1101"/>
                </a:cubicBezTo>
                <a:cubicBezTo>
                  <a:pt x="49" y="1101"/>
                  <a:pt x="49" y="1150"/>
                  <a:pt x="25" y="1150"/>
                </a:cubicBezTo>
                <a:cubicBezTo>
                  <a:pt x="0" y="1176"/>
                  <a:pt x="0" y="1176"/>
                  <a:pt x="25" y="1201"/>
                </a:cubicBezTo>
                <a:cubicBezTo>
                  <a:pt x="49" y="1225"/>
                  <a:pt x="25" y="1250"/>
                  <a:pt x="49" y="1276"/>
                </a:cubicBezTo>
                <a:cubicBezTo>
                  <a:pt x="49" y="1301"/>
                  <a:pt x="75" y="1325"/>
                  <a:pt x="49" y="1376"/>
                </a:cubicBezTo>
                <a:cubicBezTo>
                  <a:pt x="25" y="1425"/>
                  <a:pt x="25" y="1476"/>
                  <a:pt x="25" y="1476"/>
                </a:cubicBezTo>
                <a:cubicBezTo>
                  <a:pt x="49" y="1476"/>
                  <a:pt x="100" y="1501"/>
                  <a:pt x="125" y="1501"/>
                </a:cubicBezTo>
                <a:cubicBezTo>
                  <a:pt x="149" y="1501"/>
                  <a:pt x="149" y="1550"/>
                  <a:pt x="175" y="1550"/>
                </a:cubicBezTo>
                <a:cubicBezTo>
                  <a:pt x="200" y="1526"/>
                  <a:pt x="200" y="1575"/>
                  <a:pt x="275" y="1550"/>
                </a:cubicBezTo>
                <a:cubicBezTo>
                  <a:pt x="349" y="1550"/>
                  <a:pt x="500" y="1501"/>
                  <a:pt x="575" y="1501"/>
                </a:cubicBezTo>
                <a:cubicBezTo>
                  <a:pt x="600" y="1501"/>
                  <a:pt x="625" y="1501"/>
                  <a:pt x="650" y="1476"/>
                </a:cubicBezTo>
                <a:cubicBezTo>
                  <a:pt x="674" y="1476"/>
                  <a:pt x="674" y="1450"/>
                  <a:pt x="700" y="1425"/>
                </a:cubicBezTo>
                <a:cubicBezTo>
                  <a:pt x="750" y="1401"/>
                  <a:pt x="825" y="1350"/>
                  <a:pt x="850" y="130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59" name="Freeform 85">
            <a:extLst>
              <a:ext uri="{FF2B5EF4-FFF2-40B4-BE49-F238E27FC236}">
                <a16:creationId xmlns:a16="http://schemas.microsoft.com/office/drawing/2014/main" id="{8E30DEB1-36F5-8C45-9CAC-9383A0734B1E}"/>
              </a:ext>
            </a:extLst>
          </p:cNvPr>
          <p:cNvSpPr>
            <a:spLocks noChangeArrowheads="1"/>
          </p:cNvSpPr>
          <p:nvPr/>
        </p:nvSpPr>
        <p:spPr bwMode="auto">
          <a:xfrm>
            <a:off x="6793498" y="3832259"/>
            <a:ext cx="629996" cy="502028"/>
          </a:xfrm>
          <a:custGeom>
            <a:avLst/>
            <a:gdLst>
              <a:gd name="T0" fmla="*/ 1175 w 1976"/>
              <a:gd name="T1" fmla="*/ 325 h 1576"/>
              <a:gd name="T2" fmla="*/ 1175 w 1976"/>
              <a:gd name="T3" fmla="*/ 325 h 1576"/>
              <a:gd name="T4" fmla="*/ 1001 w 1976"/>
              <a:gd name="T5" fmla="*/ 300 h 1576"/>
              <a:gd name="T6" fmla="*/ 900 w 1976"/>
              <a:gd name="T7" fmla="*/ 275 h 1576"/>
              <a:gd name="T8" fmla="*/ 675 w 1976"/>
              <a:gd name="T9" fmla="*/ 100 h 1576"/>
              <a:gd name="T10" fmla="*/ 475 w 1976"/>
              <a:gd name="T11" fmla="*/ 0 h 1576"/>
              <a:gd name="T12" fmla="*/ 400 w 1976"/>
              <a:gd name="T13" fmla="*/ 0 h 1576"/>
              <a:gd name="T14" fmla="*/ 325 w 1976"/>
              <a:gd name="T15" fmla="*/ 25 h 1576"/>
              <a:gd name="T16" fmla="*/ 225 w 1976"/>
              <a:gd name="T17" fmla="*/ 75 h 1576"/>
              <a:gd name="T18" fmla="*/ 300 w 1976"/>
              <a:gd name="T19" fmla="*/ 175 h 1576"/>
              <a:gd name="T20" fmla="*/ 225 w 1976"/>
              <a:gd name="T21" fmla="*/ 200 h 1576"/>
              <a:gd name="T22" fmla="*/ 175 w 1976"/>
              <a:gd name="T23" fmla="*/ 225 h 1576"/>
              <a:gd name="T24" fmla="*/ 100 w 1976"/>
              <a:gd name="T25" fmla="*/ 300 h 1576"/>
              <a:gd name="T26" fmla="*/ 0 w 1976"/>
              <a:gd name="T27" fmla="*/ 251 h 1576"/>
              <a:gd name="T28" fmla="*/ 0 w 1976"/>
              <a:gd name="T29" fmla="*/ 275 h 1576"/>
              <a:gd name="T30" fmla="*/ 0 w 1976"/>
              <a:gd name="T31" fmla="*/ 300 h 1576"/>
              <a:gd name="T32" fmla="*/ 0 w 1976"/>
              <a:gd name="T33" fmla="*/ 400 h 1576"/>
              <a:gd name="T34" fmla="*/ 75 w 1976"/>
              <a:gd name="T35" fmla="*/ 500 h 1576"/>
              <a:gd name="T36" fmla="*/ 225 w 1976"/>
              <a:gd name="T37" fmla="*/ 724 h 1576"/>
              <a:gd name="T38" fmla="*/ 300 w 1976"/>
              <a:gd name="T39" fmla="*/ 824 h 1576"/>
              <a:gd name="T40" fmla="*/ 375 w 1976"/>
              <a:gd name="T41" fmla="*/ 924 h 1576"/>
              <a:gd name="T42" fmla="*/ 400 w 1976"/>
              <a:gd name="T43" fmla="*/ 1024 h 1576"/>
              <a:gd name="T44" fmla="*/ 475 w 1976"/>
              <a:gd name="T45" fmla="*/ 1174 h 1576"/>
              <a:gd name="T46" fmla="*/ 600 w 1976"/>
              <a:gd name="T47" fmla="*/ 1299 h 1576"/>
              <a:gd name="T48" fmla="*/ 675 w 1976"/>
              <a:gd name="T49" fmla="*/ 1450 h 1576"/>
              <a:gd name="T50" fmla="*/ 700 w 1976"/>
              <a:gd name="T51" fmla="*/ 1524 h 1576"/>
              <a:gd name="T52" fmla="*/ 725 w 1976"/>
              <a:gd name="T53" fmla="*/ 1575 h 1576"/>
              <a:gd name="T54" fmla="*/ 775 w 1976"/>
              <a:gd name="T55" fmla="*/ 1550 h 1576"/>
              <a:gd name="T56" fmla="*/ 775 w 1976"/>
              <a:gd name="T57" fmla="*/ 1499 h 1576"/>
              <a:gd name="T58" fmla="*/ 825 w 1976"/>
              <a:gd name="T59" fmla="*/ 1475 h 1576"/>
              <a:gd name="T60" fmla="*/ 900 w 1976"/>
              <a:gd name="T61" fmla="*/ 1475 h 1576"/>
              <a:gd name="T62" fmla="*/ 1001 w 1976"/>
              <a:gd name="T63" fmla="*/ 1499 h 1576"/>
              <a:gd name="T64" fmla="*/ 1125 w 1976"/>
              <a:gd name="T65" fmla="*/ 1499 h 1576"/>
              <a:gd name="T66" fmla="*/ 1201 w 1976"/>
              <a:gd name="T67" fmla="*/ 1499 h 1576"/>
              <a:gd name="T68" fmla="*/ 1350 w 1976"/>
              <a:gd name="T69" fmla="*/ 1350 h 1576"/>
              <a:gd name="T70" fmla="*/ 1525 w 1976"/>
              <a:gd name="T71" fmla="*/ 1350 h 1576"/>
              <a:gd name="T72" fmla="*/ 1901 w 1976"/>
              <a:gd name="T73" fmla="*/ 1224 h 1576"/>
              <a:gd name="T74" fmla="*/ 1975 w 1976"/>
              <a:gd name="T75" fmla="*/ 1024 h 1576"/>
              <a:gd name="T76" fmla="*/ 1926 w 1976"/>
              <a:gd name="T77" fmla="*/ 974 h 1576"/>
              <a:gd name="T78" fmla="*/ 1701 w 1976"/>
              <a:gd name="T79" fmla="*/ 924 h 1576"/>
              <a:gd name="T80" fmla="*/ 1625 w 1976"/>
              <a:gd name="T81" fmla="*/ 824 h 1576"/>
              <a:gd name="T82" fmla="*/ 1575 w 1976"/>
              <a:gd name="T83" fmla="*/ 774 h 1576"/>
              <a:gd name="T84" fmla="*/ 1501 w 1976"/>
              <a:gd name="T85" fmla="*/ 724 h 1576"/>
              <a:gd name="T86" fmla="*/ 1450 w 1976"/>
              <a:gd name="T87" fmla="*/ 625 h 1576"/>
              <a:gd name="T88" fmla="*/ 1401 w 1976"/>
              <a:gd name="T89" fmla="*/ 525 h 1576"/>
              <a:gd name="T90" fmla="*/ 1301 w 1976"/>
              <a:gd name="T91" fmla="*/ 400 h 1576"/>
              <a:gd name="T92" fmla="*/ 1301 w 1976"/>
              <a:gd name="T93" fmla="*/ 375 h 1576"/>
              <a:gd name="T94" fmla="*/ 1225 w 1976"/>
              <a:gd name="T95" fmla="*/ 375 h 1576"/>
              <a:gd name="T96" fmla="*/ 1175 w 1976"/>
              <a:gd name="T97" fmla="*/ 325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6" h="1576">
                <a:moveTo>
                  <a:pt x="1175" y="325"/>
                </a:moveTo>
                <a:lnTo>
                  <a:pt x="1175" y="325"/>
                </a:lnTo>
                <a:cubicBezTo>
                  <a:pt x="1175" y="325"/>
                  <a:pt x="1025" y="300"/>
                  <a:pt x="1001" y="300"/>
                </a:cubicBezTo>
                <a:cubicBezTo>
                  <a:pt x="1001" y="300"/>
                  <a:pt x="925" y="300"/>
                  <a:pt x="900" y="275"/>
                </a:cubicBezTo>
                <a:cubicBezTo>
                  <a:pt x="875" y="251"/>
                  <a:pt x="700" y="125"/>
                  <a:pt x="675" y="100"/>
                </a:cubicBezTo>
                <a:cubicBezTo>
                  <a:pt x="650" y="75"/>
                  <a:pt x="525" y="0"/>
                  <a:pt x="475" y="0"/>
                </a:cubicBezTo>
                <a:cubicBezTo>
                  <a:pt x="450" y="0"/>
                  <a:pt x="450" y="0"/>
                  <a:pt x="400" y="0"/>
                </a:cubicBezTo>
                <a:cubicBezTo>
                  <a:pt x="375" y="0"/>
                  <a:pt x="375" y="25"/>
                  <a:pt x="325" y="25"/>
                </a:cubicBezTo>
                <a:cubicBezTo>
                  <a:pt x="250" y="25"/>
                  <a:pt x="200" y="75"/>
                  <a:pt x="225" y="75"/>
                </a:cubicBezTo>
                <a:cubicBezTo>
                  <a:pt x="250" y="100"/>
                  <a:pt x="325" y="151"/>
                  <a:pt x="300" y="175"/>
                </a:cubicBezTo>
                <a:cubicBezTo>
                  <a:pt x="275" y="175"/>
                  <a:pt x="275" y="200"/>
                  <a:pt x="225" y="200"/>
                </a:cubicBezTo>
                <a:cubicBezTo>
                  <a:pt x="200" y="200"/>
                  <a:pt x="175" y="225"/>
                  <a:pt x="175" y="225"/>
                </a:cubicBezTo>
                <a:cubicBezTo>
                  <a:pt x="175" y="251"/>
                  <a:pt x="125" y="300"/>
                  <a:pt x="100" y="300"/>
                </a:cubicBezTo>
                <a:cubicBezTo>
                  <a:pt x="75" y="300"/>
                  <a:pt x="50" y="275"/>
                  <a:pt x="0" y="251"/>
                </a:cubicBezTo>
                <a:cubicBezTo>
                  <a:pt x="0" y="275"/>
                  <a:pt x="0" y="275"/>
                  <a:pt x="0" y="275"/>
                </a:cubicBezTo>
                <a:cubicBezTo>
                  <a:pt x="0" y="300"/>
                  <a:pt x="0" y="300"/>
                  <a:pt x="0" y="300"/>
                </a:cubicBezTo>
                <a:cubicBezTo>
                  <a:pt x="0" y="325"/>
                  <a:pt x="0" y="400"/>
                  <a:pt x="0" y="400"/>
                </a:cubicBezTo>
                <a:cubicBezTo>
                  <a:pt x="25" y="425"/>
                  <a:pt x="50" y="451"/>
                  <a:pt x="75" y="500"/>
                </a:cubicBezTo>
                <a:cubicBezTo>
                  <a:pt x="125" y="551"/>
                  <a:pt x="225" y="675"/>
                  <a:pt x="225" y="724"/>
                </a:cubicBezTo>
                <a:cubicBezTo>
                  <a:pt x="225" y="749"/>
                  <a:pt x="250" y="774"/>
                  <a:pt x="300" y="824"/>
                </a:cubicBezTo>
                <a:cubicBezTo>
                  <a:pt x="350" y="850"/>
                  <a:pt x="350" y="899"/>
                  <a:pt x="375" y="924"/>
                </a:cubicBezTo>
                <a:cubicBezTo>
                  <a:pt x="400" y="950"/>
                  <a:pt x="400" y="974"/>
                  <a:pt x="400" y="1024"/>
                </a:cubicBezTo>
                <a:cubicBezTo>
                  <a:pt x="400" y="1074"/>
                  <a:pt x="425" y="1150"/>
                  <a:pt x="475" y="1174"/>
                </a:cubicBezTo>
                <a:cubicBezTo>
                  <a:pt x="525" y="1224"/>
                  <a:pt x="575" y="1250"/>
                  <a:pt x="600" y="1299"/>
                </a:cubicBezTo>
                <a:cubicBezTo>
                  <a:pt x="600" y="1375"/>
                  <a:pt x="650" y="1424"/>
                  <a:pt x="675" y="1450"/>
                </a:cubicBezTo>
                <a:cubicBezTo>
                  <a:pt x="700" y="1475"/>
                  <a:pt x="700" y="1499"/>
                  <a:pt x="700" y="1524"/>
                </a:cubicBezTo>
                <a:cubicBezTo>
                  <a:pt x="725" y="1524"/>
                  <a:pt x="725" y="1550"/>
                  <a:pt x="725" y="1575"/>
                </a:cubicBezTo>
                <a:cubicBezTo>
                  <a:pt x="750" y="1575"/>
                  <a:pt x="775" y="1550"/>
                  <a:pt x="775" y="1550"/>
                </a:cubicBezTo>
                <a:cubicBezTo>
                  <a:pt x="775" y="1550"/>
                  <a:pt x="775" y="1524"/>
                  <a:pt x="775" y="1499"/>
                </a:cubicBezTo>
                <a:cubicBezTo>
                  <a:pt x="775" y="1499"/>
                  <a:pt x="800" y="1475"/>
                  <a:pt x="825" y="1475"/>
                </a:cubicBezTo>
                <a:cubicBezTo>
                  <a:pt x="825" y="1475"/>
                  <a:pt x="850" y="1475"/>
                  <a:pt x="900" y="1475"/>
                </a:cubicBezTo>
                <a:cubicBezTo>
                  <a:pt x="925" y="1475"/>
                  <a:pt x="1001" y="1475"/>
                  <a:pt x="1001" y="1499"/>
                </a:cubicBezTo>
                <a:cubicBezTo>
                  <a:pt x="1001" y="1499"/>
                  <a:pt x="1100" y="1499"/>
                  <a:pt x="1125" y="1499"/>
                </a:cubicBezTo>
                <a:cubicBezTo>
                  <a:pt x="1150" y="1524"/>
                  <a:pt x="1175" y="1524"/>
                  <a:pt x="1201" y="1499"/>
                </a:cubicBezTo>
                <a:cubicBezTo>
                  <a:pt x="1225" y="1450"/>
                  <a:pt x="1325" y="1375"/>
                  <a:pt x="1350" y="1350"/>
                </a:cubicBezTo>
                <a:cubicBezTo>
                  <a:pt x="1350" y="1350"/>
                  <a:pt x="1475" y="1350"/>
                  <a:pt x="1525" y="1350"/>
                </a:cubicBezTo>
                <a:cubicBezTo>
                  <a:pt x="1575" y="1350"/>
                  <a:pt x="1901" y="1250"/>
                  <a:pt x="1901" y="1224"/>
                </a:cubicBezTo>
                <a:cubicBezTo>
                  <a:pt x="1926" y="1224"/>
                  <a:pt x="1975" y="1050"/>
                  <a:pt x="1975" y="1024"/>
                </a:cubicBezTo>
                <a:cubicBezTo>
                  <a:pt x="1975" y="999"/>
                  <a:pt x="1950" y="950"/>
                  <a:pt x="1926" y="974"/>
                </a:cubicBezTo>
                <a:cubicBezTo>
                  <a:pt x="1901" y="974"/>
                  <a:pt x="1701" y="950"/>
                  <a:pt x="1701" y="924"/>
                </a:cubicBezTo>
                <a:cubicBezTo>
                  <a:pt x="1675" y="924"/>
                  <a:pt x="1625" y="899"/>
                  <a:pt x="1625" y="824"/>
                </a:cubicBezTo>
                <a:cubicBezTo>
                  <a:pt x="1601" y="824"/>
                  <a:pt x="1575" y="799"/>
                  <a:pt x="1575" y="774"/>
                </a:cubicBezTo>
                <a:cubicBezTo>
                  <a:pt x="1550" y="774"/>
                  <a:pt x="1525" y="774"/>
                  <a:pt x="1501" y="724"/>
                </a:cubicBezTo>
                <a:cubicBezTo>
                  <a:pt x="1475" y="700"/>
                  <a:pt x="1425" y="651"/>
                  <a:pt x="1450" y="625"/>
                </a:cubicBezTo>
                <a:cubicBezTo>
                  <a:pt x="1475" y="600"/>
                  <a:pt x="1450" y="551"/>
                  <a:pt x="1401" y="525"/>
                </a:cubicBezTo>
                <a:cubicBezTo>
                  <a:pt x="1375" y="500"/>
                  <a:pt x="1325" y="451"/>
                  <a:pt x="1301" y="400"/>
                </a:cubicBezTo>
                <a:lnTo>
                  <a:pt x="1301" y="375"/>
                </a:lnTo>
                <a:cubicBezTo>
                  <a:pt x="1225" y="375"/>
                  <a:pt x="1225" y="375"/>
                  <a:pt x="1225" y="375"/>
                </a:cubicBezTo>
                <a:lnTo>
                  <a:pt x="1175" y="3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0" name="Freeform 86">
            <a:extLst>
              <a:ext uri="{FF2B5EF4-FFF2-40B4-BE49-F238E27FC236}">
                <a16:creationId xmlns:a16="http://schemas.microsoft.com/office/drawing/2014/main" id="{61912BB4-BA62-E941-AB0B-DD6B0B5F80B9}"/>
              </a:ext>
            </a:extLst>
          </p:cNvPr>
          <p:cNvSpPr>
            <a:spLocks noChangeArrowheads="1"/>
          </p:cNvSpPr>
          <p:nvPr/>
        </p:nvSpPr>
        <p:spPr bwMode="auto">
          <a:xfrm>
            <a:off x="7312400" y="4062880"/>
            <a:ext cx="239061" cy="264373"/>
          </a:xfrm>
          <a:custGeom>
            <a:avLst/>
            <a:gdLst>
              <a:gd name="T0" fmla="*/ 376 w 751"/>
              <a:gd name="T1" fmla="*/ 25 h 827"/>
              <a:gd name="T2" fmla="*/ 376 w 751"/>
              <a:gd name="T3" fmla="*/ 25 h 827"/>
              <a:gd name="T4" fmla="*/ 376 w 751"/>
              <a:gd name="T5" fmla="*/ 75 h 827"/>
              <a:gd name="T6" fmla="*/ 301 w 751"/>
              <a:gd name="T7" fmla="*/ 150 h 827"/>
              <a:gd name="T8" fmla="*/ 276 w 751"/>
              <a:gd name="T9" fmla="*/ 250 h 827"/>
              <a:gd name="T10" fmla="*/ 301 w 751"/>
              <a:gd name="T11" fmla="*/ 250 h 827"/>
              <a:gd name="T12" fmla="*/ 350 w 751"/>
              <a:gd name="T13" fmla="*/ 300 h 827"/>
              <a:gd name="T14" fmla="*/ 276 w 751"/>
              <a:gd name="T15" fmla="*/ 500 h 827"/>
              <a:gd name="T16" fmla="*/ 0 w 751"/>
              <a:gd name="T17" fmla="*/ 600 h 827"/>
              <a:gd name="T18" fmla="*/ 100 w 751"/>
              <a:gd name="T19" fmla="*/ 826 h 827"/>
              <a:gd name="T20" fmla="*/ 125 w 751"/>
              <a:gd name="T21" fmla="*/ 826 h 827"/>
              <a:gd name="T22" fmla="*/ 276 w 751"/>
              <a:gd name="T23" fmla="*/ 800 h 827"/>
              <a:gd name="T24" fmla="*/ 325 w 751"/>
              <a:gd name="T25" fmla="*/ 726 h 827"/>
              <a:gd name="T26" fmla="*/ 425 w 751"/>
              <a:gd name="T27" fmla="*/ 700 h 827"/>
              <a:gd name="T28" fmla="*/ 476 w 751"/>
              <a:gd name="T29" fmla="*/ 626 h 827"/>
              <a:gd name="T30" fmla="*/ 550 w 751"/>
              <a:gd name="T31" fmla="*/ 600 h 827"/>
              <a:gd name="T32" fmla="*/ 576 w 751"/>
              <a:gd name="T33" fmla="*/ 475 h 827"/>
              <a:gd name="T34" fmla="*/ 650 w 751"/>
              <a:gd name="T35" fmla="*/ 426 h 827"/>
              <a:gd name="T36" fmla="*/ 725 w 751"/>
              <a:gd name="T37" fmla="*/ 300 h 827"/>
              <a:gd name="T38" fmla="*/ 725 w 751"/>
              <a:gd name="T39" fmla="*/ 250 h 827"/>
              <a:gd name="T40" fmla="*/ 650 w 751"/>
              <a:gd name="T41" fmla="*/ 150 h 827"/>
              <a:gd name="T42" fmla="*/ 501 w 751"/>
              <a:gd name="T43" fmla="*/ 100 h 827"/>
              <a:gd name="T44" fmla="*/ 450 w 751"/>
              <a:gd name="T45" fmla="*/ 0 h 827"/>
              <a:gd name="T46" fmla="*/ 401 w 751"/>
              <a:gd name="T47" fmla="*/ 25 h 827"/>
              <a:gd name="T48" fmla="*/ 376 w 751"/>
              <a:gd name="T49" fmla="*/ 2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1" h="827">
                <a:moveTo>
                  <a:pt x="376" y="25"/>
                </a:moveTo>
                <a:lnTo>
                  <a:pt x="376" y="25"/>
                </a:lnTo>
                <a:cubicBezTo>
                  <a:pt x="376" y="75"/>
                  <a:pt x="376" y="75"/>
                  <a:pt x="376" y="75"/>
                </a:cubicBezTo>
                <a:cubicBezTo>
                  <a:pt x="301" y="150"/>
                  <a:pt x="301" y="150"/>
                  <a:pt x="301" y="150"/>
                </a:cubicBezTo>
                <a:cubicBezTo>
                  <a:pt x="276" y="250"/>
                  <a:pt x="276" y="250"/>
                  <a:pt x="276" y="250"/>
                </a:cubicBezTo>
                <a:cubicBezTo>
                  <a:pt x="301" y="250"/>
                  <a:pt x="301" y="250"/>
                  <a:pt x="301" y="250"/>
                </a:cubicBezTo>
                <a:cubicBezTo>
                  <a:pt x="325" y="226"/>
                  <a:pt x="350" y="275"/>
                  <a:pt x="350" y="300"/>
                </a:cubicBezTo>
                <a:cubicBezTo>
                  <a:pt x="350" y="326"/>
                  <a:pt x="301" y="500"/>
                  <a:pt x="276" y="500"/>
                </a:cubicBezTo>
                <a:cubicBezTo>
                  <a:pt x="276" y="500"/>
                  <a:pt x="100" y="575"/>
                  <a:pt x="0" y="600"/>
                </a:cubicBezTo>
                <a:cubicBezTo>
                  <a:pt x="25" y="651"/>
                  <a:pt x="76" y="751"/>
                  <a:pt x="100" y="826"/>
                </a:cubicBezTo>
                <a:cubicBezTo>
                  <a:pt x="125" y="826"/>
                  <a:pt x="125" y="826"/>
                  <a:pt x="125" y="826"/>
                </a:cubicBezTo>
                <a:cubicBezTo>
                  <a:pt x="176" y="800"/>
                  <a:pt x="250" y="800"/>
                  <a:pt x="276" y="800"/>
                </a:cubicBezTo>
                <a:cubicBezTo>
                  <a:pt x="325" y="800"/>
                  <a:pt x="301" y="751"/>
                  <a:pt x="325" y="726"/>
                </a:cubicBezTo>
                <a:cubicBezTo>
                  <a:pt x="350" y="700"/>
                  <a:pt x="401" y="726"/>
                  <a:pt x="425" y="700"/>
                </a:cubicBezTo>
                <a:cubicBezTo>
                  <a:pt x="450" y="700"/>
                  <a:pt x="450" y="626"/>
                  <a:pt x="476" y="626"/>
                </a:cubicBezTo>
                <a:cubicBezTo>
                  <a:pt x="525" y="600"/>
                  <a:pt x="550" y="626"/>
                  <a:pt x="550" y="600"/>
                </a:cubicBezTo>
                <a:cubicBezTo>
                  <a:pt x="550" y="575"/>
                  <a:pt x="550" y="475"/>
                  <a:pt x="576" y="475"/>
                </a:cubicBezTo>
                <a:cubicBezTo>
                  <a:pt x="601" y="450"/>
                  <a:pt x="650" y="426"/>
                  <a:pt x="650" y="426"/>
                </a:cubicBezTo>
                <a:cubicBezTo>
                  <a:pt x="650" y="400"/>
                  <a:pt x="725" y="326"/>
                  <a:pt x="725" y="300"/>
                </a:cubicBezTo>
                <a:cubicBezTo>
                  <a:pt x="750" y="275"/>
                  <a:pt x="750" y="250"/>
                  <a:pt x="725" y="250"/>
                </a:cubicBezTo>
                <a:cubicBezTo>
                  <a:pt x="701" y="250"/>
                  <a:pt x="650" y="175"/>
                  <a:pt x="650" y="150"/>
                </a:cubicBezTo>
                <a:cubicBezTo>
                  <a:pt x="625" y="126"/>
                  <a:pt x="550" y="150"/>
                  <a:pt x="501" y="100"/>
                </a:cubicBezTo>
                <a:cubicBezTo>
                  <a:pt x="476" y="75"/>
                  <a:pt x="450" y="25"/>
                  <a:pt x="450" y="0"/>
                </a:cubicBezTo>
                <a:cubicBezTo>
                  <a:pt x="401" y="25"/>
                  <a:pt x="401" y="25"/>
                  <a:pt x="401" y="25"/>
                </a:cubicBezTo>
                <a:lnTo>
                  <a:pt x="376" y="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1" name="Freeform 87">
            <a:extLst>
              <a:ext uri="{FF2B5EF4-FFF2-40B4-BE49-F238E27FC236}">
                <a16:creationId xmlns:a16="http://schemas.microsoft.com/office/drawing/2014/main" id="{8498921D-BEB9-4A4A-B008-6E17CC2999C1}"/>
              </a:ext>
            </a:extLst>
          </p:cNvPr>
          <p:cNvSpPr>
            <a:spLocks noChangeArrowheads="1"/>
          </p:cNvSpPr>
          <p:nvPr/>
        </p:nvSpPr>
        <p:spPr bwMode="auto">
          <a:xfrm>
            <a:off x="7273024" y="4031946"/>
            <a:ext cx="32344" cy="47812"/>
          </a:xfrm>
          <a:custGeom>
            <a:avLst/>
            <a:gdLst>
              <a:gd name="T0" fmla="*/ 74 w 101"/>
              <a:gd name="T1" fmla="*/ 149 h 150"/>
              <a:gd name="T2" fmla="*/ 74 w 101"/>
              <a:gd name="T3" fmla="*/ 149 h 150"/>
              <a:gd name="T4" fmla="*/ 74 w 101"/>
              <a:gd name="T5" fmla="*/ 124 h 150"/>
              <a:gd name="T6" fmla="*/ 74 w 101"/>
              <a:gd name="T7" fmla="*/ 0 h 150"/>
              <a:gd name="T8" fmla="*/ 0 w 101"/>
              <a:gd name="T9" fmla="*/ 99 h 150"/>
              <a:gd name="T10" fmla="*/ 0 w 101"/>
              <a:gd name="T11" fmla="*/ 99 h 150"/>
              <a:gd name="T12" fmla="*/ 74 w 101"/>
              <a:gd name="T13" fmla="*/ 149 h 150"/>
            </a:gdLst>
            <a:ahLst/>
            <a:cxnLst>
              <a:cxn ang="0">
                <a:pos x="T0" y="T1"/>
              </a:cxn>
              <a:cxn ang="0">
                <a:pos x="T2" y="T3"/>
              </a:cxn>
              <a:cxn ang="0">
                <a:pos x="T4" y="T5"/>
              </a:cxn>
              <a:cxn ang="0">
                <a:pos x="T6" y="T7"/>
              </a:cxn>
              <a:cxn ang="0">
                <a:pos x="T8" y="T9"/>
              </a:cxn>
              <a:cxn ang="0">
                <a:pos x="T10" y="T11"/>
              </a:cxn>
              <a:cxn ang="0">
                <a:pos x="T12" y="T13"/>
              </a:cxn>
            </a:cxnLst>
            <a:rect l="0" t="0" r="r" b="b"/>
            <a:pathLst>
              <a:path w="101" h="150">
                <a:moveTo>
                  <a:pt x="74" y="149"/>
                </a:moveTo>
                <a:lnTo>
                  <a:pt x="74" y="149"/>
                </a:lnTo>
                <a:lnTo>
                  <a:pt x="74" y="124"/>
                </a:lnTo>
                <a:cubicBezTo>
                  <a:pt x="100" y="99"/>
                  <a:pt x="100" y="26"/>
                  <a:pt x="74" y="0"/>
                </a:cubicBezTo>
                <a:cubicBezTo>
                  <a:pt x="24" y="0"/>
                  <a:pt x="0" y="75"/>
                  <a:pt x="0" y="99"/>
                </a:cubicBezTo>
                <a:lnTo>
                  <a:pt x="0" y="99"/>
                </a:lnTo>
                <a:cubicBezTo>
                  <a:pt x="24" y="149"/>
                  <a:pt x="49" y="149"/>
                  <a:pt x="74" y="1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2" name="Freeform 88">
            <a:extLst>
              <a:ext uri="{FF2B5EF4-FFF2-40B4-BE49-F238E27FC236}">
                <a16:creationId xmlns:a16="http://schemas.microsoft.com/office/drawing/2014/main" id="{2F69D68B-927C-1841-B942-D851EF635A08}"/>
              </a:ext>
            </a:extLst>
          </p:cNvPr>
          <p:cNvSpPr>
            <a:spLocks noChangeArrowheads="1"/>
          </p:cNvSpPr>
          <p:nvPr/>
        </p:nvSpPr>
        <p:spPr bwMode="auto">
          <a:xfrm>
            <a:off x="7312399" y="4023505"/>
            <a:ext cx="143436" cy="119531"/>
          </a:xfrm>
          <a:custGeom>
            <a:avLst/>
            <a:gdLst>
              <a:gd name="T0" fmla="*/ 76 w 451"/>
              <a:gd name="T1" fmla="*/ 324 h 375"/>
              <a:gd name="T2" fmla="*/ 76 w 451"/>
              <a:gd name="T3" fmla="*/ 324 h 375"/>
              <a:gd name="T4" fmla="*/ 276 w 451"/>
              <a:gd name="T5" fmla="*/ 374 h 375"/>
              <a:gd name="T6" fmla="*/ 301 w 451"/>
              <a:gd name="T7" fmla="*/ 274 h 375"/>
              <a:gd name="T8" fmla="*/ 376 w 451"/>
              <a:gd name="T9" fmla="*/ 199 h 375"/>
              <a:gd name="T10" fmla="*/ 376 w 451"/>
              <a:gd name="T11" fmla="*/ 149 h 375"/>
              <a:gd name="T12" fmla="*/ 401 w 451"/>
              <a:gd name="T13" fmla="*/ 149 h 375"/>
              <a:gd name="T14" fmla="*/ 450 w 451"/>
              <a:gd name="T15" fmla="*/ 124 h 375"/>
              <a:gd name="T16" fmla="*/ 425 w 451"/>
              <a:gd name="T17" fmla="*/ 0 h 375"/>
              <a:gd name="T18" fmla="*/ 301 w 451"/>
              <a:gd name="T19" fmla="*/ 124 h 375"/>
              <a:gd name="T20" fmla="*/ 125 w 451"/>
              <a:gd name="T21" fmla="*/ 224 h 375"/>
              <a:gd name="T22" fmla="*/ 0 w 451"/>
              <a:gd name="T23" fmla="*/ 250 h 375"/>
              <a:gd name="T24" fmla="*/ 0 w 451"/>
              <a:gd name="T25" fmla="*/ 224 h 375"/>
              <a:gd name="T26" fmla="*/ 76 w 451"/>
              <a:gd name="T27" fmla="*/ 32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1" h="375">
                <a:moveTo>
                  <a:pt x="76" y="324"/>
                </a:moveTo>
                <a:lnTo>
                  <a:pt x="76" y="324"/>
                </a:lnTo>
                <a:cubicBezTo>
                  <a:pt x="76" y="350"/>
                  <a:pt x="225" y="350"/>
                  <a:pt x="276" y="374"/>
                </a:cubicBezTo>
                <a:cubicBezTo>
                  <a:pt x="301" y="274"/>
                  <a:pt x="301" y="274"/>
                  <a:pt x="301" y="274"/>
                </a:cubicBezTo>
                <a:cubicBezTo>
                  <a:pt x="376" y="199"/>
                  <a:pt x="376" y="199"/>
                  <a:pt x="376" y="199"/>
                </a:cubicBezTo>
                <a:cubicBezTo>
                  <a:pt x="376" y="149"/>
                  <a:pt x="376" y="149"/>
                  <a:pt x="376" y="149"/>
                </a:cubicBezTo>
                <a:cubicBezTo>
                  <a:pt x="401" y="149"/>
                  <a:pt x="401" y="149"/>
                  <a:pt x="401" y="149"/>
                </a:cubicBezTo>
                <a:cubicBezTo>
                  <a:pt x="450" y="124"/>
                  <a:pt x="450" y="124"/>
                  <a:pt x="450" y="124"/>
                </a:cubicBezTo>
                <a:cubicBezTo>
                  <a:pt x="425" y="51"/>
                  <a:pt x="425" y="0"/>
                  <a:pt x="425" y="0"/>
                </a:cubicBezTo>
                <a:cubicBezTo>
                  <a:pt x="401" y="0"/>
                  <a:pt x="325" y="75"/>
                  <a:pt x="301" y="124"/>
                </a:cubicBezTo>
                <a:cubicBezTo>
                  <a:pt x="276" y="174"/>
                  <a:pt x="200" y="224"/>
                  <a:pt x="125" y="224"/>
                </a:cubicBezTo>
                <a:cubicBezTo>
                  <a:pt x="50" y="199"/>
                  <a:pt x="25" y="224"/>
                  <a:pt x="0" y="250"/>
                </a:cubicBezTo>
                <a:cubicBezTo>
                  <a:pt x="0" y="250"/>
                  <a:pt x="0" y="250"/>
                  <a:pt x="0" y="224"/>
                </a:cubicBezTo>
                <a:cubicBezTo>
                  <a:pt x="0" y="299"/>
                  <a:pt x="50" y="324"/>
                  <a:pt x="76" y="32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3" name="Freeform 89">
            <a:extLst>
              <a:ext uri="{FF2B5EF4-FFF2-40B4-BE49-F238E27FC236}">
                <a16:creationId xmlns:a16="http://schemas.microsoft.com/office/drawing/2014/main" id="{A99BD30C-E1A2-9545-B2A1-22B79EF5648C}"/>
              </a:ext>
            </a:extLst>
          </p:cNvPr>
          <p:cNvSpPr>
            <a:spLocks noChangeArrowheads="1"/>
          </p:cNvSpPr>
          <p:nvPr/>
        </p:nvSpPr>
        <p:spPr bwMode="auto">
          <a:xfrm>
            <a:off x="8724265" y="4636628"/>
            <a:ext cx="582184" cy="184219"/>
          </a:xfrm>
          <a:custGeom>
            <a:avLst/>
            <a:gdLst>
              <a:gd name="T0" fmla="*/ 325 w 1826"/>
              <a:gd name="T1" fmla="*/ 200 h 577"/>
              <a:gd name="T2" fmla="*/ 325 w 1826"/>
              <a:gd name="T3" fmla="*/ 200 h 577"/>
              <a:gd name="T4" fmla="*/ 276 w 1826"/>
              <a:gd name="T5" fmla="*/ 100 h 577"/>
              <a:gd name="T6" fmla="*/ 225 w 1826"/>
              <a:gd name="T7" fmla="*/ 51 h 577"/>
              <a:gd name="T8" fmla="*/ 200 w 1826"/>
              <a:gd name="T9" fmla="*/ 51 h 577"/>
              <a:gd name="T10" fmla="*/ 175 w 1826"/>
              <a:gd name="T11" fmla="*/ 76 h 577"/>
              <a:gd name="T12" fmla="*/ 100 w 1826"/>
              <a:gd name="T13" fmla="*/ 76 h 577"/>
              <a:gd name="T14" fmla="*/ 51 w 1826"/>
              <a:gd name="T15" fmla="*/ 26 h 577"/>
              <a:gd name="T16" fmla="*/ 0 w 1826"/>
              <a:gd name="T17" fmla="*/ 0 h 577"/>
              <a:gd name="T18" fmla="*/ 25 w 1826"/>
              <a:gd name="T19" fmla="*/ 151 h 577"/>
              <a:gd name="T20" fmla="*/ 125 w 1826"/>
              <a:gd name="T21" fmla="*/ 326 h 577"/>
              <a:gd name="T22" fmla="*/ 225 w 1826"/>
              <a:gd name="T23" fmla="*/ 426 h 577"/>
              <a:gd name="T24" fmla="*/ 400 w 1826"/>
              <a:gd name="T25" fmla="*/ 526 h 577"/>
              <a:gd name="T26" fmla="*/ 325 w 1826"/>
              <a:gd name="T27" fmla="*/ 376 h 577"/>
              <a:gd name="T28" fmla="*/ 325 w 1826"/>
              <a:gd name="T29" fmla="*/ 200 h 577"/>
              <a:gd name="T30" fmla="*/ 1751 w 1826"/>
              <a:gd name="T31" fmla="*/ 100 h 577"/>
              <a:gd name="T32" fmla="*/ 1751 w 1826"/>
              <a:gd name="T33" fmla="*/ 100 h 577"/>
              <a:gd name="T34" fmla="*/ 1676 w 1826"/>
              <a:gd name="T35" fmla="*/ 76 h 577"/>
              <a:gd name="T36" fmla="*/ 1576 w 1826"/>
              <a:gd name="T37" fmla="*/ 0 h 577"/>
              <a:gd name="T38" fmla="*/ 1501 w 1826"/>
              <a:gd name="T39" fmla="*/ 100 h 577"/>
              <a:gd name="T40" fmla="*/ 1451 w 1826"/>
              <a:gd name="T41" fmla="*/ 151 h 577"/>
              <a:gd name="T42" fmla="*/ 1451 w 1826"/>
              <a:gd name="T43" fmla="*/ 176 h 577"/>
              <a:gd name="T44" fmla="*/ 1451 w 1826"/>
              <a:gd name="T45" fmla="*/ 251 h 577"/>
              <a:gd name="T46" fmla="*/ 1376 w 1826"/>
              <a:gd name="T47" fmla="*/ 251 h 577"/>
              <a:gd name="T48" fmla="*/ 1325 w 1826"/>
              <a:gd name="T49" fmla="*/ 200 h 577"/>
              <a:gd name="T50" fmla="*/ 1325 w 1826"/>
              <a:gd name="T51" fmla="*/ 200 h 577"/>
              <a:gd name="T52" fmla="*/ 1251 w 1826"/>
              <a:gd name="T53" fmla="*/ 326 h 577"/>
              <a:gd name="T54" fmla="*/ 1100 w 1826"/>
              <a:gd name="T55" fmla="*/ 376 h 577"/>
              <a:gd name="T56" fmla="*/ 1051 w 1826"/>
              <a:gd name="T57" fmla="*/ 476 h 577"/>
              <a:gd name="T58" fmla="*/ 900 w 1826"/>
              <a:gd name="T59" fmla="*/ 451 h 577"/>
              <a:gd name="T60" fmla="*/ 925 w 1826"/>
              <a:gd name="T61" fmla="*/ 500 h 577"/>
              <a:gd name="T62" fmla="*/ 1025 w 1826"/>
              <a:gd name="T63" fmla="*/ 551 h 577"/>
              <a:gd name="T64" fmla="*/ 1125 w 1826"/>
              <a:gd name="T65" fmla="*/ 551 h 577"/>
              <a:gd name="T66" fmla="*/ 1225 w 1826"/>
              <a:gd name="T67" fmla="*/ 500 h 577"/>
              <a:gd name="T68" fmla="*/ 1325 w 1826"/>
              <a:gd name="T69" fmla="*/ 526 h 577"/>
              <a:gd name="T70" fmla="*/ 1401 w 1826"/>
              <a:gd name="T71" fmla="*/ 451 h 577"/>
              <a:gd name="T72" fmla="*/ 1425 w 1826"/>
              <a:gd name="T73" fmla="*/ 376 h 577"/>
              <a:gd name="T74" fmla="*/ 1476 w 1826"/>
              <a:gd name="T75" fmla="*/ 300 h 577"/>
              <a:gd name="T76" fmla="*/ 1625 w 1826"/>
              <a:gd name="T77" fmla="*/ 226 h 577"/>
              <a:gd name="T78" fmla="*/ 1676 w 1826"/>
              <a:gd name="T79" fmla="*/ 251 h 577"/>
              <a:gd name="T80" fmla="*/ 1725 w 1826"/>
              <a:gd name="T81" fmla="*/ 176 h 577"/>
              <a:gd name="T82" fmla="*/ 1825 w 1826"/>
              <a:gd name="T83" fmla="*/ 151 h 577"/>
              <a:gd name="T84" fmla="*/ 1751 w 1826"/>
              <a:gd name="T85" fmla="*/ 10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6" h="577">
                <a:moveTo>
                  <a:pt x="325" y="200"/>
                </a:moveTo>
                <a:lnTo>
                  <a:pt x="325" y="200"/>
                </a:lnTo>
                <a:cubicBezTo>
                  <a:pt x="325" y="151"/>
                  <a:pt x="276" y="151"/>
                  <a:pt x="276" y="100"/>
                </a:cubicBezTo>
                <a:cubicBezTo>
                  <a:pt x="251" y="51"/>
                  <a:pt x="225" y="76"/>
                  <a:pt x="225" y="51"/>
                </a:cubicBezTo>
                <a:cubicBezTo>
                  <a:pt x="225" y="51"/>
                  <a:pt x="225" y="51"/>
                  <a:pt x="200" y="51"/>
                </a:cubicBezTo>
                <a:cubicBezTo>
                  <a:pt x="175" y="51"/>
                  <a:pt x="200" y="76"/>
                  <a:pt x="175" y="76"/>
                </a:cubicBezTo>
                <a:cubicBezTo>
                  <a:pt x="175" y="76"/>
                  <a:pt x="100" y="100"/>
                  <a:pt x="100" y="76"/>
                </a:cubicBezTo>
                <a:cubicBezTo>
                  <a:pt x="100" y="51"/>
                  <a:pt x="100" y="26"/>
                  <a:pt x="51" y="26"/>
                </a:cubicBezTo>
                <a:cubicBezTo>
                  <a:pt x="51" y="0"/>
                  <a:pt x="25" y="0"/>
                  <a:pt x="0" y="0"/>
                </a:cubicBezTo>
                <a:cubicBezTo>
                  <a:pt x="25" y="51"/>
                  <a:pt x="25" y="126"/>
                  <a:pt x="25" y="151"/>
                </a:cubicBezTo>
                <a:cubicBezTo>
                  <a:pt x="25" y="200"/>
                  <a:pt x="125" y="300"/>
                  <a:pt x="125" y="326"/>
                </a:cubicBezTo>
                <a:cubicBezTo>
                  <a:pt x="151" y="376"/>
                  <a:pt x="175" y="376"/>
                  <a:pt x="225" y="426"/>
                </a:cubicBezTo>
                <a:cubicBezTo>
                  <a:pt x="276" y="451"/>
                  <a:pt x="376" y="526"/>
                  <a:pt x="400" y="526"/>
                </a:cubicBezTo>
                <a:cubicBezTo>
                  <a:pt x="425" y="500"/>
                  <a:pt x="376" y="426"/>
                  <a:pt x="325" y="376"/>
                </a:cubicBezTo>
                <a:cubicBezTo>
                  <a:pt x="300" y="351"/>
                  <a:pt x="325" y="276"/>
                  <a:pt x="325" y="200"/>
                </a:cubicBezTo>
                <a:close/>
                <a:moveTo>
                  <a:pt x="1751" y="100"/>
                </a:moveTo>
                <a:lnTo>
                  <a:pt x="1751" y="100"/>
                </a:lnTo>
                <a:cubicBezTo>
                  <a:pt x="1725" y="100"/>
                  <a:pt x="1676" y="100"/>
                  <a:pt x="1676" y="76"/>
                </a:cubicBezTo>
                <a:cubicBezTo>
                  <a:pt x="1676" y="51"/>
                  <a:pt x="1625" y="0"/>
                  <a:pt x="1576" y="0"/>
                </a:cubicBezTo>
                <a:cubicBezTo>
                  <a:pt x="1551" y="0"/>
                  <a:pt x="1525" y="76"/>
                  <a:pt x="1501" y="100"/>
                </a:cubicBezTo>
                <a:cubicBezTo>
                  <a:pt x="1501" y="126"/>
                  <a:pt x="1451" y="126"/>
                  <a:pt x="1451" y="151"/>
                </a:cubicBezTo>
                <a:cubicBezTo>
                  <a:pt x="1476" y="176"/>
                  <a:pt x="1451" y="176"/>
                  <a:pt x="1451" y="176"/>
                </a:cubicBezTo>
                <a:cubicBezTo>
                  <a:pt x="1451" y="226"/>
                  <a:pt x="1451" y="251"/>
                  <a:pt x="1451" y="251"/>
                </a:cubicBezTo>
                <a:cubicBezTo>
                  <a:pt x="1425" y="226"/>
                  <a:pt x="1425" y="251"/>
                  <a:pt x="1376" y="251"/>
                </a:cubicBezTo>
                <a:cubicBezTo>
                  <a:pt x="1376" y="251"/>
                  <a:pt x="1351" y="226"/>
                  <a:pt x="1325" y="200"/>
                </a:cubicBezTo>
                <a:lnTo>
                  <a:pt x="1325" y="200"/>
                </a:lnTo>
                <a:cubicBezTo>
                  <a:pt x="1301" y="200"/>
                  <a:pt x="1251" y="276"/>
                  <a:pt x="1251" y="326"/>
                </a:cubicBezTo>
                <a:cubicBezTo>
                  <a:pt x="1225" y="376"/>
                  <a:pt x="1176" y="351"/>
                  <a:pt x="1100" y="376"/>
                </a:cubicBezTo>
                <a:cubicBezTo>
                  <a:pt x="1025" y="376"/>
                  <a:pt x="1076" y="451"/>
                  <a:pt x="1051" y="476"/>
                </a:cubicBezTo>
                <a:cubicBezTo>
                  <a:pt x="1025" y="526"/>
                  <a:pt x="951" y="451"/>
                  <a:pt x="900" y="451"/>
                </a:cubicBezTo>
                <a:cubicBezTo>
                  <a:pt x="925" y="476"/>
                  <a:pt x="925" y="500"/>
                  <a:pt x="925" y="500"/>
                </a:cubicBezTo>
                <a:cubicBezTo>
                  <a:pt x="951" y="500"/>
                  <a:pt x="1000" y="576"/>
                  <a:pt x="1025" y="551"/>
                </a:cubicBezTo>
                <a:cubicBezTo>
                  <a:pt x="1025" y="526"/>
                  <a:pt x="1100" y="551"/>
                  <a:pt x="1125" y="551"/>
                </a:cubicBezTo>
                <a:cubicBezTo>
                  <a:pt x="1176" y="526"/>
                  <a:pt x="1176" y="500"/>
                  <a:pt x="1225" y="500"/>
                </a:cubicBezTo>
                <a:cubicBezTo>
                  <a:pt x="1276" y="500"/>
                  <a:pt x="1276" y="551"/>
                  <a:pt x="1325" y="526"/>
                </a:cubicBezTo>
                <a:cubicBezTo>
                  <a:pt x="1376" y="500"/>
                  <a:pt x="1401" y="500"/>
                  <a:pt x="1401" y="451"/>
                </a:cubicBezTo>
                <a:cubicBezTo>
                  <a:pt x="1401" y="400"/>
                  <a:pt x="1425" y="400"/>
                  <a:pt x="1425" y="376"/>
                </a:cubicBezTo>
                <a:cubicBezTo>
                  <a:pt x="1425" y="326"/>
                  <a:pt x="1501" y="351"/>
                  <a:pt x="1476" y="300"/>
                </a:cubicBezTo>
                <a:cubicBezTo>
                  <a:pt x="1476" y="226"/>
                  <a:pt x="1576" y="226"/>
                  <a:pt x="1625" y="226"/>
                </a:cubicBezTo>
                <a:cubicBezTo>
                  <a:pt x="1651" y="226"/>
                  <a:pt x="1651" y="226"/>
                  <a:pt x="1676" y="251"/>
                </a:cubicBezTo>
                <a:cubicBezTo>
                  <a:pt x="1701" y="226"/>
                  <a:pt x="1751" y="200"/>
                  <a:pt x="1725" y="176"/>
                </a:cubicBezTo>
                <a:cubicBezTo>
                  <a:pt x="1701" y="176"/>
                  <a:pt x="1801" y="176"/>
                  <a:pt x="1825" y="151"/>
                </a:cubicBezTo>
                <a:cubicBezTo>
                  <a:pt x="1825" y="126"/>
                  <a:pt x="1776" y="100"/>
                  <a:pt x="1751" y="100"/>
                </a:cubicBezTo>
                <a:close/>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endParaRPr lang="en-US">
              <a:solidFill>
                <a:srgbClr val="13171F"/>
              </a:solidFill>
              <a:latin typeface="Microsoft Sans Serif"/>
            </a:endParaRPr>
          </a:p>
        </p:txBody>
      </p:sp>
      <p:sp>
        <p:nvSpPr>
          <p:cNvPr id="164" name="Freeform 90">
            <a:extLst>
              <a:ext uri="{FF2B5EF4-FFF2-40B4-BE49-F238E27FC236}">
                <a16:creationId xmlns:a16="http://schemas.microsoft.com/office/drawing/2014/main" id="{4B6CC40A-E658-1E4A-AF06-FBCBC5240C62}"/>
              </a:ext>
            </a:extLst>
          </p:cNvPr>
          <p:cNvSpPr>
            <a:spLocks noChangeArrowheads="1"/>
          </p:cNvSpPr>
          <p:nvPr/>
        </p:nvSpPr>
        <p:spPr bwMode="auto">
          <a:xfrm>
            <a:off x="9146139" y="4692877"/>
            <a:ext cx="40781" cy="23907"/>
          </a:xfrm>
          <a:custGeom>
            <a:avLst/>
            <a:gdLst>
              <a:gd name="T0" fmla="*/ 51 w 127"/>
              <a:gd name="T1" fmla="*/ 75 h 76"/>
              <a:gd name="T2" fmla="*/ 51 w 127"/>
              <a:gd name="T3" fmla="*/ 75 h 76"/>
              <a:gd name="T4" fmla="*/ 126 w 127"/>
              <a:gd name="T5" fmla="*/ 75 h 76"/>
              <a:gd name="T6" fmla="*/ 126 w 127"/>
              <a:gd name="T7" fmla="*/ 0 h 76"/>
              <a:gd name="T8" fmla="*/ 76 w 127"/>
              <a:gd name="T9" fmla="*/ 24 h 76"/>
              <a:gd name="T10" fmla="*/ 0 w 127"/>
              <a:gd name="T11" fmla="*/ 24 h 76"/>
              <a:gd name="T12" fmla="*/ 51 w 127"/>
              <a:gd name="T13" fmla="*/ 75 h 76"/>
            </a:gdLst>
            <a:ahLst/>
            <a:cxnLst>
              <a:cxn ang="0">
                <a:pos x="T0" y="T1"/>
              </a:cxn>
              <a:cxn ang="0">
                <a:pos x="T2" y="T3"/>
              </a:cxn>
              <a:cxn ang="0">
                <a:pos x="T4" y="T5"/>
              </a:cxn>
              <a:cxn ang="0">
                <a:pos x="T6" y="T7"/>
              </a:cxn>
              <a:cxn ang="0">
                <a:pos x="T8" y="T9"/>
              </a:cxn>
              <a:cxn ang="0">
                <a:pos x="T10" y="T11"/>
              </a:cxn>
              <a:cxn ang="0">
                <a:pos x="T12" y="T13"/>
              </a:cxn>
            </a:cxnLst>
            <a:rect l="0" t="0" r="r" b="b"/>
            <a:pathLst>
              <a:path w="127" h="76">
                <a:moveTo>
                  <a:pt x="51" y="75"/>
                </a:moveTo>
                <a:lnTo>
                  <a:pt x="51" y="75"/>
                </a:lnTo>
                <a:cubicBezTo>
                  <a:pt x="100" y="75"/>
                  <a:pt x="100" y="50"/>
                  <a:pt x="126" y="75"/>
                </a:cubicBezTo>
                <a:cubicBezTo>
                  <a:pt x="126" y="75"/>
                  <a:pt x="126" y="50"/>
                  <a:pt x="126" y="0"/>
                </a:cubicBezTo>
                <a:cubicBezTo>
                  <a:pt x="100" y="24"/>
                  <a:pt x="76" y="24"/>
                  <a:pt x="76" y="24"/>
                </a:cubicBezTo>
                <a:cubicBezTo>
                  <a:pt x="76" y="50"/>
                  <a:pt x="26" y="24"/>
                  <a:pt x="0" y="24"/>
                </a:cubicBezTo>
                <a:cubicBezTo>
                  <a:pt x="26" y="50"/>
                  <a:pt x="51" y="75"/>
                  <a:pt x="51"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5" name="Freeform 91">
            <a:extLst>
              <a:ext uri="{FF2B5EF4-FFF2-40B4-BE49-F238E27FC236}">
                <a16:creationId xmlns:a16="http://schemas.microsoft.com/office/drawing/2014/main" id="{4341D1B4-5589-8347-B681-975EB278C164}"/>
              </a:ext>
            </a:extLst>
          </p:cNvPr>
          <p:cNvSpPr>
            <a:spLocks noChangeArrowheads="1"/>
          </p:cNvSpPr>
          <p:nvPr/>
        </p:nvSpPr>
        <p:spPr bwMode="auto">
          <a:xfrm>
            <a:off x="6913029" y="3649448"/>
            <a:ext cx="295311" cy="286873"/>
          </a:xfrm>
          <a:custGeom>
            <a:avLst/>
            <a:gdLst>
              <a:gd name="T0" fmla="*/ 775 w 927"/>
              <a:gd name="T1" fmla="*/ 800 h 901"/>
              <a:gd name="T2" fmla="*/ 775 w 927"/>
              <a:gd name="T3" fmla="*/ 800 h 901"/>
              <a:gd name="T4" fmla="*/ 826 w 927"/>
              <a:gd name="T5" fmla="*/ 775 h 901"/>
              <a:gd name="T6" fmla="*/ 900 w 927"/>
              <a:gd name="T7" fmla="*/ 800 h 901"/>
              <a:gd name="T8" fmla="*/ 926 w 927"/>
              <a:gd name="T9" fmla="*/ 775 h 901"/>
              <a:gd name="T10" fmla="*/ 875 w 927"/>
              <a:gd name="T11" fmla="*/ 726 h 901"/>
              <a:gd name="T12" fmla="*/ 850 w 927"/>
              <a:gd name="T13" fmla="*/ 650 h 901"/>
              <a:gd name="T14" fmla="*/ 850 w 927"/>
              <a:gd name="T15" fmla="*/ 575 h 901"/>
              <a:gd name="T16" fmla="*/ 800 w 927"/>
              <a:gd name="T17" fmla="*/ 525 h 901"/>
              <a:gd name="T18" fmla="*/ 700 w 927"/>
              <a:gd name="T19" fmla="*/ 450 h 901"/>
              <a:gd name="T20" fmla="*/ 650 w 927"/>
              <a:gd name="T21" fmla="*/ 400 h 901"/>
              <a:gd name="T22" fmla="*/ 650 w 927"/>
              <a:gd name="T23" fmla="*/ 325 h 901"/>
              <a:gd name="T24" fmla="*/ 675 w 927"/>
              <a:gd name="T25" fmla="*/ 250 h 901"/>
              <a:gd name="T26" fmla="*/ 700 w 927"/>
              <a:gd name="T27" fmla="*/ 200 h 901"/>
              <a:gd name="T28" fmla="*/ 650 w 927"/>
              <a:gd name="T29" fmla="*/ 150 h 901"/>
              <a:gd name="T30" fmla="*/ 600 w 927"/>
              <a:gd name="T31" fmla="*/ 100 h 901"/>
              <a:gd name="T32" fmla="*/ 575 w 927"/>
              <a:gd name="T33" fmla="*/ 25 h 901"/>
              <a:gd name="T34" fmla="*/ 475 w 927"/>
              <a:gd name="T35" fmla="*/ 25 h 901"/>
              <a:gd name="T36" fmla="*/ 400 w 927"/>
              <a:gd name="T37" fmla="*/ 0 h 901"/>
              <a:gd name="T38" fmla="*/ 350 w 927"/>
              <a:gd name="T39" fmla="*/ 25 h 901"/>
              <a:gd name="T40" fmla="*/ 350 w 927"/>
              <a:gd name="T41" fmla="*/ 25 h 901"/>
              <a:gd name="T42" fmla="*/ 300 w 927"/>
              <a:gd name="T43" fmla="*/ 75 h 901"/>
              <a:gd name="T44" fmla="*/ 225 w 927"/>
              <a:gd name="T45" fmla="*/ 125 h 901"/>
              <a:gd name="T46" fmla="*/ 250 w 927"/>
              <a:gd name="T47" fmla="*/ 200 h 901"/>
              <a:gd name="T48" fmla="*/ 225 w 927"/>
              <a:gd name="T49" fmla="*/ 275 h 901"/>
              <a:gd name="T50" fmla="*/ 200 w 927"/>
              <a:gd name="T51" fmla="*/ 325 h 901"/>
              <a:gd name="T52" fmla="*/ 0 w 927"/>
              <a:gd name="T53" fmla="*/ 425 h 901"/>
              <a:gd name="T54" fmla="*/ 25 w 927"/>
              <a:gd name="T55" fmla="*/ 475 h 901"/>
              <a:gd name="T56" fmla="*/ 50 w 927"/>
              <a:gd name="T57" fmla="*/ 575 h 901"/>
              <a:gd name="T58" fmla="*/ 100 w 927"/>
              <a:gd name="T59" fmla="*/ 575 h 901"/>
              <a:gd name="T60" fmla="*/ 300 w 927"/>
              <a:gd name="T61" fmla="*/ 675 h 901"/>
              <a:gd name="T62" fmla="*/ 525 w 927"/>
              <a:gd name="T63" fmla="*/ 850 h 901"/>
              <a:gd name="T64" fmla="*/ 626 w 927"/>
              <a:gd name="T65" fmla="*/ 875 h 901"/>
              <a:gd name="T66" fmla="*/ 750 w 927"/>
              <a:gd name="T67" fmla="*/ 900 h 901"/>
              <a:gd name="T68" fmla="*/ 775 w 927"/>
              <a:gd name="T69" fmla="*/ 80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7" h="901">
                <a:moveTo>
                  <a:pt x="775" y="800"/>
                </a:moveTo>
                <a:lnTo>
                  <a:pt x="775" y="800"/>
                </a:lnTo>
                <a:cubicBezTo>
                  <a:pt x="800" y="800"/>
                  <a:pt x="800" y="775"/>
                  <a:pt x="826" y="775"/>
                </a:cubicBezTo>
                <a:cubicBezTo>
                  <a:pt x="850" y="775"/>
                  <a:pt x="875" y="775"/>
                  <a:pt x="900" y="800"/>
                </a:cubicBezTo>
                <a:cubicBezTo>
                  <a:pt x="900" y="800"/>
                  <a:pt x="926" y="800"/>
                  <a:pt x="926" y="775"/>
                </a:cubicBezTo>
                <a:cubicBezTo>
                  <a:pt x="900" y="750"/>
                  <a:pt x="875" y="726"/>
                  <a:pt x="875" y="726"/>
                </a:cubicBezTo>
                <a:cubicBezTo>
                  <a:pt x="875" y="675"/>
                  <a:pt x="850" y="675"/>
                  <a:pt x="850" y="650"/>
                </a:cubicBezTo>
                <a:cubicBezTo>
                  <a:pt x="850" y="625"/>
                  <a:pt x="875" y="600"/>
                  <a:pt x="850" y="575"/>
                </a:cubicBezTo>
                <a:cubicBezTo>
                  <a:pt x="826" y="575"/>
                  <a:pt x="826" y="525"/>
                  <a:pt x="800" y="525"/>
                </a:cubicBezTo>
                <a:cubicBezTo>
                  <a:pt x="775" y="525"/>
                  <a:pt x="700" y="475"/>
                  <a:pt x="700" y="450"/>
                </a:cubicBezTo>
                <a:cubicBezTo>
                  <a:pt x="700" y="425"/>
                  <a:pt x="675" y="425"/>
                  <a:pt x="650" y="400"/>
                </a:cubicBezTo>
                <a:cubicBezTo>
                  <a:pt x="650" y="400"/>
                  <a:pt x="626" y="325"/>
                  <a:pt x="650" y="325"/>
                </a:cubicBezTo>
                <a:cubicBezTo>
                  <a:pt x="675" y="325"/>
                  <a:pt x="650" y="250"/>
                  <a:pt x="675" y="250"/>
                </a:cubicBezTo>
                <a:cubicBezTo>
                  <a:pt x="700" y="250"/>
                  <a:pt x="675" y="225"/>
                  <a:pt x="700" y="200"/>
                </a:cubicBezTo>
                <a:cubicBezTo>
                  <a:pt x="700" y="175"/>
                  <a:pt x="675" y="150"/>
                  <a:pt x="650" y="150"/>
                </a:cubicBezTo>
                <a:cubicBezTo>
                  <a:pt x="650" y="150"/>
                  <a:pt x="600" y="125"/>
                  <a:pt x="600" y="100"/>
                </a:cubicBezTo>
                <a:cubicBezTo>
                  <a:pt x="600" y="75"/>
                  <a:pt x="575" y="50"/>
                  <a:pt x="575" y="25"/>
                </a:cubicBezTo>
                <a:cubicBezTo>
                  <a:pt x="575" y="75"/>
                  <a:pt x="500" y="0"/>
                  <a:pt x="475" y="25"/>
                </a:cubicBezTo>
                <a:cubicBezTo>
                  <a:pt x="450" y="25"/>
                  <a:pt x="425" y="0"/>
                  <a:pt x="400" y="0"/>
                </a:cubicBezTo>
                <a:cubicBezTo>
                  <a:pt x="350" y="0"/>
                  <a:pt x="350" y="25"/>
                  <a:pt x="350" y="25"/>
                </a:cubicBezTo>
                <a:lnTo>
                  <a:pt x="350" y="25"/>
                </a:lnTo>
                <a:cubicBezTo>
                  <a:pt x="300" y="75"/>
                  <a:pt x="300" y="75"/>
                  <a:pt x="300" y="75"/>
                </a:cubicBezTo>
                <a:cubicBezTo>
                  <a:pt x="300" y="75"/>
                  <a:pt x="250" y="75"/>
                  <a:pt x="225" y="125"/>
                </a:cubicBezTo>
                <a:cubicBezTo>
                  <a:pt x="225" y="150"/>
                  <a:pt x="250" y="175"/>
                  <a:pt x="250" y="200"/>
                </a:cubicBezTo>
                <a:cubicBezTo>
                  <a:pt x="225" y="225"/>
                  <a:pt x="225" y="250"/>
                  <a:pt x="225" y="275"/>
                </a:cubicBezTo>
                <a:cubicBezTo>
                  <a:pt x="250" y="275"/>
                  <a:pt x="200" y="325"/>
                  <a:pt x="200" y="325"/>
                </a:cubicBezTo>
                <a:cubicBezTo>
                  <a:pt x="200" y="325"/>
                  <a:pt x="100" y="375"/>
                  <a:pt x="0" y="425"/>
                </a:cubicBezTo>
                <a:cubicBezTo>
                  <a:pt x="0" y="450"/>
                  <a:pt x="25" y="475"/>
                  <a:pt x="25" y="475"/>
                </a:cubicBezTo>
                <a:cubicBezTo>
                  <a:pt x="25" y="500"/>
                  <a:pt x="25" y="525"/>
                  <a:pt x="50" y="575"/>
                </a:cubicBezTo>
                <a:cubicBezTo>
                  <a:pt x="75" y="575"/>
                  <a:pt x="75" y="575"/>
                  <a:pt x="100" y="575"/>
                </a:cubicBezTo>
                <a:cubicBezTo>
                  <a:pt x="150" y="575"/>
                  <a:pt x="275" y="650"/>
                  <a:pt x="300" y="675"/>
                </a:cubicBezTo>
                <a:cubicBezTo>
                  <a:pt x="325" y="700"/>
                  <a:pt x="500" y="826"/>
                  <a:pt x="525" y="850"/>
                </a:cubicBezTo>
                <a:cubicBezTo>
                  <a:pt x="550" y="875"/>
                  <a:pt x="626" y="875"/>
                  <a:pt x="626" y="875"/>
                </a:cubicBezTo>
                <a:cubicBezTo>
                  <a:pt x="650" y="875"/>
                  <a:pt x="700" y="875"/>
                  <a:pt x="750" y="900"/>
                </a:cubicBezTo>
                <a:cubicBezTo>
                  <a:pt x="750" y="850"/>
                  <a:pt x="775" y="826"/>
                  <a:pt x="775" y="8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6" name="Freeform 92">
            <a:extLst>
              <a:ext uri="{FF2B5EF4-FFF2-40B4-BE49-F238E27FC236}">
                <a16:creationId xmlns:a16="http://schemas.microsoft.com/office/drawing/2014/main" id="{A36A34C8-02AC-9F4A-860E-0E960B6176B9}"/>
              </a:ext>
            </a:extLst>
          </p:cNvPr>
          <p:cNvSpPr>
            <a:spLocks noChangeArrowheads="1"/>
          </p:cNvSpPr>
          <p:nvPr/>
        </p:nvSpPr>
        <p:spPr bwMode="auto">
          <a:xfrm>
            <a:off x="7152089" y="3895541"/>
            <a:ext cx="56249" cy="56249"/>
          </a:xfrm>
          <a:custGeom>
            <a:avLst/>
            <a:gdLst>
              <a:gd name="T0" fmla="*/ 50 w 177"/>
              <a:gd name="T1" fmla="*/ 125 h 176"/>
              <a:gd name="T2" fmla="*/ 50 w 177"/>
              <a:gd name="T3" fmla="*/ 125 h 176"/>
              <a:gd name="T4" fmla="*/ 100 w 177"/>
              <a:gd name="T5" fmla="*/ 175 h 176"/>
              <a:gd name="T6" fmla="*/ 176 w 177"/>
              <a:gd name="T7" fmla="*/ 175 h 176"/>
              <a:gd name="T8" fmla="*/ 125 w 177"/>
              <a:gd name="T9" fmla="*/ 51 h 176"/>
              <a:gd name="T10" fmla="*/ 150 w 177"/>
              <a:gd name="T11" fmla="*/ 25 h 176"/>
              <a:gd name="T12" fmla="*/ 76 w 177"/>
              <a:gd name="T13" fmla="*/ 0 h 176"/>
              <a:gd name="T14" fmla="*/ 25 w 177"/>
              <a:gd name="T15" fmla="*/ 25 h 176"/>
              <a:gd name="T16" fmla="*/ 0 w 177"/>
              <a:gd name="T17" fmla="*/ 125 h 176"/>
              <a:gd name="T18" fmla="*/ 50 w 177"/>
              <a:gd name="T19" fmla="*/ 12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6">
                <a:moveTo>
                  <a:pt x="50" y="125"/>
                </a:moveTo>
                <a:lnTo>
                  <a:pt x="50" y="125"/>
                </a:lnTo>
                <a:cubicBezTo>
                  <a:pt x="100" y="175"/>
                  <a:pt x="100" y="175"/>
                  <a:pt x="100" y="175"/>
                </a:cubicBezTo>
                <a:cubicBezTo>
                  <a:pt x="176" y="175"/>
                  <a:pt x="176" y="175"/>
                  <a:pt x="176" y="175"/>
                </a:cubicBezTo>
                <a:cubicBezTo>
                  <a:pt x="150" y="125"/>
                  <a:pt x="125" y="75"/>
                  <a:pt x="125" y="51"/>
                </a:cubicBezTo>
                <a:cubicBezTo>
                  <a:pt x="125" y="51"/>
                  <a:pt x="125" y="51"/>
                  <a:pt x="150" y="25"/>
                </a:cubicBezTo>
                <a:cubicBezTo>
                  <a:pt x="125" y="0"/>
                  <a:pt x="100" y="0"/>
                  <a:pt x="76" y="0"/>
                </a:cubicBezTo>
                <a:cubicBezTo>
                  <a:pt x="50" y="0"/>
                  <a:pt x="50" y="25"/>
                  <a:pt x="25" y="25"/>
                </a:cubicBezTo>
                <a:cubicBezTo>
                  <a:pt x="25" y="51"/>
                  <a:pt x="0" y="75"/>
                  <a:pt x="0" y="125"/>
                </a:cubicBezTo>
                <a:cubicBezTo>
                  <a:pt x="25" y="125"/>
                  <a:pt x="50" y="125"/>
                  <a:pt x="50" y="1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7" name="Freeform 93">
            <a:extLst>
              <a:ext uri="{FF2B5EF4-FFF2-40B4-BE49-F238E27FC236}">
                <a16:creationId xmlns:a16="http://schemas.microsoft.com/office/drawing/2014/main" id="{3CECC533-CCBE-664E-B8AA-5DD748264C31}"/>
              </a:ext>
            </a:extLst>
          </p:cNvPr>
          <p:cNvSpPr>
            <a:spLocks noChangeArrowheads="1"/>
          </p:cNvSpPr>
          <p:nvPr/>
        </p:nvSpPr>
        <p:spPr bwMode="auto">
          <a:xfrm>
            <a:off x="5622097" y="3138983"/>
            <a:ext cx="438747" cy="367028"/>
          </a:xfrm>
          <a:custGeom>
            <a:avLst/>
            <a:gdLst>
              <a:gd name="T0" fmla="*/ 1201 w 1377"/>
              <a:gd name="T1" fmla="*/ 275 h 1151"/>
              <a:gd name="T2" fmla="*/ 1101 w 1377"/>
              <a:gd name="T3" fmla="*/ 224 h 1151"/>
              <a:gd name="T4" fmla="*/ 950 w 1377"/>
              <a:gd name="T5" fmla="*/ 175 h 1151"/>
              <a:gd name="T6" fmla="*/ 876 w 1377"/>
              <a:gd name="T7" fmla="*/ 150 h 1151"/>
              <a:gd name="T8" fmla="*/ 800 w 1377"/>
              <a:gd name="T9" fmla="*/ 75 h 1151"/>
              <a:gd name="T10" fmla="*/ 700 w 1377"/>
              <a:gd name="T11" fmla="*/ 25 h 1151"/>
              <a:gd name="T12" fmla="*/ 676 w 1377"/>
              <a:gd name="T13" fmla="*/ 0 h 1151"/>
              <a:gd name="T14" fmla="*/ 525 w 1377"/>
              <a:gd name="T15" fmla="*/ 150 h 1151"/>
              <a:gd name="T16" fmla="*/ 350 w 1377"/>
              <a:gd name="T17" fmla="*/ 175 h 1151"/>
              <a:gd name="T18" fmla="*/ 300 w 1377"/>
              <a:gd name="T19" fmla="*/ 325 h 1151"/>
              <a:gd name="T20" fmla="*/ 176 w 1377"/>
              <a:gd name="T21" fmla="*/ 275 h 1151"/>
              <a:gd name="T22" fmla="*/ 25 w 1377"/>
              <a:gd name="T23" fmla="*/ 350 h 1151"/>
              <a:gd name="T24" fmla="*/ 150 w 1377"/>
              <a:gd name="T25" fmla="*/ 450 h 1151"/>
              <a:gd name="T26" fmla="*/ 275 w 1377"/>
              <a:gd name="T27" fmla="*/ 500 h 1151"/>
              <a:gd name="T28" fmla="*/ 350 w 1377"/>
              <a:gd name="T29" fmla="*/ 650 h 1151"/>
              <a:gd name="T30" fmla="*/ 300 w 1377"/>
              <a:gd name="T31" fmla="*/ 950 h 1151"/>
              <a:gd name="T32" fmla="*/ 350 w 1377"/>
              <a:gd name="T33" fmla="*/ 975 h 1151"/>
              <a:gd name="T34" fmla="*/ 525 w 1377"/>
              <a:gd name="T35" fmla="*/ 1000 h 1151"/>
              <a:gd name="T36" fmla="*/ 676 w 1377"/>
              <a:gd name="T37" fmla="*/ 1050 h 1151"/>
              <a:gd name="T38" fmla="*/ 776 w 1377"/>
              <a:gd name="T39" fmla="*/ 1025 h 1151"/>
              <a:gd name="T40" fmla="*/ 1025 w 1377"/>
              <a:gd name="T41" fmla="*/ 975 h 1151"/>
              <a:gd name="T42" fmla="*/ 1176 w 1377"/>
              <a:gd name="T43" fmla="*/ 900 h 1151"/>
              <a:gd name="T44" fmla="*/ 1150 w 1377"/>
              <a:gd name="T45" fmla="*/ 850 h 1151"/>
              <a:gd name="T46" fmla="*/ 1101 w 1377"/>
              <a:gd name="T47" fmla="*/ 750 h 1151"/>
              <a:gd name="T48" fmla="*/ 1125 w 1377"/>
              <a:gd name="T49" fmla="*/ 700 h 1151"/>
              <a:gd name="T50" fmla="*/ 1101 w 1377"/>
              <a:gd name="T51" fmla="*/ 600 h 1151"/>
              <a:gd name="T52" fmla="*/ 1050 w 1377"/>
              <a:gd name="T53" fmla="*/ 550 h 1151"/>
              <a:gd name="T54" fmla="*/ 1176 w 1377"/>
              <a:gd name="T55" fmla="*/ 450 h 1151"/>
              <a:gd name="T56" fmla="*/ 1225 w 1377"/>
              <a:gd name="T57" fmla="*/ 300 h 1151"/>
              <a:gd name="T58" fmla="*/ 1350 w 1377"/>
              <a:gd name="T59" fmla="*/ 975 h 1151"/>
              <a:gd name="T60" fmla="*/ 1301 w 1377"/>
              <a:gd name="T61" fmla="*/ 1025 h 1151"/>
              <a:gd name="T62" fmla="*/ 1350 w 1377"/>
              <a:gd name="T63" fmla="*/ 97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7" h="1151">
                <a:moveTo>
                  <a:pt x="1201" y="275"/>
                </a:moveTo>
                <a:lnTo>
                  <a:pt x="1201" y="275"/>
                </a:lnTo>
                <a:cubicBezTo>
                  <a:pt x="1201" y="275"/>
                  <a:pt x="1176" y="250"/>
                  <a:pt x="1150" y="250"/>
                </a:cubicBezTo>
                <a:cubicBezTo>
                  <a:pt x="1125" y="250"/>
                  <a:pt x="1101" y="250"/>
                  <a:pt x="1101" y="224"/>
                </a:cubicBezTo>
                <a:cubicBezTo>
                  <a:pt x="1076" y="200"/>
                  <a:pt x="1025" y="200"/>
                  <a:pt x="1000" y="200"/>
                </a:cubicBezTo>
                <a:cubicBezTo>
                  <a:pt x="976" y="200"/>
                  <a:pt x="976" y="175"/>
                  <a:pt x="950" y="175"/>
                </a:cubicBezTo>
                <a:cubicBezTo>
                  <a:pt x="925" y="175"/>
                  <a:pt x="925" y="150"/>
                  <a:pt x="925" y="124"/>
                </a:cubicBezTo>
                <a:cubicBezTo>
                  <a:pt x="925" y="124"/>
                  <a:pt x="900" y="150"/>
                  <a:pt x="876" y="150"/>
                </a:cubicBezTo>
                <a:cubicBezTo>
                  <a:pt x="850" y="150"/>
                  <a:pt x="850" y="124"/>
                  <a:pt x="850" y="124"/>
                </a:cubicBezTo>
                <a:cubicBezTo>
                  <a:pt x="850" y="100"/>
                  <a:pt x="800" y="100"/>
                  <a:pt x="800" y="75"/>
                </a:cubicBezTo>
                <a:cubicBezTo>
                  <a:pt x="776" y="75"/>
                  <a:pt x="750" y="50"/>
                  <a:pt x="750" y="50"/>
                </a:cubicBezTo>
                <a:cubicBezTo>
                  <a:pt x="725" y="75"/>
                  <a:pt x="725" y="25"/>
                  <a:pt x="700" y="25"/>
                </a:cubicBezTo>
                <a:cubicBezTo>
                  <a:pt x="700" y="0"/>
                  <a:pt x="700" y="0"/>
                  <a:pt x="700" y="0"/>
                </a:cubicBezTo>
                <a:lnTo>
                  <a:pt x="676" y="0"/>
                </a:lnTo>
                <a:cubicBezTo>
                  <a:pt x="650" y="0"/>
                  <a:pt x="625" y="25"/>
                  <a:pt x="625" y="100"/>
                </a:cubicBezTo>
                <a:cubicBezTo>
                  <a:pt x="625" y="150"/>
                  <a:pt x="576" y="150"/>
                  <a:pt x="525" y="150"/>
                </a:cubicBezTo>
                <a:cubicBezTo>
                  <a:pt x="475" y="150"/>
                  <a:pt x="475" y="200"/>
                  <a:pt x="475" y="224"/>
                </a:cubicBezTo>
                <a:cubicBezTo>
                  <a:pt x="450" y="250"/>
                  <a:pt x="350" y="200"/>
                  <a:pt x="350" y="175"/>
                </a:cubicBezTo>
                <a:cubicBezTo>
                  <a:pt x="325" y="150"/>
                  <a:pt x="250" y="175"/>
                  <a:pt x="300" y="224"/>
                </a:cubicBezTo>
                <a:cubicBezTo>
                  <a:pt x="325" y="250"/>
                  <a:pt x="325" y="300"/>
                  <a:pt x="300" y="325"/>
                </a:cubicBezTo>
                <a:cubicBezTo>
                  <a:pt x="275" y="325"/>
                  <a:pt x="250" y="300"/>
                  <a:pt x="225" y="325"/>
                </a:cubicBezTo>
                <a:cubicBezTo>
                  <a:pt x="200" y="325"/>
                  <a:pt x="200" y="300"/>
                  <a:pt x="176" y="275"/>
                </a:cubicBezTo>
                <a:cubicBezTo>
                  <a:pt x="125" y="275"/>
                  <a:pt x="125" y="300"/>
                  <a:pt x="75" y="300"/>
                </a:cubicBezTo>
                <a:cubicBezTo>
                  <a:pt x="25" y="300"/>
                  <a:pt x="0" y="325"/>
                  <a:pt x="25" y="350"/>
                </a:cubicBezTo>
                <a:cubicBezTo>
                  <a:pt x="25" y="350"/>
                  <a:pt x="0" y="375"/>
                  <a:pt x="25" y="400"/>
                </a:cubicBezTo>
                <a:cubicBezTo>
                  <a:pt x="50" y="425"/>
                  <a:pt x="100" y="425"/>
                  <a:pt x="150" y="450"/>
                </a:cubicBezTo>
                <a:cubicBezTo>
                  <a:pt x="200" y="475"/>
                  <a:pt x="200" y="450"/>
                  <a:pt x="225" y="450"/>
                </a:cubicBezTo>
                <a:cubicBezTo>
                  <a:pt x="250" y="475"/>
                  <a:pt x="250" y="475"/>
                  <a:pt x="275" y="500"/>
                </a:cubicBezTo>
                <a:cubicBezTo>
                  <a:pt x="275" y="525"/>
                  <a:pt x="300" y="575"/>
                  <a:pt x="325" y="575"/>
                </a:cubicBezTo>
                <a:cubicBezTo>
                  <a:pt x="376" y="600"/>
                  <a:pt x="350" y="625"/>
                  <a:pt x="350" y="650"/>
                </a:cubicBezTo>
                <a:cubicBezTo>
                  <a:pt x="376" y="675"/>
                  <a:pt x="350" y="725"/>
                  <a:pt x="350" y="775"/>
                </a:cubicBezTo>
                <a:cubicBezTo>
                  <a:pt x="350" y="800"/>
                  <a:pt x="325" y="925"/>
                  <a:pt x="300" y="950"/>
                </a:cubicBezTo>
                <a:lnTo>
                  <a:pt x="300" y="950"/>
                </a:lnTo>
                <a:cubicBezTo>
                  <a:pt x="325" y="950"/>
                  <a:pt x="350" y="950"/>
                  <a:pt x="350" y="975"/>
                </a:cubicBezTo>
                <a:cubicBezTo>
                  <a:pt x="376" y="975"/>
                  <a:pt x="425" y="1000"/>
                  <a:pt x="450" y="1000"/>
                </a:cubicBezTo>
                <a:cubicBezTo>
                  <a:pt x="475" y="1025"/>
                  <a:pt x="525" y="1025"/>
                  <a:pt x="525" y="1000"/>
                </a:cubicBezTo>
                <a:cubicBezTo>
                  <a:pt x="525" y="975"/>
                  <a:pt x="550" y="1000"/>
                  <a:pt x="550" y="1025"/>
                </a:cubicBezTo>
                <a:cubicBezTo>
                  <a:pt x="576" y="1025"/>
                  <a:pt x="650" y="1025"/>
                  <a:pt x="676" y="1050"/>
                </a:cubicBezTo>
                <a:cubicBezTo>
                  <a:pt x="700" y="1050"/>
                  <a:pt x="725" y="1050"/>
                  <a:pt x="776" y="1050"/>
                </a:cubicBezTo>
                <a:cubicBezTo>
                  <a:pt x="776" y="1025"/>
                  <a:pt x="776" y="1025"/>
                  <a:pt x="776" y="1025"/>
                </a:cubicBezTo>
                <a:cubicBezTo>
                  <a:pt x="750" y="975"/>
                  <a:pt x="800" y="925"/>
                  <a:pt x="850" y="925"/>
                </a:cubicBezTo>
                <a:cubicBezTo>
                  <a:pt x="876" y="925"/>
                  <a:pt x="976" y="950"/>
                  <a:pt x="1025" y="975"/>
                </a:cubicBezTo>
                <a:cubicBezTo>
                  <a:pt x="1050" y="975"/>
                  <a:pt x="1076" y="975"/>
                  <a:pt x="1125" y="925"/>
                </a:cubicBezTo>
                <a:cubicBezTo>
                  <a:pt x="1150" y="900"/>
                  <a:pt x="1176" y="900"/>
                  <a:pt x="1176" y="900"/>
                </a:cubicBezTo>
                <a:cubicBezTo>
                  <a:pt x="1176" y="875"/>
                  <a:pt x="1176" y="875"/>
                  <a:pt x="1201" y="850"/>
                </a:cubicBezTo>
                <a:cubicBezTo>
                  <a:pt x="1201" y="850"/>
                  <a:pt x="1176" y="850"/>
                  <a:pt x="1150" y="850"/>
                </a:cubicBezTo>
                <a:cubicBezTo>
                  <a:pt x="1125" y="850"/>
                  <a:pt x="1101" y="825"/>
                  <a:pt x="1125" y="800"/>
                </a:cubicBezTo>
                <a:cubicBezTo>
                  <a:pt x="1150" y="775"/>
                  <a:pt x="1125" y="775"/>
                  <a:pt x="1101" y="750"/>
                </a:cubicBezTo>
                <a:cubicBezTo>
                  <a:pt x="1076" y="725"/>
                  <a:pt x="1101" y="725"/>
                  <a:pt x="1125" y="725"/>
                </a:cubicBezTo>
                <a:cubicBezTo>
                  <a:pt x="1125" y="725"/>
                  <a:pt x="1150" y="700"/>
                  <a:pt x="1125" y="700"/>
                </a:cubicBezTo>
                <a:cubicBezTo>
                  <a:pt x="1125" y="675"/>
                  <a:pt x="1125" y="675"/>
                  <a:pt x="1125" y="650"/>
                </a:cubicBezTo>
                <a:cubicBezTo>
                  <a:pt x="1125" y="625"/>
                  <a:pt x="1101" y="625"/>
                  <a:pt x="1101" y="600"/>
                </a:cubicBezTo>
                <a:cubicBezTo>
                  <a:pt x="1101" y="575"/>
                  <a:pt x="1076" y="575"/>
                  <a:pt x="1076" y="600"/>
                </a:cubicBezTo>
                <a:cubicBezTo>
                  <a:pt x="1050" y="625"/>
                  <a:pt x="1050" y="600"/>
                  <a:pt x="1050" y="550"/>
                </a:cubicBezTo>
                <a:cubicBezTo>
                  <a:pt x="1076" y="525"/>
                  <a:pt x="1101" y="500"/>
                  <a:pt x="1125" y="475"/>
                </a:cubicBezTo>
                <a:cubicBezTo>
                  <a:pt x="1125" y="475"/>
                  <a:pt x="1150" y="450"/>
                  <a:pt x="1176" y="450"/>
                </a:cubicBezTo>
                <a:cubicBezTo>
                  <a:pt x="1176" y="450"/>
                  <a:pt x="1176" y="400"/>
                  <a:pt x="1176" y="375"/>
                </a:cubicBezTo>
                <a:cubicBezTo>
                  <a:pt x="1201" y="350"/>
                  <a:pt x="1201" y="325"/>
                  <a:pt x="1225" y="300"/>
                </a:cubicBezTo>
                <a:cubicBezTo>
                  <a:pt x="1250" y="275"/>
                  <a:pt x="1225" y="275"/>
                  <a:pt x="1201" y="275"/>
                </a:cubicBezTo>
                <a:close/>
                <a:moveTo>
                  <a:pt x="1350" y="975"/>
                </a:moveTo>
                <a:lnTo>
                  <a:pt x="1350" y="975"/>
                </a:lnTo>
                <a:cubicBezTo>
                  <a:pt x="1325" y="975"/>
                  <a:pt x="1325" y="1000"/>
                  <a:pt x="1301" y="1025"/>
                </a:cubicBezTo>
                <a:cubicBezTo>
                  <a:pt x="1250" y="1050"/>
                  <a:pt x="1301" y="1150"/>
                  <a:pt x="1325" y="1150"/>
                </a:cubicBezTo>
                <a:cubicBezTo>
                  <a:pt x="1376" y="1150"/>
                  <a:pt x="1376" y="975"/>
                  <a:pt x="1350" y="9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8" name="Freeform 94">
            <a:extLst>
              <a:ext uri="{FF2B5EF4-FFF2-40B4-BE49-F238E27FC236}">
                <a16:creationId xmlns:a16="http://schemas.microsoft.com/office/drawing/2014/main" id="{06C93974-ED9C-CC4F-8566-9B10C3C9007D}"/>
              </a:ext>
            </a:extLst>
          </p:cNvPr>
          <p:cNvSpPr>
            <a:spLocks noChangeArrowheads="1"/>
          </p:cNvSpPr>
          <p:nvPr/>
        </p:nvSpPr>
        <p:spPr bwMode="auto">
          <a:xfrm>
            <a:off x="3045866" y="4397569"/>
            <a:ext cx="71719" cy="39375"/>
          </a:xfrm>
          <a:custGeom>
            <a:avLst/>
            <a:gdLst>
              <a:gd name="T0" fmla="*/ 225 w 226"/>
              <a:gd name="T1" fmla="*/ 49 h 125"/>
              <a:gd name="T2" fmla="*/ 225 w 226"/>
              <a:gd name="T3" fmla="*/ 49 h 125"/>
              <a:gd name="T4" fmla="*/ 125 w 226"/>
              <a:gd name="T5" fmla="*/ 24 h 125"/>
              <a:gd name="T6" fmla="*/ 75 w 226"/>
              <a:gd name="T7" fmla="*/ 0 h 125"/>
              <a:gd name="T8" fmla="*/ 75 w 226"/>
              <a:gd name="T9" fmla="*/ 0 h 125"/>
              <a:gd name="T10" fmla="*/ 0 w 226"/>
              <a:gd name="T11" fmla="*/ 49 h 125"/>
              <a:gd name="T12" fmla="*/ 175 w 226"/>
              <a:gd name="T13" fmla="*/ 124 h 125"/>
              <a:gd name="T14" fmla="*/ 225 w 226"/>
              <a:gd name="T15" fmla="*/ 100 h 125"/>
              <a:gd name="T16" fmla="*/ 225 w 226"/>
              <a:gd name="T17" fmla="*/ 4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25">
                <a:moveTo>
                  <a:pt x="225" y="49"/>
                </a:moveTo>
                <a:lnTo>
                  <a:pt x="225" y="49"/>
                </a:lnTo>
                <a:cubicBezTo>
                  <a:pt x="200" y="24"/>
                  <a:pt x="151" y="49"/>
                  <a:pt x="125" y="24"/>
                </a:cubicBezTo>
                <a:cubicBezTo>
                  <a:pt x="100" y="0"/>
                  <a:pt x="75" y="0"/>
                  <a:pt x="75" y="0"/>
                </a:cubicBezTo>
                <a:lnTo>
                  <a:pt x="75" y="0"/>
                </a:lnTo>
                <a:cubicBezTo>
                  <a:pt x="51" y="0"/>
                  <a:pt x="25" y="24"/>
                  <a:pt x="0" y="49"/>
                </a:cubicBezTo>
                <a:cubicBezTo>
                  <a:pt x="25" y="75"/>
                  <a:pt x="151" y="124"/>
                  <a:pt x="175" y="124"/>
                </a:cubicBezTo>
                <a:cubicBezTo>
                  <a:pt x="200" y="124"/>
                  <a:pt x="200" y="100"/>
                  <a:pt x="225" y="100"/>
                </a:cubicBezTo>
                <a:cubicBezTo>
                  <a:pt x="225" y="75"/>
                  <a:pt x="225" y="49"/>
                  <a:pt x="225"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69" name="Freeform 95">
            <a:extLst>
              <a:ext uri="{FF2B5EF4-FFF2-40B4-BE49-F238E27FC236}">
                <a16:creationId xmlns:a16="http://schemas.microsoft.com/office/drawing/2014/main" id="{D0533625-97E1-7040-B074-1A6067C08A91}"/>
              </a:ext>
            </a:extLst>
          </p:cNvPr>
          <p:cNvSpPr>
            <a:spLocks noChangeArrowheads="1"/>
          </p:cNvSpPr>
          <p:nvPr/>
        </p:nvSpPr>
        <p:spPr bwMode="auto">
          <a:xfrm>
            <a:off x="3069772" y="4342724"/>
            <a:ext cx="184217" cy="104061"/>
          </a:xfrm>
          <a:custGeom>
            <a:avLst/>
            <a:gdLst>
              <a:gd name="T0" fmla="*/ 250 w 577"/>
              <a:gd name="T1" fmla="*/ 276 h 326"/>
              <a:gd name="T2" fmla="*/ 250 w 577"/>
              <a:gd name="T3" fmla="*/ 276 h 326"/>
              <a:gd name="T4" fmla="*/ 276 w 577"/>
              <a:gd name="T5" fmla="*/ 225 h 326"/>
              <a:gd name="T6" fmla="*/ 376 w 577"/>
              <a:gd name="T7" fmla="*/ 176 h 326"/>
              <a:gd name="T8" fmla="*/ 476 w 577"/>
              <a:gd name="T9" fmla="*/ 151 h 326"/>
              <a:gd name="T10" fmla="*/ 576 w 577"/>
              <a:gd name="T11" fmla="*/ 125 h 326"/>
              <a:gd name="T12" fmla="*/ 476 w 577"/>
              <a:gd name="T13" fmla="*/ 51 h 326"/>
              <a:gd name="T14" fmla="*/ 276 w 577"/>
              <a:gd name="T15" fmla="*/ 51 h 326"/>
              <a:gd name="T16" fmla="*/ 100 w 577"/>
              <a:gd name="T17" fmla="*/ 51 h 326"/>
              <a:gd name="T18" fmla="*/ 100 w 577"/>
              <a:gd name="T19" fmla="*/ 51 h 326"/>
              <a:gd name="T20" fmla="*/ 50 w 577"/>
              <a:gd name="T21" fmla="*/ 100 h 326"/>
              <a:gd name="T22" fmla="*/ 0 w 577"/>
              <a:gd name="T23" fmla="*/ 176 h 326"/>
              <a:gd name="T24" fmla="*/ 50 w 577"/>
              <a:gd name="T25" fmla="*/ 200 h 326"/>
              <a:gd name="T26" fmla="*/ 150 w 577"/>
              <a:gd name="T27" fmla="*/ 225 h 326"/>
              <a:gd name="T28" fmla="*/ 150 w 577"/>
              <a:gd name="T29" fmla="*/ 276 h 326"/>
              <a:gd name="T30" fmla="*/ 176 w 577"/>
              <a:gd name="T31" fmla="*/ 276 h 326"/>
              <a:gd name="T32" fmla="*/ 176 w 577"/>
              <a:gd name="T33" fmla="*/ 325 h 326"/>
              <a:gd name="T34" fmla="*/ 201 w 577"/>
              <a:gd name="T35" fmla="*/ 300 h 326"/>
              <a:gd name="T36" fmla="*/ 250 w 577"/>
              <a:gd name="T37" fmla="*/ 27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326">
                <a:moveTo>
                  <a:pt x="250" y="276"/>
                </a:moveTo>
                <a:lnTo>
                  <a:pt x="250" y="276"/>
                </a:lnTo>
                <a:cubicBezTo>
                  <a:pt x="250" y="276"/>
                  <a:pt x="225" y="225"/>
                  <a:pt x="276" y="225"/>
                </a:cubicBezTo>
                <a:cubicBezTo>
                  <a:pt x="325" y="225"/>
                  <a:pt x="376" y="225"/>
                  <a:pt x="376" y="176"/>
                </a:cubicBezTo>
                <a:cubicBezTo>
                  <a:pt x="376" y="151"/>
                  <a:pt x="450" y="151"/>
                  <a:pt x="476" y="151"/>
                </a:cubicBezTo>
                <a:cubicBezTo>
                  <a:pt x="476" y="151"/>
                  <a:pt x="525" y="125"/>
                  <a:pt x="576" y="125"/>
                </a:cubicBezTo>
                <a:cubicBezTo>
                  <a:pt x="576" y="76"/>
                  <a:pt x="501" y="76"/>
                  <a:pt x="476" y="51"/>
                </a:cubicBezTo>
                <a:cubicBezTo>
                  <a:pt x="425" y="0"/>
                  <a:pt x="325" y="25"/>
                  <a:pt x="276" y="51"/>
                </a:cubicBezTo>
                <a:cubicBezTo>
                  <a:pt x="225" y="51"/>
                  <a:pt x="150" y="25"/>
                  <a:pt x="100" y="51"/>
                </a:cubicBezTo>
                <a:lnTo>
                  <a:pt x="100" y="51"/>
                </a:lnTo>
                <a:cubicBezTo>
                  <a:pt x="76" y="76"/>
                  <a:pt x="50" y="76"/>
                  <a:pt x="50" y="100"/>
                </a:cubicBezTo>
                <a:cubicBezTo>
                  <a:pt x="0" y="125"/>
                  <a:pt x="0" y="176"/>
                  <a:pt x="0" y="176"/>
                </a:cubicBezTo>
                <a:cubicBezTo>
                  <a:pt x="0" y="176"/>
                  <a:pt x="25" y="176"/>
                  <a:pt x="50" y="200"/>
                </a:cubicBezTo>
                <a:cubicBezTo>
                  <a:pt x="76" y="225"/>
                  <a:pt x="125" y="200"/>
                  <a:pt x="150" y="225"/>
                </a:cubicBezTo>
                <a:cubicBezTo>
                  <a:pt x="150" y="225"/>
                  <a:pt x="150" y="251"/>
                  <a:pt x="150" y="276"/>
                </a:cubicBezTo>
                <a:cubicBezTo>
                  <a:pt x="150" y="276"/>
                  <a:pt x="150" y="276"/>
                  <a:pt x="176" y="276"/>
                </a:cubicBezTo>
                <a:cubicBezTo>
                  <a:pt x="176" y="300"/>
                  <a:pt x="176" y="300"/>
                  <a:pt x="176" y="325"/>
                </a:cubicBezTo>
                <a:cubicBezTo>
                  <a:pt x="201" y="300"/>
                  <a:pt x="201" y="300"/>
                  <a:pt x="201" y="300"/>
                </a:cubicBezTo>
                <a:cubicBezTo>
                  <a:pt x="201" y="300"/>
                  <a:pt x="225" y="300"/>
                  <a:pt x="250" y="2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0" name="Freeform 96">
            <a:extLst>
              <a:ext uri="{FF2B5EF4-FFF2-40B4-BE49-F238E27FC236}">
                <a16:creationId xmlns:a16="http://schemas.microsoft.com/office/drawing/2014/main" id="{BBBADBC9-6AB0-4D4E-840A-A40D25047C01}"/>
              </a:ext>
            </a:extLst>
          </p:cNvPr>
          <p:cNvSpPr>
            <a:spLocks noChangeArrowheads="1"/>
          </p:cNvSpPr>
          <p:nvPr/>
        </p:nvSpPr>
        <p:spPr bwMode="auto">
          <a:xfrm>
            <a:off x="2233056" y="3816789"/>
            <a:ext cx="916869" cy="566715"/>
          </a:xfrm>
          <a:custGeom>
            <a:avLst/>
            <a:gdLst>
              <a:gd name="T0" fmla="*/ 2401 w 2876"/>
              <a:gd name="T1" fmla="*/ 1674 h 1775"/>
              <a:gd name="T2" fmla="*/ 2450 w 2876"/>
              <a:gd name="T3" fmla="*/ 1549 h 1775"/>
              <a:gd name="T4" fmla="*/ 2650 w 2876"/>
              <a:gd name="T5" fmla="*/ 1500 h 1775"/>
              <a:gd name="T6" fmla="*/ 2750 w 2876"/>
              <a:gd name="T7" fmla="*/ 1449 h 1775"/>
              <a:gd name="T8" fmla="*/ 2801 w 2876"/>
              <a:gd name="T9" fmla="*/ 1224 h 1775"/>
              <a:gd name="T10" fmla="*/ 2775 w 2876"/>
              <a:gd name="T11" fmla="*/ 1124 h 1775"/>
              <a:gd name="T12" fmla="*/ 2525 w 2876"/>
              <a:gd name="T13" fmla="*/ 1249 h 1775"/>
              <a:gd name="T14" fmla="*/ 2425 w 2876"/>
              <a:gd name="T15" fmla="*/ 1425 h 1775"/>
              <a:gd name="T16" fmla="*/ 2125 w 2876"/>
              <a:gd name="T17" fmla="*/ 1449 h 1775"/>
              <a:gd name="T18" fmla="*/ 1975 w 2876"/>
              <a:gd name="T19" fmla="*/ 1300 h 1775"/>
              <a:gd name="T20" fmla="*/ 1825 w 2876"/>
              <a:gd name="T21" fmla="*/ 1000 h 1775"/>
              <a:gd name="T22" fmla="*/ 1875 w 2876"/>
              <a:gd name="T23" fmla="*/ 701 h 1775"/>
              <a:gd name="T24" fmla="*/ 1700 w 2876"/>
              <a:gd name="T25" fmla="*/ 625 h 1775"/>
              <a:gd name="T26" fmla="*/ 1650 w 2876"/>
              <a:gd name="T27" fmla="*/ 501 h 1775"/>
              <a:gd name="T28" fmla="*/ 1400 w 2876"/>
              <a:gd name="T29" fmla="*/ 275 h 1775"/>
              <a:gd name="T30" fmla="*/ 1225 w 2876"/>
              <a:gd name="T31" fmla="*/ 325 h 1775"/>
              <a:gd name="T32" fmla="*/ 1125 w 2876"/>
              <a:gd name="T33" fmla="*/ 175 h 1775"/>
              <a:gd name="T34" fmla="*/ 875 w 2876"/>
              <a:gd name="T35" fmla="*/ 75 h 1775"/>
              <a:gd name="T36" fmla="*/ 575 w 2876"/>
              <a:gd name="T37" fmla="*/ 125 h 1775"/>
              <a:gd name="T38" fmla="*/ 225 w 2876"/>
              <a:gd name="T39" fmla="*/ 0 h 1775"/>
              <a:gd name="T40" fmla="*/ 50 w 2876"/>
              <a:gd name="T41" fmla="*/ 100 h 1775"/>
              <a:gd name="T42" fmla="*/ 250 w 2876"/>
              <a:gd name="T43" fmla="*/ 375 h 1775"/>
              <a:gd name="T44" fmla="*/ 225 w 2876"/>
              <a:gd name="T45" fmla="*/ 501 h 1775"/>
              <a:gd name="T46" fmla="*/ 450 w 2876"/>
              <a:gd name="T47" fmla="*/ 650 h 1775"/>
              <a:gd name="T48" fmla="*/ 575 w 2876"/>
              <a:gd name="T49" fmla="*/ 874 h 1775"/>
              <a:gd name="T50" fmla="*/ 725 w 2876"/>
              <a:gd name="T51" fmla="*/ 949 h 1775"/>
              <a:gd name="T52" fmla="*/ 625 w 2876"/>
              <a:gd name="T53" fmla="*/ 849 h 1775"/>
              <a:gd name="T54" fmla="*/ 550 w 2876"/>
              <a:gd name="T55" fmla="*/ 625 h 1775"/>
              <a:gd name="T56" fmla="*/ 375 w 2876"/>
              <a:gd name="T57" fmla="*/ 401 h 1775"/>
              <a:gd name="T58" fmla="*/ 300 w 2876"/>
              <a:gd name="T59" fmla="*/ 301 h 1775"/>
              <a:gd name="T60" fmla="*/ 225 w 2876"/>
              <a:gd name="T61" fmla="*/ 100 h 1775"/>
              <a:gd name="T62" fmla="*/ 275 w 2876"/>
              <a:gd name="T63" fmla="*/ 100 h 1775"/>
              <a:gd name="T64" fmla="*/ 400 w 2876"/>
              <a:gd name="T65" fmla="*/ 125 h 1775"/>
              <a:gd name="T66" fmla="*/ 425 w 2876"/>
              <a:gd name="T67" fmla="*/ 350 h 1775"/>
              <a:gd name="T68" fmla="*/ 550 w 2876"/>
              <a:gd name="T69" fmla="*/ 450 h 1775"/>
              <a:gd name="T70" fmla="*/ 675 w 2876"/>
              <a:gd name="T71" fmla="*/ 550 h 1775"/>
              <a:gd name="T72" fmla="*/ 750 w 2876"/>
              <a:gd name="T73" fmla="*/ 675 h 1775"/>
              <a:gd name="T74" fmla="*/ 875 w 2876"/>
              <a:gd name="T75" fmla="*/ 799 h 1775"/>
              <a:gd name="T76" fmla="*/ 1125 w 2876"/>
              <a:gd name="T77" fmla="*/ 1124 h 1775"/>
              <a:gd name="T78" fmla="*/ 1100 w 2876"/>
              <a:gd name="T79" fmla="*/ 1224 h 1775"/>
              <a:gd name="T80" fmla="*/ 1300 w 2876"/>
              <a:gd name="T81" fmla="*/ 1449 h 1775"/>
              <a:gd name="T82" fmla="*/ 1650 w 2876"/>
              <a:gd name="T83" fmla="*/ 1574 h 1775"/>
              <a:gd name="T84" fmla="*/ 2050 w 2876"/>
              <a:gd name="T85" fmla="*/ 1674 h 1775"/>
              <a:gd name="T86" fmla="*/ 2325 w 2876"/>
              <a:gd name="T87" fmla="*/ 1774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6" h="1775">
                <a:moveTo>
                  <a:pt x="2401" y="1674"/>
                </a:moveTo>
                <a:lnTo>
                  <a:pt x="2401" y="1674"/>
                </a:lnTo>
                <a:cubicBezTo>
                  <a:pt x="2401" y="1674"/>
                  <a:pt x="2501" y="1674"/>
                  <a:pt x="2525" y="1649"/>
                </a:cubicBezTo>
                <a:cubicBezTo>
                  <a:pt x="2525" y="1625"/>
                  <a:pt x="2450" y="1574"/>
                  <a:pt x="2450" y="1549"/>
                </a:cubicBezTo>
                <a:cubicBezTo>
                  <a:pt x="2450" y="1549"/>
                  <a:pt x="2450" y="1500"/>
                  <a:pt x="2475" y="1500"/>
                </a:cubicBezTo>
                <a:cubicBezTo>
                  <a:pt x="2501" y="1500"/>
                  <a:pt x="2650" y="1500"/>
                  <a:pt x="2650" y="1500"/>
                </a:cubicBezTo>
                <a:cubicBezTo>
                  <a:pt x="2650" y="1500"/>
                  <a:pt x="2675" y="1425"/>
                  <a:pt x="2701" y="1425"/>
                </a:cubicBezTo>
                <a:cubicBezTo>
                  <a:pt x="2725" y="1425"/>
                  <a:pt x="2750" y="1449"/>
                  <a:pt x="2750" y="1449"/>
                </a:cubicBezTo>
                <a:cubicBezTo>
                  <a:pt x="2775" y="1425"/>
                  <a:pt x="2801" y="1374"/>
                  <a:pt x="2801" y="1324"/>
                </a:cubicBezTo>
                <a:cubicBezTo>
                  <a:pt x="2801" y="1274"/>
                  <a:pt x="2775" y="1249"/>
                  <a:pt x="2801" y="1224"/>
                </a:cubicBezTo>
                <a:cubicBezTo>
                  <a:pt x="2850" y="1200"/>
                  <a:pt x="2875" y="1200"/>
                  <a:pt x="2875" y="1149"/>
                </a:cubicBezTo>
                <a:cubicBezTo>
                  <a:pt x="2850" y="1100"/>
                  <a:pt x="2826" y="1149"/>
                  <a:pt x="2775" y="1124"/>
                </a:cubicBezTo>
                <a:cubicBezTo>
                  <a:pt x="2750" y="1100"/>
                  <a:pt x="2725" y="1124"/>
                  <a:pt x="2625" y="1124"/>
                </a:cubicBezTo>
                <a:cubicBezTo>
                  <a:pt x="2550" y="1149"/>
                  <a:pt x="2501" y="1174"/>
                  <a:pt x="2525" y="1249"/>
                </a:cubicBezTo>
                <a:cubicBezTo>
                  <a:pt x="2525" y="1300"/>
                  <a:pt x="2475" y="1274"/>
                  <a:pt x="2475" y="1324"/>
                </a:cubicBezTo>
                <a:cubicBezTo>
                  <a:pt x="2501" y="1374"/>
                  <a:pt x="2425" y="1374"/>
                  <a:pt x="2425" y="1425"/>
                </a:cubicBezTo>
                <a:cubicBezTo>
                  <a:pt x="2425" y="1449"/>
                  <a:pt x="2375" y="1425"/>
                  <a:pt x="2350" y="1400"/>
                </a:cubicBezTo>
                <a:cubicBezTo>
                  <a:pt x="2325" y="1400"/>
                  <a:pt x="2150" y="1449"/>
                  <a:pt x="2125" y="1449"/>
                </a:cubicBezTo>
                <a:cubicBezTo>
                  <a:pt x="2101" y="1449"/>
                  <a:pt x="2050" y="1400"/>
                  <a:pt x="2025" y="1400"/>
                </a:cubicBezTo>
                <a:cubicBezTo>
                  <a:pt x="2001" y="1400"/>
                  <a:pt x="1975" y="1349"/>
                  <a:pt x="1975" y="1300"/>
                </a:cubicBezTo>
                <a:cubicBezTo>
                  <a:pt x="1975" y="1274"/>
                  <a:pt x="1901" y="1224"/>
                  <a:pt x="1875" y="1174"/>
                </a:cubicBezTo>
                <a:cubicBezTo>
                  <a:pt x="1850" y="1149"/>
                  <a:pt x="1850" y="1049"/>
                  <a:pt x="1825" y="1000"/>
                </a:cubicBezTo>
                <a:cubicBezTo>
                  <a:pt x="1825" y="949"/>
                  <a:pt x="1825" y="849"/>
                  <a:pt x="1875" y="750"/>
                </a:cubicBezTo>
                <a:cubicBezTo>
                  <a:pt x="1875" y="725"/>
                  <a:pt x="1875" y="701"/>
                  <a:pt x="1875" y="701"/>
                </a:cubicBezTo>
                <a:cubicBezTo>
                  <a:pt x="1850" y="701"/>
                  <a:pt x="1850" y="675"/>
                  <a:pt x="1825" y="675"/>
                </a:cubicBezTo>
                <a:cubicBezTo>
                  <a:pt x="1800" y="675"/>
                  <a:pt x="1725" y="625"/>
                  <a:pt x="1700" y="625"/>
                </a:cubicBezTo>
                <a:cubicBezTo>
                  <a:pt x="1700" y="625"/>
                  <a:pt x="1700" y="601"/>
                  <a:pt x="1675" y="575"/>
                </a:cubicBezTo>
                <a:cubicBezTo>
                  <a:pt x="1675" y="550"/>
                  <a:pt x="1675" y="525"/>
                  <a:pt x="1650" y="501"/>
                </a:cubicBezTo>
                <a:cubicBezTo>
                  <a:pt x="1650" y="501"/>
                  <a:pt x="1575" y="450"/>
                  <a:pt x="1575" y="375"/>
                </a:cubicBezTo>
                <a:cubicBezTo>
                  <a:pt x="1550" y="325"/>
                  <a:pt x="1450" y="301"/>
                  <a:pt x="1400" y="275"/>
                </a:cubicBezTo>
                <a:cubicBezTo>
                  <a:pt x="1350" y="275"/>
                  <a:pt x="1350" y="375"/>
                  <a:pt x="1325" y="375"/>
                </a:cubicBezTo>
                <a:cubicBezTo>
                  <a:pt x="1325" y="375"/>
                  <a:pt x="1250" y="325"/>
                  <a:pt x="1225" y="325"/>
                </a:cubicBezTo>
                <a:cubicBezTo>
                  <a:pt x="1200" y="301"/>
                  <a:pt x="1175" y="275"/>
                  <a:pt x="1175" y="250"/>
                </a:cubicBezTo>
                <a:cubicBezTo>
                  <a:pt x="1175" y="225"/>
                  <a:pt x="1150" y="201"/>
                  <a:pt x="1125" y="175"/>
                </a:cubicBezTo>
                <a:cubicBezTo>
                  <a:pt x="1100" y="175"/>
                  <a:pt x="1025" y="75"/>
                  <a:pt x="1025" y="75"/>
                </a:cubicBezTo>
                <a:cubicBezTo>
                  <a:pt x="875" y="75"/>
                  <a:pt x="875" y="75"/>
                  <a:pt x="875" y="75"/>
                </a:cubicBezTo>
                <a:cubicBezTo>
                  <a:pt x="850" y="125"/>
                  <a:pt x="850" y="125"/>
                  <a:pt x="850" y="125"/>
                </a:cubicBezTo>
                <a:cubicBezTo>
                  <a:pt x="575" y="125"/>
                  <a:pt x="575" y="125"/>
                  <a:pt x="575" y="125"/>
                </a:cubicBezTo>
                <a:cubicBezTo>
                  <a:pt x="575" y="125"/>
                  <a:pt x="375" y="50"/>
                  <a:pt x="325" y="50"/>
                </a:cubicBezTo>
                <a:cubicBezTo>
                  <a:pt x="300" y="25"/>
                  <a:pt x="225" y="0"/>
                  <a:pt x="225" y="0"/>
                </a:cubicBezTo>
                <a:cubicBezTo>
                  <a:pt x="0" y="25"/>
                  <a:pt x="0" y="25"/>
                  <a:pt x="0" y="25"/>
                </a:cubicBezTo>
                <a:cubicBezTo>
                  <a:pt x="25" y="50"/>
                  <a:pt x="25" y="75"/>
                  <a:pt x="50" y="100"/>
                </a:cubicBezTo>
                <a:cubicBezTo>
                  <a:pt x="100" y="150"/>
                  <a:pt x="125" y="250"/>
                  <a:pt x="150" y="275"/>
                </a:cubicBezTo>
                <a:cubicBezTo>
                  <a:pt x="150" y="325"/>
                  <a:pt x="200" y="350"/>
                  <a:pt x="250" y="375"/>
                </a:cubicBezTo>
                <a:cubicBezTo>
                  <a:pt x="300" y="401"/>
                  <a:pt x="300" y="475"/>
                  <a:pt x="300" y="501"/>
                </a:cubicBezTo>
                <a:cubicBezTo>
                  <a:pt x="300" y="525"/>
                  <a:pt x="225" y="475"/>
                  <a:pt x="225" y="501"/>
                </a:cubicBezTo>
                <a:cubicBezTo>
                  <a:pt x="225" y="525"/>
                  <a:pt x="300" y="601"/>
                  <a:pt x="350" y="601"/>
                </a:cubicBezTo>
                <a:cubicBezTo>
                  <a:pt x="375" y="601"/>
                  <a:pt x="400" y="601"/>
                  <a:pt x="450" y="650"/>
                </a:cubicBezTo>
                <a:cubicBezTo>
                  <a:pt x="500" y="701"/>
                  <a:pt x="500" y="750"/>
                  <a:pt x="475" y="774"/>
                </a:cubicBezTo>
                <a:cubicBezTo>
                  <a:pt x="450" y="799"/>
                  <a:pt x="525" y="824"/>
                  <a:pt x="575" y="874"/>
                </a:cubicBezTo>
                <a:cubicBezTo>
                  <a:pt x="650" y="900"/>
                  <a:pt x="675" y="974"/>
                  <a:pt x="675" y="1000"/>
                </a:cubicBezTo>
                <a:cubicBezTo>
                  <a:pt x="675" y="1000"/>
                  <a:pt x="725" y="1000"/>
                  <a:pt x="725" y="949"/>
                </a:cubicBezTo>
                <a:cubicBezTo>
                  <a:pt x="725" y="924"/>
                  <a:pt x="700" y="924"/>
                  <a:pt x="700" y="874"/>
                </a:cubicBezTo>
                <a:cubicBezTo>
                  <a:pt x="700" y="849"/>
                  <a:pt x="650" y="849"/>
                  <a:pt x="625" y="849"/>
                </a:cubicBezTo>
                <a:cubicBezTo>
                  <a:pt x="600" y="849"/>
                  <a:pt x="625" y="799"/>
                  <a:pt x="600" y="774"/>
                </a:cubicBezTo>
                <a:cubicBezTo>
                  <a:pt x="575" y="750"/>
                  <a:pt x="550" y="675"/>
                  <a:pt x="550" y="625"/>
                </a:cubicBezTo>
                <a:cubicBezTo>
                  <a:pt x="525" y="601"/>
                  <a:pt x="475" y="550"/>
                  <a:pt x="450" y="501"/>
                </a:cubicBezTo>
                <a:cubicBezTo>
                  <a:pt x="400" y="450"/>
                  <a:pt x="375" y="401"/>
                  <a:pt x="375" y="401"/>
                </a:cubicBezTo>
                <a:cubicBezTo>
                  <a:pt x="350" y="375"/>
                  <a:pt x="400" y="350"/>
                  <a:pt x="375" y="350"/>
                </a:cubicBezTo>
                <a:cubicBezTo>
                  <a:pt x="350" y="325"/>
                  <a:pt x="325" y="325"/>
                  <a:pt x="300" y="301"/>
                </a:cubicBezTo>
                <a:cubicBezTo>
                  <a:pt x="275" y="301"/>
                  <a:pt x="250" y="275"/>
                  <a:pt x="250" y="225"/>
                </a:cubicBezTo>
                <a:cubicBezTo>
                  <a:pt x="250" y="201"/>
                  <a:pt x="225" y="125"/>
                  <a:pt x="225" y="100"/>
                </a:cubicBezTo>
                <a:cubicBezTo>
                  <a:pt x="200" y="75"/>
                  <a:pt x="250" y="75"/>
                  <a:pt x="250" y="75"/>
                </a:cubicBezTo>
                <a:cubicBezTo>
                  <a:pt x="250" y="100"/>
                  <a:pt x="275" y="100"/>
                  <a:pt x="275" y="100"/>
                </a:cubicBezTo>
                <a:cubicBezTo>
                  <a:pt x="300" y="100"/>
                  <a:pt x="325" y="100"/>
                  <a:pt x="325" y="125"/>
                </a:cubicBezTo>
                <a:cubicBezTo>
                  <a:pt x="350" y="150"/>
                  <a:pt x="375" y="125"/>
                  <a:pt x="400" y="125"/>
                </a:cubicBezTo>
                <a:cubicBezTo>
                  <a:pt x="425" y="150"/>
                  <a:pt x="350" y="150"/>
                  <a:pt x="425" y="250"/>
                </a:cubicBezTo>
                <a:cubicBezTo>
                  <a:pt x="475" y="350"/>
                  <a:pt x="425" y="301"/>
                  <a:pt x="425" y="350"/>
                </a:cubicBezTo>
                <a:cubicBezTo>
                  <a:pt x="425" y="425"/>
                  <a:pt x="475" y="401"/>
                  <a:pt x="475" y="375"/>
                </a:cubicBezTo>
                <a:cubicBezTo>
                  <a:pt x="475" y="375"/>
                  <a:pt x="525" y="401"/>
                  <a:pt x="550" y="450"/>
                </a:cubicBezTo>
                <a:cubicBezTo>
                  <a:pt x="575" y="475"/>
                  <a:pt x="625" y="475"/>
                  <a:pt x="625" y="501"/>
                </a:cubicBezTo>
                <a:cubicBezTo>
                  <a:pt x="625" y="525"/>
                  <a:pt x="625" y="550"/>
                  <a:pt x="675" y="550"/>
                </a:cubicBezTo>
                <a:cubicBezTo>
                  <a:pt x="700" y="575"/>
                  <a:pt x="700" y="601"/>
                  <a:pt x="725" y="601"/>
                </a:cubicBezTo>
                <a:cubicBezTo>
                  <a:pt x="750" y="601"/>
                  <a:pt x="750" y="625"/>
                  <a:pt x="750" y="675"/>
                </a:cubicBezTo>
                <a:cubicBezTo>
                  <a:pt x="725" y="701"/>
                  <a:pt x="750" y="725"/>
                  <a:pt x="800" y="725"/>
                </a:cubicBezTo>
                <a:cubicBezTo>
                  <a:pt x="850" y="750"/>
                  <a:pt x="825" y="774"/>
                  <a:pt x="875" y="799"/>
                </a:cubicBezTo>
                <a:cubicBezTo>
                  <a:pt x="925" y="849"/>
                  <a:pt x="1050" y="1000"/>
                  <a:pt x="1075" y="1024"/>
                </a:cubicBezTo>
                <a:cubicBezTo>
                  <a:pt x="1100" y="1074"/>
                  <a:pt x="1125" y="1100"/>
                  <a:pt x="1125" y="1124"/>
                </a:cubicBezTo>
                <a:cubicBezTo>
                  <a:pt x="1150" y="1174"/>
                  <a:pt x="1100" y="1174"/>
                  <a:pt x="1125" y="1200"/>
                </a:cubicBezTo>
                <a:cubicBezTo>
                  <a:pt x="1150" y="1224"/>
                  <a:pt x="1100" y="1224"/>
                  <a:pt x="1100" y="1224"/>
                </a:cubicBezTo>
                <a:cubicBezTo>
                  <a:pt x="1100" y="1249"/>
                  <a:pt x="1125" y="1349"/>
                  <a:pt x="1175" y="1349"/>
                </a:cubicBezTo>
                <a:cubicBezTo>
                  <a:pt x="1225" y="1349"/>
                  <a:pt x="1275" y="1425"/>
                  <a:pt x="1300" y="1449"/>
                </a:cubicBezTo>
                <a:cubicBezTo>
                  <a:pt x="1350" y="1474"/>
                  <a:pt x="1400" y="1474"/>
                  <a:pt x="1450" y="1500"/>
                </a:cubicBezTo>
                <a:cubicBezTo>
                  <a:pt x="1500" y="1500"/>
                  <a:pt x="1550" y="1549"/>
                  <a:pt x="1650" y="1574"/>
                </a:cubicBezTo>
                <a:cubicBezTo>
                  <a:pt x="1725" y="1600"/>
                  <a:pt x="1800" y="1649"/>
                  <a:pt x="1850" y="1674"/>
                </a:cubicBezTo>
                <a:cubicBezTo>
                  <a:pt x="1901" y="1700"/>
                  <a:pt x="1975" y="1700"/>
                  <a:pt x="2050" y="1674"/>
                </a:cubicBezTo>
                <a:cubicBezTo>
                  <a:pt x="2125" y="1625"/>
                  <a:pt x="2175" y="1674"/>
                  <a:pt x="2225" y="1700"/>
                </a:cubicBezTo>
                <a:cubicBezTo>
                  <a:pt x="2225" y="1700"/>
                  <a:pt x="2275" y="1725"/>
                  <a:pt x="2325" y="1774"/>
                </a:cubicBezTo>
                <a:cubicBezTo>
                  <a:pt x="2350" y="1725"/>
                  <a:pt x="2375" y="1674"/>
                  <a:pt x="2401" y="16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1" name="Freeform 97">
            <a:extLst>
              <a:ext uri="{FF2B5EF4-FFF2-40B4-BE49-F238E27FC236}">
                <a16:creationId xmlns:a16="http://schemas.microsoft.com/office/drawing/2014/main" id="{EE4B5FE4-6502-4A40-BBF5-A3EA43090100}"/>
              </a:ext>
            </a:extLst>
          </p:cNvPr>
          <p:cNvSpPr>
            <a:spLocks noChangeArrowheads="1"/>
          </p:cNvSpPr>
          <p:nvPr/>
        </p:nvSpPr>
        <p:spPr bwMode="auto">
          <a:xfrm>
            <a:off x="2974145" y="4294912"/>
            <a:ext cx="127968" cy="119531"/>
          </a:xfrm>
          <a:custGeom>
            <a:avLst/>
            <a:gdLst>
              <a:gd name="T0" fmla="*/ 350 w 401"/>
              <a:gd name="T1" fmla="*/ 249 h 375"/>
              <a:gd name="T2" fmla="*/ 350 w 401"/>
              <a:gd name="T3" fmla="*/ 249 h 375"/>
              <a:gd name="T4" fmla="*/ 400 w 401"/>
              <a:gd name="T5" fmla="*/ 200 h 375"/>
              <a:gd name="T6" fmla="*/ 350 w 401"/>
              <a:gd name="T7" fmla="*/ 174 h 375"/>
              <a:gd name="T8" fmla="*/ 300 w 401"/>
              <a:gd name="T9" fmla="*/ 174 h 375"/>
              <a:gd name="T10" fmla="*/ 300 w 401"/>
              <a:gd name="T11" fmla="*/ 0 h 375"/>
              <a:gd name="T12" fmla="*/ 150 w 401"/>
              <a:gd name="T13" fmla="*/ 0 h 375"/>
              <a:gd name="T14" fmla="*/ 125 w 401"/>
              <a:gd name="T15" fmla="*/ 49 h 375"/>
              <a:gd name="T16" fmla="*/ 200 w 401"/>
              <a:gd name="T17" fmla="*/ 149 h 375"/>
              <a:gd name="T18" fmla="*/ 76 w 401"/>
              <a:gd name="T19" fmla="*/ 174 h 375"/>
              <a:gd name="T20" fmla="*/ 0 w 401"/>
              <a:gd name="T21" fmla="*/ 274 h 375"/>
              <a:gd name="T22" fmla="*/ 100 w 401"/>
              <a:gd name="T23" fmla="*/ 349 h 375"/>
              <a:gd name="T24" fmla="*/ 225 w 401"/>
              <a:gd name="T25" fmla="*/ 374 h 375"/>
              <a:gd name="T26" fmla="*/ 225 w 401"/>
              <a:gd name="T27" fmla="*/ 374 h 375"/>
              <a:gd name="T28" fmla="*/ 300 w 401"/>
              <a:gd name="T29" fmla="*/ 325 h 375"/>
              <a:gd name="T30" fmla="*/ 350 w 401"/>
              <a:gd name="T31" fmla="*/ 24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375">
                <a:moveTo>
                  <a:pt x="350" y="249"/>
                </a:moveTo>
                <a:lnTo>
                  <a:pt x="350" y="249"/>
                </a:lnTo>
                <a:cubicBezTo>
                  <a:pt x="350" y="225"/>
                  <a:pt x="376" y="225"/>
                  <a:pt x="400" y="200"/>
                </a:cubicBezTo>
                <a:cubicBezTo>
                  <a:pt x="350" y="225"/>
                  <a:pt x="350" y="200"/>
                  <a:pt x="350" y="174"/>
                </a:cubicBezTo>
                <a:cubicBezTo>
                  <a:pt x="300" y="174"/>
                  <a:pt x="300" y="174"/>
                  <a:pt x="300" y="174"/>
                </a:cubicBezTo>
                <a:cubicBezTo>
                  <a:pt x="300" y="0"/>
                  <a:pt x="300" y="0"/>
                  <a:pt x="300" y="0"/>
                </a:cubicBezTo>
                <a:cubicBezTo>
                  <a:pt x="276" y="0"/>
                  <a:pt x="176" y="0"/>
                  <a:pt x="150" y="0"/>
                </a:cubicBezTo>
                <a:cubicBezTo>
                  <a:pt x="125" y="0"/>
                  <a:pt x="125" y="49"/>
                  <a:pt x="125" y="49"/>
                </a:cubicBezTo>
                <a:cubicBezTo>
                  <a:pt x="125" y="74"/>
                  <a:pt x="200" y="125"/>
                  <a:pt x="200" y="149"/>
                </a:cubicBezTo>
                <a:cubicBezTo>
                  <a:pt x="176" y="174"/>
                  <a:pt x="76" y="174"/>
                  <a:pt x="76" y="174"/>
                </a:cubicBezTo>
                <a:cubicBezTo>
                  <a:pt x="50" y="174"/>
                  <a:pt x="25" y="225"/>
                  <a:pt x="0" y="274"/>
                </a:cubicBezTo>
                <a:cubicBezTo>
                  <a:pt x="25" y="300"/>
                  <a:pt x="76" y="349"/>
                  <a:pt x="100" y="349"/>
                </a:cubicBezTo>
                <a:cubicBezTo>
                  <a:pt x="125" y="374"/>
                  <a:pt x="200" y="349"/>
                  <a:pt x="225" y="374"/>
                </a:cubicBezTo>
                <a:lnTo>
                  <a:pt x="225" y="374"/>
                </a:lnTo>
                <a:cubicBezTo>
                  <a:pt x="250" y="349"/>
                  <a:pt x="276" y="325"/>
                  <a:pt x="300" y="325"/>
                </a:cubicBezTo>
                <a:cubicBezTo>
                  <a:pt x="325" y="325"/>
                  <a:pt x="300" y="274"/>
                  <a:pt x="350" y="2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2" name="Freeform 98">
            <a:extLst>
              <a:ext uri="{FF2B5EF4-FFF2-40B4-BE49-F238E27FC236}">
                <a16:creationId xmlns:a16="http://schemas.microsoft.com/office/drawing/2014/main" id="{D5215A56-DD71-D046-B820-0EB3A0881104}"/>
              </a:ext>
            </a:extLst>
          </p:cNvPr>
          <p:cNvSpPr>
            <a:spLocks noChangeArrowheads="1"/>
          </p:cNvSpPr>
          <p:nvPr/>
        </p:nvSpPr>
        <p:spPr bwMode="auto">
          <a:xfrm>
            <a:off x="3069771" y="4271006"/>
            <a:ext cx="40780" cy="80156"/>
          </a:xfrm>
          <a:custGeom>
            <a:avLst/>
            <a:gdLst>
              <a:gd name="T0" fmla="*/ 25 w 126"/>
              <a:gd name="T1" fmla="*/ 75 h 250"/>
              <a:gd name="T2" fmla="*/ 25 w 126"/>
              <a:gd name="T3" fmla="*/ 75 h 250"/>
              <a:gd name="T4" fmla="*/ 0 w 126"/>
              <a:gd name="T5" fmla="*/ 75 h 250"/>
              <a:gd name="T6" fmla="*/ 0 w 126"/>
              <a:gd name="T7" fmla="*/ 249 h 250"/>
              <a:gd name="T8" fmla="*/ 50 w 126"/>
              <a:gd name="T9" fmla="*/ 249 h 250"/>
              <a:gd name="T10" fmla="*/ 76 w 126"/>
              <a:gd name="T11" fmla="*/ 200 h 250"/>
              <a:gd name="T12" fmla="*/ 100 w 126"/>
              <a:gd name="T13" fmla="*/ 49 h 250"/>
              <a:gd name="T14" fmla="*/ 125 w 126"/>
              <a:gd name="T15" fmla="*/ 24 h 250"/>
              <a:gd name="T16" fmla="*/ 76 w 126"/>
              <a:gd name="T17" fmla="*/ 0 h 250"/>
              <a:gd name="T18" fmla="*/ 25 w 126"/>
              <a:gd name="T19" fmla="*/ 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50">
                <a:moveTo>
                  <a:pt x="25" y="75"/>
                </a:moveTo>
                <a:lnTo>
                  <a:pt x="25" y="75"/>
                </a:lnTo>
                <a:cubicBezTo>
                  <a:pt x="25" y="75"/>
                  <a:pt x="25" y="75"/>
                  <a:pt x="0" y="75"/>
                </a:cubicBezTo>
                <a:cubicBezTo>
                  <a:pt x="0" y="249"/>
                  <a:pt x="0" y="249"/>
                  <a:pt x="0" y="249"/>
                </a:cubicBezTo>
                <a:cubicBezTo>
                  <a:pt x="50" y="249"/>
                  <a:pt x="50" y="249"/>
                  <a:pt x="50" y="249"/>
                </a:cubicBezTo>
                <a:cubicBezTo>
                  <a:pt x="50" y="224"/>
                  <a:pt x="76" y="224"/>
                  <a:pt x="76" y="200"/>
                </a:cubicBezTo>
                <a:cubicBezTo>
                  <a:pt x="125" y="175"/>
                  <a:pt x="76" y="49"/>
                  <a:pt x="100" y="49"/>
                </a:cubicBezTo>
                <a:cubicBezTo>
                  <a:pt x="125" y="49"/>
                  <a:pt x="125" y="49"/>
                  <a:pt x="125" y="24"/>
                </a:cubicBezTo>
                <a:cubicBezTo>
                  <a:pt x="125" y="24"/>
                  <a:pt x="100" y="0"/>
                  <a:pt x="76" y="0"/>
                </a:cubicBezTo>
                <a:cubicBezTo>
                  <a:pt x="50" y="0"/>
                  <a:pt x="25" y="75"/>
                  <a:pt x="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3" name="Freeform 99">
            <a:extLst>
              <a:ext uri="{FF2B5EF4-FFF2-40B4-BE49-F238E27FC236}">
                <a16:creationId xmlns:a16="http://schemas.microsoft.com/office/drawing/2014/main" id="{AE42CF49-DB6C-1245-9A43-B58A25A67660}"/>
              </a:ext>
            </a:extLst>
          </p:cNvPr>
          <p:cNvSpPr>
            <a:spLocks noChangeArrowheads="1"/>
          </p:cNvSpPr>
          <p:nvPr/>
        </p:nvSpPr>
        <p:spPr bwMode="auto">
          <a:xfrm>
            <a:off x="3508517" y="4214755"/>
            <a:ext cx="95624" cy="80156"/>
          </a:xfrm>
          <a:custGeom>
            <a:avLst/>
            <a:gdLst>
              <a:gd name="T0" fmla="*/ 150 w 301"/>
              <a:gd name="T1" fmla="*/ 25 h 252"/>
              <a:gd name="T2" fmla="*/ 150 w 301"/>
              <a:gd name="T3" fmla="*/ 25 h 252"/>
              <a:gd name="T4" fmla="*/ 200 w 301"/>
              <a:gd name="T5" fmla="*/ 151 h 252"/>
              <a:gd name="T6" fmla="*/ 25 w 301"/>
              <a:gd name="T7" fmla="*/ 200 h 252"/>
              <a:gd name="T8" fmla="*/ 150 w 301"/>
              <a:gd name="T9" fmla="*/ 225 h 252"/>
              <a:gd name="T10" fmla="*/ 274 w 301"/>
              <a:gd name="T11" fmla="*/ 225 h 252"/>
              <a:gd name="T12" fmla="*/ 300 w 301"/>
              <a:gd name="T13" fmla="*/ 51 h 252"/>
              <a:gd name="T14" fmla="*/ 150 w 301"/>
              <a:gd name="T15" fmla="*/ 25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52">
                <a:moveTo>
                  <a:pt x="150" y="25"/>
                </a:moveTo>
                <a:lnTo>
                  <a:pt x="150" y="25"/>
                </a:lnTo>
                <a:cubicBezTo>
                  <a:pt x="100" y="51"/>
                  <a:pt x="200" y="125"/>
                  <a:pt x="200" y="151"/>
                </a:cubicBezTo>
                <a:cubicBezTo>
                  <a:pt x="200" y="200"/>
                  <a:pt x="25" y="151"/>
                  <a:pt x="25" y="200"/>
                </a:cubicBezTo>
                <a:cubicBezTo>
                  <a:pt x="0" y="200"/>
                  <a:pt x="74" y="251"/>
                  <a:pt x="150" y="225"/>
                </a:cubicBezTo>
                <a:cubicBezTo>
                  <a:pt x="200" y="200"/>
                  <a:pt x="250" y="225"/>
                  <a:pt x="274" y="225"/>
                </a:cubicBezTo>
                <a:cubicBezTo>
                  <a:pt x="274" y="176"/>
                  <a:pt x="274" y="100"/>
                  <a:pt x="300" y="51"/>
                </a:cubicBezTo>
                <a:cubicBezTo>
                  <a:pt x="225" y="51"/>
                  <a:pt x="174" y="0"/>
                  <a:pt x="1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4" name="Freeform 100">
            <a:extLst>
              <a:ext uri="{FF2B5EF4-FFF2-40B4-BE49-F238E27FC236}">
                <a16:creationId xmlns:a16="http://schemas.microsoft.com/office/drawing/2014/main" id="{6708CBCA-8490-7444-BBD6-3DC68D23E31A}"/>
              </a:ext>
            </a:extLst>
          </p:cNvPr>
          <p:cNvSpPr>
            <a:spLocks noChangeArrowheads="1"/>
          </p:cNvSpPr>
          <p:nvPr/>
        </p:nvSpPr>
        <p:spPr bwMode="auto">
          <a:xfrm>
            <a:off x="3597111" y="4230226"/>
            <a:ext cx="104061" cy="64687"/>
          </a:xfrm>
          <a:custGeom>
            <a:avLst/>
            <a:gdLst>
              <a:gd name="T0" fmla="*/ 126 w 327"/>
              <a:gd name="T1" fmla="*/ 149 h 201"/>
              <a:gd name="T2" fmla="*/ 126 w 327"/>
              <a:gd name="T3" fmla="*/ 149 h 201"/>
              <a:gd name="T4" fmla="*/ 326 w 327"/>
              <a:gd name="T5" fmla="*/ 100 h 201"/>
              <a:gd name="T6" fmla="*/ 76 w 327"/>
              <a:gd name="T7" fmla="*/ 0 h 201"/>
              <a:gd name="T8" fmla="*/ 26 w 327"/>
              <a:gd name="T9" fmla="*/ 0 h 201"/>
              <a:gd name="T10" fmla="*/ 0 w 327"/>
              <a:gd name="T11" fmla="*/ 174 h 201"/>
              <a:gd name="T12" fmla="*/ 0 w 327"/>
              <a:gd name="T13" fmla="*/ 200 h 201"/>
              <a:gd name="T14" fmla="*/ 126 w 327"/>
              <a:gd name="T15" fmla="*/ 14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01">
                <a:moveTo>
                  <a:pt x="126" y="149"/>
                </a:moveTo>
                <a:lnTo>
                  <a:pt x="126" y="149"/>
                </a:lnTo>
                <a:cubicBezTo>
                  <a:pt x="200" y="125"/>
                  <a:pt x="326" y="174"/>
                  <a:pt x="326" y="100"/>
                </a:cubicBezTo>
                <a:cubicBezTo>
                  <a:pt x="326" y="49"/>
                  <a:pt x="126" y="0"/>
                  <a:pt x="76" y="0"/>
                </a:cubicBezTo>
                <a:cubicBezTo>
                  <a:pt x="51" y="0"/>
                  <a:pt x="26" y="0"/>
                  <a:pt x="26" y="0"/>
                </a:cubicBezTo>
                <a:cubicBezTo>
                  <a:pt x="0" y="49"/>
                  <a:pt x="0" y="125"/>
                  <a:pt x="0" y="174"/>
                </a:cubicBezTo>
                <a:cubicBezTo>
                  <a:pt x="0" y="174"/>
                  <a:pt x="0" y="174"/>
                  <a:pt x="0" y="200"/>
                </a:cubicBezTo>
                <a:cubicBezTo>
                  <a:pt x="26" y="200"/>
                  <a:pt x="51" y="174"/>
                  <a:pt x="126" y="1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5" name="Freeform 101">
            <a:extLst>
              <a:ext uri="{FF2B5EF4-FFF2-40B4-BE49-F238E27FC236}">
                <a16:creationId xmlns:a16="http://schemas.microsoft.com/office/drawing/2014/main" id="{CF78F766-4682-A74E-AF0C-E18FA9276547}"/>
              </a:ext>
            </a:extLst>
          </p:cNvPr>
          <p:cNvSpPr>
            <a:spLocks noChangeArrowheads="1"/>
          </p:cNvSpPr>
          <p:nvPr/>
        </p:nvSpPr>
        <p:spPr bwMode="auto">
          <a:xfrm>
            <a:off x="3126020" y="4382097"/>
            <a:ext cx="127968" cy="127968"/>
          </a:xfrm>
          <a:custGeom>
            <a:avLst/>
            <a:gdLst>
              <a:gd name="T0" fmla="*/ 225 w 401"/>
              <a:gd name="T1" fmla="*/ 375 h 401"/>
              <a:gd name="T2" fmla="*/ 225 w 401"/>
              <a:gd name="T3" fmla="*/ 375 h 401"/>
              <a:gd name="T4" fmla="*/ 300 w 401"/>
              <a:gd name="T5" fmla="*/ 400 h 401"/>
              <a:gd name="T6" fmla="*/ 349 w 401"/>
              <a:gd name="T7" fmla="*/ 400 h 401"/>
              <a:gd name="T8" fmla="*/ 349 w 401"/>
              <a:gd name="T9" fmla="*/ 375 h 401"/>
              <a:gd name="T10" fmla="*/ 374 w 401"/>
              <a:gd name="T11" fmla="*/ 251 h 401"/>
              <a:gd name="T12" fmla="*/ 374 w 401"/>
              <a:gd name="T13" fmla="*/ 100 h 401"/>
              <a:gd name="T14" fmla="*/ 400 w 401"/>
              <a:gd name="T15" fmla="*/ 0 h 401"/>
              <a:gd name="T16" fmla="*/ 400 w 401"/>
              <a:gd name="T17" fmla="*/ 0 h 401"/>
              <a:gd name="T18" fmla="*/ 300 w 401"/>
              <a:gd name="T19" fmla="*/ 26 h 401"/>
              <a:gd name="T20" fmla="*/ 200 w 401"/>
              <a:gd name="T21" fmla="*/ 51 h 401"/>
              <a:gd name="T22" fmla="*/ 100 w 401"/>
              <a:gd name="T23" fmla="*/ 100 h 401"/>
              <a:gd name="T24" fmla="*/ 74 w 401"/>
              <a:gd name="T25" fmla="*/ 151 h 401"/>
              <a:gd name="T26" fmla="*/ 25 w 401"/>
              <a:gd name="T27" fmla="*/ 175 h 401"/>
              <a:gd name="T28" fmla="*/ 0 w 401"/>
              <a:gd name="T29" fmla="*/ 200 h 401"/>
              <a:gd name="T30" fmla="*/ 25 w 401"/>
              <a:gd name="T31" fmla="*/ 226 h 401"/>
              <a:gd name="T32" fmla="*/ 125 w 401"/>
              <a:gd name="T33" fmla="*/ 351 h 401"/>
              <a:gd name="T34" fmla="*/ 174 w 401"/>
              <a:gd name="T35" fmla="*/ 375 h 401"/>
              <a:gd name="T36" fmla="*/ 225 w 401"/>
              <a:gd name="T37" fmla="*/ 37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01">
                <a:moveTo>
                  <a:pt x="225" y="375"/>
                </a:moveTo>
                <a:lnTo>
                  <a:pt x="225" y="375"/>
                </a:lnTo>
                <a:cubicBezTo>
                  <a:pt x="225" y="400"/>
                  <a:pt x="274" y="375"/>
                  <a:pt x="300" y="400"/>
                </a:cubicBezTo>
                <a:cubicBezTo>
                  <a:pt x="325" y="400"/>
                  <a:pt x="325" y="400"/>
                  <a:pt x="349" y="400"/>
                </a:cubicBezTo>
                <a:lnTo>
                  <a:pt x="349" y="375"/>
                </a:lnTo>
                <a:cubicBezTo>
                  <a:pt x="325" y="351"/>
                  <a:pt x="349" y="300"/>
                  <a:pt x="374" y="251"/>
                </a:cubicBezTo>
                <a:cubicBezTo>
                  <a:pt x="374" y="226"/>
                  <a:pt x="349" y="126"/>
                  <a:pt x="374" y="100"/>
                </a:cubicBezTo>
                <a:cubicBezTo>
                  <a:pt x="400" y="75"/>
                  <a:pt x="374" y="51"/>
                  <a:pt x="400" y="0"/>
                </a:cubicBezTo>
                <a:lnTo>
                  <a:pt x="400" y="0"/>
                </a:lnTo>
                <a:cubicBezTo>
                  <a:pt x="349" y="0"/>
                  <a:pt x="300" y="26"/>
                  <a:pt x="300" y="26"/>
                </a:cubicBezTo>
                <a:cubicBezTo>
                  <a:pt x="274" y="26"/>
                  <a:pt x="200" y="26"/>
                  <a:pt x="200" y="51"/>
                </a:cubicBezTo>
                <a:cubicBezTo>
                  <a:pt x="200" y="100"/>
                  <a:pt x="149" y="100"/>
                  <a:pt x="100" y="100"/>
                </a:cubicBezTo>
                <a:cubicBezTo>
                  <a:pt x="49" y="100"/>
                  <a:pt x="74" y="151"/>
                  <a:pt x="74" y="151"/>
                </a:cubicBezTo>
                <a:cubicBezTo>
                  <a:pt x="49" y="175"/>
                  <a:pt x="25" y="175"/>
                  <a:pt x="25" y="175"/>
                </a:cubicBezTo>
                <a:cubicBezTo>
                  <a:pt x="0" y="200"/>
                  <a:pt x="0" y="200"/>
                  <a:pt x="0" y="200"/>
                </a:cubicBezTo>
                <a:cubicBezTo>
                  <a:pt x="0" y="200"/>
                  <a:pt x="0" y="226"/>
                  <a:pt x="25" y="226"/>
                </a:cubicBezTo>
                <a:cubicBezTo>
                  <a:pt x="49" y="251"/>
                  <a:pt x="100" y="325"/>
                  <a:pt x="125" y="351"/>
                </a:cubicBezTo>
                <a:cubicBezTo>
                  <a:pt x="149" y="351"/>
                  <a:pt x="149" y="351"/>
                  <a:pt x="174" y="375"/>
                </a:cubicBezTo>
                <a:cubicBezTo>
                  <a:pt x="174" y="375"/>
                  <a:pt x="200" y="375"/>
                  <a:pt x="225" y="3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7" name="Freeform 103">
            <a:extLst>
              <a:ext uri="{FF2B5EF4-FFF2-40B4-BE49-F238E27FC236}">
                <a16:creationId xmlns:a16="http://schemas.microsoft.com/office/drawing/2014/main" id="{37136E94-7737-CA49-847B-344636A38C31}"/>
              </a:ext>
            </a:extLst>
          </p:cNvPr>
          <p:cNvSpPr>
            <a:spLocks noChangeArrowheads="1"/>
          </p:cNvSpPr>
          <p:nvPr/>
        </p:nvSpPr>
        <p:spPr bwMode="auto">
          <a:xfrm>
            <a:off x="4003515" y="5777089"/>
            <a:ext cx="143436" cy="160312"/>
          </a:xfrm>
          <a:custGeom>
            <a:avLst/>
            <a:gdLst>
              <a:gd name="T0" fmla="*/ 450 w 451"/>
              <a:gd name="T1" fmla="*/ 251 h 501"/>
              <a:gd name="T2" fmla="*/ 450 w 451"/>
              <a:gd name="T3" fmla="*/ 251 h 501"/>
              <a:gd name="T4" fmla="*/ 375 w 451"/>
              <a:gd name="T5" fmla="*/ 175 h 501"/>
              <a:gd name="T6" fmla="*/ 275 w 451"/>
              <a:gd name="T7" fmla="*/ 75 h 501"/>
              <a:gd name="T8" fmla="*/ 225 w 451"/>
              <a:gd name="T9" fmla="*/ 100 h 501"/>
              <a:gd name="T10" fmla="*/ 175 w 451"/>
              <a:gd name="T11" fmla="*/ 25 h 501"/>
              <a:gd name="T12" fmla="*/ 100 w 451"/>
              <a:gd name="T13" fmla="*/ 0 h 501"/>
              <a:gd name="T14" fmla="*/ 75 w 451"/>
              <a:gd name="T15" fmla="*/ 0 h 501"/>
              <a:gd name="T16" fmla="*/ 50 w 451"/>
              <a:gd name="T17" fmla="*/ 51 h 501"/>
              <a:gd name="T18" fmla="*/ 25 w 451"/>
              <a:gd name="T19" fmla="*/ 225 h 501"/>
              <a:gd name="T20" fmla="*/ 0 w 451"/>
              <a:gd name="T21" fmla="*/ 351 h 501"/>
              <a:gd name="T22" fmla="*/ 25 w 451"/>
              <a:gd name="T23" fmla="*/ 400 h 501"/>
              <a:gd name="T24" fmla="*/ 0 w 451"/>
              <a:gd name="T25" fmla="*/ 451 h 501"/>
              <a:gd name="T26" fmla="*/ 50 w 451"/>
              <a:gd name="T27" fmla="*/ 451 h 501"/>
              <a:gd name="T28" fmla="*/ 175 w 451"/>
              <a:gd name="T29" fmla="*/ 500 h 501"/>
              <a:gd name="T30" fmla="*/ 250 w 451"/>
              <a:gd name="T31" fmla="*/ 500 h 501"/>
              <a:gd name="T32" fmla="*/ 375 w 451"/>
              <a:gd name="T33" fmla="*/ 475 h 501"/>
              <a:gd name="T34" fmla="*/ 450 w 451"/>
              <a:gd name="T35" fmla="*/ 375 h 501"/>
              <a:gd name="T36" fmla="*/ 450 w 451"/>
              <a:gd name="T37" fmla="*/ 25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 h="501">
                <a:moveTo>
                  <a:pt x="450" y="251"/>
                </a:moveTo>
                <a:lnTo>
                  <a:pt x="450" y="251"/>
                </a:lnTo>
                <a:cubicBezTo>
                  <a:pt x="450" y="200"/>
                  <a:pt x="400" y="175"/>
                  <a:pt x="375" y="175"/>
                </a:cubicBezTo>
                <a:cubicBezTo>
                  <a:pt x="375" y="151"/>
                  <a:pt x="300" y="125"/>
                  <a:pt x="275" y="75"/>
                </a:cubicBezTo>
                <a:cubicBezTo>
                  <a:pt x="250" y="51"/>
                  <a:pt x="250" y="100"/>
                  <a:pt x="225" y="100"/>
                </a:cubicBezTo>
                <a:cubicBezTo>
                  <a:pt x="225" y="100"/>
                  <a:pt x="225" y="75"/>
                  <a:pt x="175" y="25"/>
                </a:cubicBezTo>
                <a:cubicBezTo>
                  <a:pt x="150" y="0"/>
                  <a:pt x="125" y="0"/>
                  <a:pt x="100" y="0"/>
                </a:cubicBezTo>
                <a:cubicBezTo>
                  <a:pt x="100" y="0"/>
                  <a:pt x="100" y="0"/>
                  <a:pt x="75" y="0"/>
                </a:cubicBezTo>
                <a:cubicBezTo>
                  <a:pt x="50" y="25"/>
                  <a:pt x="50" y="51"/>
                  <a:pt x="50" y="51"/>
                </a:cubicBezTo>
                <a:cubicBezTo>
                  <a:pt x="50" y="100"/>
                  <a:pt x="25" y="151"/>
                  <a:pt x="25" y="225"/>
                </a:cubicBezTo>
                <a:cubicBezTo>
                  <a:pt x="25" y="300"/>
                  <a:pt x="0" y="275"/>
                  <a:pt x="0" y="351"/>
                </a:cubicBezTo>
                <a:cubicBezTo>
                  <a:pt x="0" y="400"/>
                  <a:pt x="0" y="400"/>
                  <a:pt x="25" y="400"/>
                </a:cubicBezTo>
                <a:cubicBezTo>
                  <a:pt x="25" y="400"/>
                  <a:pt x="25" y="425"/>
                  <a:pt x="0" y="451"/>
                </a:cubicBezTo>
                <a:cubicBezTo>
                  <a:pt x="25" y="451"/>
                  <a:pt x="25" y="451"/>
                  <a:pt x="50" y="451"/>
                </a:cubicBezTo>
                <a:cubicBezTo>
                  <a:pt x="75" y="451"/>
                  <a:pt x="125" y="475"/>
                  <a:pt x="175" y="500"/>
                </a:cubicBezTo>
                <a:cubicBezTo>
                  <a:pt x="225" y="500"/>
                  <a:pt x="200" y="475"/>
                  <a:pt x="250" y="500"/>
                </a:cubicBezTo>
                <a:cubicBezTo>
                  <a:pt x="275" y="500"/>
                  <a:pt x="325" y="500"/>
                  <a:pt x="375" y="475"/>
                </a:cubicBezTo>
                <a:cubicBezTo>
                  <a:pt x="425" y="451"/>
                  <a:pt x="425" y="425"/>
                  <a:pt x="450" y="375"/>
                </a:cubicBezTo>
                <a:cubicBezTo>
                  <a:pt x="425" y="325"/>
                  <a:pt x="450" y="275"/>
                  <a:pt x="450" y="2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8" name="Freeform 104">
            <a:extLst>
              <a:ext uri="{FF2B5EF4-FFF2-40B4-BE49-F238E27FC236}">
                <a16:creationId xmlns:a16="http://schemas.microsoft.com/office/drawing/2014/main" id="{0B9AD9AE-5809-9E49-BB27-09F13CDD9D11}"/>
              </a:ext>
            </a:extLst>
          </p:cNvPr>
          <p:cNvSpPr>
            <a:spLocks noChangeArrowheads="1"/>
          </p:cNvSpPr>
          <p:nvPr/>
        </p:nvSpPr>
        <p:spPr bwMode="auto">
          <a:xfrm>
            <a:off x="3540861" y="5505684"/>
            <a:ext cx="606091" cy="1196712"/>
          </a:xfrm>
          <a:custGeom>
            <a:avLst/>
            <a:gdLst>
              <a:gd name="T0" fmla="*/ 725 w 1901"/>
              <a:gd name="T1" fmla="*/ 3675 h 3752"/>
              <a:gd name="T2" fmla="*/ 475 w 1901"/>
              <a:gd name="T3" fmla="*/ 3501 h 3752"/>
              <a:gd name="T4" fmla="*/ 450 w 1901"/>
              <a:gd name="T5" fmla="*/ 3401 h 3752"/>
              <a:gd name="T6" fmla="*/ 625 w 1901"/>
              <a:gd name="T7" fmla="*/ 3726 h 3752"/>
              <a:gd name="T8" fmla="*/ 775 w 1901"/>
              <a:gd name="T9" fmla="*/ 3701 h 3752"/>
              <a:gd name="T10" fmla="*/ 1875 w 1901"/>
              <a:gd name="T11" fmla="*/ 375 h 3752"/>
              <a:gd name="T12" fmla="*/ 1800 w 1901"/>
              <a:gd name="T13" fmla="*/ 375 h 3752"/>
              <a:gd name="T14" fmla="*/ 1750 w 1901"/>
              <a:gd name="T15" fmla="*/ 525 h 3752"/>
              <a:gd name="T16" fmla="*/ 1600 w 1901"/>
              <a:gd name="T17" fmla="*/ 575 h 3752"/>
              <a:gd name="T18" fmla="*/ 1425 w 1901"/>
              <a:gd name="T19" fmla="*/ 550 h 3752"/>
              <a:gd name="T20" fmla="*/ 1525 w 1901"/>
              <a:gd name="T21" fmla="*/ 350 h 3752"/>
              <a:gd name="T22" fmla="*/ 1250 w 1901"/>
              <a:gd name="T23" fmla="*/ 225 h 3752"/>
              <a:gd name="T24" fmla="*/ 1025 w 1901"/>
              <a:gd name="T25" fmla="*/ 25 h 3752"/>
              <a:gd name="T26" fmla="*/ 875 w 1901"/>
              <a:gd name="T27" fmla="*/ 75 h 3752"/>
              <a:gd name="T28" fmla="*/ 675 w 1901"/>
              <a:gd name="T29" fmla="*/ 25 h 3752"/>
              <a:gd name="T30" fmla="*/ 600 w 1901"/>
              <a:gd name="T31" fmla="*/ 200 h 3752"/>
              <a:gd name="T32" fmla="*/ 475 w 1901"/>
              <a:gd name="T33" fmla="*/ 350 h 3752"/>
              <a:gd name="T34" fmla="*/ 500 w 1901"/>
              <a:gd name="T35" fmla="*/ 525 h 3752"/>
              <a:gd name="T36" fmla="*/ 400 w 1901"/>
              <a:gd name="T37" fmla="*/ 650 h 3752"/>
              <a:gd name="T38" fmla="*/ 325 w 1901"/>
              <a:gd name="T39" fmla="*/ 775 h 3752"/>
              <a:gd name="T40" fmla="*/ 300 w 1901"/>
              <a:gd name="T41" fmla="*/ 950 h 3752"/>
              <a:gd name="T42" fmla="*/ 325 w 1901"/>
              <a:gd name="T43" fmla="*/ 1150 h 3752"/>
              <a:gd name="T44" fmla="*/ 325 w 1901"/>
              <a:gd name="T45" fmla="*/ 1301 h 3752"/>
              <a:gd name="T46" fmla="*/ 300 w 1901"/>
              <a:gd name="T47" fmla="*/ 1501 h 3752"/>
              <a:gd name="T48" fmla="*/ 225 w 1901"/>
              <a:gd name="T49" fmla="*/ 1701 h 3752"/>
              <a:gd name="T50" fmla="*/ 200 w 1901"/>
              <a:gd name="T51" fmla="*/ 1801 h 3752"/>
              <a:gd name="T52" fmla="*/ 174 w 1901"/>
              <a:gd name="T53" fmla="*/ 1925 h 3752"/>
              <a:gd name="T54" fmla="*/ 150 w 1901"/>
              <a:gd name="T55" fmla="*/ 2050 h 3752"/>
              <a:gd name="T56" fmla="*/ 150 w 1901"/>
              <a:gd name="T57" fmla="*/ 2250 h 3752"/>
              <a:gd name="T58" fmla="*/ 174 w 1901"/>
              <a:gd name="T59" fmla="*/ 2375 h 3752"/>
              <a:gd name="T60" fmla="*/ 200 w 1901"/>
              <a:gd name="T61" fmla="*/ 2450 h 3752"/>
              <a:gd name="T62" fmla="*/ 174 w 1901"/>
              <a:gd name="T63" fmla="*/ 2526 h 3752"/>
              <a:gd name="T64" fmla="*/ 174 w 1901"/>
              <a:gd name="T65" fmla="*/ 2675 h 3752"/>
              <a:gd name="T66" fmla="*/ 100 w 1901"/>
              <a:gd name="T67" fmla="*/ 2801 h 3752"/>
              <a:gd name="T68" fmla="*/ 74 w 1901"/>
              <a:gd name="T69" fmla="*/ 2950 h 3752"/>
              <a:gd name="T70" fmla="*/ 25 w 1901"/>
              <a:gd name="T71" fmla="*/ 3101 h 3752"/>
              <a:gd name="T72" fmla="*/ 125 w 1901"/>
              <a:gd name="T73" fmla="*/ 3201 h 3752"/>
              <a:gd name="T74" fmla="*/ 174 w 1901"/>
              <a:gd name="T75" fmla="*/ 3326 h 3752"/>
              <a:gd name="T76" fmla="*/ 374 w 1901"/>
              <a:gd name="T77" fmla="*/ 3351 h 3752"/>
              <a:gd name="T78" fmla="*/ 425 w 1901"/>
              <a:gd name="T79" fmla="*/ 3275 h 3752"/>
              <a:gd name="T80" fmla="*/ 425 w 1901"/>
              <a:gd name="T81" fmla="*/ 3126 h 3752"/>
              <a:gd name="T82" fmla="*/ 550 w 1901"/>
              <a:gd name="T83" fmla="*/ 3026 h 3752"/>
              <a:gd name="T84" fmla="*/ 725 w 1901"/>
              <a:gd name="T85" fmla="*/ 2826 h 3752"/>
              <a:gd name="T86" fmla="*/ 650 w 1901"/>
              <a:gd name="T87" fmla="*/ 2701 h 3752"/>
              <a:gd name="T88" fmla="*/ 725 w 1901"/>
              <a:gd name="T89" fmla="*/ 2475 h 3752"/>
              <a:gd name="T90" fmla="*/ 775 w 1901"/>
              <a:gd name="T91" fmla="*/ 2375 h 3752"/>
              <a:gd name="T92" fmla="*/ 850 w 1901"/>
              <a:gd name="T93" fmla="*/ 2250 h 3752"/>
              <a:gd name="T94" fmla="*/ 900 w 1901"/>
              <a:gd name="T95" fmla="*/ 2226 h 3752"/>
              <a:gd name="T96" fmla="*/ 875 w 1901"/>
              <a:gd name="T97" fmla="*/ 2175 h 3752"/>
              <a:gd name="T98" fmla="*/ 800 w 1901"/>
              <a:gd name="T99" fmla="*/ 2075 h 3752"/>
              <a:gd name="T100" fmla="*/ 950 w 1901"/>
              <a:gd name="T101" fmla="*/ 2026 h 3752"/>
              <a:gd name="T102" fmla="*/ 1075 w 1901"/>
              <a:gd name="T103" fmla="*/ 1901 h 3752"/>
              <a:gd name="T104" fmla="*/ 1100 w 1901"/>
              <a:gd name="T105" fmla="*/ 1775 h 3752"/>
              <a:gd name="T106" fmla="*/ 1525 w 1901"/>
              <a:gd name="T107" fmla="*/ 1675 h 3752"/>
              <a:gd name="T108" fmla="*/ 1575 w 1901"/>
              <a:gd name="T109" fmla="*/ 1501 h 3752"/>
              <a:gd name="T110" fmla="*/ 1500 w 1901"/>
              <a:gd name="T111" fmla="*/ 1350 h 3752"/>
              <a:gd name="T112" fmla="*/ 1450 w 1901"/>
              <a:gd name="T113" fmla="*/ 1301 h 3752"/>
              <a:gd name="T114" fmla="*/ 1450 w 1901"/>
              <a:gd name="T115" fmla="*/ 1201 h 3752"/>
              <a:gd name="T116" fmla="*/ 1500 w 1901"/>
              <a:gd name="T117" fmla="*/ 901 h 3752"/>
              <a:gd name="T118" fmla="*/ 1775 w 1901"/>
              <a:gd name="T119" fmla="*/ 575 h 3752"/>
              <a:gd name="T120" fmla="*/ 1875 w 1901"/>
              <a:gd name="T121" fmla="*/ 375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1" h="3752">
                <a:moveTo>
                  <a:pt x="725" y="3675"/>
                </a:moveTo>
                <a:lnTo>
                  <a:pt x="725" y="3675"/>
                </a:lnTo>
                <a:cubicBezTo>
                  <a:pt x="675" y="3675"/>
                  <a:pt x="550" y="3575"/>
                  <a:pt x="525" y="3551"/>
                </a:cubicBezTo>
                <a:cubicBezTo>
                  <a:pt x="500" y="3526"/>
                  <a:pt x="525" y="3501"/>
                  <a:pt x="475" y="3501"/>
                </a:cubicBezTo>
                <a:cubicBezTo>
                  <a:pt x="450" y="3501"/>
                  <a:pt x="475" y="3475"/>
                  <a:pt x="500" y="3475"/>
                </a:cubicBezTo>
                <a:cubicBezTo>
                  <a:pt x="500" y="3451"/>
                  <a:pt x="475" y="3426"/>
                  <a:pt x="450" y="3401"/>
                </a:cubicBezTo>
                <a:cubicBezTo>
                  <a:pt x="450" y="3475"/>
                  <a:pt x="450" y="3726"/>
                  <a:pt x="450" y="3726"/>
                </a:cubicBezTo>
                <a:cubicBezTo>
                  <a:pt x="475" y="3726"/>
                  <a:pt x="575" y="3701"/>
                  <a:pt x="625" y="3726"/>
                </a:cubicBezTo>
                <a:cubicBezTo>
                  <a:pt x="625" y="3726"/>
                  <a:pt x="650" y="3751"/>
                  <a:pt x="650" y="3726"/>
                </a:cubicBezTo>
                <a:cubicBezTo>
                  <a:pt x="675" y="3701"/>
                  <a:pt x="750" y="3726"/>
                  <a:pt x="775" y="3701"/>
                </a:cubicBezTo>
                <a:cubicBezTo>
                  <a:pt x="800" y="3675"/>
                  <a:pt x="775" y="3675"/>
                  <a:pt x="725" y="3675"/>
                </a:cubicBezTo>
                <a:close/>
                <a:moveTo>
                  <a:pt x="1875" y="375"/>
                </a:moveTo>
                <a:lnTo>
                  <a:pt x="1875" y="375"/>
                </a:lnTo>
                <a:cubicBezTo>
                  <a:pt x="1850" y="375"/>
                  <a:pt x="1825" y="375"/>
                  <a:pt x="1800" y="375"/>
                </a:cubicBezTo>
                <a:lnTo>
                  <a:pt x="1800" y="375"/>
                </a:lnTo>
                <a:cubicBezTo>
                  <a:pt x="1825" y="425"/>
                  <a:pt x="1800" y="525"/>
                  <a:pt x="1750" y="525"/>
                </a:cubicBezTo>
                <a:cubicBezTo>
                  <a:pt x="1725" y="525"/>
                  <a:pt x="1700" y="575"/>
                  <a:pt x="1675" y="550"/>
                </a:cubicBezTo>
                <a:cubicBezTo>
                  <a:pt x="1675" y="550"/>
                  <a:pt x="1625" y="600"/>
                  <a:pt x="1600" y="575"/>
                </a:cubicBezTo>
                <a:cubicBezTo>
                  <a:pt x="1575" y="550"/>
                  <a:pt x="1550" y="575"/>
                  <a:pt x="1525" y="575"/>
                </a:cubicBezTo>
                <a:cubicBezTo>
                  <a:pt x="1500" y="550"/>
                  <a:pt x="1425" y="575"/>
                  <a:pt x="1425" y="550"/>
                </a:cubicBezTo>
                <a:cubicBezTo>
                  <a:pt x="1425" y="525"/>
                  <a:pt x="1450" y="525"/>
                  <a:pt x="1450" y="475"/>
                </a:cubicBezTo>
                <a:cubicBezTo>
                  <a:pt x="1450" y="425"/>
                  <a:pt x="1550" y="375"/>
                  <a:pt x="1525" y="350"/>
                </a:cubicBezTo>
                <a:cubicBezTo>
                  <a:pt x="1525" y="350"/>
                  <a:pt x="1375" y="300"/>
                  <a:pt x="1350" y="275"/>
                </a:cubicBezTo>
                <a:cubicBezTo>
                  <a:pt x="1350" y="250"/>
                  <a:pt x="1300" y="225"/>
                  <a:pt x="1250" y="225"/>
                </a:cubicBezTo>
                <a:cubicBezTo>
                  <a:pt x="1200" y="225"/>
                  <a:pt x="1200" y="175"/>
                  <a:pt x="1150" y="150"/>
                </a:cubicBezTo>
                <a:cubicBezTo>
                  <a:pt x="1100" y="125"/>
                  <a:pt x="1050" y="50"/>
                  <a:pt x="1025" y="25"/>
                </a:cubicBezTo>
                <a:cubicBezTo>
                  <a:pt x="975" y="25"/>
                  <a:pt x="925" y="0"/>
                  <a:pt x="925" y="25"/>
                </a:cubicBezTo>
                <a:cubicBezTo>
                  <a:pt x="900" y="50"/>
                  <a:pt x="900" y="125"/>
                  <a:pt x="875" y="75"/>
                </a:cubicBezTo>
                <a:cubicBezTo>
                  <a:pt x="850" y="50"/>
                  <a:pt x="800" y="50"/>
                  <a:pt x="750" y="25"/>
                </a:cubicBezTo>
                <a:cubicBezTo>
                  <a:pt x="725" y="25"/>
                  <a:pt x="725" y="0"/>
                  <a:pt x="675" y="25"/>
                </a:cubicBezTo>
                <a:cubicBezTo>
                  <a:pt x="650" y="50"/>
                  <a:pt x="625" y="75"/>
                  <a:pt x="600" y="100"/>
                </a:cubicBezTo>
                <a:cubicBezTo>
                  <a:pt x="600" y="125"/>
                  <a:pt x="600" y="175"/>
                  <a:pt x="600" y="200"/>
                </a:cubicBezTo>
                <a:cubicBezTo>
                  <a:pt x="575" y="225"/>
                  <a:pt x="475" y="275"/>
                  <a:pt x="475" y="275"/>
                </a:cubicBezTo>
                <a:cubicBezTo>
                  <a:pt x="475" y="300"/>
                  <a:pt x="500" y="350"/>
                  <a:pt x="475" y="350"/>
                </a:cubicBezTo>
                <a:cubicBezTo>
                  <a:pt x="450" y="375"/>
                  <a:pt x="525" y="450"/>
                  <a:pt x="475" y="450"/>
                </a:cubicBezTo>
                <a:cubicBezTo>
                  <a:pt x="450" y="475"/>
                  <a:pt x="500" y="500"/>
                  <a:pt x="500" y="525"/>
                </a:cubicBezTo>
                <a:cubicBezTo>
                  <a:pt x="475" y="525"/>
                  <a:pt x="425" y="550"/>
                  <a:pt x="425" y="575"/>
                </a:cubicBezTo>
                <a:cubicBezTo>
                  <a:pt x="425" y="575"/>
                  <a:pt x="425" y="625"/>
                  <a:pt x="400" y="650"/>
                </a:cubicBezTo>
                <a:cubicBezTo>
                  <a:pt x="374" y="650"/>
                  <a:pt x="350" y="700"/>
                  <a:pt x="350" y="725"/>
                </a:cubicBezTo>
                <a:cubicBezTo>
                  <a:pt x="350" y="750"/>
                  <a:pt x="325" y="725"/>
                  <a:pt x="325" y="775"/>
                </a:cubicBezTo>
                <a:cubicBezTo>
                  <a:pt x="350" y="825"/>
                  <a:pt x="374" y="875"/>
                  <a:pt x="325" y="875"/>
                </a:cubicBezTo>
                <a:cubicBezTo>
                  <a:pt x="300" y="875"/>
                  <a:pt x="325" y="950"/>
                  <a:pt x="300" y="950"/>
                </a:cubicBezTo>
                <a:cubicBezTo>
                  <a:pt x="274" y="950"/>
                  <a:pt x="274" y="1025"/>
                  <a:pt x="300" y="1050"/>
                </a:cubicBezTo>
                <a:cubicBezTo>
                  <a:pt x="325" y="1075"/>
                  <a:pt x="325" y="1101"/>
                  <a:pt x="325" y="1150"/>
                </a:cubicBezTo>
                <a:cubicBezTo>
                  <a:pt x="325" y="1175"/>
                  <a:pt x="350" y="1201"/>
                  <a:pt x="350" y="1225"/>
                </a:cubicBezTo>
                <a:cubicBezTo>
                  <a:pt x="350" y="1250"/>
                  <a:pt x="350" y="1275"/>
                  <a:pt x="325" y="1301"/>
                </a:cubicBezTo>
                <a:cubicBezTo>
                  <a:pt x="300" y="1325"/>
                  <a:pt x="325" y="1350"/>
                  <a:pt x="300" y="1375"/>
                </a:cubicBezTo>
                <a:cubicBezTo>
                  <a:pt x="274" y="1375"/>
                  <a:pt x="325" y="1475"/>
                  <a:pt x="300" y="1501"/>
                </a:cubicBezTo>
                <a:cubicBezTo>
                  <a:pt x="274" y="1501"/>
                  <a:pt x="225" y="1525"/>
                  <a:pt x="225" y="1575"/>
                </a:cubicBezTo>
                <a:cubicBezTo>
                  <a:pt x="225" y="1650"/>
                  <a:pt x="225" y="1675"/>
                  <a:pt x="225" y="1701"/>
                </a:cubicBezTo>
                <a:cubicBezTo>
                  <a:pt x="225" y="1725"/>
                  <a:pt x="250" y="1725"/>
                  <a:pt x="250" y="1750"/>
                </a:cubicBezTo>
                <a:cubicBezTo>
                  <a:pt x="250" y="1801"/>
                  <a:pt x="200" y="1775"/>
                  <a:pt x="200" y="1801"/>
                </a:cubicBezTo>
                <a:cubicBezTo>
                  <a:pt x="200" y="1825"/>
                  <a:pt x="200" y="1875"/>
                  <a:pt x="200" y="1875"/>
                </a:cubicBezTo>
                <a:cubicBezTo>
                  <a:pt x="174" y="1875"/>
                  <a:pt x="174" y="1875"/>
                  <a:pt x="174" y="1925"/>
                </a:cubicBezTo>
                <a:cubicBezTo>
                  <a:pt x="174" y="1975"/>
                  <a:pt x="150" y="1975"/>
                  <a:pt x="150" y="2001"/>
                </a:cubicBezTo>
                <a:cubicBezTo>
                  <a:pt x="150" y="2001"/>
                  <a:pt x="150" y="2026"/>
                  <a:pt x="150" y="2050"/>
                </a:cubicBezTo>
                <a:cubicBezTo>
                  <a:pt x="150" y="2075"/>
                  <a:pt x="174" y="2150"/>
                  <a:pt x="150" y="2150"/>
                </a:cubicBezTo>
                <a:cubicBezTo>
                  <a:pt x="125" y="2150"/>
                  <a:pt x="125" y="2250"/>
                  <a:pt x="150" y="2250"/>
                </a:cubicBezTo>
                <a:cubicBezTo>
                  <a:pt x="150" y="2275"/>
                  <a:pt x="150" y="2301"/>
                  <a:pt x="150" y="2301"/>
                </a:cubicBezTo>
                <a:cubicBezTo>
                  <a:pt x="150" y="2326"/>
                  <a:pt x="200" y="2350"/>
                  <a:pt x="174" y="2375"/>
                </a:cubicBezTo>
                <a:cubicBezTo>
                  <a:pt x="150" y="2401"/>
                  <a:pt x="150" y="2426"/>
                  <a:pt x="200" y="2426"/>
                </a:cubicBezTo>
                <a:cubicBezTo>
                  <a:pt x="225" y="2401"/>
                  <a:pt x="250" y="2450"/>
                  <a:pt x="200" y="2450"/>
                </a:cubicBezTo>
                <a:cubicBezTo>
                  <a:pt x="174" y="2450"/>
                  <a:pt x="150" y="2450"/>
                  <a:pt x="174" y="2475"/>
                </a:cubicBezTo>
                <a:cubicBezTo>
                  <a:pt x="200" y="2501"/>
                  <a:pt x="225" y="2526"/>
                  <a:pt x="174" y="2526"/>
                </a:cubicBezTo>
                <a:cubicBezTo>
                  <a:pt x="150" y="2550"/>
                  <a:pt x="174" y="2575"/>
                  <a:pt x="174" y="2601"/>
                </a:cubicBezTo>
                <a:cubicBezTo>
                  <a:pt x="150" y="2650"/>
                  <a:pt x="200" y="2675"/>
                  <a:pt x="174" y="2675"/>
                </a:cubicBezTo>
                <a:cubicBezTo>
                  <a:pt x="150" y="2701"/>
                  <a:pt x="174" y="2750"/>
                  <a:pt x="150" y="2750"/>
                </a:cubicBezTo>
                <a:cubicBezTo>
                  <a:pt x="100" y="2750"/>
                  <a:pt x="125" y="2801"/>
                  <a:pt x="100" y="2801"/>
                </a:cubicBezTo>
                <a:cubicBezTo>
                  <a:pt x="74" y="2826"/>
                  <a:pt x="125" y="2875"/>
                  <a:pt x="100" y="2875"/>
                </a:cubicBezTo>
                <a:cubicBezTo>
                  <a:pt x="74" y="2901"/>
                  <a:pt x="100" y="2950"/>
                  <a:pt x="74" y="2950"/>
                </a:cubicBezTo>
                <a:cubicBezTo>
                  <a:pt x="25" y="2950"/>
                  <a:pt x="25" y="3001"/>
                  <a:pt x="0" y="3001"/>
                </a:cubicBezTo>
                <a:cubicBezTo>
                  <a:pt x="0" y="3026"/>
                  <a:pt x="0" y="3075"/>
                  <a:pt x="25" y="3101"/>
                </a:cubicBezTo>
                <a:cubicBezTo>
                  <a:pt x="50" y="3126"/>
                  <a:pt x="0" y="3150"/>
                  <a:pt x="25" y="3150"/>
                </a:cubicBezTo>
                <a:cubicBezTo>
                  <a:pt x="50" y="3175"/>
                  <a:pt x="125" y="3150"/>
                  <a:pt x="125" y="3201"/>
                </a:cubicBezTo>
                <a:cubicBezTo>
                  <a:pt x="100" y="3226"/>
                  <a:pt x="100" y="3301"/>
                  <a:pt x="125" y="3301"/>
                </a:cubicBezTo>
                <a:cubicBezTo>
                  <a:pt x="150" y="3301"/>
                  <a:pt x="150" y="3351"/>
                  <a:pt x="174" y="3326"/>
                </a:cubicBezTo>
                <a:cubicBezTo>
                  <a:pt x="200" y="3326"/>
                  <a:pt x="300" y="3326"/>
                  <a:pt x="325" y="3326"/>
                </a:cubicBezTo>
                <a:cubicBezTo>
                  <a:pt x="350" y="3351"/>
                  <a:pt x="374" y="3351"/>
                  <a:pt x="374" y="3351"/>
                </a:cubicBezTo>
                <a:cubicBezTo>
                  <a:pt x="400" y="3351"/>
                  <a:pt x="475" y="3375"/>
                  <a:pt x="475" y="3375"/>
                </a:cubicBezTo>
                <a:cubicBezTo>
                  <a:pt x="500" y="3351"/>
                  <a:pt x="425" y="3301"/>
                  <a:pt x="425" y="3275"/>
                </a:cubicBezTo>
                <a:lnTo>
                  <a:pt x="425" y="3226"/>
                </a:lnTo>
                <a:cubicBezTo>
                  <a:pt x="425" y="3201"/>
                  <a:pt x="400" y="3150"/>
                  <a:pt x="425" y="3126"/>
                </a:cubicBezTo>
                <a:cubicBezTo>
                  <a:pt x="475" y="3101"/>
                  <a:pt x="475" y="3075"/>
                  <a:pt x="475" y="3101"/>
                </a:cubicBezTo>
                <a:cubicBezTo>
                  <a:pt x="500" y="3101"/>
                  <a:pt x="550" y="3075"/>
                  <a:pt x="550" y="3026"/>
                </a:cubicBezTo>
                <a:cubicBezTo>
                  <a:pt x="550" y="2975"/>
                  <a:pt x="575" y="2950"/>
                  <a:pt x="600" y="2926"/>
                </a:cubicBezTo>
                <a:cubicBezTo>
                  <a:pt x="650" y="2875"/>
                  <a:pt x="725" y="2850"/>
                  <a:pt x="725" y="2826"/>
                </a:cubicBezTo>
                <a:cubicBezTo>
                  <a:pt x="700" y="2801"/>
                  <a:pt x="725" y="2750"/>
                  <a:pt x="725" y="2726"/>
                </a:cubicBezTo>
                <a:cubicBezTo>
                  <a:pt x="725" y="2726"/>
                  <a:pt x="675" y="2726"/>
                  <a:pt x="650" y="2701"/>
                </a:cubicBezTo>
                <a:cubicBezTo>
                  <a:pt x="625" y="2701"/>
                  <a:pt x="525" y="2650"/>
                  <a:pt x="575" y="2575"/>
                </a:cubicBezTo>
                <a:cubicBezTo>
                  <a:pt x="625" y="2501"/>
                  <a:pt x="700" y="2475"/>
                  <a:pt x="725" y="2475"/>
                </a:cubicBezTo>
                <a:cubicBezTo>
                  <a:pt x="750" y="2475"/>
                  <a:pt x="725" y="2450"/>
                  <a:pt x="750" y="2426"/>
                </a:cubicBezTo>
                <a:cubicBezTo>
                  <a:pt x="775" y="2426"/>
                  <a:pt x="775" y="2401"/>
                  <a:pt x="775" y="2375"/>
                </a:cubicBezTo>
                <a:cubicBezTo>
                  <a:pt x="775" y="2326"/>
                  <a:pt x="775" y="2275"/>
                  <a:pt x="825" y="2275"/>
                </a:cubicBezTo>
                <a:cubicBezTo>
                  <a:pt x="850" y="2275"/>
                  <a:pt x="875" y="2250"/>
                  <a:pt x="850" y="2250"/>
                </a:cubicBezTo>
                <a:cubicBezTo>
                  <a:pt x="825" y="2226"/>
                  <a:pt x="800" y="2201"/>
                  <a:pt x="850" y="2201"/>
                </a:cubicBezTo>
                <a:cubicBezTo>
                  <a:pt x="875" y="2201"/>
                  <a:pt x="875" y="2226"/>
                  <a:pt x="900" y="2226"/>
                </a:cubicBezTo>
                <a:cubicBezTo>
                  <a:pt x="925" y="2226"/>
                  <a:pt x="975" y="2175"/>
                  <a:pt x="925" y="2150"/>
                </a:cubicBezTo>
                <a:cubicBezTo>
                  <a:pt x="900" y="2126"/>
                  <a:pt x="900" y="2175"/>
                  <a:pt x="875" y="2175"/>
                </a:cubicBezTo>
                <a:cubicBezTo>
                  <a:pt x="850" y="2175"/>
                  <a:pt x="850" y="2150"/>
                  <a:pt x="825" y="2150"/>
                </a:cubicBezTo>
                <a:cubicBezTo>
                  <a:pt x="800" y="2150"/>
                  <a:pt x="825" y="2101"/>
                  <a:pt x="800" y="2075"/>
                </a:cubicBezTo>
                <a:cubicBezTo>
                  <a:pt x="800" y="2050"/>
                  <a:pt x="775" y="2026"/>
                  <a:pt x="800" y="2001"/>
                </a:cubicBezTo>
                <a:cubicBezTo>
                  <a:pt x="825" y="1975"/>
                  <a:pt x="900" y="2026"/>
                  <a:pt x="950" y="2026"/>
                </a:cubicBezTo>
                <a:cubicBezTo>
                  <a:pt x="1025" y="2026"/>
                  <a:pt x="1050" y="2001"/>
                  <a:pt x="1050" y="1975"/>
                </a:cubicBezTo>
                <a:cubicBezTo>
                  <a:pt x="1050" y="1950"/>
                  <a:pt x="1025" y="1925"/>
                  <a:pt x="1075" y="1901"/>
                </a:cubicBezTo>
                <a:cubicBezTo>
                  <a:pt x="1100" y="1875"/>
                  <a:pt x="1075" y="1850"/>
                  <a:pt x="1075" y="1825"/>
                </a:cubicBezTo>
                <a:cubicBezTo>
                  <a:pt x="1050" y="1801"/>
                  <a:pt x="1075" y="1775"/>
                  <a:pt x="1100" y="1775"/>
                </a:cubicBezTo>
                <a:cubicBezTo>
                  <a:pt x="1125" y="1801"/>
                  <a:pt x="1225" y="1801"/>
                  <a:pt x="1350" y="1775"/>
                </a:cubicBezTo>
                <a:cubicBezTo>
                  <a:pt x="1450" y="1750"/>
                  <a:pt x="1500" y="1701"/>
                  <a:pt x="1525" y="1675"/>
                </a:cubicBezTo>
                <a:cubicBezTo>
                  <a:pt x="1525" y="1650"/>
                  <a:pt x="1600" y="1575"/>
                  <a:pt x="1600" y="1550"/>
                </a:cubicBezTo>
                <a:cubicBezTo>
                  <a:pt x="1625" y="1525"/>
                  <a:pt x="1600" y="1501"/>
                  <a:pt x="1575" y="1501"/>
                </a:cubicBezTo>
                <a:cubicBezTo>
                  <a:pt x="1525" y="1501"/>
                  <a:pt x="1525" y="1450"/>
                  <a:pt x="1550" y="1425"/>
                </a:cubicBezTo>
                <a:cubicBezTo>
                  <a:pt x="1575" y="1401"/>
                  <a:pt x="1525" y="1375"/>
                  <a:pt x="1500" y="1350"/>
                </a:cubicBezTo>
                <a:cubicBezTo>
                  <a:pt x="1450" y="1350"/>
                  <a:pt x="1400" y="1325"/>
                  <a:pt x="1425" y="1301"/>
                </a:cubicBezTo>
                <a:cubicBezTo>
                  <a:pt x="1450" y="1275"/>
                  <a:pt x="1450" y="1275"/>
                  <a:pt x="1450" y="1301"/>
                </a:cubicBezTo>
                <a:cubicBezTo>
                  <a:pt x="1475" y="1275"/>
                  <a:pt x="1475" y="1250"/>
                  <a:pt x="1475" y="1250"/>
                </a:cubicBezTo>
                <a:cubicBezTo>
                  <a:pt x="1450" y="1250"/>
                  <a:pt x="1450" y="1250"/>
                  <a:pt x="1450" y="1201"/>
                </a:cubicBezTo>
                <a:cubicBezTo>
                  <a:pt x="1450" y="1125"/>
                  <a:pt x="1475" y="1150"/>
                  <a:pt x="1475" y="1075"/>
                </a:cubicBezTo>
                <a:cubicBezTo>
                  <a:pt x="1475" y="1001"/>
                  <a:pt x="1500" y="950"/>
                  <a:pt x="1500" y="901"/>
                </a:cubicBezTo>
                <a:cubicBezTo>
                  <a:pt x="1500" y="875"/>
                  <a:pt x="1575" y="825"/>
                  <a:pt x="1600" y="750"/>
                </a:cubicBezTo>
                <a:cubicBezTo>
                  <a:pt x="1650" y="700"/>
                  <a:pt x="1725" y="600"/>
                  <a:pt x="1775" y="575"/>
                </a:cubicBezTo>
                <a:cubicBezTo>
                  <a:pt x="1800" y="575"/>
                  <a:pt x="1875" y="550"/>
                  <a:pt x="1875" y="525"/>
                </a:cubicBezTo>
                <a:cubicBezTo>
                  <a:pt x="1900" y="500"/>
                  <a:pt x="1875" y="400"/>
                  <a:pt x="1875" y="3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79" name="Freeform 105">
            <a:extLst>
              <a:ext uri="{FF2B5EF4-FFF2-40B4-BE49-F238E27FC236}">
                <a16:creationId xmlns:a16="http://schemas.microsoft.com/office/drawing/2014/main" id="{6D9A9CFC-F687-294B-A18D-65810E52A6FC}"/>
              </a:ext>
            </a:extLst>
          </p:cNvPr>
          <p:cNvSpPr>
            <a:spLocks noChangeArrowheads="1"/>
          </p:cNvSpPr>
          <p:nvPr/>
        </p:nvSpPr>
        <p:spPr bwMode="auto">
          <a:xfrm>
            <a:off x="3469143" y="5370685"/>
            <a:ext cx="271404" cy="1355616"/>
          </a:xfrm>
          <a:custGeom>
            <a:avLst/>
            <a:gdLst>
              <a:gd name="T0" fmla="*/ 351 w 852"/>
              <a:gd name="T1" fmla="*/ 3726 h 4252"/>
              <a:gd name="T2" fmla="*/ 251 w 852"/>
              <a:gd name="T3" fmla="*/ 3526 h 4252"/>
              <a:gd name="T4" fmla="*/ 326 w 852"/>
              <a:gd name="T5" fmla="*/ 3300 h 4252"/>
              <a:gd name="T6" fmla="*/ 400 w 852"/>
              <a:gd name="T7" fmla="*/ 3100 h 4252"/>
              <a:gd name="T8" fmla="*/ 400 w 852"/>
              <a:gd name="T9" fmla="*/ 2900 h 4252"/>
              <a:gd name="T10" fmla="*/ 400 w 852"/>
              <a:gd name="T11" fmla="*/ 2800 h 4252"/>
              <a:gd name="T12" fmla="*/ 376 w 852"/>
              <a:gd name="T13" fmla="*/ 2575 h 4252"/>
              <a:gd name="T14" fmla="*/ 400 w 852"/>
              <a:gd name="T15" fmla="*/ 2350 h 4252"/>
              <a:gd name="T16" fmla="*/ 476 w 852"/>
              <a:gd name="T17" fmla="*/ 2175 h 4252"/>
              <a:gd name="T18" fmla="*/ 526 w 852"/>
              <a:gd name="T19" fmla="*/ 1926 h 4252"/>
              <a:gd name="T20" fmla="*/ 576 w 852"/>
              <a:gd name="T21" fmla="*/ 1650 h 4252"/>
              <a:gd name="T22" fmla="*/ 526 w 852"/>
              <a:gd name="T23" fmla="*/ 1375 h 4252"/>
              <a:gd name="T24" fmla="*/ 576 w 852"/>
              <a:gd name="T25" fmla="*/ 1150 h 4252"/>
              <a:gd name="T26" fmla="*/ 726 w 852"/>
              <a:gd name="T27" fmla="*/ 950 h 4252"/>
              <a:gd name="T28" fmla="*/ 701 w 852"/>
              <a:gd name="T29" fmla="*/ 700 h 4252"/>
              <a:gd name="T30" fmla="*/ 776 w 852"/>
              <a:gd name="T31" fmla="*/ 525 h 4252"/>
              <a:gd name="T32" fmla="*/ 676 w 852"/>
              <a:gd name="T33" fmla="*/ 275 h 4252"/>
              <a:gd name="T34" fmla="*/ 651 w 852"/>
              <a:gd name="T35" fmla="*/ 50 h 4252"/>
              <a:gd name="T36" fmla="*/ 551 w 852"/>
              <a:gd name="T37" fmla="*/ 100 h 4252"/>
              <a:gd name="T38" fmla="*/ 526 w 852"/>
              <a:gd name="T39" fmla="*/ 575 h 4252"/>
              <a:gd name="T40" fmla="*/ 476 w 852"/>
              <a:gd name="T41" fmla="*/ 950 h 4252"/>
              <a:gd name="T42" fmla="*/ 451 w 852"/>
              <a:gd name="T43" fmla="*/ 1250 h 4252"/>
              <a:gd name="T44" fmla="*/ 376 w 852"/>
              <a:gd name="T45" fmla="*/ 1626 h 4252"/>
              <a:gd name="T46" fmla="*/ 226 w 852"/>
              <a:gd name="T47" fmla="*/ 2026 h 4252"/>
              <a:gd name="T48" fmla="*/ 251 w 852"/>
              <a:gd name="T49" fmla="*/ 2300 h 4252"/>
              <a:gd name="T50" fmla="*/ 200 w 852"/>
              <a:gd name="T51" fmla="*/ 2551 h 4252"/>
              <a:gd name="T52" fmla="*/ 226 w 852"/>
              <a:gd name="T53" fmla="*/ 2551 h 4252"/>
              <a:gd name="T54" fmla="*/ 300 w 852"/>
              <a:gd name="T55" fmla="*/ 2575 h 4252"/>
              <a:gd name="T56" fmla="*/ 251 w 852"/>
              <a:gd name="T57" fmla="*/ 2800 h 4252"/>
              <a:gd name="T58" fmla="*/ 251 w 852"/>
              <a:gd name="T59" fmla="*/ 2951 h 4252"/>
              <a:gd name="T60" fmla="*/ 151 w 852"/>
              <a:gd name="T61" fmla="*/ 3000 h 4252"/>
              <a:gd name="T62" fmla="*/ 176 w 852"/>
              <a:gd name="T63" fmla="*/ 2951 h 4252"/>
              <a:gd name="T64" fmla="*/ 76 w 852"/>
              <a:gd name="T65" fmla="*/ 3051 h 4252"/>
              <a:gd name="T66" fmla="*/ 100 w 852"/>
              <a:gd name="T67" fmla="*/ 3126 h 4252"/>
              <a:gd name="T68" fmla="*/ 126 w 852"/>
              <a:gd name="T69" fmla="*/ 3226 h 4252"/>
              <a:gd name="T70" fmla="*/ 151 w 852"/>
              <a:gd name="T71" fmla="*/ 3251 h 4252"/>
              <a:gd name="T72" fmla="*/ 76 w 852"/>
              <a:gd name="T73" fmla="*/ 3351 h 4252"/>
              <a:gd name="T74" fmla="*/ 100 w 852"/>
              <a:gd name="T75" fmla="*/ 3375 h 4252"/>
              <a:gd name="T76" fmla="*/ 100 w 852"/>
              <a:gd name="T77" fmla="*/ 3500 h 4252"/>
              <a:gd name="T78" fmla="*/ 151 w 852"/>
              <a:gd name="T79" fmla="*/ 3475 h 4252"/>
              <a:gd name="T80" fmla="*/ 76 w 852"/>
              <a:gd name="T81" fmla="*/ 3626 h 4252"/>
              <a:gd name="T82" fmla="*/ 176 w 852"/>
              <a:gd name="T83" fmla="*/ 3651 h 4252"/>
              <a:gd name="T84" fmla="*/ 226 w 852"/>
              <a:gd name="T85" fmla="*/ 3751 h 4252"/>
              <a:gd name="T86" fmla="*/ 226 w 852"/>
              <a:gd name="T87" fmla="*/ 3776 h 4252"/>
              <a:gd name="T88" fmla="*/ 400 w 852"/>
              <a:gd name="T89" fmla="*/ 3826 h 4252"/>
              <a:gd name="T90" fmla="*/ 251 w 852"/>
              <a:gd name="T91" fmla="*/ 3876 h 4252"/>
              <a:gd name="T92" fmla="*/ 426 w 852"/>
              <a:gd name="T93" fmla="*/ 3876 h 4252"/>
              <a:gd name="T94" fmla="*/ 226 w 852"/>
              <a:gd name="T95" fmla="*/ 3951 h 4252"/>
              <a:gd name="T96" fmla="*/ 376 w 852"/>
              <a:gd name="T97" fmla="*/ 4051 h 4252"/>
              <a:gd name="T98" fmla="*/ 451 w 852"/>
              <a:gd name="T99" fmla="*/ 3926 h 4252"/>
              <a:gd name="T100" fmla="*/ 526 w 852"/>
              <a:gd name="T101" fmla="*/ 3926 h 4252"/>
              <a:gd name="T102" fmla="*/ 551 w 852"/>
              <a:gd name="T103" fmla="*/ 4051 h 4252"/>
              <a:gd name="T104" fmla="*/ 451 w 852"/>
              <a:gd name="T105" fmla="*/ 4000 h 4252"/>
              <a:gd name="T106" fmla="*/ 451 w 852"/>
              <a:gd name="T107" fmla="*/ 4100 h 4252"/>
              <a:gd name="T108" fmla="*/ 600 w 852"/>
              <a:gd name="T109" fmla="*/ 4200 h 4252"/>
              <a:gd name="T110" fmla="*/ 701 w 852"/>
              <a:gd name="T111" fmla="*/ 4176 h 4252"/>
              <a:gd name="T112" fmla="*/ 851 w 852"/>
              <a:gd name="T113" fmla="*/ 4151 h 4252"/>
              <a:gd name="T114" fmla="*/ 676 w 852"/>
              <a:gd name="T115" fmla="*/ 3826 h 4252"/>
              <a:gd name="T116" fmla="*/ 551 w 852"/>
              <a:gd name="T117" fmla="*/ 3751 h 4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2" h="4252">
                <a:moveTo>
                  <a:pt x="400" y="3751"/>
                </a:moveTo>
                <a:lnTo>
                  <a:pt x="400" y="3751"/>
                </a:lnTo>
                <a:cubicBezTo>
                  <a:pt x="376" y="3776"/>
                  <a:pt x="376" y="3726"/>
                  <a:pt x="351" y="3726"/>
                </a:cubicBezTo>
                <a:cubicBezTo>
                  <a:pt x="326" y="3726"/>
                  <a:pt x="326" y="3651"/>
                  <a:pt x="351" y="3626"/>
                </a:cubicBezTo>
                <a:cubicBezTo>
                  <a:pt x="351" y="3575"/>
                  <a:pt x="276" y="3600"/>
                  <a:pt x="251" y="3575"/>
                </a:cubicBezTo>
                <a:cubicBezTo>
                  <a:pt x="226" y="3575"/>
                  <a:pt x="276" y="3551"/>
                  <a:pt x="251" y="3526"/>
                </a:cubicBezTo>
                <a:cubicBezTo>
                  <a:pt x="226" y="3500"/>
                  <a:pt x="226" y="3451"/>
                  <a:pt x="226" y="3426"/>
                </a:cubicBezTo>
                <a:cubicBezTo>
                  <a:pt x="251" y="3426"/>
                  <a:pt x="251" y="3375"/>
                  <a:pt x="300" y="3375"/>
                </a:cubicBezTo>
                <a:cubicBezTo>
                  <a:pt x="326" y="3375"/>
                  <a:pt x="300" y="3326"/>
                  <a:pt x="326" y="3300"/>
                </a:cubicBezTo>
                <a:cubicBezTo>
                  <a:pt x="351" y="3300"/>
                  <a:pt x="300" y="3251"/>
                  <a:pt x="326" y="3226"/>
                </a:cubicBezTo>
                <a:cubicBezTo>
                  <a:pt x="351" y="3226"/>
                  <a:pt x="326" y="3175"/>
                  <a:pt x="376" y="3175"/>
                </a:cubicBezTo>
                <a:cubicBezTo>
                  <a:pt x="400" y="3175"/>
                  <a:pt x="376" y="3126"/>
                  <a:pt x="400" y="3100"/>
                </a:cubicBezTo>
                <a:cubicBezTo>
                  <a:pt x="426" y="3100"/>
                  <a:pt x="376" y="3075"/>
                  <a:pt x="400" y="3026"/>
                </a:cubicBezTo>
                <a:cubicBezTo>
                  <a:pt x="400" y="3000"/>
                  <a:pt x="376" y="2975"/>
                  <a:pt x="400" y="2951"/>
                </a:cubicBezTo>
                <a:cubicBezTo>
                  <a:pt x="451" y="2951"/>
                  <a:pt x="426" y="2926"/>
                  <a:pt x="400" y="2900"/>
                </a:cubicBezTo>
                <a:cubicBezTo>
                  <a:pt x="376" y="2875"/>
                  <a:pt x="400" y="2875"/>
                  <a:pt x="426" y="2875"/>
                </a:cubicBezTo>
                <a:cubicBezTo>
                  <a:pt x="476" y="2875"/>
                  <a:pt x="451" y="2826"/>
                  <a:pt x="426" y="2851"/>
                </a:cubicBezTo>
                <a:cubicBezTo>
                  <a:pt x="376" y="2851"/>
                  <a:pt x="376" y="2826"/>
                  <a:pt x="400" y="2800"/>
                </a:cubicBezTo>
                <a:cubicBezTo>
                  <a:pt x="426" y="2775"/>
                  <a:pt x="376" y="2751"/>
                  <a:pt x="376" y="2726"/>
                </a:cubicBezTo>
                <a:cubicBezTo>
                  <a:pt x="376" y="2726"/>
                  <a:pt x="376" y="2700"/>
                  <a:pt x="376" y="2675"/>
                </a:cubicBezTo>
                <a:cubicBezTo>
                  <a:pt x="351" y="2675"/>
                  <a:pt x="351" y="2575"/>
                  <a:pt x="376" y="2575"/>
                </a:cubicBezTo>
                <a:cubicBezTo>
                  <a:pt x="400" y="2575"/>
                  <a:pt x="376" y="2500"/>
                  <a:pt x="376" y="2475"/>
                </a:cubicBezTo>
                <a:cubicBezTo>
                  <a:pt x="376" y="2451"/>
                  <a:pt x="376" y="2426"/>
                  <a:pt x="376" y="2426"/>
                </a:cubicBezTo>
                <a:cubicBezTo>
                  <a:pt x="376" y="2400"/>
                  <a:pt x="400" y="2400"/>
                  <a:pt x="400" y="2350"/>
                </a:cubicBezTo>
                <a:cubicBezTo>
                  <a:pt x="400" y="2300"/>
                  <a:pt x="400" y="2300"/>
                  <a:pt x="426" y="2300"/>
                </a:cubicBezTo>
                <a:cubicBezTo>
                  <a:pt x="426" y="2300"/>
                  <a:pt x="426" y="2250"/>
                  <a:pt x="426" y="2226"/>
                </a:cubicBezTo>
                <a:cubicBezTo>
                  <a:pt x="426" y="2200"/>
                  <a:pt x="476" y="2226"/>
                  <a:pt x="476" y="2175"/>
                </a:cubicBezTo>
                <a:cubicBezTo>
                  <a:pt x="476" y="2150"/>
                  <a:pt x="451" y="2150"/>
                  <a:pt x="451" y="2126"/>
                </a:cubicBezTo>
                <a:cubicBezTo>
                  <a:pt x="451" y="2100"/>
                  <a:pt x="451" y="2075"/>
                  <a:pt x="451" y="2000"/>
                </a:cubicBezTo>
                <a:cubicBezTo>
                  <a:pt x="451" y="1950"/>
                  <a:pt x="500" y="1926"/>
                  <a:pt x="526" y="1926"/>
                </a:cubicBezTo>
                <a:cubicBezTo>
                  <a:pt x="551" y="1900"/>
                  <a:pt x="500" y="1800"/>
                  <a:pt x="526" y="1800"/>
                </a:cubicBezTo>
                <a:cubicBezTo>
                  <a:pt x="551" y="1775"/>
                  <a:pt x="526" y="1750"/>
                  <a:pt x="551" y="1726"/>
                </a:cubicBezTo>
                <a:cubicBezTo>
                  <a:pt x="576" y="1700"/>
                  <a:pt x="576" y="1675"/>
                  <a:pt x="576" y="1650"/>
                </a:cubicBezTo>
                <a:cubicBezTo>
                  <a:pt x="576" y="1626"/>
                  <a:pt x="551" y="1600"/>
                  <a:pt x="551" y="1575"/>
                </a:cubicBezTo>
                <a:cubicBezTo>
                  <a:pt x="551" y="1526"/>
                  <a:pt x="551" y="1500"/>
                  <a:pt x="526" y="1475"/>
                </a:cubicBezTo>
                <a:cubicBezTo>
                  <a:pt x="500" y="1450"/>
                  <a:pt x="500" y="1375"/>
                  <a:pt x="526" y="1375"/>
                </a:cubicBezTo>
                <a:cubicBezTo>
                  <a:pt x="551" y="1375"/>
                  <a:pt x="526" y="1300"/>
                  <a:pt x="551" y="1300"/>
                </a:cubicBezTo>
                <a:cubicBezTo>
                  <a:pt x="600" y="1300"/>
                  <a:pt x="576" y="1250"/>
                  <a:pt x="551" y="1200"/>
                </a:cubicBezTo>
                <a:cubicBezTo>
                  <a:pt x="551" y="1150"/>
                  <a:pt x="576" y="1175"/>
                  <a:pt x="576" y="1150"/>
                </a:cubicBezTo>
                <a:cubicBezTo>
                  <a:pt x="576" y="1125"/>
                  <a:pt x="600" y="1075"/>
                  <a:pt x="626" y="1075"/>
                </a:cubicBezTo>
                <a:cubicBezTo>
                  <a:pt x="651" y="1050"/>
                  <a:pt x="651" y="1000"/>
                  <a:pt x="651" y="1000"/>
                </a:cubicBezTo>
                <a:cubicBezTo>
                  <a:pt x="651" y="975"/>
                  <a:pt x="701" y="950"/>
                  <a:pt x="726" y="950"/>
                </a:cubicBezTo>
                <a:cubicBezTo>
                  <a:pt x="726" y="925"/>
                  <a:pt x="676" y="900"/>
                  <a:pt x="701" y="875"/>
                </a:cubicBezTo>
                <a:cubicBezTo>
                  <a:pt x="751" y="875"/>
                  <a:pt x="676" y="800"/>
                  <a:pt x="701" y="775"/>
                </a:cubicBezTo>
                <a:cubicBezTo>
                  <a:pt x="726" y="775"/>
                  <a:pt x="701" y="725"/>
                  <a:pt x="701" y="700"/>
                </a:cubicBezTo>
                <a:cubicBezTo>
                  <a:pt x="701" y="700"/>
                  <a:pt x="801" y="650"/>
                  <a:pt x="826" y="625"/>
                </a:cubicBezTo>
                <a:cubicBezTo>
                  <a:pt x="826" y="600"/>
                  <a:pt x="826" y="550"/>
                  <a:pt x="826" y="525"/>
                </a:cubicBezTo>
                <a:cubicBezTo>
                  <a:pt x="801" y="525"/>
                  <a:pt x="776" y="550"/>
                  <a:pt x="776" y="525"/>
                </a:cubicBezTo>
                <a:cubicBezTo>
                  <a:pt x="776" y="525"/>
                  <a:pt x="776" y="450"/>
                  <a:pt x="751" y="425"/>
                </a:cubicBezTo>
                <a:cubicBezTo>
                  <a:pt x="726" y="400"/>
                  <a:pt x="751" y="350"/>
                  <a:pt x="726" y="350"/>
                </a:cubicBezTo>
                <a:cubicBezTo>
                  <a:pt x="701" y="325"/>
                  <a:pt x="676" y="275"/>
                  <a:pt x="676" y="275"/>
                </a:cubicBezTo>
                <a:cubicBezTo>
                  <a:pt x="701" y="250"/>
                  <a:pt x="676" y="225"/>
                  <a:pt x="701" y="200"/>
                </a:cubicBezTo>
                <a:cubicBezTo>
                  <a:pt x="726" y="175"/>
                  <a:pt x="701" y="175"/>
                  <a:pt x="676" y="150"/>
                </a:cubicBezTo>
                <a:cubicBezTo>
                  <a:pt x="651" y="125"/>
                  <a:pt x="676" y="75"/>
                  <a:pt x="651" y="50"/>
                </a:cubicBezTo>
                <a:cubicBezTo>
                  <a:pt x="600" y="24"/>
                  <a:pt x="600" y="0"/>
                  <a:pt x="600" y="0"/>
                </a:cubicBezTo>
                <a:cubicBezTo>
                  <a:pt x="600" y="24"/>
                  <a:pt x="600" y="75"/>
                  <a:pt x="576" y="75"/>
                </a:cubicBezTo>
                <a:cubicBezTo>
                  <a:pt x="551" y="75"/>
                  <a:pt x="551" y="100"/>
                  <a:pt x="551" y="100"/>
                </a:cubicBezTo>
                <a:cubicBezTo>
                  <a:pt x="551" y="125"/>
                  <a:pt x="526" y="150"/>
                  <a:pt x="551" y="175"/>
                </a:cubicBezTo>
                <a:cubicBezTo>
                  <a:pt x="551" y="225"/>
                  <a:pt x="576" y="375"/>
                  <a:pt x="551" y="425"/>
                </a:cubicBezTo>
                <a:cubicBezTo>
                  <a:pt x="551" y="475"/>
                  <a:pt x="526" y="525"/>
                  <a:pt x="526" y="575"/>
                </a:cubicBezTo>
                <a:cubicBezTo>
                  <a:pt x="500" y="600"/>
                  <a:pt x="551" y="600"/>
                  <a:pt x="526" y="625"/>
                </a:cubicBezTo>
                <a:cubicBezTo>
                  <a:pt x="500" y="625"/>
                  <a:pt x="526" y="675"/>
                  <a:pt x="526" y="750"/>
                </a:cubicBezTo>
                <a:cubicBezTo>
                  <a:pt x="526" y="800"/>
                  <a:pt x="476" y="925"/>
                  <a:pt x="476" y="950"/>
                </a:cubicBezTo>
                <a:cubicBezTo>
                  <a:pt x="476" y="1000"/>
                  <a:pt x="451" y="1025"/>
                  <a:pt x="451" y="1050"/>
                </a:cubicBezTo>
                <a:cubicBezTo>
                  <a:pt x="451" y="1100"/>
                  <a:pt x="426" y="1125"/>
                  <a:pt x="400" y="1150"/>
                </a:cubicBezTo>
                <a:cubicBezTo>
                  <a:pt x="376" y="1150"/>
                  <a:pt x="451" y="1225"/>
                  <a:pt x="451" y="1250"/>
                </a:cubicBezTo>
                <a:cubicBezTo>
                  <a:pt x="451" y="1275"/>
                  <a:pt x="400" y="1300"/>
                  <a:pt x="400" y="1350"/>
                </a:cubicBezTo>
                <a:cubicBezTo>
                  <a:pt x="426" y="1426"/>
                  <a:pt x="400" y="1526"/>
                  <a:pt x="400" y="1550"/>
                </a:cubicBezTo>
                <a:cubicBezTo>
                  <a:pt x="400" y="1575"/>
                  <a:pt x="376" y="1575"/>
                  <a:pt x="376" y="1626"/>
                </a:cubicBezTo>
                <a:cubicBezTo>
                  <a:pt x="400" y="1675"/>
                  <a:pt x="351" y="1675"/>
                  <a:pt x="351" y="1750"/>
                </a:cubicBezTo>
                <a:cubicBezTo>
                  <a:pt x="351" y="1800"/>
                  <a:pt x="300" y="1900"/>
                  <a:pt x="276" y="1950"/>
                </a:cubicBezTo>
                <a:cubicBezTo>
                  <a:pt x="251" y="2000"/>
                  <a:pt x="251" y="2026"/>
                  <a:pt x="226" y="2026"/>
                </a:cubicBezTo>
                <a:cubicBezTo>
                  <a:pt x="200" y="2026"/>
                  <a:pt x="200" y="2050"/>
                  <a:pt x="226" y="2075"/>
                </a:cubicBezTo>
                <a:cubicBezTo>
                  <a:pt x="251" y="2126"/>
                  <a:pt x="200" y="2150"/>
                  <a:pt x="226" y="2200"/>
                </a:cubicBezTo>
                <a:cubicBezTo>
                  <a:pt x="251" y="2250"/>
                  <a:pt x="251" y="2250"/>
                  <a:pt x="251" y="2300"/>
                </a:cubicBezTo>
                <a:cubicBezTo>
                  <a:pt x="226" y="2350"/>
                  <a:pt x="200" y="2350"/>
                  <a:pt x="200" y="2375"/>
                </a:cubicBezTo>
                <a:cubicBezTo>
                  <a:pt x="200" y="2426"/>
                  <a:pt x="176" y="2451"/>
                  <a:pt x="200" y="2500"/>
                </a:cubicBezTo>
                <a:cubicBezTo>
                  <a:pt x="226" y="2526"/>
                  <a:pt x="200" y="2551"/>
                  <a:pt x="200" y="2551"/>
                </a:cubicBezTo>
                <a:cubicBezTo>
                  <a:pt x="176" y="2551"/>
                  <a:pt x="151" y="2575"/>
                  <a:pt x="151" y="2651"/>
                </a:cubicBezTo>
                <a:cubicBezTo>
                  <a:pt x="151" y="2726"/>
                  <a:pt x="151" y="2726"/>
                  <a:pt x="200" y="2700"/>
                </a:cubicBezTo>
                <a:cubicBezTo>
                  <a:pt x="251" y="2700"/>
                  <a:pt x="200" y="2551"/>
                  <a:pt x="226" y="2551"/>
                </a:cubicBezTo>
                <a:cubicBezTo>
                  <a:pt x="276" y="2551"/>
                  <a:pt x="251" y="2526"/>
                  <a:pt x="276" y="2500"/>
                </a:cubicBezTo>
                <a:cubicBezTo>
                  <a:pt x="300" y="2500"/>
                  <a:pt x="276" y="2526"/>
                  <a:pt x="300" y="2551"/>
                </a:cubicBezTo>
                <a:cubicBezTo>
                  <a:pt x="326" y="2551"/>
                  <a:pt x="326" y="2575"/>
                  <a:pt x="300" y="2575"/>
                </a:cubicBezTo>
                <a:cubicBezTo>
                  <a:pt x="276" y="2600"/>
                  <a:pt x="300" y="2651"/>
                  <a:pt x="300" y="2651"/>
                </a:cubicBezTo>
                <a:cubicBezTo>
                  <a:pt x="276" y="2675"/>
                  <a:pt x="251" y="2700"/>
                  <a:pt x="276" y="2726"/>
                </a:cubicBezTo>
                <a:cubicBezTo>
                  <a:pt x="276" y="2775"/>
                  <a:pt x="251" y="2751"/>
                  <a:pt x="251" y="2800"/>
                </a:cubicBezTo>
                <a:cubicBezTo>
                  <a:pt x="251" y="2826"/>
                  <a:pt x="276" y="2826"/>
                  <a:pt x="251" y="2851"/>
                </a:cubicBezTo>
                <a:cubicBezTo>
                  <a:pt x="251" y="2851"/>
                  <a:pt x="276" y="2875"/>
                  <a:pt x="251" y="2875"/>
                </a:cubicBezTo>
                <a:cubicBezTo>
                  <a:pt x="226" y="2875"/>
                  <a:pt x="251" y="2926"/>
                  <a:pt x="251" y="2951"/>
                </a:cubicBezTo>
                <a:cubicBezTo>
                  <a:pt x="276" y="2975"/>
                  <a:pt x="226" y="2951"/>
                  <a:pt x="226" y="2975"/>
                </a:cubicBezTo>
                <a:cubicBezTo>
                  <a:pt x="200" y="2975"/>
                  <a:pt x="226" y="3000"/>
                  <a:pt x="226" y="3026"/>
                </a:cubicBezTo>
                <a:cubicBezTo>
                  <a:pt x="200" y="3051"/>
                  <a:pt x="176" y="3026"/>
                  <a:pt x="151" y="3000"/>
                </a:cubicBezTo>
                <a:cubicBezTo>
                  <a:pt x="151" y="3000"/>
                  <a:pt x="176" y="2975"/>
                  <a:pt x="200" y="2951"/>
                </a:cubicBezTo>
                <a:cubicBezTo>
                  <a:pt x="226" y="2926"/>
                  <a:pt x="176" y="2851"/>
                  <a:pt x="151" y="2875"/>
                </a:cubicBezTo>
                <a:cubicBezTo>
                  <a:pt x="126" y="2875"/>
                  <a:pt x="176" y="2926"/>
                  <a:pt x="176" y="2951"/>
                </a:cubicBezTo>
                <a:cubicBezTo>
                  <a:pt x="176" y="2975"/>
                  <a:pt x="126" y="2951"/>
                  <a:pt x="126" y="2975"/>
                </a:cubicBezTo>
                <a:cubicBezTo>
                  <a:pt x="126" y="3000"/>
                  <a:pt x="100" y="3000"/>
                  <a:pt x="76" y="3000"/>
                </a:cubicBezTo>
                <a:cubicBezTo>
                  <a:pt x="51" y="3026"/>
                  <a:pt x="100" y="3051"/>
                  <a:pt x="76" y="3051"/>
                </a:cubicBezTo>
                <a:lnTo>
                  <a:pt x="26" y="3100"/>
                </a:lnTo>
                <a:cubicBezTo>
                  <a:pt x="26" y="3126"/>
                  <a:pt x="51" y="3126"/>
                  <a:pt x="51" y="3126"/>
                </a:cubicBezTo>
                <a:cubicBezTo>
                  <a:pt x="51" y="3100"/>
                  <a:pt x="76" y="3100"/>
                  <a:pt x="100" y="3126"/>
                </a:cubicBezTo>
                <a:cubicBezTo>
                  <a:pt x="100" y="3151"/>
                  <a:pt x="126" y="3126"/>
                  <a:pt x="151" y="3126"/>
                </a:cubicBezTo>
                <a:cubicBezTo>
                  <a:pt x="176" y="3126"/>
                  <a:pt x="176" y="3175"/>
                  <a:pt x="151" y="3175"/>
                </a:cubicBezTo>
                <a:cubicBezTo>
                  <a:pt x="151" y="3175"/>
                  <a:pt x="126" y="3200"/>
                  <a:pt x="126" y="3226"/>
                </a:cubicBezTo>
                <a:cubicBezTo>
                  <a:pt x="126" y="3251"/>
                  <a:pt x="200" y="3226"/>
                  <a:pt x="226" y="3226"/>
                </a:cubicBezTo>
                <a:cubicBezTo>
                  <a:pt x="251" y="3251"/>
                  <a:pt x="226" y="3300"/>
                  <a:pt x="226" y="3275"/>
                </a:cubicBezTo>
                <a:cubicBezTo>
                  <a:pt x="200" y="3251"/>
                  <a:pt x="176" y="3226"/>
                  <a:pt x="151" y="3251"/>
                </a:cubicBezTo>
                <a:cubicBezTo>
                  <a:pt x="151" y="3275"/>
                  <a:pt x="126" y="3275"/>
                  <a:pt x="100" y="3275"/>
                </a:cubicBezTo>
                <a:cubicBezTo>
                  <a:pt x="76" y="3251"/>
                  <a:pt x="0" y="3300"/>
                  <a:pt x="26" y="3326"/>
                </a:cubicBezTo>
                <a:cubicBezTo>
                  <a:pt x="51" y="3326"/>
                  <a:pt x="51" y="3351"/>
                  <a:pt x="76" y="3351"/>
                </a:cubicBezTo>
                <a:cubicBezTo>
                  <a:pt x="76" y="3351"/>
                  <a:pt x="100" y="3351"/>
                  <a:pt x="126" y="3326"/>
                </a:cubicBezTo>
                <a:cubicBezTo>
                  <a:pt x="126" y="3300"/>
                  <a:pt x="151" y="3300"/>
                  <a:pt x="151" y="3326"/>
                </a:cubicBezTo>
                <a:cubicBezTo>
                  <a:pt x="151" y="3375"/>
                  <a:pt x="126" y="3351"/>
                  <a:pt x="100" y="3375"/>
                </a:cubicBezTo>
                <a:cubicBezTo>
                  <a:pt x="100" y="3400"/>
                  <a:pt x="76" y="3400"/>
                  <a:pt x="51" y="3426"/>
                </a:cubicBezTo>
                <a:cubicBezTo>
                  <a:pt x="26" y="3451"/>
                  <a:pt x="51" y="3475"/>
                  <a:pt x="76" y="3475"/>
                </a:cubicBezTo>
                <a:cubicBezTo>
                  <a:pt x="100" y="3451"/>
                  <a:pt x="76" y="3500"/>
                  <a:pt x="100" y="3500"/>
                </a:cubicBezTo>
                <a:cubicBezTo>
                  <a:pt x="126" y="3500"/>
                  <a:pt x="126" y="3475"/>
                  <a:pt x="126" y="3451"/>
                </a:cubicBezTo>
                <a:cubicBezTo>
                  <a:pt x="126" y="3451"/>
                  <a:pt x="151" y="3400"/>
                  <a:pt x="176" y="3426"/>
                </a:cubicBezTo>
                <a:cubicBezTo>
                  <a:pt x="200" y="3451"/>
                  <a:pt x="151" y="3451"/>
                  <a:pt x="151" y="3475"/>
                </a:cubicBezTo>
                <a:cubicBezTo>
                  <a:pt x="151" y="3500"/>
                  <a:pt x="151" y="3526"/>
                  <a:pt x="151" y="3551"/>
                </a:cubicBezTo>
                <a:cubicBezTo>
                  <a:pt x="151" y="3575"/>
                  <a:pt x="126" y="3575"/>
                  <a:pt x="126" y="3600"/>
                </a:cubicBezTo>
                <a:cubicBezTo>
                  <a:pt x="126" y="3626"/>
                  <a:pt x="51" y="3600"/>
                  <a:pt x="76" y="3626"/>
                </a:cubicBezTo>
                <a:cubicBezTo>
                  <a:pt x="126" y="3626"/>
                  <a:pt x="76" y="3651"/>
                  <a:pt x="76" y="3676"/>
                </a:cubicBezTo>
                <a:cubicBezTo>
                  <a:pt x="100" y="3676"/>
                  <a:pt x="100" y="3651"/>
                  <a:pt x="126" y="3651"/>
                </a:cubicBezTo>
                <a:cubicBezTo>
                  <a:pt x="151" y="3676"/>
                  <a:pt x="151" y="3676"/>
                  <a:pt x="176" y="3651"/>
                </a:cubicBezTo>
                <a:cubicBezTo>
                  <a:pt x="200" y="3651"/>
                  <a:pt x="226" y="3676"/>
                  <a:pt x="200" y="3700"/>
                </a:cubicBezTo>
                <a:cubicBezTo>
                  <a:pt x="176" y="3700"/>
                  <a:pt x="151" y="3726"/>
                  <a:pt x="151" y="3726"/>
                </a:cubicBezTo>
                <a:cubicBezTo>
                  <a:pt x="176" y="3726"/>
                  <a:pt x="200" y="3700"/>
                  <a:pt x="226" y="3751"/>
                </a:cubicBezTo>
                <a:cubicBezTo>
                  <a:pt x="226" y="3776"/>
                  <a:pt x="251" y="3751"/>
                  <a:pt x="251" y="3726"/>
                </a:cubicBezTo>
                <a:cubicBezTo>
                  <a:pt x="251" y="3700"/>
                  <a:pt x="300" y="3726"/>
                  <a:pt x="300" y="3751"/>
                </a:cubicBezTo>
                <a:cubicBezTo>
                  <a:pt x="326" y="3776"/>
                  <a:pt x="251" y="3800"/>
                  <a:pt x="226" y="3776"/>
                </a:cubicBezTo>
                <a:cubicBezTo>
                  <a:pt x="200" y="3776"/>
                  <a:pt x="176" y="3800"/>
                  <a:pt x="200" y="3851"/>
                </a:cubicBezTo>
                <a:cubicBezTo>
                  <a:pt x="226" y="3876"/>
                  <a:pt x="251" y="3851"/>
                  <a:pt x="276" y="3826"/>
                </a:cubicBezTo>
                <a:cubicBezTo>
                  <a:pt x="276" y="3800"/>
                  <a:pt x="400" y="3800"/>
                  <a:pt x="400" y="3826"/>
                </a:cubicBezTo>
                <a:cubicBezTo>
                  <a:pt x="426" y="3851"/>
                  <a:pt x="351" y="3826"/>
                  <a:pt x="351" y="3851"/>
                </a:cubicBezTo>
                <a:cubicBezTo>
                  <a:pt x="351" y="3851"/>
                  <a:pt x="300" y="3876"/>
                  <a:pt x="300" y="3851"/>
                </a:cubicBezTo>
                <a:cubicBezTo>
                  <a:pt x="276" y="3826"/>
                  <a:pt x="251" y="3851"/>
                  <a:pt x="251" y="3876"/>
                </a:cubicBezTo>
                <a:cubicBezTo>
                  <a:pt x="226" y="3926"/>
                  <a:pt x="200" y="3926"/>
                  <a:pt x="251" y="3926"/>
                </a:cubicBezTo>
                <a:cubicBezTo>
                  <a:pt x="276" y="3926"/>
                  <a:pt x="276" y="3876"/>
                  <a:pt x="326" y="3900"/>
                </a:cubicBezTo>
                <a:cubicBezTo>
                  <a:pt x="376" y="3900"/>
                  <a:pt x="426" y="3826"/>
                  <a:pt x="426" y="3876"/>
                </a:cubicBezTo>
                <a:cubicBezTo>
                  <a:pt x="451" y="3900"/>
                  <a:pt x="376" y="3926"/>
                  <a:pt x="351" y="3900"/>
                </a:cubicBezTo>
                <a:cubicBezTo>
                  <a:pt x="351" y="3876"/>
                  <a:pt x="300" y="3926"/>
                  <a:pt x="326" y="3951"/>
                </a:cubicBezTo>
                <a:cubicBezTo>
                  <a:pt x="326" y="3976"/>
                  <a:pt x="251" y="3951"/>
                  <a:pt x="226" y="3951"/>
                </a:cubicBezTo>
                <a:cubicBezTo>
                  <a:pt x="176" y="3926"/>
                  <a:pt x="200" y="3976"/>
                  <a:pt x="226" y="4000"/>
                </a:cubicBezTo>
                <a:cubicBezTo>
                  <a:pt x="251" y="4026"/>
                  <a:pt x="276" y="4000"/>
                  <a:pt x="300" y="4026"/>
                </a:cubicBezTo>
                <a:cubicBezTo>
                  <a:pt x="351" y="4051"/>
                  <a:pt x="351" y="4076"/>
                  <a:pt x="376" y="4051"/>
                </a:cubicBezTo>
                <a:cubicBezTo>
                  <a:pt x="400" y="4026"/>
                  <a:pt x="376" y="4026"/>
                  <a:pt x="351" y="4026"/>
                </a:cubicBezTo>
                <a:cubicBezTo>
                  <a:pt x="326" y="4000"/>
                  <a:pt x="351" y="3976"/>
                  <a:pt x="376" y="4000"/>
                </a:cubicBezTo>
                <a:cubicBezTo>
                  <a:pt x="426" y="4000"/>
                  <a:pt x="476" y="3976"/>
                  <a:pt x="451" y="3926"/>
                </a:cubicBezTo>
                <a:cubicBezTo>
                  <a:pt x="451" y="3876"/>
                  <a:pt x="500" y="3851"/>
                  <a:pt x="551" y="3826"/>
                </a:cubicBezTo>
                <a:cubicBezTo>
                  <a:pt x="600" y="3826"/>
                  <a:pt x="576" y="3876"/>
                  <a:pt x="526" y="3876"/>
                </a:cubicBezTo>
                <a:cubicBezTo>
                  <a:pt x="500" y="3900"/>
                  <a:pt x="500" y="3900"/>
                  <a:pt x="526" y="3926"/>
                </a:cubicBezTo>
                <a:cubicBezTo>
                  <a:pt x="551" y="3951"/>
                  <a:pt x="576" y="3926"/>
                  <a:pt x="600" y="3926"/>
                </a:cubicBezTo>
                <a:cubicBezTo>
                  <a:pt x="626" y="3951"/>
                  <a:pt x="551" y="3951"/>
                  <a:pt x="551" y="3976"/>
                </a:cubicBezTo>
                <a:cubicBezTo>
                  <a:pt x="551" y="4000"/>
                  <a:pt x="600" y="4026"/>
                  <a:pt x="551" y="4051"/>
                </a:cubicBezTo>
                <a:cubicBezTo>
                  <a:pt x="526" y="4051"/>
                  <a:pt x="526" y="3976"/>
                  <a:pt x="526" y="3976"/>
                </a:cubicBezTo>
                <a:cubicBezTo>
                  <a:pt x="500" y="3951"/>
                  <a:pt x="476" y="3976"/>
                  <a:pt x="500" y="4026"/>
                </a:cubicBezTo>
                <a:cubicBezTo>
                  <a:pt x="526" y="4076"/>
                  <a:pt x="476" y="4026"/>
                  <a:pt x="451" y="4000"/>
                </a:cubicBezTo>
                <a:cubicBezTo>
                  <a:pt x="426" y="3976"/>
                  <a:pt x="400" y="4026"/>
                  <a:pt x="426" y="4051"/>
                </a:cubicBezTo>
                <a:cubicBezTo>
                  <a:pt x="451" y="4076"/>
                  <a:pt x="376" y="4051"/>
                  <a:pt x="376" y="4076"/>
                </a:cubicBezTo>
                <a:cubicBezTo>
                  <a:pt x="376" y="4126"/>
                  <a:pt x="400" y="4100"/>
                  <a:pt x="451" y="4100"/>
                </a:cubicBezTo>
                <a:cubicBezTo>
                  <a:pt x="476" y="4100"/>
                  <a:pt x="476" y="4151"/>
                  <a:pt x="500" y="4176"/>
                </a:cubicBezTo>
                <a:cubicBezTo>
                  <a:pt x="526" y="4200"/>
                  <a:pt x="500" y="4126"/>
                  <a:pt x="526" y="4100"/>
                </a:cubicBezTo>
                <a:cubicBezTo>
                  <a:pt x="551" y="4100"/>
                  <a:pt x="526" y="4176"/>
                  <a:pt x="600" y="4200"/>
                </a:cubicBezTo>
                <a:cubicBezTo>
                  <a:pt x="651" y="4226"/>
                  <a:pt x="600" y="4176"/>
                  <a:pt x="626" y="4151"/>
                </a:cubicBezTo>
                <a:cubicBezTo>
                  <a:pt x="651" y="4151"/>
                  <a:pt x="701" y="4226"/>
                  <a:pt x="726" y="4226"/>
                </a:cubicBezTo>
                <a:cubicBezTo>
                  <a:pt x="751" y="4251"/>
                  <a:pt x="726" y="4200"/>
                  <a:pt x="701" y="4176"/>
                </a:cubicBezTo>
                <a:cubicBezTo>
                  <a:pt x="701" y="4151"/>
                  <a:pt x="726" y="4151"/>
                  <a:pt x="776" y="4176"/>
                </a:cubicBezTo>
                <a:cubicBezTo>
                  <a:pt x="801" y="4176"/>
                  <a:pt x="826" y="4176"/>
                  <a:pt x="826" y="4151"/>
                </a:cubicBezTo>
                <a:cubicBezTo>
                  <a:pt x="826" y="4151"/>
                  <a:pt x="826" y="4151"/>
                  <a:pt x="851" y="4151"/>
                </a:cubicBezTo>
                <a:cubicBezTo>
                  <a:pt x="801" y="4126"/>
                  <a:pt x="701" y="4151"/>
                  <a:pt x="676" y="4151"/>
                </a:cubicBezTo>
                <a:cubicBezTo>
                  <a:pt x="676" y="4151"/>
                  <a:pt x="676" y="3900"/>
                  <a:pt x="676" y="3826"/>
                </a:cubicBezTo>
                <a:lnTo>
                  <a:pt x="676" y="3826"/>
                </a:lnTo>
                <a:cubicBezTo>
                  <a:pt x="651" y="3826"/>
                  <a:pt x="600" y="3851"/>
                  <a:pt x="600" y="3800"/>
                </a:cubicBezTo>
                <a:cubicBezTo>
                  <a:pt x="600" y="3800"/>
                  <a:pt x="600" y="3800"/>
                  <a:pt x="600" y="3776"/>
                </a:cubicBezTo>
                <a:cubicBezTo>
                  <a:pt x="600" y="3776"/>
                  <a:pt x="576" y="3776"/>
                  <a:pt x="551" y="3751"/>
                </a:cubicBezTo>
                <a:cubicBezTo>
                  <a:pt x="526" y="3751"/>
                  <a:pt x="426" y="3751"/>
                  <a:pt x="400" y="37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0" name="Freeform 106">
            <a:extLst>
              <a:ext uri="{FF2B5EF4-FFF2-40B4-BE49-F238E27FC236}">
                <a16:creationId xmlns:a16="http://schemas.microsoft.com/office/drawing/2014/main" id="{4B0BC599-CC6B-6543-94F4-6B1832617413}"/>
              </a:ext>
            </a:extLst>
          </p:cNvPr>
          <p:cNvSpPr>
            <a:spLocks noChangeArrowheads="1"/>
          </p:cNvSpPr>
          <p:nvPr/>
        </p:nvSpPr>
        <p:spPr bwMode="auto">
          <a:xfrm>
            <a:off x="3868517" y="5426936"/>
            <a:ext cx="262967" cy="271405"/>
          </a:xfrm>
          <a:custGeom>
            <a:avLst/>
            <a:gdLst>
              <a:gd name="T0" fmla="*/ 800 w 826"/>
              <a:gd name="T1" fmla="*/ 450 h 851"/>
              <a:gd name="T2" fmla="*/ 800 w 826"/>
              <a:gd name="T3" fmla="*/ 450 h 851"/>
              <a:gd name="T4" fmla="*/ 725 w 826"/>
              <a:gd name="T5" fmla="*/ 475 h 851"/>
              <a:gd name="T6" fmla="*/ 675 w 826"/>
              <a:gd name="T7" fmla="*/ 375 h 851"/>
              <a:gd name="T8" fmla="*/ 600 w 826"/>
              <a:gd name="T9" fmla="*/ 300 h 851"/>
              <a:gd name="T10" fmla="*/ 525 w 826"/>
              <a:gd name="T11" fmla="*/ 275 h 851"/>
              <a:gd name="T12" fmla="*/ 475 w 826"/>
              <a:gd name="T13" fmla="*/ 200 h 851"/>
              <a:gd name="T14" fmla="*/ 450 w 826"/>
              <a:gd name="T15" fmla="*/ 100 h 851"/>
              <a:gd name="T16" fmla="*/ 450 w 826"/>
              <a:gd name="T17" fmla="*/ 50 h 851"/>
              <a:gd name="T18" fmla="*/ 425 w 826"/>
              <a:gd name="T19" fmla="*/ 50 h 851"/>
              <a:gd name="T20" fmla="*/ 350 w 826"/>
              <a:gd name="T21" fmla="*/ 0 h 851"/>
              <a:gd name="T22" fmla="*/ 250 w 826"/>
              <a:gd name="T23" fmla="*/ 25 h 851"/>
              <a:gd name="T24" fmla="*/ 125 w 826"/>
              <a:gd name="T25" fmla="*/ 50 h 851"/>
              <a:gd name="T26" fmla="*/ 50 w 826"/>
              <a:gd name="T27" fmla="*/ 125 h 851"/>
              <a:gd name="T28" fmla="*/ 25 w 826"/>
              <a:gd name="T29" fmla="*/ 275 h 851"/>
              <a:gd name="T30" fmla="*/ 0 w 826"/>
              <a:gd name="T31" fmla="*/ 275 h 851"/>
              <a:gd name="T32" fmla="*/ 125 w 826"/>
              <a:gd name="T33" fmla="*/ 400 h 851"/>
              <a:gd name="T34" fmla="*/ 225 w 826"/>
              <a:gd name="T35" fmla="*/ 475 h 851"/>
              <a:gd name="T36" fmla="*/ 325 w 826"/>
              <a:gd name="T37" fmla="*/ 525 h 851"/>
              <a:gd name="T38" fmla="*/ 500 w 826"/>
              <a:gd name="T39" fmla="*/ 600 h 851"/>
              <a:gd name="T40" fmla="*/ 425 w 826"/>
              <a:gd name="T41" fmla="*/ 725 h 851"/>
              <a:gd name="T42" fmla="*/ 400 w 826"/>
              <a:gd name="T43" fmla="*/ 800 h 851"/>
              <a:gd name="T44" fmla="*/ 500 w 826"/>
              <a:gd name="T45" fmla="*/ 825 h 851"/>
              <a:gd name="T46" fmla="*/ 575 w 826"/>
              <a:gd name="T47" fmla="*/ 825 h 851"/>
              <a:gd name="T48" fmla="*/ 650 w 826"/>
              <a:gd name="T49" fmla="*/ 800 h 851"/>
              <a:gd name="T50" fmla="*/ 725 w 826"/>
              <a:gd name="T51" fmla="*/ 775 h 851"/>
              <a:gd name="T52" fmla="*/ 775 w 826"/>
              <a:gd name="T53" fmla="*/ 625 h 851"/>
              <a:gd name="T54" fmla="*/ 800 w 826"/>
              <a:gd name="T5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6" h="851">
                <a:moveTo>
                  <a:pt x="800" y="450"/>
                </a:moveTo>
                <a:lnTo>
                  <a:pt x="800" y="450"/>
                </a:lnTo>
                <a:cubicBezTo>
                  <a:pt x="750" y="450"/>
                  <a:pt x="725" y="475"/>
                  <a:pt x="725" y="475"/>
                </a:cubicBezTo>
                <a:cubicBezTo>
                  <a:pt x="700" y="475"/>
                  <a:pt x="675" y="400"/>
                  <a:pt x="675" y="375"/>
                </a:cubicBezTo>
                <a:cubicBezTo>
                  <a:pt x="650" y="350"/>
                  <a:pt x="625" y="275"/>
                  <a:pt x="600" y="300"/>
                </a:cubicBezTo>
                <a:cubicBezTo>
                  <a:pt x="575" y="300"/>
                  <a:pt x="575" y="275"/>
                  <a:pt x="525" y="275"/>
                </a:cubicBezTo>
                <a:cubicBezTo>
                  <a:pt x="450" y="275"/>
                  <a:pt x="450" y="275"/>
                  <a:pt x="475" y="200"/>
                </a:cubicBezTo>
                <a:cubicBezTo>
                  <a:pt x="500" y="150"/>
                  <a:pt x="425" y="100"/>
                  <a:pt x="450" y="100"/>
                </a:cubicBezTo>
                <a:cubicBezTo>
                  <a:pt x="475" y="75"/>
                  <a:pt x="475" y="75"/>
                  <a:pt x="450" y="50"/>
                </a:cubicBezTo>
                <a:cubicBezTo>
                  <a:pt x="450" y="50"/>
                  <a:pt x="450" y="50"/>
                  <a:pt x="425" y="50"/>
                </a:cubicBezTo>
                <a:cubicBezTo>
                  <a:pt x="425" y="50"/>
                  <a:pt x="375" y="0"/>
                  <a:pt x="350" y="0"/>
                </a:cubicBezTo>
                <a:cubicBezTo>
                  <a:pt x="300" y="0"/>
                  <a:pt x="275" y="0"/>
                  <a:pt x="250" y="25"/>
                </a:cubicBezTo>
                <a:cubicBezTo>
                  <a:pt x="200" y="25"/>
                  <a:pt x="150" y="25"/>
                  <a:pt x="125" y="50"/>
                </a:cubicBezTo>
                <a:cubicBezTo>
                  <a:pt x="100" y="50"/>
                  <a:pt x="50" y="100"/>
                  <a:pt x="50" y="125"/>
                </a:cubicBezTo>
                <a:cubicBezTo>
                  <a:pt x="50" y="150"/>
                  <a:pt x="50" y="275"/>
                  <a:pt x="25" y="275"/>
                </a:cubicBezTo>
                <a:lnTo>
                  <a:pt x="0" y="275"/>
                </a:lnTo>
                <a:cubicBezTo>
                  <a:pt x="25" y="300"/>
                  <a:pt x="75" y="375"/>
                  <a:pt x="125" y="400"/>
                </a:cubicBezTo>
                <a:cubicBezTo>
                  <a:pt x="175" y="425"/>
                  <a:pt x="175" y="475"/>
                  <a:pt x="225" y="475"/>
                </a:cubicBezTo>
                <a:cubicBezTo>
                  <a:pt x="275" y="475"/>
                  <a:pt x="325" y="500"/>
                  <a:pt x="325" y="525"/>
                </a:cubicBezTo>
                <a:cubicBezTo>
                  <a:pt x="350" y="550"/>
                  <a:pt x="500" y="600"/>
                  <a:pt x="500" y="600"/>
                </a:cubicBezTo>
                <a:cubicBezTo>
                  <a:pt x="525" y="625"/>
                  <a:pt x="425" y="675"/>
                  <a:pt x="425" y="725"/>
                </a:cubicBezTo>
                <a:cubicBezTo>
                  <a:pt x="425" y="775"/>
                  <a:pt x="400" y="775"/>
                  <a:pt x="400" y="800"/>
                </a:cubicBezTo>
                <a:cubicBezTo>
                  <a:pt x="400" y="825"/>
                  <a:pt x="475" y="800"/>
                  <a:pt x="500" y="825"/>
                </a:cubicBezTo>
                <a:cubicBezTo>
                  <a:pt x="525" y="825"/>
                  <a:pt x="550" y="800"/>
                  <a:pt x="575" y="825"/>
                </a:cubicBezTo>
                <a:cubicBezTo>
                  <a:pt x="600" y="850"/>
                  <a:pt x="650" y="800"/>
                  <a:pt x="650" y="800"/>
                </a:cubicBezTo>
                <a:cubicBezTo>
                  <a:pt x="675" y="825"/>
                  <a:pt x="700" y="775"/>
                  <a:pt x="725" y="775"/>
                </a:cubicBezTo>
                <a:cubicBezTo>
                  <a:pt x="775" y="775"/>
                  <a:pt x="800" y="675"/>
                  <a:pt x="775" y="625"/>
                </a:cubicBezTo>
                <a:cubicBezTo>
                  <a:pt x="775" y="600"/>
                  <a:pt x="825" y="475"/>
                  <a:pt x="800" y="4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1" name="Freeform 107">
            <a:extLst>
              <a:ext uri="{FF2B5EF4-FFF2-40B4-BE49-F238E27FC236}">
                <a16:creationId xmlns:a16="http://schemas.microsoft.com/office/drawing/2014/main" id="{0C4ABD07-17B8-404A-85D5-B7DAFB0B2C8C}"/>
              </a:ext>
            </a:extLst>
          </p:cNvPr>
          <p:cNvSpPr>
            <a:spLocks noChangeArrowheads="1"/>
          </p:cNvSpPr>
          <p:nvPr/>
        </p:nvSpPr>
        <p:spPr bwMode="auto">
          <a:xfrm>
            <a:off x="3166800" y="4501630"/>
            <a:ext cx="104061" cy="80156"/>
          </a:xfrm>
          <a:custGeom>
            <a:avLst/>
            <a:gdLst>
              <a:gd name="T0" fmla="*/ 300 w 325"/>
              <a:gd name="T1" fmla="*/ 200 h 252"/>
              <a:gd name="T2" fmla="*/ 300 w 325"/>
              <a:gd name="T3" fmla="*/ 200 h 252"/>
              <a:gd name="T4" fmla="*/ 324 w 325"/>
              <a:gd name="T5" fmla="*/ 151 h 252"/>
              <a:gd name="T6" fmla="*/ 224 w 325"/>
              <a:gd name="T7" fmla="*/ 25 h 252"/>
              <a:gd name="T8" fmla="*/ 175 w 325"/>
              <a:gd name="T9" fmla="*/ 25 h 252"/>
              <a:gd name="T10" fmla="*/ 100 w 325"/>
              <a:gd name="T11" fmla="*/ 0 h 252"/>
              <a:gd name="T12" fmla="*/ 49 w 325"/>
              <a:gd name="T13" fmla="*/ 0 h 252"/>
              <a:gd name="T14" fmla="*/ 24 w 325"/>
              <a:gd name="T15" fmla="*/ 50 h 252"/>
              <a:gd name="T16" fmla="*/ 49 w 325"/>
              <a:gd name="T17" fmla="*/ 125 h 252"/>
              <a:gd name="T18" fmla="*/ 100 w 325"/>
              <a:gd name="T19" fmla="*/ 100 h 252"/>
              <a:gd name="T20" fmla="*/ 149 w 325"/>
              <a:gd name="T21" fmla="*/ 151 h 252"/>
              <a:gd name="T22" fmla="*/ 224 w 325"/>
              <a:gd name="T23" fmla="*/ 200 h 252"/>
              <a:gd name="T24" fmla="*/ 275 w 325"/>
              <a:gd name="T25" fmla="*/ 251 h 252"/>
              <a:gd name="T26" fmla="*/ 300 w 325"/>
              <a:gd name="T27" fmla="*/ 251 h 252"/>
              <a:gd name="T28" fmla="*/ 300 w 325"/>
              <a:gd name="T29" fmla="*/ 20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 h="252">
                <a:moveTo>
                  <a:pt x="300" y="200"/>
                </a:moveTo>
                <a:lnTo>
                  <a:pt x="300" y="200"/>
                </a:lnTo>
                <a:cubicBezTo>
                  <a:pt x="300" y="200"/>
                  <a:pt x="300" y="151"/>
                  <a:pt x="324" y="151"/>
                </a:cubicBezTo>
                <a:cubicBezTo>
                  <a:pt x="300" y="100"/>
                  <a:pt x="249" y="50"/>
                  <a:pt x="224" y="25"/>
                </a:cubicBezTo>
                <a:cubicBezTo>
                  <a:pt x="200" y="25"/>
                  <a:pt x="200" y="25"/>
                  <a:pt x="175" y="25"/>
                </a:cubicBezTo>
                <a:cubicBezTo>
                  <a:pt x="149" y="0"/>
                  <a:pt x="100" y="25"/>
                  <a:pt x="100" y="0"/>
                </a:cubicBezTo>
                <a:cubicBezTo>
                  <a:pt x="75" y="0"/>
                  <a:pt x="49" y="0"/>
                  <a:pt x="49" y="0"/>
                </a:cubicBezTo>
                <a:cubicBezTo>
                  <a:pt x="49" y="25"/>
                  <a:pt x="49" y="25"/>
                  <a:pt x="24" y="50"/>
                </a:cubicBezTo>
                <a:cubicBezTo>
                  <a:pt x="0" y="50"/>
                  <a:pt x="0" y="100"/>
                  <a:pt x="49" y="125"/>
                </a:cubicBezTo>
                <a:cubicBezTo>
                  <a:pt x="100" y="151"/>
                  <a:pt x="75" y="100"/>
                  <a:pt x="100" y="100"/>
                </a:cubicBezTo>
                <a:cubicBezTo>
                  <a:pt x="124" y="100"/>
                  <a:pt x="124" y="151"/>
                  <a:pt x="149" y="151"/>
                </a:cubicBezTo>
                <a:cubicBezTo>
                  <a:pt x="175" y="151"/>
                  <a:pt x="224" y="176"/>
                  <a:pt x="224" y="200"/>
                </a:cubicBezTo>
                <a:cubicBezTo>
                  <a:pt x="224" y="225"/>
                  <a:pt x="224" y="251"/>
                  <a:pt x="275" y="251"/>
                </a:cubicBezTo>
                <a:cubicBezTo>
                  <a:pt x="275" y="251"/>
                  <a:pt x="275" y="251"/>
                  <a:pt x="300" y="251"/>
                </a:cubicBezTo>
                <a:cubicBezTo>
                  <a:pt x="300" y="225"/>
                  <a:pt x="300" y="200"/>
                  <a:pt x="300"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2" name="Freeform 108">
            <a:extLst>
              <a:ext uri="{FF2B5EF4-FFF2-40B4-BE49-F238E27FC236}">
                <a16:creationId xmlns:a16="http://schemas.microsoft.com/office/drawing/2014/main" id="{22CCBB77-25AB-8643-85CC-F7DE619C2F9E}"/>
              </a:ext>
            </a:extLst>
          </p:cNvPr>
          <p:cNvSpPr>
            <a:spLocks noChangeArrowheads="1"/>
          </p:cNvSpPr>
          <p:nvPr/>
        </p:nvSpPr>
        <p:spPr bwMode="auto">
          <a:xfrm>
            <a:off x="3262426" y="4541003"/>
            <a:ext cx="175780" cy="80156"/>
          </a:xfrm>
          <a:custGeom>
            <a:avLst/>
            <a:gdLst>
              <a:gd name="T0" fmla="*/ 475 w 550"/>
              <a:gd name="T1" fmla="*/ 75 h 252"/>
              <a:gd name="T2" fmla="*/ 475 w 550"/>
              <a:gd name="T3" fmla="*/ 75 h 252"/>
              <a:gd name="T4" fmla="*/ 349 w 550"/>
              <a:gd name="T5" fmla="*/ 26 h 252"/>
              <a:gd name="T6" fmla="*/ 224 w 550"/>
              <a:gd name="T7" fmla="*/ 75 h 252"/>
              <a:gd name="T8" fmla="*/ 75 w 550"/>
              <a:gd name="T9" fmla="*/ 51 h 252"/>
              <a:gd name="T10" fmla="*/ 24 w 550"/>
              <a:gd name="T11" fmla="*/ 26 h 252"/>
              <a:gd name="T12" fmla="*/ 0 w 550"/>
              <a:gd name="T13" fmla="*/ 75 h 252"/>
              <a:gd name="T14" fmla="*/ 0 w 550"/>
              <a:gd name="T15" fmla="*/ 126 h 252"/>
              <a:gd name="T16" fmla="*/ 124 w 550"/>
              <a:gd name="T17" fmla="*/ 175 h 252"/>
              <a:gd name="T18" fmla="*/ 175 w 550"/>
              <a:gd name="T19" fmla="*/ 226 h 252"/>
              <a:gd name="T20" fmla="*/ 249 w 550"/>
              <a:gd name="T21" fmla="*/ 200 h 252"/>
              <a:gd name="T22" fmla="*/ 224 w 550"/>
              <a:gd name="T23" fmla="*/ 151 h 252"/>
              <a:gd name="T24" fmla="*/ 275 w 550"/>
              <a:gd name="T25" fmla="*/ 100 h 252"/>
              <a:gd name="T26" fmla="*/ 375 w 550"/>
              <a:gd name="T27" fmla="*/ 75 h 252"/>
              <a:gd name="T28" fmla="*/ 400 w 550"/>
              <a:gd name="T29" fmla="*/ 151 h 252"/>
              <a:gd name="T30" fmla="*/ 475 w 550"/>
              <a:gd name="T31" fmla="*/ 251 h 252"/>
              <a:gd name="T32" fmla="*/ 525 w 550"/>
              <a:gd name="T33" fmla="*/ 175 h 252"/>
              <a:gd name="T34" fmla="*/ 549 w 550"/>
              <a:gd name="T35" fmla="*/ 151 h 252"/>
              <a:gd name="T36" fmla="*/ 475 w 550"/>
              <a:gd name="T37" fmla="*/ 7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0" h="252">
                <a:moveTo>
                  <a:pt x="475" y="75"/>
                </a:moveTo>
                <a:lnTo>
                  <a:pt x="475" y="75"/>
                </a:lnTo>
                <a:cubicBezTo>
                  <a:pt x="449" y="26"/>
                  <a:pt x="400" y="26"/>
                  <a:pt x="349" y="26"/>
                </a:cubicBezTo>
                <a:cubicBezTo>
                  <a:pt x="324" y="0"/>
                  <a:pt x="275" y="26"/>
                  <a:pt x="224" y="75"/>
                </a:cubicBezTo>
                <a:cubicBezTo>
                  <a:pt x="175" y="100"/>
                  <a:pt x="100" y="75"/>
                  <a:pt x="75" y="51"/>
                </a:cubicBezTo>
                <a:cubicBezTo>
                  <a:pt x="49" y="51"/>
                  <a:pt x="49" y="26"/>
                  <a:pt x="24" y="26"/>
                </a:cubicBezTo>
                <a:cubicBezTo>
                  <a:pt x="0" y="26"/>
                  <a:pt x="0" y="75"/>
                  <a:pt x="0" y="75"/>
                </a:cubicBezTo>
                <a:cubicBezTo>
                  <a:pt x="0" y="75"/>
                  <a:pt x="0" y="100"/>
                  <a:pt x="0" y="126"/>
                </a:cubicBezTo>
                <a:cubicBezTo>
                  <a:pt x="24" y="126"/>
                  <a:pt x="100" y="151"/>
                  <a:pt x="124" y="175"/>
                </a:cubicBezTo>
                <a:cubicBezTo>
                  <a:pt x="149" y="226"/>
                  <a:pt x="175" y="200"/>
                  <a:pt x="175" y="226"/>
                </a:cubicBezTo>
                <a:cubicBezTo>
                  <a:pt x="200" y="251"/>
                  <a:pt x="249" y="226"/>
                  <a:pt x="249" y="200"/>
                </a:cubicBezTo>
                <a:cubicBezTo>
                  <a:pt x="275" y="200"/>
                  <a:pt x="224" y="175"/>
                  <a:pt x="224" y="151"/>
                </a:cubicBezTo>
                <a:cubicBezTo>
                  <a:pt x="224" y="126"/>
                  <a:pt x="275" y="151"/>
                  <a:pt x="275" y="100"/>
                </a:cubicBezTo>
                <a:cubicBezTo>
                  <a:pt x="300" y="75"/>
                  <a:pt x="349" y="75"/>
                  <a:pt x="375" y="75"/>
                </a:cubicBezTo>
                <a:cubicBezTo>
                  <a:pt x="424" y="100"/>
                  <a:pt x="449" y="100"/>
                  <a:pt x="400" y="151"/>
                </a:cubicBezTo>
                <a:cubicBezTo>
                  <a:pt x="400" y="175"/>
                  <a:pt x="424" y="200"/>
                  <a:pt x="475" y="251"/>
                </a:cubicBezTo>
                <a:cubicBezTo>
                  <a:pt x="500" y="226"/>
                  <a:pt x="525" y="175"/>
                  <a:pt x="525" y="175"/>
                </a:cubicBezTo>
                <a:lnTo>
                  <a:pt x="549" y="151"/>
                </a:lnTo>
                <a:cubicBezTo>
                  <a:pt x="525" y="151"/>
                  <a:pt x="500" y="100"/>
                  <a:pt x="47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4" name="Freeform 110">
            <a:extLst>
              <a:ext uri="{FF2B5EF4-FFF2-40B4-BE49-F238E27FC236}">
                <a16:creationId xmlns:a16="http://schemas.microsoft.com/office/drawing/2014/main" id="{6CEAE629-64E6-D341-A00C-EFC48F7DFF54}"/>
              </a:ext>
            </a:extLst>
          </p:cNvPr>
          <p:cNvSpPr>
            <a:spLocks noChangeArrowheads="1"/>
          </p:cNvSpPr>
          <p:nvPr/>
        </p:nvSpPr>
        <p:spPr bwMode="auto">
          <a:xfrm>
            <a:off x="3660391" y="5131626"/>
            <a:ext cx="367028" cy="414841"/>
          </a:xfrm>
          <a:custGeom>
            <a:avLst/>
            <a:gdLst>
              <a:gd name="T0" fmla="*/ 1151 w 1152"/>
              <a:gd name="T1" fmla="*/ 774 h 1301"/>
              <a:gd name="T2" fmla="*/ 1151 w 1152"/>
              <a:gd name="T3" fmla="*/ 774 h 1301"/>
              <a:gd name="T4" fmla="*/ 1076 w 1152"/>
              <a:gd name="T5" fmla="*/ 700 h 1301"/>
              <a:gd name="T6" fmla="*/ 1001 w 1152"/>
              <a:gd name="T7" fmla="*/ 650 h 1301"/>
              <a:gd name="T8" fmla="*/ 901 w 1152"/>
              <a:gd name="T9" fmla="*/ 600 h 1301"/>
              <a:gd name="T10" fmla="*/ 901 w 1152"/>
              <a:gd name="T11" fmla="*/ 525 h 1301"/>
              <a:gd name="T12" fmla="*/ 876 w 1152"/>
              <a:gd name="T13" fmla="*/ 450 h 1301"/>
              <a:gd name="T14" fmla="*/ 851 w 1152"/>
              <a:gd name="T15" fmla="*/ 375 h 1301"/>
              <a:gd name="T16" fmla="*/ 751 w 1152"/>
              <a:gd name="T17" fmla="*/ 350 h 1301"/>
              <a:gd name="T18" fmla="*/ 676 w 1152"/>
              <a:gd name="T19" fmla="*/ 325 h 1301"/>
              <a:gd name="T20" fmla="*/ 626 w 1152"/>
              <a:gd name="T21" fmla="*/ 300 h 1301"/>
              <a:gd name="T22" fmla="*/ 551 w 1152"/>
              <a:gd name="T23" fmla="*/ 275 h 1301"/>
              <a:gd name="T24" fmla="*/ 451 w 1152"/>
              <a:gd name="T25" fmla="*/ 200 h 1301"/>
              <a:gd name="T26" fmla="*/ 426 w 1152"/>
              <a:gd name="T27" fmla="*/ 25 h 1301"/>
              <a:gd name="T28" fmla="*/ 326 w 1152"/>
              <a:gd name="T29" fmla="*/ 25 h 1301"/>
              <a:gd name="T30" fmla="*/ 226 w 1152"/>
              <a:gd name="T31" fmla="*/ 75 h 1301"/>
              <a:gd name="T32" fmla="*/ 126 w 1152"/>
              <a:gd name="T33" fmla="*/ 100 h 1301"/>
              <a:gd name="T34" fmla="*/ 51 w 1152"/>
              <a:gd name="T35" fmla="*/ 125 h 1301"/>
              <a:gd name="T36" fmla="*/ 26 w 1152"/>
              <a:gd name="T37" fmla="*/ 125 h 1301"/>
              <a:gd name="T38" fmla="*/ 101 w 1152"/>
              <a:gd name="T39" fmla="*/ 250 h 1301"/>
              <a:gd name="T40" fmla="*/ 76 w 1152"/>
              <a:gd name="T41" fmla="*/ 300 h 1301"/>
              <a:gd name="T42" fmla="*/ 76 w 1152"/>
              <a:gd name="T43" fmla="*/ 450 h 1301"/>
              <a:gd name="T44" fmla="*/ 51 w 1152"/>
              <a:gd name="T45" fmla="*/ 525 h 1301"/>
              <a:gd name="T46" fmla="*/ 26 w 1152"/>
              <a:gd name="T47" fmla="*/ 600 h 1301"/>
              <a:gd name="T48" fmla="*/ 76 w 1152"/>
              <a:gd name="T49" fmla="*/ 650 h 1301"/>
              <a:gd name="T50" fmla="*/ 26 w 1152"/>
              <a:gd name="T51" fmla="*/ 725 h 1301"/>
              <a:gd name="T52" fmla="*/ 0 w 1152"/>
              <a:gd name="T53" fmla="*/ 750 h 1301"/>
              <a:gd name="T54" fmla="*/ 51 w 1152"/>
              <a:gd name="T55" fmla="*/ 800 h 1301"/>
              <a:gd name="T56" fmla="*/ 76 w 1152"/>
              <a:gd name="T57" fmla="*/ 900 h 1301"/>
              <a:gd name="T58" fmla="*/ 101 w 1152"/>
              <a:gd name="T59" fmla="*/ 950 h 1301"/>
              <a:gd name="T60" fmla="*/ 76 w 1152"/>
              <a:gd name="T61" fmla="*/ 1025 h 1301"/>
              <a:gd name="T62" fmla="*/ 126 w 1152"/>
              <a:gd name="T63" fmla="*/ 1100 h 1301"/>
              <a:gd name="T64" fmla="*/ 151 w 1152"/>
              <a:gd name="T65" fmla="*/ 1175 h 1301"/>
              <a:gd name="T66" fmla="*/ 176 w 1152"/>
              <a:gd name="T67" fmla="*/ 1275 h 1301"/>
              <a:gd name="T68" fmla="*/ 301 w 1152"/>
              <a:gd name="T69" fmla="*/ 1200 h 1301"/>
              <a:gd name="T70" fmla="*/ 376 w 1152"/>
              <a:gd name="T71" fmla="*/ 1200 h 1301"/>
              <a:gd name="T72" fmla="*/ 501 w 1152"/>
              <a:gd name="T73" fmla="*/ 1250 h 1301"/>
              <a:gd name="T74" fmla="*/ 551 w 1152"/>
              <a:gd name="T75" fmla="*/ 1200 h 1301"/>
              <a:gd name="T76" fmla="*/ 676 w 1152"/>
              <a:gd name="T77" fmla="*/ 1200 h 1301"/>
              <a:gd name="T78" fmla="*/ 701 w 1152"/>
              <a:gd name="T79" fmla="*/ 1050 h 1301"/>
              <a:gd name="T80" fmla="*/ 776 w 1152"/>
              <a:gd name="T81" fmla="*/ 975 h 1301"/>
              <a:gd name="T82" fmla="*/ 901 w 1152"/>
              <a:gd name="T83" fmla="*/ 950 h 1301"/>
              <a:gd name="T84" fmla="*/ 1001 w 1152"/>
              <a:gd name="T85" fmla="*/ 925 h 1301"/>
              <a:gd name="T86" fmla="*/ 1076 w 1152"/>
              <a:gd name="T87" fmla="*/ 975 h 1301"/>
              <a:gd name="T88" fmla="*/ 1126 w 1152"/>
              <a:gd name="T89" fmla="*/ 900 h 1301"/>
              <a:gd name="T90" fmla="*/ 1151 w 1152"/>
              <a:gd name="T91" fmla="*/ 774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2" h="1301">
                <a:moveTo>
                  <a:pt x="1151" y="774"/>
                </a:moveTo>
                <a:lnTo>
                  <a:pt x="1151" y="774"/>
                </a:lnTo>
                <a:cubicBezTo>
                  <a:pt x="1126" y="750"/>
                  <a:pt x="1076" y="725"/>
                  <a:pt x="1076" y="700"/>
                </a:cubicBezTo>
                <a:cubicBezTo>
                  <a:pt x="1076" y="650"/>
                  <a:pt x="1076" y="650"/>
                  <a:pt x="1001" y="650"/>
                </a:cubicBezTo>
                <a:cubicBezTo>
                  <a:pt x="951" y="650"/>
                  <a:pt x="901" y="625"/>
                  <a:pt x="901" y="600"/>
                </a:cubicBezTo>
                <a:cubicBezTo>
                  <a:pt x="901" y="550"/>
                  <a:pt x="876" y="525"/>
                  <a:pt x="901" y="525"/>
                </a:cubicBezTo>
                <a:cubicBezTo>
                  <a:pt x="926" y="500"/>
                  <a:pt x="876" y="475"/>
                  <a:pt x="876" y="450"/>
                </a:cubicBezTo>
                <a:cubicBezTo>
                  <a:pt x="876" y="400"/>
                  <a:pt x="876" y="400"/>
                  <a:pt x="851" y="375"/>
                </a:cubicBezTo>
                <a:cubicBezTo>
                  <a:pt x="826" y="375"/>
                  <a:pt x="751" y="400"/>
                  <a:pt x="751" y="350"/>
                </a:cubicBezTo>
                <a:cubicBezTo>
                  <a:pt x="751" y="325"/>
                  <a:pt x="701" y="325"/>
                  <a:pt x="676" y="325"/>
                </a:cubicBezTo>
                <a:cubicBezTo>
                  <a:pt x="626" y="325"/>
                  <a:pt x="651" y="275"/>
                  <a:pt x="626" y="300"/>
                </a:cubicBezTo>
                <a:cubicBezTo>
                  <a:pt x="601" y="300"/>
                  <a:pt x="601" y="275"/>
                  <a:pt x="551" y="275"/>
                </a:cubicBezTo>
                <a:cubicBezTo>
                  <a:pt x="526" y="275"/>
                  <a:pt x="501" y="250"/>
                  <a:pt x="451" y="200"/>
                </a:cubicBezTo>
                <a:cubicBezTo>
                  <a:pt x="401" y="150"/>
                  <a:pt x="401" y="50"/>
                  <a:pt x="426" y="25"/>
                </a:cubicBezTo>
                <a:cubicBezTo>
                  <a:pt x="426" y="0"/>
                  <a:pt x="376" y="25"/>
                  <a:pt x="326" y="25"/>
                </a:cubicBezTo>
                <a:cubicBezTo>
                  <a:pt x="301" y="25"/>
                  <a:pt x="251" y="50"/>
                  <a:pt x="226" y="75"/>
                </a:cubicBezTo>
                <a:cubicBezTo>
                  <a:pt x="176" y="100"/>
                  <a:pt x="151" y="100"/>
                  <a:pt x="126" y="100"/>
                </a:cubicBezTo>
                <a:cubicBezTo>
                  <a:pt x="126" y="125"/>
                  <a:pt x="76" y="150"/>
                  <a:pt x="51" y="125"/>
                </a:cubicBezTo>
                <a:lnTo>
                  <a:pt x="26" y="125"/>
                </a:lnTo>
                <a:cubicBezTo>
                  <a:pt x="51" y="175"/>
                  <a:pt x="76" y="225"/>
                  <a:pt x="101" y="250"/>
                </a:cubicBezTo>
                <a:cubicBezTo>
                  <a:pt x="101" y="275"/>
                  <a:pt x="76" y="300"/>
                  <a:pt x="76" y="300"/>
                </a:cubicBezTo>
                <a:cubicBezTo>
                  <a:pt x="51" y="325"/>
                  <a:pt x="76" y="425"/>
                  <a:pt x="76" y="450"/>
                </a:cubicBezTo>
                <a:cubicBezTo>
                  <a:pt x="76" y="450"/>
                  <a:pt x="26" y="500"/>
                  <a:pt x="51" y="525"/>
                </a:cubicBezTo>
                <a:cubicBezTo>
                  <a:pt x="76" y="525"/>
                  <a:pt x="26" y="575"/>
                  <a:pt x="26" y="600"/>
                </a:cubicBezTo>
                <a:cubicBezTo>
                  <a:pt x="26" y="625"/>
                  <a:pt x="76" y="625"/>
                  <a:pt x="76" y="650"/>
                </a:cubicBezTo>
                <a:cubicBezTo>
                  <a:pt x="76" y="650"/>
                  <a:pt x="26" y="700"/>
                  <a:pt x="26" y="725"/>
                </a:cubicBezTo>
                <a:cubicBezTo>
                  <a:pt x="0" y="725"/>
                  <a:pt x="0" y="725"/>
                  <a:pt x="0" y="750"/>
                </a:cubicBezTo>
                <a:cubicBezTo>
                  <a:pt x="0" y="750"/>
                  <a:pt x="26" y="774"/>
                  <a:pt x="51" y="800"/>
                </a:cubicBezTo>
                <a:cubicBezTo>
                  <a:pt x="76" y="825"/>
                  <a:pt x="51" y="875"/>
                  <a:pt x="76" y="900"/>
                </a:cubicBezTo>
                <a:cubicBezTo>
                  <a:pt x="101" y="925"/>
                  <a:pt x="126" y="925"/>
                  <a:pt x="101" y="950"/>
                </a:cubicBezTo>
                <a:cubicBezTo>
                  <a:pt x="76" y="975"/>
                  <a:pt x="101" y="1000"/>
                  <a:pt x="76" y="1025"/>
                </a:cubicBezTo>
                <a:cubicBezTo>
                  <a:pt x="76" y="1025"/>
                  <a:pt x="101" y="1075"/>
                  <a:pt x="126" y="1100"/>
                </a:cubicBezTo>
                <a:cubicBezTo>
                  <a:pt x="151" y="1100"/>
                  <a:pt x="126" y="1150"/>
                  <a:pt x="151" y="1175"/>
                </a:cubicBezTo>
                <a:cubicBezTo>
                  <a:pt x="176" y="1200"/>
                  <a:pt x="176" y="1275"/>
                  <a:pt x="176" y="1275"/>
                </a:cubicBezTo>
                <a:cubicBezTo>
                  <a:pt x="176" y="1300"/>
                  <a:pt x="251" y="1250"/>
                  <a:pt x="301" y="1200"/>
                </a:cubicBezTo>
                <a:cubicBezTo>
                  <a:pt x="351" y="1175"/>
                  <a:pt x="351" y="1200"/>
                  <a:pt x="376" y="1200"/>
                </a:cubicBezTo>
                <a:cubicBezTo>
                  <a:pt x="426" y="1225"/>
                  <a:pt x="476" y="1225"/>
                  <a:pt x="501" y="1250"/>
                </a:cubicBezTo>
                <a:cubicBezTo>
                  <a:pt x="526" y="1300"/>
                  <a:pt x="526" y="1225"/>
                  <a:pt x="551" y="1200"/>
                </a:cubicBezTo>
                <a:cubicBezTo>
                  <a:pt x="576" y="1175"/>
                  <a:pt x="651" y="1200"/>
                  <a:pt x="676" y="1200"/>
                </a:cubicBezTo>
                <a:cubicBezTo>
                  <a:pt x="701" y="1200"/>
                  <a:pt x="701" y="1075"/>
                  <a:pt x="701" y="1050"/>
                </a:cubicBezTo>
                <a:cubicBezTo>
                  <a:pt x="701" y="1025"/>
                  <a:pt x="751" y="975"/>
                  <a:pt x="776" y="975"/>
                </a:cubicBezTo>
                <a:cubicBezTo>
                  <a:pt x="801" y="950"/>
                  <a:pt x="851" y="950"/>
                  <a:pt x="901" y="950"/>
                </a:cubicBezTo>
                <a:cubicBezTo>
                  <a:pt x="926" y="925"/>
                  <a:pt x="951" y="925"/>
                  <a:pt x="1001" y="925"/>
                </a:cubicBezTo>
                <a:cubicBezTo>
                  <a:pt x="1026" y="925"/>
                  <a:pt x="1076" y="975"/>
                  <a:pt x="1076" y="975"/>
                </a:cubicBezTo>
                <a:cubicBezTo>
                  <a:pt x="1101" y="975"/>
                  <a:pt x="1126" y="925"/>
                  <a:pt x="1126" y="900"/>
                </a:cubicBezTo>
                <a:cubicBezTo>
                  <a:pt x="1126" y="875"/>
                  <a:pt x="1151" y="825"/>
                  <a:pt x="1151" y="7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5" name="Freeform 111">
            <a:extLst>
              <a:ext uri="{FF2B5EF4-FFF2-40B4-BE49-F238E27FC236}">
                <a16:creationId xmlns:a16="http://schemas.microsoft.com/office/drawing/2014/main" id="{4D7904DE-8B75-624A-8F43-204332E82684}"/>
              </a:ext>
            </a:extLst>
          </p:cNvPr>
          <p:cNvSpPr>
            <a:spLocks noChangeArrowheads="1"/>
          </p:cNvSpPr>
          <p:nvPr/>
        </p:nvSpPr>
        <p:spPr bwMode="auto">
          <a:xfrm>
            <a:off x="3301801" y="4836315"/>
            <a:ext cx="390935" cy="566716"/>
          </a:xfrm>
          <a:custGeom>
            <a:avLst/>
            <a:gdLst>
              <a:gd name="T0" fmla="*/ 1125 w 1227"/>
              <a:gd name="T1" fmla="*/ 1675 h 1776"/>
              <a:gd name="T2" fmla="*/ 1125 w 1227"/>
              <a:gd name="T3" fmla="*/ 1675 h 1776"/>
              <a:gd name="T4" fmla="*/ 1125 w 1227"/>
              <a:gd name="T5" fmla="*/ 1675 h 1776"/>
              <a:gd name="T6" fmla="*/ 1151 w 1227"/>
              <a:gd name="T7" fmla="*/ 1650 h 1776"/>
              <a:gd name="T8" fmla="*/ 1201 w 1227"/>
              <a:gd name="T9" fmla="*/ 1575 h 1776"/>
              <a:gd name="T10" fmla="*/ 1151 w 1227"/>
              <a:gd name="T11" fmla="*/ 1525 h 1776"/>
              <a:gd name="T12" fmla="*/ 1176 w 1227"/>
              <a:gd name="T13" fmla="*/ 1450 h 1776"/>
              <a:gd name="T14" fmla="*/ 1201 w 1227"/>
              <a:gd name="T15" fmla="*/ 1375 h 1776"/>
              <a:gd name="T16" fmla="*/ 1201 w 1227"/>
              <a:gd name="T17" fmla="*/ 1225 h 1776"/>
              <a:gd name="T18" fmla="*/ 1226 w 1227"/>
              <a:gd name="T19" fmla="*/ 1175 h 1776"/>
              <a:gd name="T20" fmla="*/ 1151 w 1227"/>
              <a:gd name="T21" fmla="*/ 1050 h 1776"/>
              <a:gd name="T22" fmla="*/ 1051 w 1227"/>
              <a:gd name="T23" fmla="*/ 1050 h 1776"/>
              <a:gd name="T24" fmla="*/ 1025 w 1227"/>
              <a:gd name="T25" fmla="*/ 925 h 1776"/>
              <a:gd name="T26" fmla="*/ 1001 w 1227"/>
              <a:gd name="T27" fmla="*/ 950 h 1776"/>
              <a:gd name="T28" fmla="*/ 901 w 1227"/>
              <a:gd name="T29" fmla="*/ 950 h 1776"/>
              <a:gd name="T30" fmla="*/ 851 w 1227"/>
              <a:gd name="T31" fmla="*/ 900 h 1776"/>
              <a:gd name="T32" fmla="*/ 801 w 1227"/>
              <a:gd name="T33" fmla="*/ 875 h 1776"/>
              <a:gd name="T34" fmla="*/ 751 w 1227"/>
              <a:gd name="T35" fmla="*/ 775 h 1776"/>
              <a:gd name="T36" fmla="*/ 725 w 1227"/>
              <a:gd name="T37" fmla="*/ 700 h 1776"/>
              <a:gd name="T38" fmla="*/ 751 w 1227"/>
              <a:gd name="T39" fmla="*/ 650 h 1776"/>
              <a:gd name="T40" fmla="*/ 801 w 1227"/>
              <a:gd name="T41" fmla="*/ 600 h 1776"/>
              <a:gd name="T42" fmla="*/ 825 w 1227"/>
              <a:gd name="T43" fmla="*/ 500 h 1776"/>
              <a:gd name="T44" fmla="*/ 901 w 1227"/>
              <a:gd name="T45" fmla="*/ 450 h 1776"/>
              <a:gd name="T46" fmla="*/ 1025 w 1227"/>
              <a:gd name="T47" fmla="*/ 400 h 1776"/>
              <a:gd name="T48" fmla="*/ 1101 w 1227"/>
              <a:gd name="T49" fmla="*/ 400 h 1776"/>
              <a:gd name="T50" fmla="*/ 1025 w 1227"/>
              <a:gd name="T51" fmla="*/ 350 h 1776"/>
              <a:gd name="T52" fmla="*/ 1076 w 1227"/>
              <a:gd name="T53" fmla="*/ 274 h 1776"/>
              <a:gd name="T54" fmla="*/ 1025 w 1227"/>
              <a:gd name="T55" fmla="*/ 225 h 1776"/>
              <a:gd name="T56" fmla="*/ 951 w 1227"/>
              <a:gd name="T57" fmla="*/ 225 h 1776"/>
              <a:gd name="T58" fmla="*/ 901 w 1227"/>
              <a:gd name="T59" fmla="*/ 225 h 1776"/>
              <a:gd name="T60" fmla="*/ 801 w 1227"/>
              <a:gd name="T61" fmla="*/ 225 h 1776"/>
              <a:gd name="T62" fmla="*/ 751 w 1227"/>
              <a:gd name="T63" fmla="*/ 150 h 1776"/>
              <a:gd name="T64" fmla="*/ 701 w 1227"/>
              <a:gd name="T65" fmla="*/ 100 h 1776"/>
              <a:gd name="T66" fmla="*/ 651 w 1227"/>
              <a:gd name="T67" fmla="*/ 25 h 1776"/>
              <a:gd name="T68" fmla="*/ 551 w 1227"/>
              <a:gd name="T69" fmla="*/ 25 h 1776"/>
              <a:gd name="T70" fmla="*/ 576 w 1227"/>
              <a:gd name="T71" fmla="*/ 100 h 1776"/>
              <a:gd name="T72" fmla="*/ 525 w 1227"/>
              <a:gd name="T73" fmla="*/ 174 h 1776"/>
              <a:gd name="T74" fmla="*/ 351 w 1227"/>
              <a:gd name="T75" fmla="*/ 274 h 1776"/>
              <a:gd name="T76" fmla="*/ 251 w 1227"/>
              <a:gd name="T77" fmla="*/ 425 h 1776"/>
              <a:gd name="T78" fmla="*/ 200 w 1227"/>
              <a:gd name="T79" fmla="*/ 450 h 1776"/>
              <a:gd name="T80" fmla="*/ 125 w 1227"/>
              <a:gd name="T81" fmla="*/ 425 h 1776"/>
              <a:gd name="T82" fmla="*/ 125 w 1227"/>
              <a:gd name="T83" fmla="*/ 374 h 1776"/>
              <a:gd name="T84" fmla="*/ 100 w 1227"/>
              <a:gd name="T85" fmla="*/ 325 h 1776"/>
              <a:gd name="T86" fmla="*/ 25 w 1227"/>
              <a:gd name="T87" fmla="*/ 400 h 1776"/>
              <a:gd name="T88" fmla="*/ 51 w 1227"/>
              <a:gd name="T89" fmla="*/ 525 h 1776"/>
              <a:gd name="T90" fmla="*/ 25 w 1227"/>
              <a:gd name="T91" fmla="*/ 550 h 1776"/>
              <a:gd name="T92" fmla="*/ 125 w 1227"/>
              <a:gd name="T93" fmla="*/ 650 h 1776"/>
              <a:gd name="T94" fmla="*/ 225 w 1227"/>
              <a:gd name="T95" fmla="*/ 775 h 1776"/>
              <a:gd name="T96" fmla="*/ 300 w 1227"/>
              <a:gd name="T97" fmla="*/ 925 h 1776"/>
              <a:gd name="T98" fmla="*/ 451 w 1227"/>
              <a:gd name="T99" fmla="*/ 1200 h 1776"/>
              <a:gd name="T100" fmla="*/ 501 w 1227"/>
              <a:gd name="T101" fmla="*/ 1325 h 1776"/>
              <a:gd name="T102" fmla="*/ 525 w 1227"/>
              <a:gd name="T103" fmla="*/ 1400 h 1776"/>
              <a:gd name="T104" fmla="*/ 676 w 1227"/>
              <a:gd name="T105" fmla="*/ 1500 h 1776"/>
              <a:gd name="T106" fmla="*/ 951 w 1227"/>
              <a:gd name="T107" fmla="*/ 1675 h 1776"/>
              <a:gd name="T108" fmla="*/ 1076 w 1227"/>
              <a:gd name="T109" fmla="*/ 1750 h 1776"/>
              <a:gd name="T110" fmla="*/ 1076 w 1227"/>
              <a:gd name="T111" fmla="*/ 1775 h 1776"/>
              <a:gd name="T112" fmla="*/ 1101 w 1227"/>
              <a:gd name="T113" fmla="*/ 1750 h 1776"/>
              <a:gd name="T114" fmla="*/ 1125 w 1227"/>
              <a:gd name="T115" fmla="*/ 1675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7" h="1776">
                <a:moveTo>
                  <a:pt x="1125" y="1675"/>
                </a:moveTo>
                <a:lnTo>
                  <a:pt x="1125" y="1675"/>
                </a:lnTo>
                <a:lnTo>
                  <a:pt x="1125" y="1675"/>
                </a:lnTo>
                <a:cubicBezTo>
                  <a:pt x="1125" y="1650"/>
                  <a:pt x="1125" y="1650"/>
                  <a:pt x="1151" y="1650"/>
                </a:cubicBezTo>
                <a:cubicBezTo>
                  <a:pt x="1151" y="1625"/>
                  <a:pt x="1201" y="1575"/>
                  <a:pt x="1201" y="1575"/>
                </a:cubicBezTo>
                <a:cubicBezTo>
                  <a:pt x="1201" y="1550"/>
                  <a:pt x="1151" y="1550"/>
                  <a:pt x="1151" y="1525"/>
                </a:cubicBezTo>
                <a:cubicBezTo>
                  <a:pt x="1151" y="1500"/>
                  <a:pt x="1201" y="1450"/>
                  <a:pt x="1176" y="1450"/>
                </a:cubicBezTo>
                <a:cubicBezTo>
                  <a:pt x="1151" y="1425"/>
                  <a:pt x="1201" y="1375"/>
                  <a:pt x="1201" y="1375"/>
                </a:cubicBezTo>
                <a:cubicBezTo>
                  <a:pt x="1201" y="1350"/>
                  <a:pt x="1176" y="1250"/>
                  <a:pt x="1201" y="1225"/>
                </a:cubicBezTo>
                <a:cubicBezTo>
                  <a:pt x="1201" y="1225"/>
                  <a:pt x="1226" y="1200"/>
                  <a:pt x="1226" y="1175"/>
                </a:cubicBezTo>
                <a:cubicBezTo>
                  <a:pt x="1201" y="1150"/>
                  <a:pt x="1176" y="1100"/>
                  <a:pt x="1151" y="1050"/>
                </a:cubicBezTo>
                <a:cubicBezTo>
                  <a:pt x="1125" y="1050"/>
                  <a:pt x="1076" y="1050"/>
                  <a:pt x="1051" y="1050"/>
                </a:cubicBezTo>
                <a:cubicBezTo>
                  <a:pt x="1025" y="1075"/>
                  <a:pt x="1025" y="975"/>
                  <a:pt x="1025" y="925"/>
                </a:cubicBezTo>
                <a:cubicBezTo>
                  <a:pt x="1025" y="900"/>
                  <a:pt x="1001" y="925"/>
                  <a:pt x="1001" y="950"/>
                </a:cubicBezTo>
                <a:cubicBezTo>
                  <a:pt x="976" y="975"/>
                  <a:pt x="951" y="950"/>
                  <a:pt x="901" y="950"/>
                </a:cubicBezTo>
                <a:cubicBezTo>
                  <a:pt x="851" y="950"/>
                  <a:pt x="876" y="900"/>
                  <a:pt x="851" y="900"/>
                </a:cubicBezTo>
                <a:cubicBezTo>
                  <a:pt x="825" y="900"/>
                  <a:pt x="801" y="900"/>
                  <a:pt x="801" y="875"/>
                </a:cubicBezTo>
                <a:cubicBezTo>
                  <a:pt x="801" y="825"/>
                  <a:pt x="776" y="825"/>
                  <a:pt x="751" y="775"/>
                </a:cubicBezTo>
                <a:cubicBezTo>
                  <a:pt x="751" y="750"/>
                  <a:pt x="725" y="725"/>
                  <a:pt x="725" y="700"/>
                </a:cubicBezTo>
                <a:cubicBezTo>
                  <a:pt x="751" y="675"/>
                  <a:pt x="725" y="675"/>
                  <a:pt x="751" y="650"/>
                </a:cubicBezTo>
                <a:cubicBezTo>
                  <a:pt x="776" y="625"/>
                  <a:pt x="801" y="625"/>
                  <a:pt x="801" y="600"/>
                </a:cubicBezTo>
                <a:cubicBezTo>
                  <a:pt x="776" y="550"/>
                  <a:pt x="825" y="550"/>
                  <a:pt x="825" y="500"/>
                </a:cubicBezTo>
                <a:cubicBezTo>
                  <a:pt x="825" y="474"/>
                  <a:pt x="876" y="474"/>
                  <a:pt x="901" y="450"/>
                </a:cubicBezTo>
                <a:cubicBezTo>
                  <a:pt x="951" y="425"/>
                  <a:pt x="976" y="425"/>
                  <a:pt x="1025" y="400"/>
                </a:cubicBezTo>
                <a:cubicBezTo>
                  <a:pt x="1051" y="374"/>
                  <a:pt x="1076" y="400"/>
                  <a:pt x="1101" y="400"/>
                </a:cubicBezTo>
                <a:cubicBezTo>
                  <a:pt x="1076" y="374"/>
                  <a:pt x="1051" y="374"/>
                  <a:pt x="1025" y="350"/>
                </a:cubicBezTo>
                <a:cubicBezTo>
                  <a:pt x="1025" y="325"/>
                  <a:pt x="1076" y="299"/>
                  <a:pt x="1076" y="274"/>
                </a:cubicBezTo>
                <a:cubicBezTo>
                  <a:pt x="1101" y="250"/>
                  <a:pt x="1025" y="225"/>
                  <a:pt x="1025" y="225"/>
                </a:cubicBezTo>
                <a:cubicBezTo>
                  <a:pt x="1001" y="225"/>
                  <a:pt x="976" y="225"/>
                  <a:pt x="951" y="225"/>
                </a:cubicBezTo>
                <a:cubicBezTo>
                  <a:pt x="951" y="225"/>
                  <a:pt x="925" y="225"/>
                  <a:pt x="901" y="225"/>
                </a:cubicBezTo>
                <a:cubicBezTo>
                  <a:pt x="876" y="250"/>
                  <a:pt x="801" y="250"/>
                  <a:pt x="801" y="225"/>
                </a:cubicBezTo>
                <a:cubicBezTo>
                  <a:pt x="801" y="200"/>
                  <a:pt x="751" y="174"/>
                  <a:pt x="751" y="150"/>
                </a:cubicBezTo>
                <a:cubicBezTo>
                  <a:pt x="751" y="150"/>
                  <a:pt x="725" y="100"/>
                  <a:pt x="701" y="100"/>
                </a:cubicBezTo>
                <a:cubicBezTo>
                  <a:pt x="651" y="100"/>
                  <a:pt x="676" y="25"/>
                  <a:pt x="651" y="25"/>
                </a:cubicBezTo>
                <a:cubicBezTo>
                  <a:pt x="625" y="0"/>
                  <a:pt x="601" y="25"/>
                  <a:pt x="551" y="25"/>
                </a:cubicBezTo>
                <a:cubicBezTo>
                  <a:pt x="601" y="50"/>
                  <a:pt x="601" y="74"/>
                  <a:pt x="576" y="100"/>
                </a:cubicBezTo>
                <a:cubicBezTo>
                  <a:pt x="551" y="100"/>
                  <a:pt x="576" y="125"/>
                  <a:pt x="525" y="174"/>
                </a:cubicBezTo>
                <a:cubicBezTo>
                  <a:pt x="476" y="250"/>
                  <a:pt x="401" y="274"/>
                  <a:pt x="351" y="274"/>
                </a:cubicBezTo>
                <a:cubicBezTo>
                  <a:pt x="300" y="299"/>
                  <a:pt x="276" y="374"/>
                  <a:pt x="251" y="425"/>
                </a:cubicBezTo>
                <a:cubicBezTo>
                  <a:pt x="225" y="500"/>
                  <a:pt x="225" y="474"/>
                  <a:pt x="200" y="450"/>
                </a:cubicBezTo>
                <a:cubicBezTo>
                  <a:pt x="176" y="400"/>
                  <a:pt x="151" y="450"/>
                  <a:pt x="125" y="425"/>
                </a:cubicBezTo>
                <a:cubicBezTo>
                  <a:pt x="100" y="400"/>
                  <a:pt x="100" y="400"/>
                  <a:pt x="125" y="374"/>
                </a:cubicBezTo>
                <a:cubicBezTo>
                  <a:pt x="125" y="350"/>
                  <a:pt x="125" y="350"/>
                  <a:pt x="100" y="325"/>
                </a:cubicBezTo>
                <a:cubicBezTo>
                  <a:pt x="76" y="325"/>
                  <a:pt x="51" y="374"/>
                  <a:pt x="25" y="400"/>
                </a:cubicBezTo>
                <a:cubicBezTo>
                  <a:pt x="0" y="450"/>
                  <a:pt x="51" y="500"/>
                  <a:pt x="51" y="525"/>
                </a:cubicBezTo>
                <a:cubicBezTo>
                  <a:pt x="76" y="550"/>
                  <a:pt x="25" y="550"/>
                  <a:pt x="25" y="550"/>
                </a:cubicBezTo>
                <a:cubicBezTo>
                  <a:pt x="25" y="575"/>
                  <a:pt x="100" y="625"/>
                  <a:pt x="125" y="650"/>
                </a:cubicBezTo>
                <a:cubicBezTo>
                  <a:pt x="176" y="675"/>
                  <a:pt x="200" y="750"/>
                  <a:pt x="225" y="775"/>
                </a:cubicBezTo>
                <a:cubicBezTo>
                  <a:pt x="251" y="800"/>
                  <a:pt x="251" y="825"/>
                  <a:pt x="300" y="925"/>
                </a:cubicBezTo>
                <a:cubicBezTo>
                  <a:pt x="325" y="1000"/>
                  <a:pt x="401" y="1125"/>
                  <a:pt x="451" y="1200"/>
                </a:cubicBezTo>
                <a:cubicBezTo>
                  <a:pt x="476" y="1250"/>
                  <a:pt x="501" y="1300"/>
                  <a:pt x="501" y="1325"/>
                </a:cubicBezTo>
                <a:cubicBezTo>
                  <a:pt x="476" y="1325"/>
                  <a:pt x="501" y="1375"/>
                  <a:pt x="525" y="1400"/>
                </a:cubicBezTo>
                <a:cubicBezTo>
                  <a:pt x="576" y="1425"/>
                  <a:pt x="601" y="1450"/>
                  <a:pt x="676" y="1500"/>
                </a:cubicBezTo>
                <a:cubicBezTo>
                  <a:pt x="776" y="1550"/>
                  <a:pt x="925" y="1625"/>
                  <a:pt x="951" y="1675"/>
                </a:cubicBezTo>
                <a:cubicBezTo>
                  <a:pt x="976" y="1699"/>
                  <a:pt x="1051" y="1750"/>
                  <a:pt x="1076" y="1750"/>
                </a:cubicBezTo>
                <a:lnTo>
                  <a:pt x="1076" y="1775"/>
                </a:lnTo>
                <a:cubicBezTo>
                  <a:pt x="1076" y="1775"/>
                  <a:pt x="1076" y="1750"/>
                  <a:pt x="1101" y="1750"/>
                </a:cubicBezTo>
                <a:cubicBezTo>
                  <a:pt x="1125" y="1750"/>
                  <a:pt x="1125" y="1699"/>
                  <a:pt x="1125" y="16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6" name="Freeform 112">
            <a:extLst>
              <a:ext uri="{FF2B5EF4-FFF2-40B4-BE49-F238E27FC236}">
                <a16:creationId xmlns:a16="http://schemas.microsoft.com/office/drawing/2014/main" id="{8EF3E668-6769-8D4D-B9AD-B5DD8CBCDD73}"/>
              </a:ext>
            </a:extLst>
          </p:cNvPr>
          <p:cNvSpPr>
            <a:spLocks noChangeArrowheads="1"/>
          </p:cNvSpPr>
          <p:nvPr/>
        </p:nvSpPr>
        <p:spPr bwMode="auto">
          <a:xfrm>
            <a:off x="3549300" y="4469285"/>
            <a:ext cx="414841" cy="351560"/>
          </a:xfrm>
          <a:custGeom>
            <a:avLst/>
            <a:gdLst>
              <a:gd name="T0" fmla="*/ 125 w 1301"/>
              <a:gd name="T1" fmla="*/ 76 h 1102"/>
              <a:gd name="T2" fmla="*/ 125 w 1301"/>
              <a:gd name="T3" fmla="*/ 76 h 1102"/>
              <a:gd name="T4" fmla="*/ 49 w 1301"/>
              <a:gd name="T5" fmla="*/ 176 h 1102"/>
              <a:gd name="T6" fmla="*/ 25 w 1301"/>
              <a:gd name="T7" fmla="*/ 251 h 1102"/>
              <a:gd name="T8" fmla="*/ 0 w 1301"/>
              <a:gd name="T9" fmla="*/ 276 h 1102"/>
              <a:gd name="T10" fmla="*/ 49 w 1301"/>
              <a:gd name="T11" fmla="*/ 300 h 1102"/>
              <a:gd name="T12" fmla="*/ 100 w 1301"/>
              <a:gd name="T13" fmla="*/ 376 h 1102"/>
              <a:gd name="T14" fmla="*/ 149 w 1301"/>
              <a:gd name="T15" fmla="*/ 501 h 1102"/>
              <a:gd name="T16" fmla="*/ 325 w 1301"/>
              <a:gd name="T17" fmla="*/ 501 h 1102"/>
              <a:gd name="T18" fmla="*/ 450 w 1301"/>
              <a:gd name="T19" fmla="*/ 576 h 1102"/>
              <a:gd name="T20" fmla="*/ 550 w 1301"/>
              <a:gd name="T21" fmla="*/ 601 h 1102"/>
              <a:gd name="T22" fmla="*/ 525 w 1301"/>
              <a:gd name="T23" fmla="*/ 776 h 1102"/>
              <a:gd name="T24" fmla="*/ 575 w 1301"/>
              <a:gd name="T25" fmla="*/ 825 h 1102"/>
              <a:gd name="T26" fmla="*/ 575 w 1301"/>
              <a:gd name="T27" fmla="*/ 901 h 1102"/>
              <a:gd name="T28" fmla="*/ 575 w 1301"/>
              <a:gd name="T29" fmla="*/ 951 h 1102"/>
              <a:gd name="T30" fmla="*/ 575 w 1301"/>
              <a:gd name="T31" fmla="*/ 951 h 1102"/>
              <a:gd name="T32" fmla="*/ 650 w 1301"/>
              <a:gd name="T33" fmla="*/ 1051 h 1102"/>
              <a:gd name="T34" fmla="*/ 700 w 1301"/>
              <a:gd name="T35" fmla="*/ 1076 h 1102"/>
              <a:gd name="T36" fmla="*/ 750 w 1301"/>
              <a:gd name="T37" fmla="*/ 1076 h 1102"/>
              <a:gd name="T38" fmla="*/ 825 w 1301"/>
              <a:gd name="T39" fmla="*/ 1025 h 1102"/>
              <a:gd name="T40" fmla="*/ 875 w 1301"/>
              <a:gd name="T41" fmla="*/ 1001 h 1102"/>
              <a:gd name="T42" fmla="*/ 925 w 1301"/>
              <a:gd name="T43" fmla="*/ 951 h 1102"/>
              <a:gd name="T44" fmla="*/ 950 w 1301"/>
              <a:gd name="T45" fmla="*/ 925 h 1102"/>
              <a:gd name="T46" fmla="*/ 900 w 1301"/>
              <a:gd name="T47" fmla="*/ 901 h 1102"/>
              <a:gd name="T48" fmla="*/ 875 w 1301"/>
              <a:gd name="T49" fmla="*/ 851 h 1102"/>
              <a:gd name="T50" fmla="*/ 825 w 1301"/>
              <a:gd name="T51" fmla="*/ 776 h 1102"/>
              <a:gd name="T52" fmla="*/ 900 w 1301"/>
              <a:gd name="T53" fmla="*/ 776 h 1102"/>
              <a:gd name="T54" fmla="*/ 975 w 1301"/>
              <a:gd name="T55" fmla="*/ 801 h 1102"/>
              <a:gd name="T56" fmla="*/ 1025 w 1301"/>
              <a:gd name="T57" fmla="*/ 801 h 1102"/>
              <a:gd name="T58" fmla="*/ 1075 w 1301"/>
              <a:gd name="T59" fmla="*/ 751 h 1102"/>
              <a:gd name="T60" fmla="*/ 1200 w 1301"/>
              <a:gd name="T61" fmla="*/ 725 h 1102"/>
              <a:gd name="T62" fmla="*/ 1225 w 1301"/>
              <a:gd name="T63" fmla="*/ 676 h 1102"/>
              <a:gd name="T64" fmla="*/ 1150 w 1301"/>
              <a:gd name="T65" fmla="*/ 601 h 1102"/>
              <a:gd name="T66" fmla="*/ 1175 w 1301"/>
              <a:gd name="T67" fmla="*/ 551 h 1102"/>
              <a:gd name="T68" fmla="*/ 1200 w 1301"/>
              <a:gd name="T69" fmla="*/ 501 h 1102"/>
              <a:gd name="T70" fmla="*/ 1225 w 1301"/>
              <a:gd name="T71" fmla="*/ 451 h 1102"/>
              <a:gd name="T72" fmla="*/ 1250 w 1301"/>
              <a:gd name="T73" fmla="*/ 400 h 1102"/>
              <a:gd name="T74" fmla="*/ 1300 w 1301"/>
              <a:gd name="T75" fmla="*/ 351 h 1102"/>
              <a:gd name="T76" fmla="*/ 1150 w 1301"/>
              <a:gd name="T77" fmla="*/ 325 h 1102"/>
              <a:gd name="T78" fmla="*/ 1175 w 1301"/>
              <a:gd name="T79" fmla="*/ 251 h 1102"/>
              <a:gd name="T80" fmla="*/ 1050 w 1301"/>
              <a:gd name="T81" fmla="*/ 200 h 1102"/>
              <a:gd name="T82" fmla="*/ 1050 w 1301"/>
              <a:gd name="T83" fmla="*/ 150 h 1102"/>
              <a:gd name="T84" fmla="*/ 975 w 1301"/>
              <a:gd name="T85" fmla="*/ 125 h 1102"/>
              <a:gd name="T86" fmla="*/ 800 w 1301"/>
              <a:gd name="T87" fmla="*/ 200 h 1102"/>
              <a:gd name="T88" fmla="*/ 625 w 1301"/>
              <a:gd name="T89" fmla="*/ 150 h 1102"/>
              <a:gd name="T90" fmla="*/ 500 w 1301"/>
              <a:gd name="T91" fmla="*/ 125 h 1102"/>
              <a:gd name="T92" fmla="*/ 425 w 1301"/>
              <a:gd name="T93" fmla="*/ 50 h 1102"/>
              <a:gd name="T94" fmla="*/ 349 w 1301"/>
              <a:gd name="T95" fmla="*/ 0 h 1102"/>
              <a:gd name="T96" fmla="*/ 325 w 1301"/>
              <a:gd name="T97" fmla="*/ 50 h 1102"/>
              <a:gd name="T98" fmla="*/ 200 w 1301"/>
              <a:gd name="T99" fmla="*/ 125 h 1102"/>
              <a:gd name="T100" fmla="*/ 225 w 1301"/>
              <a:gd name="T101" fmla="*/ 276 h 1102"/>
              <a:gd name="T102" fmla="*/ 125 w 1301"/>
              <a:gd name="T103" fmla="*/ 225 h 1102"/>
              <a:gd name="T104" fmla="*/ 149 w 1301"/>
              <a:gd name="T105" fmla="*/ 125 h 1102"/>
              <a:gd name="T106" fmla="*/ 149 w 1301"/>
              <a:gd name="T107" fmla="*/ 50 h 1102"/>
              <a:gd name="T108" fmla="*/ 125 w 1301"/>
              <a:gd name="T109" fmla="*/ 76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1" h="1102">
                <a:moveTo>
                  <a:pt x="125" y="76"/>
                </a:moveTo>
                <a:lnTo>
                  <a:pt x="125" y="76"/>
                </a:lnTo>
                <a:cubicBezTo>
                  <a:pt x="100" y="100"/>
                  <a:pt x="49" y="125"/>
                  <a:pt x="49" y="176"/>
                </a:cubicBezTo>
                <a:cubicBezTo>
                  <a:pt x="25" y="200"/>
                  <a:pt x="49" y="225"/>
                  <a:pt x="25" y="251"/>
                </a:cubicBezTo>
                <a:cubicBezTo>
                  <a:pt x="0" y="251"/>
                  <a:pt x="0" y="276"/>
                  <a:pt x="0" y="276"/>
                </a:cubicBezTo>
                <a:cubicBezTo>
                  <a:pt x="25" y="276"/>
                  <a:pt x="49" y="276"/>
                  <a:pt x="49" y="300"/>
                </a:cubicBezTo>
                <a:cubicBezTo>
                  <a:pt x="49" y="325"/>
                  <a:pt x="100" y="325"/>
                  <a:pt x="100" y="376"/>
                </a:cubicBezTo>
                <a:cubicBezTo>
                  <a:pt x="100" y="400"/>
                  <a:pt x="75" y="501"/>
                  <a:pt x="149" y="501"/>
                </a:cubicBezTo>
                <a:cubicBezTo>
                  <a:pt x="225" y="501"/>
                  <a:pt x="275" y="451"/>
                  <a:pt x="325" y="501"/>
                </a:cubicBezTo>
                <a:cubicBezTo>
                  <a:pt x="349" y="551"/>
                  <a:pt x="400" y="576"/>
                  <a:pt x="450" y="576"/>
                </a:cubicBezTo>
                <a:cubicBezTo>
                  <a:pt x="500" y="551"/>
                  <a:pt x="575" y="551"/>
                  <a:pt x="550" y="601"/>
                </a:cubicBezTo>
                <a:cubicBezTo>
                  <a:pt x="525" y="651"/>
                  <a:pt x="500" y="725"/>
                  <a:pt x="525" y="776"/>
                </a:cubicBezTo>
                <a:cubicBezTo>
                  <a:pt x="550" y="801"/>
                  <a:pt x="600" y="825"/>
                  <a:pt x="575" y="825"/>
                </a:cubicBezTo>
                <a:cubicBezTo>
                  <a:pt x="550" y="851"/>
                  <a:pt x="550" y="876"/>
                  <a:pt x="575" y="901"/>
                </a:cubicBezTo>
                <a:cubicBezTo>
                  <a:pt x="600" y="925"/>
                  <a:pt x="575" y="951"/>
                  <a:pt x="575" y="951"/>
                </a:cubicBezTo>
                <a:lnTo>
                  <a:pt x="575" y="951"/>
                </a:lnTo>
                <a:cubicBezTo>
                  <a:pt x="600" y="1001"/>
                  <a:pt x="625" y="1051"/>
                  <a:pt x="650" y="1051"/>
                </a:cubicBezTo>
                <a:cubicBezTo>
                  <a:pt x="675" y="1076"/>
                  <a:pt x="675" y="1101"/>
                  <a:pt x="700" y="1076"/>
                </a:cubicBezTo>
                <a:cubicBezTo>
                  <a:pt x="725" y="1076"/>
                  <a:pt x="725" y="1051"/>
                  <a:pt x="750" y="1076"/>
                </a:cubicBezTo>
                <a:cubicBezTo>
                  <a:pt x="775" y="1076"/>
                  <a:pt x="800" y="1051"/>
                  <a:pt x="825" y="1025"/>
                </a:cubicBezTo>
                <a:cubicBezTo>
                  <a:pt x="850" y="1025"/>
                  <a:pt x="875" y="1025"/>
                  <a:pt x="875" y="1001"/>
                </a:cubicBezTo>
                <a:cubicBezTo>
                  <a:pt x="875" y="976"/>
                  <a:pt x="900" y="951"/>
                  <a:pt x="925" y="951"/>
                </a:cubicBezTo>
                <a:cubicBezTo>
                  <a:pt x="975" y="951"/>
                  <a:pt x="975" y="925"/>
                  <a:pt x="950" y="925"/>
                </a:cubicBezTo>
                <a:cubicBezTo>
                  <a:pt x="925" y="925"/>
                  <a:pt x="900" y="951"/>
                  <a:pt x="900" y="901"/>
                </a:cubicBezTo>
                <a:cubicBezTo>
                  <a:pt x="900" y="876"/>
                  <a:pt x="875" y="876"/>
                  <a:pt x="875" y="851"/>
                </a:cubicBezTo>
                <a:cubicBezTo>
                  <a:pt x="875" y="825"/>
                  <a:pt x="875" y="801"/>
                  <a:pt x="825" y="776"/>
                </a:cubicBezTo>
                <a:cubicBezTo>
                  <a:pt x="800" y="751"/>
                  <a:pt x="875" y="751"/>
                  <a:pt x="900" y="776"/>
                </a:cubicBezTo>
                <a:cubicBezTo>
                  <a:pt x="900" y="776"/>
                  <a:pt x="975" y="776"/>
                  <a:pt x="975" y="801"/>
                </a:cubicBezTo>
                <a:cubicBezTo>
                  <a:pt x="975" y="825"/>
                  <a:pt x="1025" y="825"/>
                  <a:pt x="1025" y="801"/>
                </a:cubicBezTo>
                <a:cubicBezTo>
                  <a:pt x="1025" y="776"/>
                  <a:pt x="1050" y="751"/>
                  <a:pt x="1075" y="751"/>
                </a:cubicBezTo>
                <a:cubicBezTo>
                  <a:pt x="1100" y="776"/>
                  <a:pt x="1175" y="725"/>
                  <a:pt x="1200" y="725"/>
                </a:cubicBezTo>
                <a:cubicBezTo>
                  <a:pt x="1200" y="701"/>
                  <a:pt x="1200" y="701"/>
                  <a:pt x="1225" y="676"/>
                </a:cubicBezTo>
                <a:cubicBezTo>
                  <a:pt x="1200" y="651"/>
                  <a:pt x="1175" y="625"/>
                  <a:pt x="1150" y="601"/>
                </a:cubicBezTo>
                <a:cubicBezTo>
                  <a:pt x="1150" y="576"/>
                  <a:pt x="1175" y="576"/>
                  <a:pt x="1175" y="551"/>
                </a:cubicBezTo>
                <a:cubicBezTo>
                  <a:pt x="1175" y="525"/>
                  <a:pt x="1175" y="525"/>
                  <a:pt x="1200" y="501"/>
                </a:cubicBezTo>
                <a:cubicBezTo>
                  <a:pt x="1250" y="501"/>
                  <a:pt x="1250" y="476"/>
                  <a:pt x="1225" y="451"/>
                </a:cubicBezTo>
                <a:cubicBezTo>
                  <a:pt x="1200" y="451"/>
                  <a:pt x="1225" y="400"/>
                  <a:pt x="1250" y="400"/>
                </a:cubicBezTo>
                <a:cubicBezTo>
                  <a:pt x="1275" y="400"/>
                  <a:pt x="1275" y="376"/>
                  <a:pt x="1300" y="351"/>
                </a:cubicBezTo>
                <a:cubicBezTo>
                  <a:pt x="1250" y="325"/>
                  <a:pt x="1175" y="325"/>
                  <a:pt x="1150" y="325"/>
                </a:cubicBezTo>
                <a:cubicBezTo>
                  <a:pt x="1125" y="351"/>
                  <a:pt x="1175" y="300"/>
                  <a:pt x="1175" y="251"/>
                </a:cubicBezTo>
                <a:cubicBezTo>
                  <a:pt x="1175" y="225"/>
                  <a:pt x="1075" y="225"/>
                  <a:pt x="1050" y="200"/>
                </a:cubicBezTo>
                <a:cubicBezTo>
                  <a:pt x="1000" y="200"/>
                  <a:pt x="1025" y="150"/>
                  <a:pt x="1050" y="150"/>
                </a:cubicBezTo>
                <a:cubicBezTo>
                  <a:pt x="1100" y="150"/>
                  <a:pt x="1025" y="125"/>
                  <a:pt x="975" y="125"/>
                </a:cubicBezTo>
                <a:cubicBezTo>
                  <a:pt x="925" y="150"/>
                  <a:pt x="850" y="176"/>
                  <a:pt x="800" y="200"/>
                </a:cubicBezTo>
                <a:cubicBezTo>
                  <a:pt x="750" y="225"/>
                  <a:pt x="675" y="125"/>
                  <a:pt x="625" y="150"/>
                </a:cubicBezTo>
                <a:cubicBezTo>
                  <a:pt x="575" y="176"/>
                  <a:pt x="500" y="176"/>
                  <a:pt x="500" y="125"/>
                </a:cubicBezTo>
                <a:cubicBezTo>
                  <a:pt x="500" y="76"/>
                  <a:pt x="475" y="50"/>
                  <a:pt x="425" y="50"/>
                </a:cubicBezTo>
                <a:cubicBezTo>
                  <a:pt x="375" y="50"/>
                  <a:pt x="375" y="0"/>
                  <a:pt x="349" y="0"/>
                </a:cubicBezTo>
                <a:cubicBezTo>
                  <a:pt x="300" y="0"/>
                  <a:pt x="349" y="50"/>
                  <a:pt x="325" y="50"/>
                </a:cubicBezTo>
                <a:cubicBezTo>
                  <a:pt x="300" y="76"/>
                  <a:pt x="200" y="100"/>
                  <a:pt x="200" y="125"/>
                </a:cubicBezTo>
                <a:cubicBezTo>
                  <a:pt x="175" y="176"/>
                  <a:pt x="249" y="225"/>
                  <a:pt x="225" y="276"/>
                </a:cubicBezTo>
                <a:cubicBezTo>
                  <a:pt x="200" y="300"/>
                  <a:pt x="149" y="276"/>
                  <a:pt x="125" y="225"/>
                </a:cubicBezTo>
                <a:cubicBezTo>
                  <a:pt x="100" y="200"/>
                  <a:pt x="175" y="125"/>
                  <a:pt x="149" y="125"/>
                </a:cubicBezTo>
                <a:cubicBezTo>
                  <a:pt x="149" y="100"/>
                  <a:pt x="149" y="76"/>
                  <a:pt x="149" y="50"/>
                </a:cubicBezTo>
                <a:cubicBezTo>
                  <a:pt x="149" y="50"/>
                  <a:pt x="125" y="50"/>
                  <a:pt x="125" y="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7" name="Freeform 113">
            <a:extLst>
              <a:ext uri="{FF2B5EF4-FFF2-40B4-BE49-F238E27FC236}">
                <a16:creationId xmlns:a16="http://schemas.microsoft.com/office/drawing/2014/main" id="{6D4F26F4-D2C9-BA4D-BC9E-1ACF1CEDBF45}"/>
              </a:ext>
            </a:extLst>
          </p:cNvPr>
          <p:cNvSpPr>
            <a:spLocks noChangeArrowheads="1"/>
          </p:cNvSpPr>
          <p:nvPr/>
        </p:nvSpPr>
        <p:spPr bwMode="auto">
          <a:xfrm>
            <a:off x="4011952" y="4645064"/>
            <a:ext cx="127968" cy="136405"/>
          </a:xfrm>
          <a:custGeom>
            <a:avLst/>
            <a:gdLst>
              <a:gd name="T0" fmla="*/ 100 w 401"/>
              <a:gd name="T1" fmla="*/ 100 h 426"/>
              <a:gd name="T2" fmla="*/ 100 w 401"/>
              <a:gd name="T3" fmla="*/ 100 h 426"/>
              <a:gd name="T4" fmla="*/ 50 w 401"/>
              <a:gd name="T5" fmla="*/ 150 h 426"/>
              <a:gd name="T6" fmla="*/ 25 w 401"/>
              <a:gd name="T7" fmla="*/ 225 h 426"/>
              <a:gd name="T8" fmla="*/ 100 w 401"/>
              <a:gd name="T9" fmla="*/ 325 h 426"/>
              <a:gd name="T10" fmla="*/ 150 w 401"/>
              <a:gd name="T11" fmla="*/ 425 h 426"/>
              <a:gd name="T12" fmla="*/ 200 w 401"/>
              <a:gd name="T13" fmla="*/ 425 h 426"/>
              <a:gd name="T14" fmla="*/ 225 w 401"/>
              <a:gd name="T15" fmla="*/ 374 h 426"/>
              <a:gd name="T16" fmla="*/ 350 w 401"/>
              <a:gd name="T17" fmla="*/ 374 h 426"/>
              <a:gd name="T18" fmla="*/ 350 w 401"/>
              <a:gd name="T19" fmla="*/ 374 h 426"/>
              <a:gd name="T20" fmla="*/ 375 w 401"/>
              <a:gd name="T21" fmla="*/ 325 h 426"/>
              <a:gd name="T22" fmla="*/ 375 w 401"/>
              <a:gd name="T23" fmla="*/ 200 h 426"/>
              <a:gd name="T24" fmla="*/ 375 w 401"/>
              <a:gd name="T25" fmla="*/ 100 h 426"/>
              <a:gd name="T26" fmla="*/ 400 w 401"/>
              <a:gd name="T27" fmla="*/ 50 h 426"/>
              <a:gd name="T28" fmla="*/ 300 w 401"/>
              <a:gd name="T29" fmla="*/ 25 h 426"/>
              <a:gd name="T30" fmla="*/ 175 w 401"/>
              <a:gd name="T31" fmla="*/ 25 h 426"/>
              <a:gd name="T32" fmla="*/ 125 w 401"/>
              <a:gd name="T33" fmla="*/ 25 h 426"/>
              <a:gd name="T34" fmla="*/ 100 w 401"/>
              <a:gd name="T35" fmla="*/ 25 h 426"/>
              <a:gd name="T36" fmla="*/ 100 w 401"/>
              <a:gd name="T37" fmla="*/ 10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26">
                <a:moveTo>
                  <a:pt x="100" y="100"/>
                </a:moveTo>
                <a:lnTo>
                  <a:pt x="100" y="100"/>
                </a:lnTo>
                <a:cubicBezTo>
                  <a:pt x="100" y="125"/>
                  <a:pt x="75" y="125"/>
                  <a:pt x="50" y="150"/>
                </a:cubicBezTo>
                <a:cubicBezTo>
                  <a:pt x="25" y="150"/>
                  <a:pt x="25" y="200"/>
                  <a:pt x="25" y="225"/>
                </a:cubicBezTo>
                <a:cubicBezTo>
                  <a:pt x="0" y="225"/>
                  <a:pt x="75" y="274"/>
                  <a:pt x="100" y="325"/>
                </a:cubicBezTo>
                <a:cubicBezTo>
                  <a:pt x="100" y="350"/>
                  <a:pt x="125" y="374"/>
                  <a:pt x="150" y="425"/>
                </a:cubicBezTo>
                <a:cubicBezTo>
                  <a:pt x="175" y="425"/>
                  <a:pt x="175" y="425"/>
                  <a:pt x="200" y="425"/>
                </a:cubicBezTo>
                <a:cubicBezTo>
                  <a:pt x="225" y="400"/>
                  <a:pt x="200" y="374"/>
                  <a:pt x="225" y="374"/>
                </a:cubicBezTo>
                <a:cubicBezTo>
                  <a:pt x="275" y="374"/>
                  <a:pt x="325" y="350"/>
                  <a:pt x="350" y="374"/>
                </a:cubicBezTo>
                <a:lnTo>
                  <a:pt x="350" y="374"/>
                </a:lnTo>
                <a:cubicBezTo>
                  <a:pt x="350" y="374"/>
                  <a:pt x="375" y="350"/>
                  <a:pt x="375" y="325"/>
                </a:cubicBezTo>
                <a:cubicBezTo>
                  <a:pt x="375" y="325"/>
                  <a:pt x="375" y="250"/>
                  <a:pt x="375" y="200"/>
                </a:cubicBezTo>
                <a:cubicBezTo>
                  <a:pt x="350" y="174"/>
                  <a:pt x="375" y="125"/>
                  <a:pt x="375" y="100"/>
                </a:cubicBezTo>
                <a:cubicBezTo>
                  <a:pt x="375" y="100"/>
                  <a:pt x="400" y="74"/>
                  <a:pt x="400" y="50"/>
                </a:cubicBezTo>
                <a:cubicBezTo>
                  <a:pt x="375" y="50"/>
                  <a:pt x="325" y="25"/>
                  <a:pt x="300" y="25"/>
                </a:cubicBezTo>
                <a:cubicBezTo>
                  <a:pt x="250" y="50"/>
                  <a:pt x="200" y="50"/>
                  <a:pt x="175" y="25"/>
                </a:cubicBezTo>
                <a:cubicBezTo>
                  <a:pt x="175" y="0"/>
                  <a:pt x="150" y="0"/>
                  <a:pt x="125" y="25"/>
                </a:cubicBezTo>
                <a:lnTo>
                  <a:pt x="100" y="25"/>
                </a:lnTo>
                <a:cubicBezTo>
                  <a:pt x="100" y="50"/>
                  <a:pt x="100" y="74"/>
                  <a:pt x="100"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8" name="Freeform 114">
            <a:extLst>
              <a:ext uri="{FF2B5EF4-FFF2-40B4-BE49-F238E27FC236}">
                <a16:creationId xmlns:a16="http://schemas.microsoft.com/office/drawing/2014/main" id="{1E828D64-25C8-FC47-A364-4DA682440697}"/>
              </a:ext>
            </a:extLst>
          </p:cNvPr>
          <p:cNvSpPr>
            <a:spLocks noChangeArrowheads="1"/>
          </p:cNvSpPr>
          <p:nvPr/>
        </p:nvSpPr>
        <p:spPr bwMode="auto">
          <a:xfrm>
            <a:off x="3916327" y="4581784"/>
            <a:ext cx="143436" cy="223592"/>
          </a:xfrm>
          <a:custGeom>
            <a:avLst/>
            <a:gdLst>
              <a:gd name="T0" fmla="*/ 100 w 451"/>
              <a:gd name="T1" fmla="*/ 49 h 701"/>
              <a:gd name="T2" fmla="*/ 100 w 451"/>
              <a:gd name="T3" fmla="*/ 49 h 701"/>
              <a:gd name="T4" fmla="*/ 75 w 451"/>
              <a:gd name="T5" fmla="*/ 100 h 701"/>
              <a:gd name="T6" fmla="*/ 50 w 451"/>
              <a:gd name="T7" fmla="*/ 150 h 701"/>
              <a:gd name="T8" fmla="*/ 25 w 451"/>
              <a:gd name="T9" fmla="*/ 200 h 701"/>
              <a:gd name="T10" fmla="*/ 0 w 451"/>
              <a:gd name="T11" fmla="*/ 250 h 701"/>
              <a:gd name="T12" fmla="*/ 75 w 451"/>
              <a:gd name="T13" fmla="*/ 325 h 701"/>
              <a:gd name="T14" fmla="*/ 100 w 451"/>
              <a:gd name="T15" fmla="*/ 300 h 701"/>
              <a:gd name="T16" fmla="*/ 150 w 451"/>
              <a:gd name="T17" fmla="*/ 400 h 701"/>
              <a:gd name="T18" fmla="*/ 150 w 451"/>
              <a:gd name="T19" fmla="*/ 474 h 701"/>
              <a:gd name="T20" fmla="*/ 175 w 451"/>
              <a:gd name="T21" fmla="*/ 625 h 701"/>
              <a:gd name="T22" fmla="*/ 275 w 451"/>
              <a:gd name="T23" fmla="*/ 674 h 701"/>
              <a:gd name="T24" fmla="*/ 325 w 451"/>
              <a:gd name="T25" fmla="*/ 650 h 701"/>
              <a:gd name="T26" fmla="*/ 375 w 451"/>
              <a:gd name="T27" fmla="*/ 625 h 701"/>
              <a:gd name="T28" fmla="*/ 450 w 451"/>
              <a:gd name="T29" fmla="*/ 625 h 701"/>
              <a:gd name="T30" fmla="*/ 400 w 451"/>
              <a:gd name="T31" fmla="*/ 525 h 701"/>
              <a:gd name="T32" fmla="*/ 325 w 451"/>
              <a:gd name="T33" fmla="*/ 425 h 701"/>
              <a:gd name="T34" fmla="*/ 350 w 451"/>
              <a:gd name="T35" fmla="*/ 350 h 701"/>
              <a:gd name="T36" fmla="*/ 400 w 451"/>
              <a:gd name="T37" fmla="*/ 300 h 701"/>
              <a:gd name="T38" fmla="*/ 400 w 451"/>
              <a:gd name="T39" fmla="*/ 225 h 701"/>
              <a:gd name="T40" fmla="*/ 325 w 451"/>
              <a:gd name="T41" fmla="*/ 150 h 701"/>
              <a:gd name="T42" fmla="*/ 275 w 451"/>
              <a:gd name="T43" fmla="*/ 100 h 701"/>
              <a:gd name="T44" fmla="*/ 175 w 451"/>
              <a:gd name="T45" fmla="*/ 25 h 701"/>
              <a:gd name="T46" fmla="*/ 150 w 451"/>
              <a:gd name="T47" fmla="*/ 0 h 701"/>
              <a:gd name="T48" fmla="*/ 100 w 451"/>
              <a:gd name="T49" fmla="*/ 4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1" h="701">
                <a:moveTo>
                  <a:pt x="100" y="49"/>
                </a:moveTo>
                <a:lnTo>
                  <a:pt x="100" y="49"/>
                </a:lnTo>
                <a:cubicBezTo>
                  <a:pt x="75" y="49"/>
                  <a:pt x="50" y="100"/>
                  <a:pt x="75" y="100"/>
                </a:cubicBezTo>
                <a:cubicBezTo>
                  <a:pt x="100" y="125"/>
                  <a:pt x="100" y="150"/>
                  <a:pt x="50" y="150"/>
                </a:cubicBezTo>
                <a:cubicBezTo>
                  <a:pt x="25" y="174"/>
                  <a:pt x="25" y="174"/>
                  <a:pt x="25" y="200"/>
                </a:cubicBezTo>
                <a:cubicBezTo>
                  <a:pt x="25" y="225"/>
                  <a:pt x="0" y="225"/>
                  <a:pt x="0" y="250"/>
                </a:cubicBezTo>
                <a:cubicBezTo>
                  <a:pt x="25" y="274"/>
                  <a:pt x="50" y="300"/>
                  <a:pt x="75" y="325"/>
                </a:cubicBezTo>
                <a:cubicBezTo>
                  <a:pt x="75" y="325"/>
                  <a:pt x="75" y="300"/>
                  <a:pt x="100" y="300"/>
                </a:cubicBezTo>
                <a:cubicBezTo>
                  <a:pt x="150" y="325"/>
                  <a:pt x="100" y="374"/>
                  <a:pt x="150" y="400"/>
                </a:cubicBezTo>
                <a:cubicBezTo>
                  <a:pt x="175" y="400"/>
                  <a:pt x="175" y="450"/>
                  <a:pt x="150" y="474"/>
                </a:cubicBezTo>
                <a:cubicBezTo>
                  <a:pt x="125" y="474"/>
                  <a:pt x="125" y="574"/>
                  <a:pt x="175" y="625"/>
                </a:cubicBezTo>
                <a:cubicBezTo>
                  <a:pt x="225" y="700"/>
                  <a:pt x="250" y="674"/>
                  <a:pt x="275" y="674"/>
                </a:cubicBezTo>
                <a:cubicBezTo>
                  <a:pt x="275" y="650"/>
                  <a:pt x="325" y="674"/>
                  <a:pt x="325" y="650"/>
                </a:cubicBezTo>
                <a:cubicBezTo>
                  <a:pt x="350" y="625"/>
                  <a:pt x="350" y="650"/>
                  <a:pt x="375" y="625"/>
                </a:cubicBezTo>
                <a:cubicBezTo>
                  <a:pt x="400" y="600"/>
                  <a:pt x="425" y="625"/>
                  <a:pt x="450" y="625"/>
                </a:cubicBezTo>
                <a:cubicBezTo>
                  <a:pt x="425" y="574"/>
                  <a:pt x="400" y="550"/>
                  <a:pt x="400" y="525"/>
                </a:cubicBezTo>
                <a:cubicBezTo>
                  <a:pt x="375" y="474"/>
                  <a:pt x="300" y="425"/>
                  <a:pt x="325" y="425"/>
                </a:cubicBezTo>
                <a:cubicBezTo>
                  <a:pt x="325" y="400"/>
                  <a:pt x="325" y="350"/>
                  <a:pt x="350" y="350"/>
                </a:cubicBezTo>
                <a:cubicBezTo>
                  <a:pt x="375" y="325"/>
                  <a:pt x="400" y="325"/>
                  <a:pt x="400" y="300"/>
                </a:cubicBezTo>
                <a:cubicBezTo>
                  <a:pt x="400" y="274"/>
                  <a:pt x="400" y="250"/>
                  <a:pt x="400" y="225"/>
                </a:cubicBezTo>
                <a:cubicBezTo>
                  <a:pt x="375" y="225"/>
                  <a:pt x="350" y="150"/>
                  <a:pt x="325" y="150"/>
                </a:cubicBezTo>
                <a:cubicBezTo>
                  <a:pt x="300" y="150"/>
                  <a:pt x="275" y="125"/>
                  <a:pt x="275" y="100"/>
                </a:cubicBezTo>
                <a:cubicBezTo>
                  <a:pt x="275" y="74"/>
                  <a:pt x="225" y="49"/>
                  <a:pt x="175" y="25"/>
                </a:cubicBezTo>
                <a:cubicBezTo>
                  <a:pt x="175" y="0"/>
                  <a:pt x="150" y="0"/>
                  <a:pt x="150" y="0"/>
                </a:cubicBezTo>
                <a:cubicBezTo>
                  <a:pt x="125" y="25"/>
                  <a:pt x="125" y="49"/>
                  <a:pt x="100"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89" name="Freeform 115">
            <a:extLst>
              <a:ext uri="{FF2B5EF4-FFF2-40B4-BE49-F238E27FC236}">
                <a16:creationId xmlns:a16="http://schemas.microsoft.com/office/drawing/2014/main" id="{0BB270EF-5043-F141-A5EF-68AB278DDB58}"/>
              </a:ext>
            </a:extLst>
          </p:cNvPr>
          <p:cNvSpPr>
            <a:spLocks noChangeArrowheads="1"/>
          </p:cNvSpPr>
          <p:nvPr/>
        </p:nvSpPr>
        <p:spPr bwMode="auto">
          <a:xfrm>
            <a:off x="4123044" y="4661941"/>
            <a:ext cx="95624" cy="119531"/>
          </a:xfrm>
          <a:custGeom>
            <a:avLst/>
            <a:gdLst>
              <a:gd name="T0" fmla="*/ 25 w 301"/>
              <a:gd name="T1" fmla="*/ 150 h 376"/>
              <a:gd name="T2" fmla="*/ 25 w 301"/>
              <a:gd name="T3" fmla="*/ 150 h 376"/>
              <a:gd name="T4" fmla="*/ 25 w 301"/>
              <a:gd name="T5" fmla="*/ 275 h 376"/>
              <a:gd name="T6" fmla="*/ 0 w 301"/>
              <a:gd name="T7" fmla="*/ 324 h 376"/>
              <a:gd name="T8" fmla="*/ 75 w 301"/>
              <a:gd name="T9" fmla="*/ 350 h 376"/>
              <a:gd name="T10" fmla="*/ 175 w 301"/>
              <a:gd name="T11" fmla="*/ 300 h 376"/>
              <a:gd name="T12" fmla="*/ 300 w 301"/>
              <a:gd name="T13" fmla="*/ 150 h 376"/>
              <a:gd name="T14" fmla="*/ 300 w 301"/>
              <a:gd name="T15" fmla="*/ 150 h 376"/>
              <a:gd name="T16" fmla="*/ 125 w 301"/>
              <a:gd name="T17" fmla="*/ 24 h 376"/>
              <a:gd name="T18" fmla="*/ 50 w 301"/>
              <a:gd name="T19" fmla="*/ 0 h 376"/>
              <a:gd name="T20" fmla="*/ 25 w 301"/>
              <a:gd name="T21" fmla="*/ 50 h 376"/>
              <a:gd name="T22" fmla="*/ 25 w 301"/>
              <a:gd name="T23" fmla="*/ 1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376">
                <a:moveTo>
                  <a:pt x="25" y="150"/>
                </a:moveTo>
                <a:lnTo>
                  <a:pt x="25" y="150"/>
                </a:lnTo>
                <a:cubicBezTo>
                  <a:pt x="25" y="200"/>
                  <a:pt x="25" y="275"/>
                  <a:pt x="25" y="275"/>
                </a:cubicBezTo>
                <a:cubicBezTo>
                  <a:pt x="25" y="300"/>
                  <a:pt x="0" y="324"/>
                  <a:pt x="0" y="324"/>
                </a:cubicBezTo>
                <a:cubicBezTo>
                  <a:pt x="25" y="350"/>
                  <a:pt x="50" y="350"/>
                  <a:pt x="75" y="350"/>
                </a:cubicBezTo>
                <a:cubicBezTo>
                  <a:pt x="125" y="324"/>
                  <a:pt x="150" y="375"/>
                  <a:pt x="175" y="300"/>
                </a:cubicBezTo>
                <a:cubicBezTo>
                  <a:pt x="200" y="250"/>
                  <a:pt x="250" y="200"/>
                  <a:pt x="300" y="150"/>
                </a:cubicBezTo>
                <a:lnTo>
                  <a:pt x="300" y="150"/>
                </a:lnTo>
                <a:cubicBezTo>
                  <a:pt x="250" y="150"/>
                  <a:pt x="200" y="50"/>
                  <a:pt x="125" y="24"/>
                </a:cubicBezTo>
                <a:cubicBezTo>
                  <a:pt x="100" y="24"/>
                  <a:pt x="75" y="24"/>
                  <a:pt x="50" y="0"/>
                </a:cubicBezTo>
                <a:cubicBezTo>
                  <a:pt x="50" y="24"/>
                  <a:pt x="25" y="50"/>
                  <a:pt x="25" y="50"/>
                </a:cubicBezTo>
                <a:cubicBezTo>
                  <a:pt x="25" y="75"/>
                  <a:pt x="0" y="124"/>
                  <a:pt x="2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0" name="Freeform 116">
            <a:extLst>
              <a:ext uri="{FF2B5EF4-FFF2-40B4-BE49-F238E27FC236}">
                <a16:creationId xmlns:a16="http://schemas.microsoft.com/office/drawing/2014/main" id="{5CFB3199-942C-C948-BB5B-9D3EA739AFD4}"/>
              </a:ext>
            </a:extLst>
          </p:cNvPr>
          <p:cNvSpPr>
            <a:spLocks noChangeArrowheads="1"/>
          </p:cNvSpPr>
          <p:nvPr/>
        </p:nvSpPr>
        <p:spPr bwMode="auto">
          <a:xfrm>
            <a:off x="3206177" y="4110693"/>
            <a:ext cx="319217" cy="119531"/>
          </a:xfrm>
          <a:custGeom>
            <a:avLst/>
            <a:gdLst>
              <a:gd name="T0" fmla="*/ 801 w 1002"/>
              <a:gd name="T1" fmla="*/ 225 h 377"/>
              <a:gd name="T2" fmla="*/ 801 w 1002"/>
              <a:gd name="T3" fmla="*/ 225 h 377"/>
              <a:gd name="T4" fmla="*/ 351 w 1002"/>
              <a:gd name="T5" fmla="*/ 50 h 377"/>
              <a:gd name="T6" fmla="*/ 25 w 1002"/>
              <a:gd name="T7" fmla="*/ 176 h 377"/>
              <a:gd name="T8" fmla="*/ 176 w 1002"/>
              <a:gd name="T9" fmla="*/ 100 h 377"/>
              <a:gd name="T10" fmla="*/ 276 w 1002"/>
              <a:gd name="T11" fmla="*/ 125 h 377"/>
              <a:gd name="T12" fmla="*/ 425 w 1002"/>
              <a:gd name="T13" fmla="*/ 176 h 377"/>
              <a:gd name="T14" fmla="*/ 625 w 1002"/>
              <a:gd name="T15" fmla="*/ 276 h 377"/>
              <a:gd name="T16" fmla="*/ 676 w 1002"/>
              <a:gd name="T17" fmla="*/ 350 h 377"/>
              <a:gd name="T18" fmla="*/ 976 w 1002"/>
              <a:gd name="T19" fmla="*/ 350 h 377"/>
              <a:gd name="T20" fmla="*/ 801 w 1002"/>
              <a:gd name="T21" fmla="*/ 22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2" h="377">
                <a:moveTo>
                  <a:pt x="801" y="225"/>
                </a:moveTo>
                <a:lnTo>
                  <a:pt x="801" y="225"/>
                </a:lnTo>
                <a:cubicBezTo>
                  <a:pt x="751" y="225"/>
                  <a:pt x="551" y="100"/>
                  <a:pt x="351" y="50"/>
                </a:cubicBezTo>
                <a:cubicBezTo>
                  <a:pt x="176" y="0"/>
                  <a:pt x="0" y="150"/>
                  <a:pt x="25" y="176"/>
                </a:cubicBezTo>
                <a:cubicBezTo>
                  <a:pt x="51" y="200"/>
                  <a:pt x="151" y="125"/>
                  <a:pt x="176" y="100"/>
                </a:cubicBezTo>
                <a:cubicBezTo>
                  <a:pt x="225" y="50"/>
                  <a:pt x="276" y="100"/>
                  <a:pt x="276" y="125"/>
                </a:cubicBezTo>
                <a:cubicBezTo>
                  <a:pt x="276" y="150"/>
                  <a:pt x="351" y="176"/>
                  <a:pt x="425" y="176"/>
                </a:cubicBezTo>
                <a:cubicBezTo>
                  <a:pt x="525" y="176"/>
                  <a:pt x="551" y="250"/>
                  <a:pt x="625" y="276"/>
                </a:cubicBezTo>
                <a:cubicBezTo>
                  <a:pt x="725" y="300"/>
                  <a:pt x="625" y="325"/>
                  <a:pt x="676" y="350"/>
                </a:cubicBezTo>
                <a:cubicBezTo>
                  <a:pt x="725" y="376"/>
                  <a:pt x="976" y="350"/>
                  <a:pt x="976" y="350"/>
                </a:cubicBezTo>
                <a:cubicBezTo>
                  <a:pt x="1001" y="325"/>
                  <a:pt x="876" y="225"/>
                  <a:pt x="801" y="2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1" name="Freeform 117">
            <a:extLst>
              <a:ext uri="{FF2B5EF4-FFF2-40B4-BE49-F238E27FC236}">
                <a16:creationId xmlns:a16="http://schemas.microsoft.com/office/drawing/2014/main" id="{27860DFA-924C-6C40-BF98-464DEAFDF544}"/>
              </a:ext>
            </a:extLst>
          </p:cNvPr>
          <p:cNvSpPr>
            <a:spLocks noChangeArrowheads="1"/>
          </p:cNvSpPr>
          <p:nvPr/>
        </p:nvSpPr>
        <p:spPr bwMode="auto">
          <a:xfrm>
            <a:off x="3388989" y="4262568"/>
            <a:ext cx="71719" cy="40781"/>
          </a:xfrm>
          <a:custGeom>
            <a:avLst/>
            <a:gdLst>
              <a:gd name="T0" fmla="*/ 24 w 226"/>
              <a:gd name="T1" fmla="*/ 49 h 126"/>
              <a:gd name="T2" fmla="*/ 24 w 226"/>
              <a:gd name="T3" fmla="*/ 49 h 126"/>
              <a:gd name="T4" fmla="*/ 225 w 226"/>
              <a:gd name="T5" fmla="*/ 74 h 126"/>
              <a:gd name="T6" fmla="*/ 24 w 226"/>
              <a:gd name="T7" fmla="*/ 49 h 126"/>
            </a:gdLst>
            <a:ahLst/>
            <a:cxnLst>
              <a:cxn ang="0">
                <a:pos x="T0" y="T1"/>
              </a:cxn>
              <a:cxn ang="0">
                <a:pos x="T2" y="T3"/>
              </a:cxn>
              <a:cxn ang="0">
                <a:pos x="T4" y="T5"/>
              </a:cxn>
              <a:cxn ang="0">
                <a:pos x="T6" y="T7"/>
              </a:cxn>
            </a:cxnLst>
            <a:rect l="0" t="0" r="r" b="b"/>
            <a:pathLst>
              <a:path w="226" h="126">
                <a:moveTo>
                  <a:pt x="24" y="49"/>
                </a:moveTo>
                <a:lnTo>
                  <a:pt x="24" y="49"/>
                </a:lnTo>
                <a:cubicBezTo>
                  <a:pt x="49" y="74"/>
                  <a:pt x="200" y="125"/>
                  <a:pt x="225" y="74"/>
                </a:cubicBezTo>
                <a:cubicBezTo>
                  <a:pt x="225" y="49"/>
                  <a:pt x="0" y="0"/>
                  <a:pt x="24"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2" name="Freeform 118">
            <a:extLst>
              <a:ext uri="{FF2B5EF4-FFF2-40B4-BE49-F238E27FC236}">
                <a16:creationId xmlns:a16="http://schemas.microsoft.com/office/drawing/2014/main" id="{AF8A944F-7B99-5C4A-906C-7D49F51990EC}"/>
              </a:ext>
            </a:extLst>
          </p:cNvPr>
          <p:cNvSpPr>
            <a:spLocks noChangeArrowheads="1"/>
          </p:cNvSpPr>
          <p:nvPr/>
        </p:nvSpPr>
        <p:spPr bwMode="auto">
          <a:xfrm>
            <a:off x="3723674" y="4262568"/>
            <a:ext cx="71719" cy="40781"/>
          </a:xfrm>
          <a:custGeom>
            <a:avLst/>
            <a:gdLst>
              <a:gd name="T0" fmla="*/ 50 w 226"/>
              <a:gd name="T1" fmla="*/ 49 h 126"/>
              <a:gd name="T2" fmla="*/ 50 w 226"/>
              <a:gd name="T3" fmla="*/ 49 h 126"/>
              <a:gd name="T4" fmla="*/ 200 w 226"/>
              <a:gd name="T5" fmla="*/ 49 h 126"/>
              <a:gd name="T6" fmla="*/ 50 w 226"/>
              <a:gd name="T7" fmla="*/ 49 h 126"/>
            </a:gdLst>
            <a:ahLst/>
            <a:cxnLst>
              <a:cxn ang="0">
                <a:pos x="T0" y="T1"/>
              </a:cxn>
              <a:cxn ang="0">
                <a:pos x="T2" y="T3"/>
              </a:cxn>
              <a:cxn ang="0">
                <a:pos x="T4" y="T5"/>
              </a:cxn>
              <a:cxn ang="0">
                <a:pos x="T6" y="T7"/>
              </a:cxn>
            </a:cxnLst>
            <a:rect l="0" t="0" r="r" b="b"/>
            <a:pathLst>
              <a:path w="226" h="126">
                <a:moveTo>
                  <a:pt x="50" y="49"/>
                </a:moveTo>
                <a:lnTo>
                  <a:pt x="50" y="49"/>
                </a:lnTo>
                <a:cubicBezTo>
                  <a:pt x="75" y="125"/>
                  <a:pt x="200" y="74"/>
                  <a:pt x="200" y="49"/>
                </a:cubicBezTo>
                <a:cubicBezTo>
                  <a:pt x="225" y="25"/>
                  <a:pt x="0" y="0"/>
                  <a:pt x="50"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3" name="Freeform 119">
            <a:extLst>
              <a:ext uri="{FF2B5EF4-FFF2-40B4-BE49-F238E27FC236}">
                <a16:creationId xmlns:a16="http://schemas.microsoft.com/office/drawing/2014/main" id="{EEBE4D5A-812A-E044-98DC-4E4AB8B24279}"/>
              </a:ext>
            </a:extLst>
          </p:cNvPr>
          <p:cNvSpPr>
            <a:spLocks noChangeArrowheads="1"/>
          </p:cNvSpPr>
          <p:nvPr/>
        </p:nvSpPr>
        <p:spPr bwMode="auto">
          <a:xfrm>
            <a:off x="3916328" y="6535054"/>
            <a:ext cx="104061" cy="47812"/>
          </a:xfrm>
          <a:custGeom>
            <a:avLst/>
            <a:gdLst>
              <a:gd name="T0" fmla="*/ 325 w 326"/>
              <a:gd name="T1" fmla="*/ 49 h 150"/>
              <a:gd name="T2" fmla="*/ 325 w 326"/>
              <a:gd name="T3" fmla="*/ 49 h 150"/>
              <a:gd name="T4" fmla="*/ 175 w 326"/>
              <a:gd name="T5" fmla="*/ 125 h 150"/>
              <a:gd name="T6" fmla="*/ 325 w 326"/>
              <a:gd name="T7" fmla="*/ 49 h 150"/>
              <a:gd name="T8" fmla="*/ 150 w 326"/>
              <a:gd name="T9" fmla="*/ 0 h 150"/>
              <a:gd name="T10" fmla="*/ 150 w 326"/>
              <a:gd name="T11" fmla="*/ 0 h 150"/>
              <a:gd name="T12" fmla="*/ 50 w 326"/>
              <a:gd name="T13" fmla="*/ 125 h 150"/>
              <a:gd name="T14" fmla="*/ 150 w 326"/>
              <a:gd name="T15" fmla="*/ 0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150">
                <a:moveTo>
                  <a:pt x="325" y="49"/>
                </a:moveTo>
                <a:lnTo>
                  <a:pt x="325" y="49"/>
                </a:lnTo>
                <a:cubicBezTo>
                  <a:pt x="275" y="0"/>
                  <a:pt x="125" y="100"/>
                  <a:pt x="175" y="125"/>
                </a:cubicBezTo>
                <a:cubicBezTo>
                  <a:pt x="200" y="149"/>
                  <a:pt x="325" y="75"/>
                  <a:pt x="325" y="49"/>
                </a:cubicBezTo>
                <a:close/>
                <a:moveTo>
                  <a:pt x="150" y="0"/>
                </a:moveTo>
                <a:lnTo>
                  <a:pt x="150" y="0"/>
                </a:lnTo>
                <a:cubicBezTo>
                  <a:pt x="100" y="0"/>
                  <a:pt x="0" y="100"/>
                  <a:pt x="50" y="125"/>
                </a:cubicBezTo>
                <a:cubicBezTo>
                  <a:pt x="100" y="149"/>
                  <a:pt x="200" y="25"/>
                  <a:pt x="150" y="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4" name="Freeform 120">
            <a:extLst>
              <a:ext uri="{FF2B5EF4-FFF2-40B4-BE49-F238E27FC236}">
                <a16:creationId xmlns:a16="http://schemas.microsoft.com/office/drawing/2014/main" id="{8EA592A3-5DE9-ED41-A6D7-3DD6381580B9}"/>
              </a:ext>
            </a:extLst>
          </p:cNvPr>
          <p:cNvSpPr>
            <a:spLocks noChangeArrowheads="1"/>
          </p:cNvSpPr>
          <p:nvPr/>
        </p:nvSpPr>
        <p:spPr bwMode="auto">
          <a:xfrm>
            <a:off x="2991021" y="4788503"/>
            <a:ext cx="503435" cy="208124"/>
          </a:xfrm>
          <a:custGeom>
            <a:avLst/>
            <a:gdLst>
              <a:gd name="T0" fmla="*/ 1526 w 1577"/>
              <a:gd name="T1" fmla="*/ 175 h 651"/>
              <a:gd name="T2" fmla="*/ 1526 w 1577"/>
              <a:gd name="T3" fmla="*/ 175 h 651"/>
              <a:gd name="T4" fmla="*/ 1476 w 1577"/>
              <a:gd name="T5" fmla="*/ 124 h 651"/>
              <a:gd name="T6" fmla="*/ 1400 w 1577"/>
              <a:gd name="T7" fmla="*/ 124 h 651"/>
              <a:gd name="T8" fmla="*/ 1326 w 1577"/>
              <a:gd name="T9" fmla="*/ 75 h 651"/>
              <a:gd name="T10" fmla="*/ 1226 w 1577"/>
              <a:gd name="T11" fmla="*/ 0 h 651"/>
              <a:gd name="T12" fmla="*/ 1226 w 1577"/>
              <a:gd name="T13" fmla="*/ 24 h 651"/>
              <a:gd name="T14" fmla="*/ 1151 w 1577"/>
              <a:gd name="T15" fmla="*/ 50 h 651"/>
              <a:gd name="T16" fmla="*/ 1126 w 1577"/>
              <a:gd name="T17" fmla="*/ 124 h 651"/>
              <a:gd name="T18" fmla="*/ 1075 w 1577"/>
              <a:gd name="T19" fmla="*/ 175 h 651"/>
              <a:gd name="T20" fmla="*/ 1051 w 1577"/>
              <a:gd name="T21" fmla="*/ 224 h 651"/>
              <a:gd name="T22" fmla="*/ 1026 w 1577"/>
              <a:gd name="T23" fmla="*/ 300 h 651"/>
              <a:gd name="T24" fmla="*/ 1026 w 1577"/>
              <a:gd name="T25" fmla="*/ 350 h 651"/>
              <a:gd name="T26" fmla="*/ 1075 w 1577"/>
              <a:gd name="T27" fmla="*/ 400 h 651"/>
              <a:gd name="T28" fmla="*/ 1126 w 1577"/>
              <a:gd name="T29" fmla="*/ 424 h 651"/>
              <a:gd name="T30" fmla="*/ 1075 w 1577"/>
              <a:gd name="T31" fmla="*/ 475 h 651"/>
              <a:gd name="T32" fmla="*/ 1075 w 1577"/>
              <a:gd name="T33" fmla="*/ 475 h 651"/>
              <a:gd name="T34" fmla="*/ 1100 w 1577"/>
              <a:gd name="T35" fmla="*/ 524 h 651"/>
              <a:gd name="T36" fmla="*/ 1100 w 1577"/>
              <a:gd name="T37" fmla="*/ 575 h 651"/>
              <a:gd name="T38" fmla="*/ 1175 w 1577"/>
              <a:gd name="T39" fmla="*/ 600 h 651"/>
              <a:gd name="T40" fmla="*/ 1226 w 1577"/>
              <a:gd name="T41" fmla="*/ 575 h 651"/>
              <a:gd name="T42" fmla="*/ 1326 w 1577"/>
              <a:gd name="T43" fmla="*/ 424 h 651"/>
              <a:gd name="T44" fmla="*/ 1500 w 1577"/>
              <a:gd name="T45" fmla="*/ 324 h 651"/>
              <a:gd name="T46" fmla="*/ 1551 w 1577"/>
              <a:gd name="T47" fmla="*/ 250 h 651"/>
              <a:gd name="T48" fmla="*/ 1526 w 1577"/>
              <a:gd name="T49" fmla="*/ 175 h 651"/>
              <a:gd name="T50" fmla="*/ 50 w 1577"/>
              <a:gd name="T51" fmla="*/ 150 h 651"/>
              <a:gd name="T52" fmla="*/ 50 w 1577"/>
              <a:gd name="T53" fmla="*/ 150 h 651"/>
              <a:gd name="T54" fmla="*/ 100 w 1577"/>
              <a:gd name="T55" fmla="*/ 250 h 651"/>
              <a:gd name="T56" fmla="*/ 50 w 1577"/>
              <a:gd name="T57" fmla="*/ 1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7" h="651">
                <a:moveTo>
                  <a:pt x="1526" y="175"/>
                </a:moveTo>
                <a:lnTo>
                  <a:pt x="1526" y="175"/>
                </a:lnTo>
                <a:cubicBezTo>
                  <a:pt x="1500" y="124"/>
                  <a:pt x="1476" y="100"/>
                  <a:pt x="1476" y="124"/>
                </a:cubicBezTo>
                <a:cubicBezTo>
                  <a:pt x="1451" y="124"/>
                  <a:pt x="1426" y="124"/>
                  <a:pt x="1400" y="124"/>
                </a:cubicBezTo>
                <a:cubicBezTo>
                  <a:pt x="1376" y="100"/>
                  <a:pt x="1351" y="75"/>
                  <a:pt x="1326" y="75"/>
                </a:cubicBezTo>
                <a:cubicBezTo>
                  <a:pt x="1326" y="75"/>
                  <a:pt x="1251" y="50"/>
                  <a:pt x="1226" y="0"/>
                </a:cubicBezTo>
                <a:cubicBezTo>
                  <a:pt x="1226" y="24"/>
                  <a:pt x="1226" y="24"/>
                  <a:pt x="1226" y="24"/>
                </a:cubicBezTo>
                <a:cubicBezTo>
                  <a:pt x="1226" y="50"/>
                  <a:pt x="1200" y="50"/>
                  <a:pt x="1151" y="50"/>
                </a:cubicBezTo>
                <a:cubicBezTo>
                  <a:pt x="1126" y="50"/>
                  <a:pt x="1126" y="100"/>
                  <a:pt x="1126" y="124"/>
                </a:cubicBezTo>
                <a:cubicBezTo>
                  <a:pt x="1126" y="150"/>
                  <a:pt x="1100" y="150"/>
                  <a:pt x="1075" y="175"/>
                </a:cubicBezTo>
                <a:cubicBezTo>
                  <a:pt x="1075" y="200"/>
                  <a:pt x="1075" y="224"/>
                  <a:pt x="1051" y="224"/>
                </a:cubicBezTo>
                <a:cubicBezTo>
                  <a:pt x="1026" y="250"/>
                  <a:pt x="1026" y="275"/>
                  <a:pt x="1026" y="300"/>
                </a:cubicBezTo>
                <a:cubicBezTo>
                  <a:pt x="1051" y="324"/>
                  <a:pt x="1026" y="350"/>
                  <a:pt x="1026" y="350"/>
                </a:cubicBezTo>
                <a:cubicBezTo>
                  <a:pt x="1026" y="375"/>
                  <a:pt x="1051" y="375"/>
                  <a:pt x="1075" y="400"/>
                </a:cubicBezTo>
                <a:cubicBezTo>
                  <a:pt x="1100" y="424"/>
                  <a:pt x="1126" y="400"/>
                  <a:pt x="1126" y="424"/>
                </a:cubicBezTo>
                <a:cubicBezTo>
                  <a:pt x="1151" y="424"/>
                  <a:pt x="1126" y="475"/>
                  <a:pt x="1075" y="475"/>
                </a:cubicBezTo>
                <a:lnTo>
                  <a:pt x="1075" y="475"/>
                </a:lnTo>
                <a:cubicBezTo>
                  <a:pt x="1100" y="500"/>
                  <a:pt x="1100" y="500"/>
                  <a:pt x="1100" y="524"/>
                </a:cubicBezTo>
                <a:cubicBezTo>
                  <a:pt x="1075" y="550"/>
                  <a:pt x="1075" y="550"/>
                  <a:pt x="1100" y="575"/>
                </a:cubicBezTo>
                <a:cubicBezTo>
                  <a:pt x="1126" y="600"/>
                  <a:pt x="1151" y="550"/>
                  <a:pt x="1175" y="600"/>
                </a:cubicBezTo>
                <a:cubicBezTo>
                  <a:pt x="1200" y="624"/>
                  <a:pt x="1200" y="650"/>
                  <a:pt x="1226" y="575"/>
                </a:cubicBezTo>
                <a:cubicBezTo>
                  <a:pt x="1251" y="524"/>
                  <a:pt x="1275" y="449"/>
                  <a:pt x="1326" y="424"/>
                </a:cubicBezTo>
                <a:cubicBezTo>
                  <a:pt x="1376" y="424"/>
                  <a:pt x="1451" y="400"/>
                  <a:pt x="1500" y="324"/>
                </a:cubicBezTo>
                <a:cubicBezTo>
                  <a:pt x="1551" y="275"/>
                  <a:pt x="1526" y="250"/>
                  <a:pt x="1551" y="250"/>
                </a:cubicBezTo>
                <a:cubicBezTo>
                  <a:pt x="1576" y="224"/>
                  <a:pt x="1576" y="200"/>
                  <a:pt x="1526" y="175"/>
                </a:cubicBezTo>
                <a:close/>
                <a:moveTo>
                  <a:pt x="50" y="150"/>
                </a:moveTo>
                <a:lnTo>
                  <a:pt x="50" y="150"/>
                </a:lnTo>
                <a:cubicBezTo>
                  <a:pt x="0" y="200"/>
                  <a:pt x="100" y="275"/>
                  <a:pt x="100" y="250"/>
                </a:cubicBezTo>
                <a:cubicBezTo>
                  <a:pt x="126" y="200"/>
                  <a:pt x="100" y="75"/>
                  <a:pt x="50" y="1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5" name="Freeform 121">
            <a:extLst>
              <a:ext uri="{FF2B5EF4-FFF2-40B4-BE49-F238E27FC236}">
                <a16:creationId xmlns:a16="http://schemas.microsoft.com/office/drawing/2014/main" id="{A4E1D523-CDA5-E94C-B625-7EC44519FC1F}"/>
              </a:ext>
            </a:extLst>
          </p:cNvPr>
          <p:cNvSpPr>
            <a:spLocks noChangeArrowheads="1"/>
          </p:cNvSpPr>
          <p:nvPr/>
        </p:nvSpPr>
        <p:spPr bwMode="auto">
          <a:xfrm>
            <a:off x="3573205" y="1400868"/>
            <a:ext cx="1833739" cy="1372491"/>
          </a:xfrm>
          <a:custGeom>
            <a:avLst/>
            <a:gdLst>
              <a:gd name="T0" fmla="*/ 5226 w 5752"/>
              <a:gd name="T1" fmla="*/ 475 h 4302"/>
              <a:gd name="T2" fmla="*/ 4775 w 5752"/>
              <a:gd name="T3" fmla="*/ 575 h 4302"/>
              <a:gd name="T4" fmla="*/ 4726 w 5752"/>
              <a:gd name="T5" fmla="*/ 350 h 4302"/>
              <a:gd name="T6" fmla="*/ 4501 w 5752"/>
              <a:gd name="T7" fmla="*/ 400 h 4302"/>
              <a:gd name="T8" fmla="*/ 4151 w 5752"/>
              <a:gd name="T9" fmla="*/ 350 h 4302"/>
              <a:gd name="T10" fmla="*/ 4675 w 5752"/>
              <a:gd name="T11" fmla="*/ 174 h 4302"/>
              <a:gd name="T12" fmla="*/ 4175 w 5752"/>
              <a:gd name="T13" fmla="*/ 25 h 4302"/>
              <a:gd name="T14" fmla="*/ 3350 w 5752"/>
              <a:gd name="T15" fmla="*/ 25 h 4302"/>
              <a:gd name="T16" fmla="*/ 3050 w 5752"/>
              <a:gd name="T17" fmla="*/ 75 h 4302"/>
              <a:gd name="T18" fmla="*/ 2575 w 5752"/>
              <a:gd name="T19" fmla="*/ 200 h 4302"/>
              <a:gd name="T20" fmla="*/ 2525 w 5752"/>
              <a:gd name="T21" fmla="*/ 375 h 4302"/>
              <a:gd name="T22" fmla="*/ 2175 w 5752"/>
              <a:gd name="T23" fmla="*/ 375 h 4302"/>
              <a:gd name="T24" fmla="*/ 1875 w 5752"/>
              <a:gd name="T25" fmla="*/ 400 h 4302"/>
              <a:gd name="T26" fmla="*/ 1450 w 5752"/>
              <a:gd name="T27" fmla="*/ 325 h 4302"/>
              <a:gd name="T28" fmla="*/ 1075 w 5752"/>
              <a:gd name="T29" fmla="*/ 425 h 4302"/>
              <a:gd name="T30" fmla="*/ 500 w 5752"/>
              <a:gd name="T31" fmla="*/ 775 h 4302"/>
              <a:gd name="T32" fmla="*/ 350 w 5752"/>
              <a:gd name="T33" fmla="*/ 1050 h 4302"/>
              <a:gd name="T34" fmla="*/ 200 w 5752"/>
              <a:gd name="T35" fmla="*/ 1300 h 4302"/>
              <a:gd name="T36" fmla="*/ 350 w 5752"/>
              <a:gd name="T37" fmla="*/ 1375 h 4302"/>
              <a:gd name="T38" fmla="*/ 300 w 5752"/>
              <a:gd name="T39" fmla="*/ 1550 h 4302"/>
              <a:gd name="T40" fmla="*/ 650 w 5752"/>
              <a:gd name="T41" fmla="*/ 1625 h 4302"/>
              <a:gd name="T42" fmla="*/ 1200 w 5752"/>
              <a:gd name="T43" fmla="*/ 1650 h 4302"/>
              <a:gd name="T44" fmla="*/ 1575 w 5752"/>
              <a:gd name="T45" fmla="*/ 2025 h 4302"/>
              <a:gd name="T46" fmla="*/ 1625 w 5752"/>
              <a:gd name="T47" fmla="*/ 2350 h 4302"/>
              <a:gd name="T48" fmla="*/ 1850 w 5752"/>
              <a:gd name="T49" fmla="*/ 2500 h 4302"/>
              <a:gd name="T50" fmla="*/ 1750 w 5752"/>
              <a:gd name="T51" fmla="*/ 2600 h 4302"/>
              <a:gd name="T52" fmla="*/ 2050 w 5752"/>
              <a:gd name="T53" fmla="*/ 2950 h 4302"/>
              <a:gd name="T54" fmla="*/ 1775 w 5752"/>
              <a:gd name="T55" fmla="*/ 3176 h 4302"/>
              <a:gd name="T56" fmla="*/ 1925 w 5752"/>
              <a:gd name="T57" fmla="*/ 3476 h 4302"/>
              <a:gd name="T58" fmla="*/ 2050 w 5752"/>
              <a:gd name="T59" fmla="*/ 3776 h 4302"/>
              <a:gd name="T60" fmla="*/ 2275 w 5752"/>
              <a:gd name="T61" fmla="*/ 4076 h 4302"/>
              <a:gd name="T62" fmla="*/ 2575 w 5752"/>
              <a:gd name="T63" fmla="*/ 4226 h 4302"/>
              <a:gd name="T64" fmla="*/ 2875 w 5752"/>
              <a:gd name="T65" fmla="*/ 4076 h 4302"/>
              <a:gd name="T66" fmla="*/ 2975 w 5752"/>
              <a:gd name="T67" fmla="*/ 3801 h 4302"/>
              <a:gd name="T68" fmla="*/ 3050 w 5752"/>
              <a:gd name="T69" fmla="*/ 3625 h 4302"/>
              <a:gd name="T70" fmla="*/ 3101 w 5752"/>
              <a:gd name="T71" fmla="*/ 3501 h 4302"/>
              <a:gd name="T72" fmla="*/ 3326 w 5752"/>
              <a:gd name="T73" fmla="*/ 3350 h 4302"/>
              <a:gd name="T74" fmla="*/ 3726 w 5752"/>
              <a:gd name="T75" fmla="*/ 3176 h 4302"/>
              <a:gd name="T76" fmla="*/ 4026 w 5752"/>
              <a:gd name="T77" fmla="*/ 3001 h 4302"/>
              <a:gd name="T78" fmla="*/ 4751 w 5752"/>
              <a:gd name="T79" fmla="*/ 2750 h 4302"/>
              <a:gd name="T80" fmla="*/ 4426 w 5752"/>
              <a:gd name="T81" fmla="*/ 2676 h 4302"/>
              <a:gd name="T82" fmla="*/ 4601 w 5752"/>
              <a:gd name="T83" fmla="*/ 2576 h 4302"/>
              <a:gd name="T84" fmla="*/ 4601 w 5752"/>
              <a:gd name="T85" fmla="*/ 2300 h 4302"/>
              <a:gd name="T86" fmla="*/ 4601 w 5752"/>
              <a:gd name="T87" fmla="*/ 2225 h 4302"/>
              <a:gd name="T88" fmla="*/ 4801 w 5752"/>
              <a:gd name="T89" fmla="*/ 2150 h 4302"/>
              <a:gd name="T90" fmla="*/ 5051 w 5752"/>
              <a:gd name="T91" fmla="*/ 1976 h 4302"/>
              <a:gd name="T92" fmla="*/ 5051 w 5752"/>
              <a:gd name="T93" fmla="*/ 1775 h 4302"/>
              <a:gd name="T94" fmla="*/ 4775 w 5752"/>
              <a:gd name="T95" fmla="*/ 1500 h 4302"/>
              <a:gd name="T96" fmla="*/ 5101 w 5752"/>
              <a:gd name="T97" fmla="*/ 1375 h 4302"/>
              <a:gd name="T98" fmla="*/ 4876 w 5752"/>
              <a:gd name="T99" fmla="*/ 1275 h 4302"/>
              <a:gd name="T100" fmla="*/ 5026 w 5752"/>
              <a:gd name="T101" fmla="*/ 975 h 4302"/>
              <a:gd name="T102" fmla="*/ 4976 w 5752"/>
              <a:gd name="T103" fmla="*/ 850 h 4302"/>
              <a:gd name="T104" fmla="*/ 5176 w 5752"/>
              <a:gd name="T105" fmla="*/ 700 h 4302"/>
              <a:gd name="T106" fmla="*/ 5526 w 5752"/>
              <a:gd name="T107" fmla="*/ 575 h 4302"/>
              <a:gd name="T108" fmla="*/ 1975 w 5752"/>
              <a:gd name="T109" fmla="*/ 2800 h 4302"/>
              <a:gd name="T110" fmla="*/ 1700 w 5752"/>
              <a:gd name="T111" fmla="*/ 2700 h 4302"/>
              <a:gd name="T112" fmla="*/ 1975 w 5752"/>
              <a:gd name="T113" fmla="*/ 2800 h 4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52" h="4302">
                <a:moveTo>
                  <a:pt x="5426" y="375"/>
                </a:moveTo>
                <a:lnTo>
                  <a:pt x="5426" y="375"/>
                </a:lnTo>
                <a:cubicBezTo>
                  <a:pt x="5326" y="375"/>
                  <a:pt x="5251" y="400"/>
                  <a:pt x="5226" y="475"/>
                </a:cubicBezTo>
                <a:cubicBezTo>
                  <a:pt x="5226" y="550"/>
                  <a:pt x="5101" y="450"/>
                  <a:pt x="5051" y="475"/>
                </a:cubicBezTo>
                <a:cubicBezTo>
                  <a:pt x="4976" y="500"/>
                  <a:pt x="5026" y="425"/>
                  <a:pt x="4951" y="450"/>
                </a:cubicBezTo>
                <a:cubicBezTo>
                  <a:pt x="4901" y="475"/>
                  <a:pt x="4851" y="550"/>
                  <a:pt x="4775" y="575"/>
                </a:cubicBezTo>
                <a:cubicBezTo>
                  <a:pt x="4701" y="600"/>
                  <a:pt x="4651" y="675"/>
                  <a:pt x="4626" y="675"/>
                </a:cubicBezTo>
                <a:cubicBezTo>
                  <a:pt x="4575" y="675"/>
                  <a:pt x="4701" y="550"/>
                  <a:pt x="4775" y="475"/>
                </a:cubicBezTo>
                <a:cubicBezTo>
                  <a:pt x="4851" y="425"/>
                  <a:pt x="4801" y="350"/>
                  <a:pt x="4726" y="350"/>
                </a:cubicBezTo>
                <a:cubicBezTo>
                  <a:pt x="4626" y="350"/>
                  <a:pt x="4651" y="425"/>
                  <a:pt x="4601" y="425"/>
                </a:cubicBezTo>
                <a:cubicBezTo>
                  <a:pt x="4551" y="425"/>
                  <a:pt x="4301" y="550"/>
                  <a:pt x="4301" y="525"/>
                </a:cubicBezTo>
                <a:cubicBezTo>
                  <a:pt x="4275" y="475"/>
                  <a:pt x="4501" y="425"/>
                  <a:pt x="4501" y="400"/>
                </a:cubicBezTo>
                <a:cubicBezTo>
                  <a:pt x="4475" y="375"/>
                  <a:pt x="4226" y="375"/>
                  <a:pt x="4101" y="375"/>
                </a:cubicBezTo>
                <a:cubicBezTo>
                  <a:pt x="4001" y="400"/>
                  <a:pt x="3775" y="475"/>
                  <a:pt x="3775" y="425"/>
                </a:cubicBezTo>
                <a:cubicBezTo>
                  <a:pt x="3775" y="400"/>
                  <a:pt x="4026" y="350"/>
                  <a:pt x="4151" y="350"/>
                </a:cubicBezTo>
                <a:cubicBezTo>
                  <a:pt x="4275" y="325"/>
                  <a:pt x="4501" y="350"/>
                  <a:pt x="4575" y="300"/>
                </a:cubicBezTo>
                <a:cubicBezTo>
                  <a:pt x="4675" y="275"/>
                  <a:pt x="4826" y="275"/>
                  <a:pt x="4851" y="250"/>
                </a:cubicBezTo>
                <a:cubicBezTo>
                  <a:pt x="4876" y="200"/>
                  <a:pt x="4751" y="174"/>
                  <a:pt x="4675" y="174"/>
                </a:cubicBezTo>
                <a:cubicBezTo>
                  <a:pt x="4601" y="174"/>
                  <a:pt x="4551" y="174"/>
                  <a:pt x="4551" y="125"/>
                </a:cubicBezTo>
                <a:cubicBezTo>
                  <a:pt x="4551" y="100"/>
                  <a:pt x="4451" y="100"/>
                  <a:pt x="4426" y="75"/>
                </a:cubicBezTo>
                <a:cubicBezTo>
                  <a:pt x="4426" y="50"/>
                  <a:pt x="4201" y="50"/>
                  <a:pt x="4175" y="25"/>
                </a:cubicBezTo>
                <a:cubicBezTo>
                  <a:pt x="4126" y="0"/>
                  <a:pt x="4001" y="0"/>
                  <a:pt x="3875" y="0"/>
                </a:cubicBezTo>
                <a:cubicBezTo>
                  <a:pt x="3775" y="0"/>
                  <a:pt x="3550" y="0"/>
                  <a:pt x="3501" y="0"/>
                </a:cubicBezTo>
                <a:cubicBezTo>
                  <a:pt x="3426" y="25"/>
                  <a:pt x="3401" y="25"/>
                  <a:pt x="3350" y="25"/>
                </a:cubicBezTo>
                <a:cubicBezTo>
                  <a:pt x="3301" y="25"/>
                  <a:pt x="3226" y="50"/>
                  <a:pt x="3275" y="75"/>
                </a:cubicBezTo>
                <a:cubicBezTo>
                  <a:pt x="3326" y="125"/>
                  <a:pt x="3201" y="150"/>
                  <a:pt x="3201" y="100"/>
                </a:cubicBezTo>
                <a:cubicBezTo>
                  <a:pt x="3201" y="75"/>
                  <a:pt x="3101" y="50"/>
                  <a:pt x="3050" y="75"/>
                </a:cubicBezTo>
                <a:cubicBezTo>
                  <a:pt x="3001" y="125"/>
                  <a:pt x="2825" y="50"/>
                  <a:pt x="2801" y="75"/>
                </a:cubicBezTo>
                <a:cubicBezTo>
                  <a:pt x="2775" y="125"/>
                  <a:pt x="2550" y="100"/>
                  <a:pt x="2475" y="125"/>
                </a:cubicBezTo>
                <a:cubicBezTo>
                  <a:pt x="2425" y="125"/>
                  <a:pt x="2575" y="174"/>
                  <a:pt x="2575" y="200"/>
                </a:cubicBezTo>
                <a:cubicBezTo>
                  <a:pt x="2575" y="225"/>
                  <a:pt x="2375" y="200"/>
                  <a:pt x="2425" y="250"/>
                </a:cubicBezTo>
                <a:cubicBezTo>
                  <a:pt x="2450" y="300"/>
                  <a:pt x="2601" y="350"/>
                  <a:pt x="2650" y="400"/>
                </a:cubicBezTo>
                <a:cubicBezTo>
                  <a:pt x="2725" y="475"/>
                  <a:pt x="2601" y="425"/>
                  <a:pt x="2525" y="375"/>
                </a:cubicBezTo>
                <a:cubicBezTo>
                  <a:pt x="2450" y="325"/>
                  <a:pt x="2375" y="350"/>
                  <a:pt x="2325" y="300"/>
                </a:cubicBezTo>
                <a:cubicBezTo>
                  <a:pt x="2275" y="250"/>
                  <a:pt x="2100" y="225"/>
                  <a:pt x="2075" y="250"/>
                </a:cubicBezTo>
                <a:cubicBezTo>
                  <a:pt x="2025" y="275"/>
                  <a:pt x="2175" y="350"/>
                  <a:pt x="2175" y="375"/>
                </a:cubicBezTo>
                <a:cubicBezTo>
                  <a:pt x="2175" y="425"/>
                  <a:pt x="2075" y="375"/>
                  <a:pt x="2050" y="375"/>
                </a:cubicBezTo>
                <a:cubicBezTo>
                  <a:pt x="2025" y="400"/>
                  <a:pt x="1925" y="300"/>
                  <a:pt x="1875" y="300"/>
                </a:cubicBezTo>
                <a:cubicBezTo>
                  <a:pt x="1825" y="300"/>
                  <a:pt x="1875" y="350"/>
                  <a:pt x="1875" y="400"/>
                </a:cubicBezTo>
                <a:cubicBezTo>
                  <a:pt x="1875" y="475"/>
                  <a:pt x="1775" y="525"/>
                  <a:pt x="1800" y="475"/>
                </a:cubicBezTo>
                <a:cubicBezTo>
                  <a:pt x="1825" y="425"/>
                  <a:pt x="1800" y="300"/>
                  <a:pt x="1750" y="275"/>
                </a:cubicBezTo>
                <a:cubicBezTo>
                  <a:pt x="1675" y="250"/>
                  <a:pt x="1525" y="325"/>
                  <a:pt x="1450" y="325"/>
                </a:cubicBezTo>
                <a:cubicBezTo>
                  <a:pt x="1375" y="325"/>
                  <a:pt x="1275" y="350"/>
                  <a:pt x="1350" y="375"/>
                </a:cubicBezTo>
                <a:cubicBezTo>
                  <a:pt x="1400" y="425"/>
                  <a:pt x="1350" y="450"/>
                  <a:pt x="1275" y="400"/>
                </a:cubicBezTo>
                <a:cubicBezTo>
                  <a:pt x="1225" y="375"/>
                  <a:pt x="1025" y="400"/>
                  <a:pt x="1075" y="425"/>
                </a:cubicBezTo>
                <a:cubicBezTo>
                  <a:pt x="1100" y="450"/>
                  <a:pt x="1125" y="550"/>
                  <a:pt x="1100" y="575"/>
                </a:cubicBezTo>
                <a:cubicBezTo>
                  <a:pt x="1075" y="600"/>
                  <a:pt x="1000" y="550"/>
                  <a:pt x="925" y="550"/>
                </a:cubicBezTo>
                <a:cubicBezTo>
                  <a:pt x="850" y="550"/>
                  <a:pt x="475" y="725"/>
                  <a:pt x="500" y="775"/>
                </a:cubicBezTo>
                <a:cubicBezTo>
                  <a:pt x="525" y="825"/>
                  <a:pt x="675" y="775"/>
                  <a:pt x="725" y="825"/>
                </a:cubicBezTo>
                <a:cubicBezTo>
                  <a:pt x="775" y="850"/>
                  <a:pt x="700" y="950"/>
                  <a:pt x="650" y="975"/>
                </a:cubicBezTo>
                <a:cubicBezTo>
                  <a:pt x="575" y="1025"/>
                  <a:pt x="350" y="1000"/>
                  <a:pt x="350" y="1050"/>
                </a:cubicBezTo>
                <a:cubicBezTo>
                  <a:pt x="350" y="1100"/>
                  <a:pt x="0" y="1100"/>
                  <a:pt x="0" y="1175"/>
                </a:cubicBezTo>
                <a:cubicBezTo>
                  <a:pt x="0" y="1200"/>
                  <a:pt x="0" y="1250"/>
                  <a:pt x="50" y="1250"/>
                </a:cubicBezTo>
                <a:cubicBezTo>
                  <a:pt x="100" y="1250"/>
                  <a:pt x="150" y="1250"/>
                  <a:pt x="200" y="1300"/>
                </a:cubicBezTo>
                <a:cubicBezTo>
                  <a:pt x="250" y="1350"/>
                  <a:pt x="375" y="1350"/>
                  <a:pt x="450" y="1300"/>
                </a:cubicBezTo>
                <a:cubicBezTo>
                  <a:pt x="550" y="1275"/>
                  <a:pt x="600" y="1325"/>
                  <a:pt x="600" y="1375"/>
                </a:cubicBezTo>
                <a:cubicBezTo>
                  <a:pt x="600" y="1425"/>
                  <a:pt x="425" y="1350"/>
                  <a:pt x="350" y="1375"/>
                </a:cubicBezTo>
                <a:cubicBezTo>
                  <a:pt x="300" y="1425"/>
                  <a:pt x="125" y="1400"/>
                  <a:pt x="125" y="1425"/>
                </a:cubicBezTo>
                <a:cubicBezTo>
                  <a:pt x="125" y="1475"/>
                  <a:pt x="225" y="1450"/>
                  <a:pt x="300" y="1475"/>
                </a:cubicBezTo>
                <a:cubicBezTo>
                  <a:pt x="375" y="1475"/>
                  <a:pt x="300" y="1525"/>
                  <a:pt x="300" y="1550"/>
                </a:cubicBezTo>
                <a:cubicBezTo>
                  <a:pt x="300" y="1575"/>
                  <a:pt x="325" y="1575"/>
                  <a:pt x="400" y="1600"/>
                </a:cubicBezTo>
                <a:cubicBezTo>
                  <a:pt x="475" y="1650"/>
                  <a:pt x="600" y="1675"/>
                  <a:pt x="550" y="1625"/>
                </a:cubicBezTo>
                <a:cubicBezTo>
                  <a:pt x="525" y="1575"/>
                  <a:pt x="625" y="1600"/>
                  <a:pt x="650" y="1625"/>
                </a:cubicBezTo>
                <a:cubicBezTo>
                  <a:pt x="675" y="1650"/>
                  <a:pt x="725" y="1575"/>
                  <a:pt x="775" y="1600"/>
                </a:cubicBezTo>
                <a:cubicBezTo>
                  <a:pt x="825" y="1600"/>
                  <a:pt x="850" y="1550"/>
                  <a:pt x="900" y="1575"/>
                </a:cubicBezTo>
                <a:cubicBezTo>
                  <a:pt x="925" y="1600"/>
                  <a:pt x="1125" y="1625"/>
                  <a:pt x="1200" y="1650"/>
                </a:cubicBezTo>
                <a:cubicBezTo>
                  <a:pt x="1275" y="1675"/>
                  <a:pt x="1350" y="1700"/>
                  <a:pt x="1350" y="1750"/>
                </a:cubicBezTo>
                <a:cubicBezTo>
                  <a:pt x="1350" y="1800"/>
                  <a:pt x="1400" y="1850"/>
                  <a:pt x="1475" y="1876"/>
                </a:cubicBezTo>
                <a:cubicBezTo>
                  <a:pt x="1550" y="1900"/>
                  <a:pt x="1575" y="1976"/>
                  <a:pt x="1575" y="2025"/>
                </a:cubicBezTo>
                <a:cubicBezTo>
                  <a:pt x="1550" y="2076"/>
                  <a:pt x="1650" y="2100"/>
                  <a:pt x="1625" y="2125"/>
                </a:cubicBezTo>
                <a:cubicBezTo>
                  <a:pt x="1625" y="2150"/>
                  <a:pt x="1625" y="2176"/>
                  <a:pt x="1675" y="2225"/>
                </a:cubicBezTo>
                <a:cubicBezTo>
                  <a:pt x="1725" y="2276"/>
                  <a:pt x="1600" y="2300"/>
                  <a:pt x="1625" y="2350"/>
                </a:cubicBezTo>
                <a:cubicBezTo>
                  <a:pt x="1650" y="2376"/>
                  <a:pt x="1575" y="2450"/>
                  <a:pt x="1675" y="2476"/>
                </a:cubicBezTo>
                <a:cubicBezTo>
                  <a:pt x="1775" y="2476"/>
                  <a:pt x="1750" y="2400"/>
                  <a:pt x="1825" y="2400"/>
                </a:cubicBezTo>
                <a:cubicBezTo>
                  <a:pt x="1875" y="2400"/>
                  <a:pt x="1825" y="2476"/>
                  <a:pt x="1850" y="2500"/>
                </a:cubicBezTo>
                <a:cubicBezTo>
                  <a:pt x="1875" y="2550"/>
                  <a:pt x="1950" y="2525"/>
                  <a:pt x="2025" y="2600"/>
                </a:cubicBezTo>
                <a:cubicBezTo>
                  <a:pt x="2100" y="2650"/>
                  <a:pt x="2050" y="2676"/>
                  <a:pt x="2000" y="2625"/>
                </a:cubicBezTo>
                <a:cubicBezTo>
                  <a:pt x="1925" y="2576"/>
                  <a:pt x="1750" y="2600"/>
                  <a:pt x="1750" y="2600"/>
                </a:cubicBezTo>
                <a:cubicBezTo>
                  <a:pt x="1750" y="2625"/>
                  <a:pt x="1950" y="2750"/>
                  <a:pt x="2000" y="2725"/>
                </a:cubicBezTo>
                <a:cubicBezTo>
                  <a:pt x="2050" y="2700"/>
                  <a:pt x="2100" y="2800"/>
                  <a:pt x="2075" y="2825"/>
                </a:cubicBezTo>
                <a:cubicBezTo>
                  <a:pt x="2050" y="2850"/>
                  <a:pt x="2075" y="2925"/>
                  <a:pt x="2050" y="2950"/>
                </a:cubicBezTo>
                <a:cubicBezTo>
                  <a:pt x="2050" y="2975"/>
                  <a:pt x="1975" y="2950"/>
                  <a:pt x="1950" y="2950"/>
                </a:cubicBezTo>
                <a:cubicBezTo>
                  <a:pt x="1900" y="2975"/>
                  <a:pt x="1875" y="2975"/>
                  <a:pt x="1875" y="3025"/>
                </a:cubicBezTo>
                <a:cubicBezTo>
                  <a:pt x="1875" y="3076"/>
                  <a:pt x="1800" y="3101"/>
                  <a:pt x="1775" y="3176"/>
                </a:cubicBezTo>
                <a:cubicBezTo>
                  <a:pt x="1775" y="3225"/>
                  <a:pt x="1850" y="3225"/>
                  <a:pt x="1875" y="3250"/>
                </a:cubicBezTo>
                <a:cubicBezTo>
                  <a:pt x="1925" y="3276"/>
                  <a:pt x="1800" y="3276"/>
                  <a:pt x="1800" y="3325"/>
                </a:cubicBezTo>
                <a:cubicBezTo>
                  <a:pt x="1800" y="3376"/>
                  <a:pt x="1900" y="3450"/>
                  <a:pt x="1925" y="3476"/>
                </a:cubicBezTo>
                <a:cubicBezTo>
                  <a:pt x="1975" y="3476"/>
                  <a:pt x="1950" y="3576"/>
                  <a:pt x="1950" y="3625"/>
                </a:cubicBezTo>
                <a:cubicBezTo>
                  <a:pt x="1975" y="3676"/>
                  <a:pt x="2025" y="3625"/>
                  <a:pt x="2000" y="3676"/>
                </a:cubicBezTo>
                <a:cubicBezTo>
                  <a:pt x="2000" y="3725"/>
                  <a:pt x="2050" y="3725"/>
                  <a:pt x="2050" y="3776"/>
                </a:cubicBezTo>
                <a:cubicBezTo>
                  <a:pt x="2050" y="3801"/>
                  <a:pt x="2150" y="3801"/>
                  <a:pt x="2125" y="3850"/>
                </a:cubicBezTo>
                <a:cubicBezTo>
                  <a:pt x="2100" y="3901"/>
                  <a:pt x="2150" y="3925"/>
                  <a:pt x="2175" y="3976"/>
                </a:cubicBezTo>
                <a:cubicBezTo>
                  <a:pt x="2201" y="4001"/>
                  <a:pt x="2275" y="4050"/>
                  <a:pt x="2275" y="4076"/>
                </a:cubicBezTo>
                <a:cubicBezTo>
                  <a:pt x="2301" y="4101"/>
                  <a:pt x="2325" y="4150"/>
                  <a:pt x="2375" y="4150"/>
                </a:cubicBezTo>
                <a:cubicBezTo>
                  <a:pt x="2425" y="4125"/>
                  <a:pt x="2425" y="4176"/>
                  <a:pt x="2475" y="4176"/>
                </a:cubicBezTo>
                <a:cubicBezTo>
                  <a:pt x="2525" y="4176"/>
                  <a:pt x="2575" y="4201"/>
                  <a:pt x="2575" y="4226"/>
                </a:cubicBezTo>
                <a:cubicBezTo>
                  <a:pt x="2601" y="4250"/>
                  <a:pt x="2725" y="4275"/>
                  <a:pt x="2750" y="4275"/>
                </a:cubicBezTo>
                <a:cubicBezTo>
                  <a:pt x="2775" y="4301"/>
                  <a:pt x="2801" y="4226"/>
                  <a:pt x="2825" y="4201"/>
                </a:cubicBezTo>
                <a:cubicBezTo>
                  <a:pt x="2850" y="4201"/>
                  <a:pt x="2850" y="4076"/>
                  <a:pt x="2875" y="4076"/>
                </a:cubicBezTo>
                <a:cubicBezTo>
                  <a:pt x="2901" y="4050"/>
                  <a:pt x="2875" y="3925"/>
                  <a:pt x="2850" y="3925"/>
                </a:cubicBezTo>
                <a:cubicBezTo>
                  <a:pt x="2825" y="3901"/>
                  <a:pt x="2850" y="3850"/>
                  <a:pt x="2901" y="3876"/>
                </a:cubicBezTo>
                <a:cubicBezTo>
                  <a:pt x="2975" y="3876"/>
                  <a:pt x="2950" y="3825"/>
                  <a:pt x="2975" y="3801"/>
                </a:cubicBezTo>
                <a:cubicBezTo>
                  <a:pt x="3001" y="3801"/>
                  <a:pt x="3001" y="3750"/>
                  <a:pt x="3025" y="3725"/>
                </a:cubicBezTo>
                <a:cubicBezTo>
                  <a:pt x="3050" y="3725"/>
                  <a:pt x="3025" y="3701"/>
                  <a:pt x="3025" y="3676"/>
                </a:cubicBezTo>
                <a:cubicBezTo>
                  <a:pt x="3001" y="3650"/>
                  <a:pt x="3025" y="3625"/>
                  <a:pt x="3050" y="3625"/>
                </a:cubicBezTo>
                <a:cubicBezTo>
                  <a:pt x="3101" y="3625"/>
                  <a:pt x="3075" y="3576"/>
                  <a:pt x="3025" y="3550"/>
                </a:cubicBezTo>
                <a:cubicBezTo>
                  <a:pt x="3001" y="3525"/>
                  <a:pt x="3001" y="3476"/>
                  <a:pt x="3050" y="3525"/>
                </a:cubicBezTo>
                <a:cubicBezTo>
                  <a:pt x="3101" y="3550"/>
                  <a:pt x="3126" y="3525"/>
                  <a:pt x="3101" y="3501"/>
                </a:cubicBezTo>
                <a:cubicBezTo>
                  <a:pt x="3075" y="3450"/>
                  <a:pt x="3126" y="3450"/>
                  <a:pt x="3201" y="3425"/>
                </a:cubicBezTo>
                <a:cubicBezTo>
                  <a:pt x="3250" y="3425"/>
                  <a:pt x="3275" y="3401"/>
                  <a:pt x="3275" y="3350"/>
                </a:cubicBezTo>
                <a:cubicBezTo>
                  <a:pt x="3250" y="3301"/>
                  <a:pt x="3326" y="3325"/>
                  <a:pt x="3326" y="3350"/>
                </a:cubicBezTo>
                <a:cubicBezTo>
                  <a:pt x="3301" y="3401"/>
                  <a:pt x="3301" y="3425"/>
                  <a:pt x="3326" y="3401"/>
                </a:cubicBezTo>
                <a:cubicBezTo>
                  <a:pt x="3375" y="3376"/>
                  <a:pt x="3426" y="3401"/>
                  <a:pt x="3501" y="3376"/>
                </a:cubicBezTo>
                <a:cubicBezTo>
                  <a:pt x="3601" y="3350"/>
                  <a:pt x="3701" y="3250"/>
                  <a:pt x="3726" y="3176"/>
                </a:cubicBezTo>
                <a:cubicBezTo>
                  <a:pt x="3750" y="3101"/>
                  <a:pt x="3850" y="3125"/>
                  <a:pt x="3826" y="3076"/>
                </a:cubicBezTo>
                <a:cubicBezTo>
                  <a:pt x="3826" y="3025"/>
                  <a:pt x="3850" y="3001"/>
                  <a:pt x="3926" y="3025"/>
                </a:cubicBezTo>
                <a:cubicBezTo>
                  <a:pt x="4001" y="3076"/>
                  <a:pt x="3951" y="3001"/>
                  <a:pt x="4026" y="3001"/>
                </a:cubicBezTo>
                <a:cubicBezTo>
                  <a:pt x="4101" y="3001"/>
                  <a:pt x="4075" y="2975"/>
                  <a:pt x="4151" y="2975"/>
                </a:cubicBezTo>
                <a:cubicBezTo>
                  <a:pt x="4226" y="2975"/>
                  <a:pt x="4426" y="2950"/>
                  <a:pt x="4501" y="2900"/>
                </a:cubicBezTo>
                <a:cubicBezTo>
                  <a:pt x="4551" y="2825"/>
                  <a:pt x="4701" y="2776"/>
                  <a:pt x="4751" y="2750"/>
                </a:cubicBezTo>
                <a:cubicBezTo>
                  <a:pt x="4826" y="2725"/>
                  <a:pt x="4826" y="2676"/>
                  <a:pt x="4801" y="2700"/>
                </a:cubicBezTo>
                <a:cubicBezTo>
                  <a:pt x="4751" y="2725"/>
                  <a:pt x="4675" y="2725"/>
                  <a:pt x="4626" y="2700"/>
                </a:cubicBezTo>
                <a:cubicBezTo>
                  <a:pt x="4575" y="2700"/>
                  <a:pt x="4475" y="2650"/>
                  <a:pt x="4426" y="2676"/>
                </a:cubicBezTo>
                <a:cubicBezTo>
                  <a:pt x="4351" y="2725"/>
                  <a:pt x="4401" y="2625"/>
                  <a:pt x="4451" y="2625"/>
                </a:cubicBezTo>
                <a:cubicBezTo>
                  <a:pt x="4501" y="2625"/>
                  <a:pt x="4475" y="2600"/>
                  <a:pt x="4475" y="2525"/>
                </a:cubicBezTo>
                <a:cubicBezTo>
                  <a:pt x="4451" y="2476"/>
                  <a:pt x="4551" y="2525"/>
                  <a:pt x="4601" y="2576"/>
                </a:cubicBezTo>
                <a:cubicBezTo>
                  <a:pt x="4651" y="2650"/>
                  <a:pt x="4726" y="2676"/>
                  <a:pt x="4801" y="2650"/>
                </a:cubicBezTo>
                <a:cubicBezTo>
                  <a:pt x="4876" y="2625"/>
                  <a:pt x="4801" y="2576"/>
                  <a:pt x="4826" y="2525"/>
                </a:cubicBezTo>
                <a:cubicBezTo>
                  <a:pt x="4876" y="2476"/>
                  <a:pt x="4601" y="2350"/>
                  <a:pt x="4601" y="2300"/>
                </a:cubicBezTo>
                <a:cubicBezTo>
                  <a:pt x="4575" y="2276"/>
                  <a:pt x="4651" y="2300"/>
                  <a:pt x="4726" y="2325"/>
                </a:cubicBezTo>
                <a:cubicBezTo>
                  <a:pt x="4801" y="2350"/>
                  <a:pt x="4826" y="2276"/>
                  <a:pt x="4826" y="2225"/>
                </a:cubicBezTo>
                <a:cubicBezTo>
                  <a:pt x="4826" y="2200"/>
                  <a:pt x="4675" y="2176"/>
                  <a:pt x="4601" y="2225"/>
                </a:cubicBezTo>
                <a:cubicBezTo>
                  <a:pt x="4526" y="2276"/>
                  <a:pt x="4451" y="2176"/>
                  <a:pt x="4551" y="2176"/>
                </a:cubicBezTo>
                <a:cubicBezTo>
                  <a:pt x="4651" y="2150"/>
                  <a:pt x="4551" y="2125"/>
                  <a:pt x="4601" y="2076"/>
                </a:cubicBezTo>
                <a:cubicBezTo>
                  <a:pt x="4626" y="2050"/>
                  <a:pt x="4726" y="2176"/>
                  <a:pt x="4801" y="2150"/>
                </a:cubicBezTo>
                <a:cubicBezTo>
                  <a:pt x="4851" y="2125"/>
                  <a:pt x="4901" y="2150"/>
                  <a:pt x="4951" y="2100"/>
                </a:cubicBezTo>
                <a:cubicBezTo>
                  <a:pt x="5001" y="2076"/>
                  <a:pt x="4851" y="2025"/>
                  <a:pt x="4826" y="2000"/>
                </a:cubicBezTo>
                <a:cubicBezTo>
                  <a:pt x="4801" y="1950"/>
                  <a:pt x="4976" y="1976"/>
                  <a:pt x="5051" y="1976"/>
                </a:cubicBezTo>
                <a:cubicBezTo>
                  <a:pt x="5101" y="1976"/>
                  <a:pt x="5101" y="1900"/>
                  <a:pt x="5076" y="1900"/>
                </a:cubicBezTo>
                <a:cubicBezTo>
                  <a:pt x="5026" y="1925"/>
                  <a:pt x="4851" y="1850"/>
                  <a:pt x="4901" y="1800"/>
                </a:cubicBezTo>
                <a:cubicBezTo>
                  <a:pt x="4926" y="1750"/>
                  <a:pt x="5001" y="1800"/>
                  <a:pt x="5051" y="1775"/>
                </a:cubicBezTo>
                <a:cubicBezTo>
                  <a:pt x="5126" y="1750"/>
                  <a:pt x="5076" y="1600"/>
                  <a:pt x="5026" y="1600"/>
                </a:cubicBezTo>
                <a:cubicBezTo>
                  <a:pt x="4976" y="1600"/>
                  <a:pt x="4851" y="1575"/>
                  <a:pt x="4851" y="1550"/>
                </a:cubicBezTo>
                <a:cubicBezTo>
                  <a:pt x="4851" y="1525"/>
                  <a:pt x="4751" y="1525"/>
                  <a:pt x="4775" y="1500"/>
                </a:cubicBezTo>
                <a:cubicBezTo>
                  <a:pt x="4801" y="1475"/>
                  <a:pt x="4851" y="1525"/>
                  <a:pt x="4901" y="1475"/>
                </a:cubicBezTo>
                <a:cubicBezTo>
                  <a:pt x="4976" y="1425"/>
                  <a:pt x="5101" y="1475"/>
                  <a:pt x="5151" y="1475"/>
                </a:cubicBezTo>
                <a:cubicBezTo>
                  <a:pt x="5226" y="1450"/>
                  <a:pt x="5126" y="1350"/>
                  <a:pt x="5101" y="1375"/>
                </a:cubicBezTo>
                <a:cubicBezTo>
                  <a:pt x="5076" y="1400"/>
                  <a:pt x="4951" y="1400"/>
                  <a:pt x="4951" y="1350"/>
                </a:cubicBezTo>
                <a:cubicBezTo>
                  <a:pt x="4951" y="1275"/>
                  <a:pt x="5051" y="1350"/>
                  <a:pt x="5076" y="1300"/>
                </a:cubicBezTo>
                <a:cubicBezTo>
                  <a:pt x="5101" y="1275"/>
                  <a:pt x="4926" y="1200"/>
                  <a:pt x="4876" y="1275"/>
                </a:cubicBezTo>
                <a:cubicBezTo>
                  <a:pt x="4851" y="1325"/>
                  <a:pt x="4751" y="1300"/>
                  <a:pt x="4801" y="1275"/>
                </a:cubicBezTo>
                <a:cubicBezTo>
                  <a:pt x="4876" y="1250"/>
                  <a:pt x="4876" y="1150"/>
                  <a:pt x="4876" y="1100"/>
                </a:cubicBezTo>
                <a:cubicBezTo>
                  <a:pt x="4876" y="1050"/>
                  <a:pt x="5051" y="1050"/>
                  <a:pt x="5026" y="975"/>
                </a:cubicBezTo>
                <a:cubicBezTo>
                  <a:pt x="5026" y="900"/>
                  <a:pt x="5126" y="875"/>
                  <a:pt x="5200" y="875"/>
                </a:cubicBezTo>
                <a:cubicBezTo>
                  <a:pt x="5251" y="875"/>
                  <a:pt x="5200" y="800"/>
                  <a:pt x="5126" y="800"/>
                </a:cubicBezTo>
                <a:cubicBezTo>
                  <a:pt x="5076" y="800"/>
                  <a:pt x="5001" y="875"/>
                  <a:pt x="4976" y="850"/>
                </a:cubicBezTo>
                <a:cubicBezTo>
                  <a:pt x="4951" y="825"/>
                  <a:pt x="5051" y="775"/>
                  <a:pt x="5101" y="775"/>
                </a:cubicBezTo>
                <a:cubicBezTo>
                  <a:pt x="5151" y="775"/>
                  <a:pt x="5301" y="775"/>
                  <a:pt x="5326" y="750"/>
                </a:cubicBezTo>
                <a:cubicBezTo>
                  <a:pt x="5376" y="725"/>
                  <a:pt x="5251" y="700"/>
                  <a:pt x="5176" y="700"/>
                </a:cubicBezTo>
                <a:cubicBezTo>
                  <a:pt x="5076" y="700"/>
                  <a:pt x="5076" y="675"/>
                  <a:pt x="5200" y="675"/>
                </a:cubicBezTo>
                <a:cubicBezTo>
                  <a:pt x="5351" y="675"/>
                  <a:pt x="5326" y="650"/>
                  <a:pt x="5426" y="625"/>
                </a:cubicBezTo>
                <a:cubicBezTo>
                  <a:pt x="5501" y="625"/>
                  <a:pt x="5476" y="575"/>
                  <a:pt x="5526" y="575"/>
                </a:cubicBezTo>
                <a:cubicBezTo>
                  <a:pt x="5601" y="575"/>
                  <a:pt x="5751" y="500"/>
                  <a:pt x="5751" y="475"/>
                </a:cubicBezTo>
                <a:cubicBezTo>
                  <a:pt x="5751" y="450"/>
                  <a:pt x="5526" y="375"/>
                  <a:pt x="5426" y="375"/>
                </a:cubicBezTo>
                <a:close/>
                <a:moveTo>
                  <a:pt x="1975" y="2800"/>
                </a:moveTo>
                <a:lnTo>
                  <a:pt x="1975" y="2800"/>
                </a:lnTo>
                <a:cubicBezTo>
                  <a:pt x="1975" y="2750"/>
                  <a:pt x="1925" y="2800"/>
                  <a:pt x="1900" y="2725"/>
                </a:cubicBezTo>
                <a:cubicBezTo>
                  <a:pt x="1850" y="2676"/>
                  <a:pt x="1725" y="2650"/>
                  <a:pt x="1700" y="2700"/>
                </a:cubicBezTo>
                <a:cubicBezTo>
                  <a:pt x="1700" y="2725"/>
                  <a:pt x="1650" y="2750"/>
                  <a:pt x="1700" y="2776"/>
                </a:cubicBezTo>
                <a:cubicBezTo>
                  <a:pt x="1725" y="2825"/>
                  <a:pt x="1750" y="2800"/>
                  <a:pt x="1800" y="2850"/>
                </a:cubicBezTo>
                <a:cubicBezTo>
                  <a:pt x="1825" y="2875"/>
                  <a:pt x="1950" y="2850"/>
                  <a:pt x="1975" y="280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6" name="Freeform 122">
            <a:extLst>
              <a:ext uri="{FF2B5EF4-FFF2-40B4-BE49-F238E27FC236}">
                <a16:creationId xmlns:a16="http://schemas.microsoft.com/office/drawing/2014/main" id="{62CFCC59-3EEB-2A4A-9DE3-D424FAA03791}"/>
              </a:ext>
            </a:extLst>
          </p:cNvPr>
          <p:cNvSpPr>
            <a:spLocks noChangeArrowheads="1"/>
          </p:cNvSpPr>
          <p:nvPr/>
        </p:nvSpPr>
        <p:spPr bwMode="auto">
          <a:xfrm>
            <a:off x="4616636" y="6646149"/>
            <a:ext cx="71717" cy="56249"/>
          </a:xfrm>
          <a:custGeom>
            <a:avLst/>
            <a:gdLst>
              <a:gd name="T0" fmla="*/ 0 w 227"/>
              <a:gd name="T1" fmla="*/ 26 h 177"/>
              <a:gd name="T2" fmla="*/ 0 w 227"/>
              <a:gd name="T3" fmla="*/ 26 h 177"/>
              <a:gd name="T4" fmla="*/ 100 w 227"/>
              <a:gd name="T5" fmla="*/ 76 h 177"/>
              <a:gd name="T6" fmla="*/ 200 w 227"/>
              <a:gd name="T7" fmla="*/ 126 h 177"/>
              <a:gd name="T8" fmla="*/ 0 w 227"/>
              <a:gd name="T9" fmla="*/ 26 h 177"/>
            </a:gdLst>
            <a:ahLst/>
            <a:cxnLst>
              <a:cxn ang="0">
                <a:pos x="T0" y="T1"/>
              </a:cxn>
              <a:cxn ang="0">
                <a:pos x="T2" y="T3"/>
              </a:cxn>
              <a:cxn ang="0">
                <a:pos x="T4" y="T5"/>
              </a:cxn>
              <a:cxn ang="0">
                <a:pos x="T6" y="T7"/>
              </a:cxn>
              <a:cxn ang="0">
                <a:pos x="T8" y="T9"/>
              </a:cxn>
            </a:cxnLst>
            <a:rect l="0" t="0" r="r" b="b"/>
            <a:pathLst>
              <a:path w="227" h="177">
                <a:moveTo>
                  <a:pt x="0" y="26"/>
                </a:moveTo>
                <a:lnTo>
                  <a:pt x="0" y="26"/>
                </a:lnTo>
                <a:cubicBezTo>
                  <a:pt x="26" y="76"/>
                  <a:pt x="51" y="51"/>
                  <a:pt x="100" y="76"/>
                </a:cubicBezTo>
                <a:cubicBezTo>
                  <a:pt x="126" y="126"/>
                  <a:pt x="151" y="176"/>
                  <a:pt x="200" y="126"/>
                </a:cubicBezTo>
                <a:cubicBezTo>
                  <a:pt x="226" y="76"/>
                  <a:pt x="0" y="0"/>
                  <a:pt x="0" y="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7" name="Freeform 123">
            <a:extLst>
              <a:ext uri="{FF2B5EF4-FFF2-40B4-BE49-F238E27FC236}">
                <a16:creationId xmlns:a16="http://schemas.microsoft.com/office/drawing/2014/main" id="{32D404FB-A244-8C44-B608-69969B137516}"/>
              </a:ext>
            </a:extLst>
          </p:cNvPr>
          <p:cNvSpPr>
            <a:spLocks noChangeArrowheads="1"/>
          </p:cNvSpPr>
          <p:nvPr/>
        </p:nvSpPr>
        <p:spPr bwMode="auto">
          <a:xfrm>
            <a:off x="1507438" y="1424773"/>
            <a:ext cx="2671857" cy="2057331"/>
          </a:xfrm>
          <a:custGeom>
            <a:avLst/>
            <a:gdLst>
              <a:gd name="T0" fmla="*/ 1701 w 8378"/>
              <a:gd name="T1" fmla="*/ 5726 h 6452"/>
              <a:gd name="T2" fmla="*/ 2076 w 8378"/>
              <a:gd name="T3" fmla="*/ 1901 h 6452"/>
              <a:gd name="T4" fmla="*/ 3426 w 8378"/>
              <a:gd name="T5" fmla="*/ 2001 h 6452"/>
              <a:gd name="T6" fmla="*/ 2551 w 8378"/>
              <a:gd name="T7" fmla="*/ 2175 h 6452"/>
              <a:gd name="T8" fmla="*/ 2601 w 8378"/>
              <a:gd name="T9" fmla="*/ 2800 h 6452"/>
              <a:gd name="T10" fmla="*/ 1750 w 8378"/>
              <a:gd name="T11" fmla="*/ 1525 h 6452"/>
              <a:gd name="T12" fmla="*/ 2350 w 8378"/>
              <a:gd name="T13" fmla="*/ 1275 h 6452"/>
              <a:gd name="T14" fmla="*/ 2501 w 8378"/>
              <a:gd name="T15" fmla="*/ 1725 h 6452"/>
              <a:gd name="T16" fmla="*/ 3026 w 8378"/>
              <a:gd name="T17" fmla="*/ 1650 h 6452"/>
              <a:gd name="T18" fmla="*/ 2926 w 8378"/>
              <a:gd name="T19" fmla="*/ 1225 h 6452"/>
              <a:gd name="T20" fmla="*/ 3801 w 8378"/>
              <a:gd name="T21" fmla="*/ 1150 h 6452"/>
              <a:gd name="T22" fmla="*/ 3901 w 8378"/>
              <a:gd name="T23" fmla="*/ 750 h 6452"/>
              <a:gd name="T24" fmla="*/ 3501 w 8378"/>
              <a:gd name="T25" fmla="*/ 1525 h 6452"/>
              <a:gd name="T26" fmla="*/ 4201 w 8378"/>
              <a:gd name="T27" fmla="*/ 1200 h 6452"/>
              <a:gd name="T28" fmla="*/ 4177 w 8378"/>
              <a:gd name="T29" fmla="*/ 2125 h 6452"/>
              <a:gd name="T30" fmla="*/ 4751 w 8378"/>
              <a:gd name="T31" fmla="*/ 1801 h 6452"/>
              <a:gd name="T32" fmla="*/ 4501 w 8378"/>
              <a:gd name="T33" fmla="*/ 1500 h 6452"/>
              <a:gd name="T34" fmla="*/ 4926 w 8378"/>
              <a:gd name="T35" fmla="*/ 1125 h 6452"/>
              <a:gd name="T36" fmla="*/ 4326 w 8378"/>
              <a:gd name="T37" fmla="*/ 700 h 6452"/>
              <a:gd name="T38" fmla="*/ 5826 w 8378"/>
              <a:gd name="T39" fmla="*/ 600 h 6452"/>
              <a:gd name="T40" fmla="*/ 5077 w 8378"/>
              <a:gd name="T41" fmla="*/ 1200 h 6452"/>
              <a:gd name="T42" fmla="*/ 5926 w 8378"/>
              <a:gd name="T43" fmla="*/ 1275 h 6452"/>
              <a:gd name="T44" fmla="*/ 7502 w 8378"/>
              <a:gd name="T45" fmla="*/ 175 h 6452"/>
              <a:gd name="T46" fmla="*/ 5526 w 8378"/>
              <a:gd name="T47" fmla="*/ 175 h 6452"/>
              <a:gd name="T48" fmla="*/ 5426 w 8378"/>
              <a:gd name="T49" fmla="*/ 3875 h 6452"/>
              <a:gd name="T50" fmla="*/ 5551 w 8378"/>
              <a:gd name="T51" fmla="*/ 3650 h 6452"/>
              <a:gd name="T52" fmla="*/ 6927 w 8378"/>
              <a:gd name="T53" fmla="*/ 2750 h 6452"/>
              <a:gd name="T54" fmla="*/ 5926 w 8378"/>
              <a:gd name="T55" fmla="*/ 2250 h 6452"/>
              <a:gd name="T56" fmla="*/ 4926 w 8378"/>
              <a:gd name="T57" fmla="*/ 2075 h 6452"/>
              <a:gd name="T58" fmla="*/ 6051 w 8378"/>
              <a:gd name="T59" fmla="*/ 2675 h 6452"/>
              <a:gd name="T60" fmla="*/ 5977 w 8378"/>
              <a:gd name="T61" fmla="*/ 3550 h 6452"/>
              <a:gd name="T62" fmla="*/ 6952 w 8378"/>
              <a:gd name="T63" fmla="*/ 3226 h 6452"/>
              <a:gd name="T64" fmla="*/ 5702 w 8378"/>
              <a:gd name="T65" fmla="*/ 2001 h 6452"/>
              <a:gd name="T66" fmla="*/ 8002 w 8378"/>
              <a:gd name="T67" fmla="*/ 5476 h 6452"/>
              <a:gd name="T68" fmla="*/ 8327 w 8378"/>
              <a:gd name="T69" fmla="*/ 5801 h 6452"/>
              <a:gd name="T70" fmla="*/ 7227 w 8378"/>
              <a:gd name="T71" fmla="*/ 5826 h 6452"/>
              <a:gd name="T72" fmla="*/ 8077 w 8378"/>
              <a:gd name="T73" fmla="*/ 5251 h 6452"/>
              <a:gd name="T74" fmla="*/ 7752 w 8378"/>
              <a:gd name="T75" fmla="*/ 4851 h 6452"/>
              <a:gd name="T76" fmla="*/ 7177 w 8378"/>
              <a:gd name="T77" fmla="*/ 4226 h 6452"/>
              <a:gd name="T78" fmla="*/ 6577 w 8378"/>
              <a:gd name="T79" fmla="*/ 4001 h 6452"/>
              <a:gd name="T80" fmla="*/ 6027 w 8378"/>
              <a:gd name="T81" fmla="*/ 4200 h 6452"/>
              <a:gd name="T82" fmla="*/ 5802 w 8378"/>
              <a:gd name="T83" fmla="*/ 5376 h 6452"/>
              <a:gd name="T84" fmla="*/ 4726 w 8378"/>
              <a:gd name="T85" fmla="*/ 4575 h 6452"/>
              <a:gd name="T86" fmla="*/ 4626 w 8378"/>
              <a:gd name="T87" fmla="*/ 3675 h 6452"/>
              <a:gd name="T88" fmla="*/ 5277 w 8378"/>
              <a:gd name="T89" fmla="*/ 3250 h 6452"/>
              <a:gd name="T90" fmla="*/ 5526 w 8378"/>
              <a:gd name="T91" fmla="*/ 2725 h 6452"/>
              <a:gd name="T92" fmla="*/ 5026 w 8378"/>
              <a:gd name="T93" fmla="*/ 2926 h 6452"/>
              <a:gd name="T94" fmla="*/ 4551 w 8378"/>
              <a:gd name="T95" fmla="*/ 2501 h 6452"/>
              <a:gd name="T96" fmla="*/ 4301 w 8378"/>
              <a:gd name="T97" fmla="*/ 2101 h 6452"/>
              <a:gd name="T98" fmla="*/ 4426 w 8378"/>
              <a:gd name="T99" fmla="*/ 2926 h 6452"/>
              <a:gd name="T100" fmla="*/ 4151 w 8378"/>
              <a:gd name="T101" fmla="*/ 2701 h 6452"/>
              <a:gd name="T102" fmla="*/ 3226 w 8378"/>
              <a:gd name="T103" fmla="*/ 2850 h 6452"/>
              <a:gd name="T104" fmla="*/ 2451 w 8378"/>
              <a:gd name="T105" fmla="*/ 3026 h 6452"/>
              <a:gd name="T106" fmla="*/ 1201 w 8378"/>
              <a:gd name="T107" fmla="*/ 2650 h 6452"/>
              <a:gd name="T108" fmla="*/ 625 w 8378"/>
              <a:gd name="T109" fmla="*/ 2725 h 6452"/>
              <a:gd name="T110" fmla="*/ 601 w 8378"/>
              <a:gd name="T111" fmla="*/ 4275 h 6452"/>
              <a:gd name="T112" fmla="*/ 1250 w 8378"/>
              <a:gd name="T113" fmla="*/ 5326 h 6452"/>
              <a:gd name="T114" fmla="*/ 4651 w 8378"/>
              <a:gd name="T115" fmla="*/ 5726 h 6452"/>
              <a:gd name="T116" fmla="*/ 5551 w 8378"/>
              <a:gd name="T117" fmla="*/ 6376 h 6452"/>
              <a:gd name="T118" fmla="*/ 6802 w 8378"/>
              <a:gd name="T119" fmla="*/ 5826 h 6452"/>
              <a:gd name="T120" fmla="*/ 7677 w 8378"/>
              <a:gd name="T121" fmla="*/ 6026 h 6452"/>
              <a:gd name="T122" fmla="*/ 1876 w 8378"/>
              <a:gd name="T123" fmla="*/ 3301 h 6452"/>
              <a:gd name="T124" fmla="*/ 2476 w 8378"/>
              <a:gd name="T125" fmla="*/ 3926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8" h="6452">
                <a:moveTo>
                  <a:pt x="1650" y="5651"/>
                </a:moveTo>
                <a:lnTo>
                  <a:pt x="1650" y="5651"/>
                </a:lnTo>
                <a:cubicBezTo>
                  <a:pt x="1626" y="5626"/>
                  <a:pt x="1576" y="5626"/>
                  <a:pt x="1550" y="5600"/>
                </a:cubicBezTo>
                <a:cubicBezTo>
                  <a:pt x="1550" y="5576"/>
                  <a:pt x="1476" y="5476"/>
                  <a:pt x="1450" y="5476"/>
                </a:cubicBezTo>
                <a:cubicBezTo>
                  <a:pt x="1401" y="5476"/>
                  <a:pt x="1350" y="5476"/>
                  <a:pt x="1325" y="5451"/>
                </a:cubicBezTo>
                <a:cubicBezTo>
                  <a:pt x="1276" y="5426"/>
                  <a:pt x="1250" y="5401"/>
                  <a:pt x="1225" y="5426"/>
                </a:cubicBezTo>
                <a:cubicBezTo>
                  <a:pt x="1201" y="5451"/>
                  <a:pt x="1250" y="5451"/>
                  <a:pt x="1250" y="5476"/>
                </a:cubicBezTo>
                <a:cubicBezTo>
                  <a:pt x="1250" y="5500"/>
                  <a:pt x="1276" y="5500"/>
                  <a:pt x="1301" y="5500"/>
                </a:cubicBezTo>
                <a:cubicBezTo>
                  <a:pt x="1325" y="5500"/>
                  <a:pt x="1325" y="5551"/>
                  <a:pt x="1350" y="5551"/>
                </a:cubicBezTo>
                <a:cubicBezTo>
                  <a:pt x="1376" y="5551"/>
                  <a:pt x="1401" y="5600"/>
                  <a:pt x="1425" y="5600"/>
                </a:cubicBezTo>
                <a:cubicBezTo>
                  <a:pt x="1450" y="5600"/>
                  <a:pt x="1450" y="5626"/>
                  <a:pt x="1476" y="5651"/>
                </a:cubicBezTo>
                <a:cubicBezTo>
                  <a:pt x="1476" y="5676"/>
                  <a:pt x="1526" y="5651"/>
                  <a:pt x="1526" y="5676"/>
                </a:cubicBezTo>
                <a:cubicBezTo>
                  <a:pt x="1526" y="5676"/>
                  <a:pt x="1550" y="5701"/>
                  <a:pt x="1550" y="5726"/>
                </a:cubicBezTo>
                <a:cubicBezTo>
                  <a:pt x="1626" y="5726"/>
                  <a:pt x="1676" y="5726"/>
                  <a:pt x="1701" y="5726"/>
                </a:cubicBezTo>
                <a:cubicBezTo>
                  <a:pt x="1701" y="5701"/>
                  <a:pt x="1726" y="5701"/>
                  <a:pt x="1726" y="5676"/>
                </a:cubicBezTo>
                <a:cubicBezTo>
                  <a:pt x="1726" y="5651"/>
                  <a:pt x="1701" y="5676"/>
                  <a:pt x="1650" y="5651"/>
                </a:cubicBezTo>
                <a:close/>
                <a:moveTo>
                  <a:pt x="1601" y="2325"/>
                </a:moveTo>
                <a:lnTo>
                  <a:pt x="1601" y="2325"/>
                </a:lnTo>
                <a:cubicBezTo>
                  <a:pt x="1676" y="2350"/>
                  <a:pt x="1676" y="2475"/>
                  <a:pt x="1726" y="2475"/>
                </a:cubicBezTo>
                <a:cubicBezTo>
                  <a:pt x="1750" y="2475"/>
                  <a:pt x="1726" y="2450"/>
                  <a:pt x="1776" y="2450"/>
                </a:cubicBezTo>
                <a:cubicBezTo>
                  <a:pt x="1850" y="2450"/>
                  <a:pt x="1826" y="2425"/>
                  <a:pt x="1876" y="2425"/>
                </a:cubicBezTo>
                <a:cubicBezTo>
                  <a:pt x="1926" y="2425"/>
                  <a:pt x="1976" y="2401"/>
                  <a:pt x="1976" y="2350"/>
                </a:cubicBezTo>
                <a:cubicBezTo>
                  <a:pt x="1976" y="2301"/>
                  <a:pt x="2001" y="2275"/>
                  <a:pt x="2050" y="2250"/>
                </a:cubicBezTo>
                <a:cubicBezTo>
                  <a:pt x="2101" y="2250"/>
                  <a:pt x="2050" y="2175"/>
                  <a:pt x="2126" y="2175"/>
                </a:cubicBezTo>
                <a:cubicBezTo>
                  <a:pt x="2201" y="2150"/>
                  <a:pt x="2401" y="2075"/>
                  <a:pt x="2426" y="2050"/>
                </a:cubicBezTo>
                <a:cubicBezTo>
                  <a:pt x="2476" y="2025"/>
                  <a:pt x="2401" y="1975"/>
                  <a:pt x="2326" y="1925"/>
                </a:cubicBezTo>
                <a:cubicBezTo>
                  <a:pt x="2250" y="1901"/>
                  <a:pt x="2176" y="1875"/>
                  <a:pt x="2126" y="1925"/>
                </a:cubicBezTo>
                <a:cubicBezTo>
                  <a:pt x="2076" y="1950"/>
                  <a:pt x="2101" y="1875"/>
                  <a:pt x="2076" y="1901"/>
                </a:cubicBezTo>
                <a:cubicBezTo>
                  <a:pt x="2026" y="1925"/>
                  <a:pt x="1901" y="1850"/>
                  <a:pt x="1876" y="1850"/>
                </a:cubicBezTo>
                <a:cubicBezTo>
                  <a:pt x="1850" y="1825"/>
                  <a:pt x="1626" y="1875"/>
                  <a:pt x="1576" y="1875"/>
                </a:cubicBezTo>
                <a:cubicBezTo>
                  <a:pt x="1526" y="1875"/>
                  <a:pt x="1576" y="1950"/>
                  <a:pt x="1626" y="1975"/>
                </a:cubicBezTo>
                <a:cubicBezTo>
                  <a:pt x="1650" y="2001"/>
                  <a:pt x="1526" y="2101"/>
                  <a:pt x="1550" y="2125"/>
                </a:cubicBezTo>
                <a:cubicBezTo>
                  <a:pt x="1576" y="2125"/>
                  <a:pt x="1526" y="2201"/>
                  <a:pt x="1476" y="2250"/>
                </a:cubicBezTo>
                <a:cubicBezTo>
                  <a:pt x="1425" y="2325"/>
                  <a:pt x="1526" y="2325"/>
                  <a:pt x="1601" y="2325"/>
                </a:cubicBezTo>
                <a:close/>
                <a:moveTo>
                  <a:pt x="3676" y="2675"/>
                </a:moveTo>
                <a:lnTo>
                  <a:pt x="3676" y="2675"/>
                </a:lnTo>
                <a:cubicBezTo>
                  <a:pt x="3701" y="2650"/>
                  <a:pt x="3801" y="2725"/>
                  <a:pt x="3801" y="2675"/>
                </a:cubicBezTo>
                <a:cubicBezTo>
                  <a:pt x="3801" y="2601"/>
                  <a:pt x="3701" y="2575"/>
                  <a:pt x="3651" y="2550"/>
                </a:cubicBezTo>
                <a:cubicBezTo>
                  <a:pt x="3601" y="2525"/>
                  <a:pt x="3576" y="2525"/>
                  <a:pt x="3501" y="2475"/>
                </a:cubicBezTo>
                <a:cubicBezTo>
                  <a:pt x="3401" y="2425"/>
                  <a:pt x="3501" y="2375"/>
                  <a:pt x="3451" y="2350"/>
                </a:cubicBezTo>
                <a:cubicBezTo>
                  <a:pt x="3401" y="2301"/>
                  <a:pt x="3376" y="2175"/>
                  <a:pt x="3426" y="2125"/>
                </a:cubicBezTo>
                <a:cubicBezTo>
                  <a:pt x="3451" y="2075"/>
                  <a:pt x="3501" y="2025"/>
                  <a:pt x="3426" y="2001"/>
                </a:cubicBezTo>
                <a:cubicBezTo>
                  <a:pt x="3351" y="1975"/>
                  <a:pt x="3226" y="2025"/>
                  <a:pt x="3251" y="2025"/>
                </a:cubicBezTo>
                <a:cubicBezTo>
                  <a:pt x="3251" y="2050"/>
                  <a:pt x="3351" y="2101"/>
                  <a:pt x="3351" y="2125"/>
                </a:cubicBezTo>
                <a:cubicBezTo>
                  <a:pt x="3351" y="2150"/>
                  <a:pt x="3276" y="2075"/>
                  <a:pt x="3226" y="2075"/>
                </a:cubicBezTo>
                <a:cubicBezTo>
                  <a:pt x="3201" y="2101"/>
                  <a:pt x="3151" y="2050"/>
                  <a:pt x="3126" y="2075"/>
                </a:cubicBezTo>
                <a:cubicBezTo>
                  <a:pt x="3101" y="2125"/>
                  <a:pt x="3176" y="2275"/>
                  <a:pt x="3201" y="2325"/>
                </a:cubicBezTo>
                <a:cubicBezTo>
                  <a:pt x="3226" y="2350"/>
                  <a:pt x="3176" y="2350"/>
                  <a:pt x="3126" y="2375"/>
                </a:cubicBezTo>
                <a:cubicBezTo>
                  <a:pt x="3101" y="2375"/>
                  <a:pt x="3101" y="2250"/>
                  <a:pt x="3076" y="2201"/>
                </a:cubicBezTo>
                <a:cubicBezTo>
                  <a:pt x="3026" y="2150"/>
                  <a:pt x="2901" y="2101"/>
                  <a:pt x="2901" y="2125"/>
                </a:cubicBezTo>
                <a:cubicBezTo>
                  <a:pt x="2876" y="2175"/>
                  <a:pt x="2976" y="2175"/>
                  <a:pt x="2951" y="2225"/>
                </a:cubicBezTo>
                <a:cubicBezTo>
                  <a:pt x="2951" y="2250"/>
                  <a:pt x="2901" y="2175"/>
                  <a:pt x="2851" y="2225"/>
                </a:cubicBezTo>
                <a:cubicBezTo>
                  <a:pt x="2801" y="2250"/>
                  <a:pt x="2826" y="2225"/>
                  <a:pt x="2826" y="2201"/>
                </a:cubicBezTo>
                <a:cubicBezTo>
                  <a:pt x="2826" y="2150"/>
                  <a:pt x="2751" y="2125"/>
                  <a:pt x="2676" y="2125"/>
                </a:cubicBezTo>
                <a:cubicBezTo>
                  <a:pt x="2601" y="2125"/>
                  <a:pt x="2626" y="2201"/>
                  <a:pt x="2601" y="2225"/>
                </a:cubicBezTo>
                <a:cubicBezTo>
                  <a:pt x="2576" y="2225"/>
                  <a:pt x="2451" y="2201"/>
                  <a:pt x="2551" y="2175"/>
                </a:cubicBezTo>
                <a:cubicBezTo>
                  <a:pt x="2626" y="2175"/>
                  <a:pt x="2576" y="2125"/>
                  <a:pt x="2551" y="2075"/>
                </a:cubicBezTo>
                <a:cubicBezTo>
                  <a:pt x="2526" y="2025"/>
                  <a:pt x="2451" y="2075"/>
                  <a:pt x="2326" y="2125"/>
                </a:cubicBezTo>
                <a:cubicBezTo>
                  <a:pt x="2201" y="2175"/>
                  <a:pt x="2126" y="2225"/>
                  <a:pt x="2150" y="2225"/>
                </a:cubicBezTo>
                <a:cubicBezTo>
                  <a:pt x="2176" y="2225"/>
                  <a:pt x="2176" y="2250"/>
                  <a:pt x="2126" y="2301"/>
                </a:cubicBezTo>
                <a:cubicBezTo>
                  <a:pt x="2076" y="2350"/>
                  <a:pt x="2126" y="2375"/>
                  <a:pt x="2176" y="2375"/>
                </a:cubicBezTo>
                <a:cubicBezTo>
                  <a:pt x="2201" y="2375"/>
                  <a:pt x="2176" y="2401"/>
                  <a:pt x="2201" y="2425"/>
                </a:cubicBezTo>
                <a:cubicBezTo>
                  <a:pt x="2226" y="2425"/>
                  <a:pt x="2376" y="2375"/>
                  <a:pt x="2426" y="2401"/>
                </a:cubicBezTo>
                <a:cubicBezTo>
                  <a:pt x="2476" y="2425"/>
                  <a:pt x="2176" y="2450"/>
                  <a:pt x="2176" y="2501"/>
                </a:cubicBezTo>
                <a:cubicBezTo>
                  <a:pt x="2176" y="2550"/>
                  <a:pt x="2326" y="2575"/>
                  <a:pt x="2451" y="2550"/>
                </a:cubicBezTo>
                <a:cubicBezTo>
                  <a:pt x="2576" y="2525"/>
                  <a:pt x="2776" y="2575"/>
                  <a:pt x="2776" y="2601"/>
                </a:cubicBezTo>
                <a:cubicBezTo>
                  <a:pt x="2776" y="2625"/>
                  <a:pt x="2626" y="2625"/>
                  <a:pt x="2526" y="2601"/>
                </a:cubicBezTo>
                <a:cubicBezTo>
                  <a:pt x="2426" y="2601"/>
                  <a:pt x="2250" y="2650"/>
                  <a:pt x="2250" y="2675"/>
                </a:cubicBezTo>
                <a:cubicBezTo>
                  <a:pt x="2276" y="2701"/>
                  <a:pt x="2276" y="2701"/>
                  <a:pt x="2376" y="2750"/>
                </a:cubicBezTo>
                <a:cubicBezTo>
                  <a:pt x="2501" y="2800"/>
                  <a:pt x="2601" y="2725"/>
                  <a:pt x="2601" y="2800"/>
                </a:cubicBezTo>
                <a:cubicBezTo>
                  <a:pt x="2601" y="2875"/>
                  <a:pt x="2651" y="2900"/>
                  <a:pt x="2801" y="2900"/>
                </a:cubicBezTo>
                <a:cubicBezTo>
                  <a:pt x="2951" y="2900"/>
                  <a:pt x="3026" y="2825"/>
                  <a:pt x="3101" y="2825"/>
                </a:cubicBezTo>
                <a:cubicBezTo>
                  <a:pt x="3151" y="2850"/>
                  <a:pt x="3201" y="2825"/>
                  <a:pt x="3226" y="2775"/>
                </a:cubicBezTo>
                <a:cubicBezTo>
                  <a:pt x="3251" y="2725"/>
                  <a:pt x="3301" y="2750"/>
                  <a:pt x="3301" y="2775"/>
                </a:cubicBezTo>
                <a:cubicBezTo>
                  <a:pt x="3301" y="2800"/>
                  <a:pt x="3401" y="2800"/>
                  <a:pt x="3426" y="2825"/>
                </a:cubicBezTo>
                <a:cubicBezTo>
                  <a:pt x="3476" y="2875"/>
                  <a:pt x="3651" y="2850"/>
                  <a:pt x="3726" y="2825"/>
                </a:cubicBezTo>
                <a:cubicBezTo>
                  <a:pt x="3776" y="2800"/>
                  <a:pt x="3676" y="2701"/>
                  <a:pt x="3651" y="2750"/>
                </a:cubicBezTo>
                <a:cubicBezTo>
                  <a:pt x="3626" y="2775"/>
                  <a:pt x="3601" y="2750"/>
                  <a:pt x="3576" y="2750"/>
                </a:cubicBezTo>
                <a:cubicBezTo>
                  <a:pt x="3576" y="2725"/>
                  <a:pt x="3651" y="2701"/>
                  <a:pt x="3676" y="2675"/>
                </a:cubicBezTo>
                <a:close/>
                <a:moveTo>
                  <a:pt x="2101" y="1650"/>
                </a:moveTo>
                <a:lnTo>
                  <a:pt x="2101" y="1650"/>
                </a:lnTo>
                <a:cubicBezTo>
                  <a:pt x="2176" y="1650"/>
                  <a:pt x="2250" y="1600"/>
                  <a:pt x="2226" y="1550"/>
                </a:cubicBezTo>
                <a:cubicBezTo>
                  <a:pt x="2226" y="1525"/>
                  <a:pt x="2050" y="1650"/>
                  <a:pt x="2101" y="1650"/>
                </a:cubicBezTo>
                <a:close/>
                <a:moveTo>
                  <a:pt x="1750" y="1525"/>
                </a:moveTo>
                <a:lnTo>
                  <a:pt x="1750" y="1525"/>
                </a:lnTo>
                <a:cubicBezTo>
                  <a:pt x="1776" y="1550"/>
                  <a:pt x="1750" y="1600"/>
                  <a:pt x="1776" y="1600"/>
                </a:cubicBezTo>
                <a:cubicBezTo>
                  <a:pt x="1801" y="1575"/>
                  <a:pt x="1826" y="1575"/>
                  <a:pt x="1850" y="1575"/>
                </a:cubicBezTo>
                <a:cubicBezTo>
                  <a:pt x="1901" y="1600"/>
                  <a:pt x="1901" y="1550"/>
                  <a:pt x="1926" y="1525"/>
                </a:cubicBezTo>
                <a:cubicBezTo>
                  <a:pt x="1950" y="1500"/>
                  <a:pt x="1926" y="1600"/>
                  <a:pt x="1976" y="1600"/>
                </a:cubicBezTo>
                <a:cubicBezTo>
                  <a:pt x="2026" y="1600"/>
                  <a:pt x="2026" y="1500"/>
                  <a:pt x="2076" y="1525"/>
                </a:cubicBezTo>
                <a:cubicBezTo>
                  <a:pt x="2101" y="1575"/>
                  <a:pt x="2126" y="1525"/>
                  <a:pt x="2126" y="1500"/>
                </a:cubicBezTo>
                <a:cubicBezTo>
                  <a:pt x="2126" y="1475"/>
                  <a:pt x="2126" y="1425"/>
                  <a:pt x="2176" y="1400"/>
                </a:cubicBezTo>
                <a:cubicBezTo>
                  <a:pt x="2226" y="1400"/>
                  <a:pt x="2201" y="1450"/>
                  <a:pt x="2201" y="1500"/>
                </a:cubicBezTo>
                <a:cubicBezTo>
                  <a:pt x="2250" y="1550"/>
                  <a:pt x="2301" y="1500"/>
                  <a:pt x="2301" y="1475"/>
                </a:cubicBezTo>
                <a:cubicBezTo>
                  <a:pt x="2301" y="1450"/>
                  <a:pt x="2376" y="1450"/>
                  <a:pt x="2376" y="1425"/>
                </a:cubicBezTo>
                <a:cubicBezTo>
                  <a:pt x="2376" y="1400"/>
                  <a:pt x="2401" y="1400"/>
                  <a:pt x="2376" y="1350"/>
                </a:cubicBezTo>
                <a:cubicBezTo>
                  <a:pt x="2350" y="1325"/>
                  <a:pt x="2401" y="1325"/>
                  <a:pt x="2426" y="1300"/>
                </a:cubicBezTo>
                <a:cubicBezTo>
                  <a:pt x="2451" y="1275"/>
                  <a:pt x="2401" y="1300"/>
                  <a:pt x="2350" y="1275"/>
                </a:cubicBezTo>
                <a:cubicBezTo>
                  <a:pt x="2326" y="1225"/>
                  <a:pt x="2301" y="1275"/>
                  <a:pt x="2301" y="1300"/>
                </a:cubicBezTo>
                <a:cubicBezTo>
                  <a:pt x="2301" y="1325"/>
                  <a:pt x="2226" y="1300"/>
                  <a:pt x="2176" y="1300"/>
                </a:cubicBezTo>
                <a:cubicBezTo>
                  <a:pt x="2126" y="1275"/>
                  <a:pt x="2076" y="1350"/>
                  <a:pt x="2001" y="1375"/>
                </a:cubicBezTo>
                <a:cubicBezTo>
                  <a:pt x="1926" y="1425"/>
                  <a:pt x="1926" y="1475"/>
                  <a:pt x="1876" y="1475"/>
                </a:cubicBezTo>
                <a:cubicBezTo>
                  <a:pt x="1801" y="1475"/>
                  <a:pt x="1726" y="1525"/>
                  <a:pt x="1750" y="1525"/>
                </a:cubicBezTo>
                <a:close/>
                <a:moveTo>
                  <a:pt x="2401" y="1525"/>
                </a:moveTo>
                <a:lnTo>
                  <a:pt x="2401" y="1525"/>
                </a:lnTo>
                <a:cubicBezTo>
                  <a:pt x="2326" y="1525"/>
                  <a:pt x="2350" y="1575"/>
                  <a:pt x="2401" y="1575"/>
                </a:cubicBezTo>
                <a:cubicBezTo>
                  <a:pt x="2476" y="1575"/>
                  <a:pt x="2501" y="1600"/>
                  <a:pt x="2401" y="1600"/>
                </a:cubicBezTo>
                <a:cubicBezTo>
                  <a:pt x="2301" y="1600"/>
                  <a:pt x="2250" y="1675"/>
                  <a:pt x="2326" y="1650"/>
                </a:cubicBezTo>
                <a:cubicBezTo>
                  <a:pt x="2401" y="1650"/>
                  <a:pt x="2476" y="1650"/>
                  <a:pt x="2426" y="1650"/>
                </a:cubicBezTo>
                <a:cubicBezTo>
                  <a:pt x="2376" y="1675"/>
                  <a:pt x="2250" y="1675"/>
                  <a:pt x="2250" y="1700"/>
                </a:cubicBezTo>
                <a:cubicBezTo>
                  <a:pt x="2276" y="1725"/>
                  <a:pt x="2326" y="1725"/>
                  <a:pt x="2376" y="1750"/>
                </a:cubicBezTo>
                <a:cubicBezTo>
                  <a:pt x="2426" y="1775"/>
                  <a:pt x="2476" y="1775"/>
                  <a:pt x="2501" y="1725"/>
                </a:cubicBezTo>
                <a:cubicBezTo>
                  <a:pt x="2551" y="1675"/>
                  <a:pt x="2601" y="1650"/>
                  <a:pt x="2576" y="1700"/>
                </a:cubicBezTo>
                <a:cubicBezTo>
                  <a:pt x="2551" y="1775"/>
                  <a:pt x="2651" y="1725"/>
                  <a:pt x="2751" y="1725"/>
                </a:cubicBezTo>
                <a:cubicBezTo>
                  <a:pt x="2876" y="1700"/>
                  <a:pt x="2751" y="1775"/>
                  <a:pt x="2626" y="1801"/>
                </a:cubicBezTo>
                <a:cubicBezTo>
                  <a:pt x="2501" y="1801"/>
                  <a:pt x="2526" y="1850"/>
                  <a:pt x="2626" y="1875"/>
                </a:cubicBezTo>
                <a:cubicBezTo>
                  <a:pt x="2701" y="1901"/>
                  <a:pt x="2901" y="1825"/>
                  <a:pt x="2951" y="1775"/>
                </a:cubicBezTo>
                <a:cubicBezTo>
                  <a:pt x="3001" y="1725"/>
                  <a:pt x="3051" y="1801"/>
                  <a:pt x="3076" y="1775"/>
                </a:cubicBezTo>
                <a:cubicBezTo>
                  <a:pt x="3126" y="1725"/>
                  <a:pt x="3226" y="1775"/>
                  <a:pt x="3301" y="1750"/>
                </a:cubicBezTo>
                <a:cubicBezTo>
                  <a:pt x="3376" y="1725"/>
                  <a:pt x="3401" y="1575"/>
                  <a:pt x="3326" y="1550"/>
                </a:cubicBezTo>
                <a:cubicBezTo>
                  <a:pt x="3276" y="1525"/>
                  <a:pt x="3276" y="1600"/>
                  <a:pt x="3226" y="1600"/>
                </a:cubicBezTo>
                <a:cubicBezTo>
                  <a:pt x="3176" y="1600"/>
                  <a:pt x="3151" y="1550"/>
                  <a:pt x="3126" y="1500"/>
                </a:cubicBezTo>
                <a:cubicBezTo>
                  <a:pt x="3076" y="1475"/>
                  <a:pt x="3101" y="1400"/>
                  <a:pt x="3051" y="1400"/>
                </a:cubicBezTo>
                <a:cubicBezTo>
                  <a:pt x="3001" y="1425"/>
                  <a:pt x="2876" y="1500"/>
                  <a:pt x="2951" y="1525"/>
                </a:cubicBezTo>
                <a:cubicBezTo>
                  <a:pt x="3026" y="1525"/>
                  <a:pt x="3001" y="1550"/>
                  <a:pt x="2951" y="1575"/>
                </a:cubicBezTo>
                <a:cubicBezTo>
                  <a:pt x="2926" y="1600"/>
                  <a:pt x="3051" y="1625"/>
                  <a:pt x="3026" y="1650"/>
                </a:cubicBezTo>
                <a:cubicBezTo>
                  <a:pt x="3026" y="1675"/>
                  <a:pt x="2826" y="1650"/>
                  <a:pt x="2826" y="1600"/>
                </a:cubicBezTo>
                <a:cubicBezTo>
                  <a:pt x="2801" y="1575"/>
                  <a:pt x="2651" y="1500"/>
                  <a:pt x="2601" y="1500"/>
                </a:cubicBezTo>
                <a:cubicBezTo>
                  <a:pt x="2526" y="1525"/>
                  <a:pt x="2551" y="1450"/>
                  <a:pt x="2501" y="1450"/>
                </a:cubicBezTo>
                <a:cubicBezTo>
                  <a:pt x="2426" y="1450"/>
                  <a:pt x="2451" y="1500"/>
                  <a:pt x="2401" y="1525"/>
                </a:cubicBezTo>
                <a:close/>
                <a:moveTo>
                  <a:pt x="2601" y="1225"/>
                </a:moveTo>
                <a:lnTo>
                  <a:pt x="2601" y="1225"/>
                </a:lnTo>
                <a:cubicBezTo>
                  <a:pt x="2626" y="1175"/>
                  <a:pt x="2476" y="1175"/>
                  <a:pt x="2476" y="1200"/>
                </a:cubicBezTo>
                <a:cubicBezTo>
                  <a:pt x="2526" y="1225"/>
                  <a:pt x="2601" y="1275"/>
                  <a:pt x="2601" y="1225"/>
                </a:cubicBezTo>
                <a:close/>
                <a:moveTo>
                  <a:pt x="2951" y="1200"/>
                </a:moveTo>
                <a:lnTo>
                  <a:pt x="2951" y="1200"/>
                </a:lnTo>
                <a:cubicBezTo>
                  <a:pt x="3001" y="1175"/>
                  <a:pt x="2976" y="1150"/>
                  <a:pt x="2901" y="1150"/>
                </a:cubicBezTo>
                <a:cubicBezTo>
                  <a:pt x="2801" y="1175"/>
                  <a:pt x="2651" y="1175"/>
                  <a:pt x="2651" y="1225"/>
                </a:cubicBezTo>
                <a:cubicBezTo>
                  <a:pt x="2651" y="1275"/>
                  <a:pt x="2701" y="1300"/>
                  <a:pt x="2776" y="1325"/>
                </a:cubicBezTo>
                <a:cubicBezTo>
                  <a:pt x="2876" y="1325"/>
                  <a:pt x="2976" y="1225"/>
                  <a:pt x="2926" y="1225"/>
                </a:cubicBezTo>
                <a:cubicBezTo>
                  <a:pt x="2876" y="1225"/>
                  <a:pt x="2901" y="1200"/>
                  <a:pt x="2951" y="1200"/>
                </a:cubicBezTo>
                <a:close/>
                <a:moveTo>
                  <a:pt x="2751" y="1125"/>
                </a:moveTo>
                <a:lnTo>
                  <a:pt x="2751" y="1125"/>
                </a:lnTo>
                <a:cubicBezTo>
                  <a:pt x="2801" y="1125"/>
                  <a:pt x="2826" y="1075"/>
                  <a:pt x="2876" y="1100"/>
                </a:cubicBezTo>
                <a:cubicBezTo>
                  <a:pt x="2901" y="1125"/>
                  <a:pt x="3026" y="1150"/>
                  <a:pt x="3026" y="1075"/>
                </a:cubicBezTo>
                <a:cubicBezTo>
                  <a:pt x="3026" y="1025"/>
                  <a:pt x="2851" y="1000"/>
                  <a:pt x="2826" y="1025"/>
                </a:cubicBezTo>
                <a:cubicBezTo>
                  <a:pt x="2776" y="1050"/>
                  <a:pt x="2576" y="1075"/>
                  <a:pt x="2651" y="1100"/>
                </a:cubicBezTo>
                <a:cubicBezTo>
                  <a:pt x="2676" y="1125"/>
                  <a:pt x="2701" y="1100"/>
                  <a:pt x="2751" y="1125"/>
                </a:cubicBezTo>
                <a:close/>
                <a:moveTo>
                  <a:pt x="3451" y="975"/>
                </a:moveTo>
                <a:lnTo>
                  <a:pt x="3451" y="975"/>
                </a:lnTo>
                <a:cubicBezTo>
                  <a:pt x="3501" y="950"/>
                  <a:pt x="3601" y="1000"/>
                  <a:pt x="3576" y="1050"/>
                </a:cubicBezTo>
                <a:cubicBezTo>
                  <a:pt x="3551" y="1075"/>
                  <a:pt x="3426" y="1025"/>
                  <a:pt x="3426" y="1075"/>
                </a:cubicBezTo>
                <a:cubicBezTo>
                  <a:pt x="3426" y="1075"/>
                  <a:pt x="3451" y="1125"/>
                  <a:pt x="3551" y="1100"/>
                </a:cubicBezTo>
                <a:cubicBezTo>
                  <a:pt x="3651" y="1075"/>
                  <a:pt x="3726" y="1100"/>
                  <a:pt x="3801" y="1150"/>
                </a:cubicBezTo>
                <a:cubicBezTo>
                  <a:pt x="3851" y="1200"/>
                  <a:pt x="3926" y="1225"/>
                  <a:pt x="3976" y="1175"/>
                </a:cubicBezTo>
                <a:cubicBezTo>
                  <a:pt x="4026" y="1125"/>
                  <a:pt x="3901" y="1100"/>
                  <a:pt x="3926" y="1075"/>
                </a:cubicBezTo>
                <a:cubicBezTo>
                  <a:pt x="3951" y="1025"/>
                  <a:pt x="3876" y="1000"/>
                  <a:pt x="3826" y="1000"/>
                </a:cubicBezTo>
                <a:cubicBezTo>
                  <a:pt x="3776" y="1000"/>
                  <a:pt x="3751" y="925"/>
                  <a:pt x="3726" y="925"/>
                </a:cubicBezTo>
                <a:cubicBezTo>
                  <a:pt x="3676" y="950"/>
                  <a:pt x="3651" y="975"/>
                  <a:pt x="3651" y="925"/>
                </a:cubicBezTo>
                <a:cubicBezTo>
                  <a:pt x="3651" y="875"/>
                  <a:pt x="3451" y="875"/>
                  <a:pt x="3376" y="875"/>
                </a:cubicBezTo>
                <a:cubicBezTo>
                  <a:pt x="3326" y="900"/>
                  <a:pt x="3401" y="1025"/>
                  <a:pt x="3451" y="975"/>
                </a:cubicBezTo>
                <a:close/>
                <a:moveTo>
                  <a:pt x="3476" y="1325"/>
                </a:moveTo>
                <a:lnTo>
                  <a:pt x="3476" y="1325"/>
                </a:lnTo>
                <a:cubicBezTo>
                  <a:pt x="3501" y="1300"/>
                  <a:pt x="3351" y="1150"/>
                  <a:pt x="3326" y="1225"/>
                </a:cubicBezTo>
                <a:cubicBezTo>
                  <a:pt x="3326" y="1275"/>
                  <a:pt x="3451" y="1375"/>
                  <a:pt x="3476" y="1325"/>
                </a:cubicBezTo>
                <a:close/>
                <a:moveTo>
                  <a:pt x="4026" y="800"/>
                </a:moveTo>
                <a:lnTo>
                  <a:pt x="4026" y="800"/>
                </a:lnTo>
                <a:cubicBezTo>
                  <a:pt x="4051" y="750"/>
                  <a:pt x="3851" y="700"/>
                  <a:pt x="3901" y="750"/>
                </a:cubicBezTo>
                <a:cubicBezTo>
                  <a:pt x="3926" y="775"/>
                  <a:pt x="4001" y="850"/>
                  <a:pt x="4026" y="800"/>
                </a:cubicBezTo>
                <a:close/>
                <a:moveTo>
                  <a:pt x="3551" y="1725"/>
                </a:moveTo>
                <a:lnTo>
                  <a:pt x="3551" y="1725"/>
                </a:lnTo>
                <a:cubicBezTo>
                  <a:pt x="3576" y="1700"/>
                  <a:pt x="3476" y="1625"/>
                  <a:pt x="3451" y="1700"/>
                </a:cubicBezTo>
                <a:cubicBezTo>
                  <a:pt x="3426" y="1750"/>
                  <a:pt x="3526" y="1775"/>
                  <a:pt x="3551" y="1725"/>
                </a:cubicBezTo>
                <a:close/>
                <a:moveTo>
                  <a:pt x="4026" y="1450"/>
                </a:moveTo>
                <a:lnTo>
                  <a:pt x="4026" y="1450"/>
                </a:lnTo>
                <a:cubicBezTo>
                  <a:pt x="4026" y="1475"/>
                  <a:pt x="3926" y="1425"/>
                  <a:pt x="3851" y="1400"/>
                </a:cubicBezTo>
                <a:cubicBezTo>
                  <a:pt x="3776" y="1375"/>
                  <a:pt x="3826" y="1475"/>
                  <a:pt x="3876" y="1525"/>
                </a:cubicBezTo>
                <a:cubicBezTo>
                  <a:pt x="3926" y="1575"/>
                  <a:pt x="3851" y="1550"/>
                  <a:pt x="3776" y="1475"/>
                </a:cubicBezTo>
                <a:cubicBezTo>
                  <a:pt x="3676" y="1425"/>
                  <a:pt x="3701" y="1525"/>
                  <a:pt x="3726" y="1550"/>
                </a:cubicBezTo>
                <a:cubicBezTo>
                  <a:pt x="3776" y="1575"/>
                  <a:pt x="3726" y="1625"/>
                  <a:pt x="3676" y="1550"/>
                </a:cubicBezTo>
                <a:cubicBezTo>
                  <a:pt x="3626" y="1500"/>
                  <a:pt x="3601" y="1425"/>
                  <a:pt x="3526" y="1425"/>
                </a:cubicBezTo>
                <a:cubicBezTo>
                  <a:pt x="3451" y="1400"/>
                  <a:pt x="3476" y="1500"/>
                  <a:pt x="3501" y="1525"/>
                </a:cubicBezTo>
                <a:cubicBezTo>
                  <a:pt x="3551" y="1575"/>
                  <a:pt x="3601" y="1600"/>
                  <a:pt x="3651" y="1625"/>
                </a:cubicBezTo>
                <a:cubicBezTo>
                  <a:pt x="3726" y="1675"/>
                  <a:pt x="3826" y="1625"/>
                  <a:pt x="3876" y="1625"/>
                </a:cubicBezTo>
                <a:cubicBezTo>
                  <a:pt x="3926" y="1650"/>
                  <a:pt x="3826" y="1700"/>
                  <a:pt x="3851" y="1750"/>
                </a:cubicBezTo>
                <a:cubicBezTo>
                  <a:pt x="3901" y="1801"/>
                  <a:pt x="3976" y="1750"/>
                  <a:pt x="4051" y="1750"/>
                </a:cubicBezTo>
                <a:cubicBezTo>
                  <a:pt x="4126" y="1750"/>
                  <a:pt x="4101" y="1700"/>
                  <a:pt x="4126" y="1675"/>
                </a:cubicBezTo>
                <a:cubicBezTo>
                  <a:pt x="4177" y="1650"/>
                  <a:pt x="4101" y="1650"/>
                  <a:pt x="4126" y="1575"/>
                </a:cubicBezTo>
                <a:cubicBezTo>
                  <a:pt x="4151" y="1525"/>
                  <a:pt x="4026" y="1400"/>
                  <a:pt x="4026" y="1450"/>
                </a:cubicBezTo>
                <a:close/>
                <a:moveTo>
                  <a:pt x="4201" y="1200"/>
                </a:moveTo>
                <a:lnTo>
                  <a:pt x="4201" y="1200"/>
                </a:lnTo>
                <a:cubicBezTo>
                  <a:pt x="4251" y="1200"/>
                  <a:pt x="4301" y="1200"/>
                  <a:pt x="4351" y="1175"/>
                </a:cubicBezTo>
                <a:cubicBezTo>
                  <a:pt x="4426" y="1150"/>
                  <a:pt x="4326" y="1150"/>
                  <a:pt x="4377" y="1100"/>
                </a:cubicBezTo>
                <a:cubicBezTo>
                  <a:pt x="4401" y="1050"/>
                  <a:pt x="4277" y="1050"/>
                  <a:pt x="4277" y="1050"/>
                </a:cubicBezTo>
                <a:cubicBezTo>
                  <a:pt x="4251" y="1075"/>
                  <a:pt x="4101" y="950"/>
                  <a:pt x="4076" y="1000"/>
                </a:cubicBezTo>
                <a:cubicBezTo>
                  <a:pt x="4051" y="1025"/>
                  <a:pt x="4126" y="1200"/>
                  <a:pt x="4201" y="1200"/>
                </a:cubicBezTo>
                <a:close/>
                <a:moveTo>
                  <a:pt x="4526" y="1225"/>
                </a:moveTo>
                <a:lnTo>
                  <a:pt x="4526" y="1225"/>
                </a:lnTo>
                <a:cubicBezTo>
                  <a:pt x="4526" y="1200"/>
                  <a:pt x="4201" y="1225"/>
                  <a:pt x="4251" y="1275"/>
                </a:cubicBezTo>
                <a:cubicBezTo>
                  <a:pt x="4351" y="1325"/>
                  <a:pt x="4551" y="1250"/>
                  <a:pt x="4526" y="1225"/>
                </a:cubicBezTo>
                <a:close/>
                <a:moveTo>
                  <a:pt x="4477" y="1825"/>
                </a:moveTo>
                <a:lnTo>
                  <a:pt x="4477" y="1825"/>
                </a:lnTo>
                <a:cubicBezTo>
                  <a:pt x="4551" y="1825"/>
                  <a:pt x="4526" y="1725"/>
                  <a:pt x="4451" y="1675"/>
                </a:cubicBezTo>
                <a:cubicBezTo>
                  <a:pt x="4351" y="1600"/>
                  <a:pt x="4177" y="1725"/>
                  <a:pt x="4201" y="1750"/>
                </a:cubicBezTo>
                <a:cubicBezTo>
                  <a:pt x="4251" y="1801"/>
                  <a:pt x="4401" y="1825"/>
                  <a:pt x="4477" y="1825"/>
                </a:cubicBezTo>
                <a:close/>
                <a:moveTo>
                  <a:pt x="3951" y="2401"/>
                </a:moveTo>
                <a:lnTo>
                  <a:pt x="3951" y="2401"/>
                </a:lnTo>
                <a:cubicBezTo>
                  <a:pt x="4051" y="2475"/>
                  <a:pt x="4026" y="2350"/>
                  <a:pt x="4126" y="2375"/>
                </a:cubicBezTo>
                <a:cubicBezTo>
                  <a:pt x="4226" y="2375"/>
                  <a:pt x="4226" y="2201"/>
                  <a:pt x="4251" y="2125"/>
                </a:cubicBezTo>
                <a:cubicBezTo>
                  <a:pt x="4251" y="2075"/>
                  <a:pt x="4151" y="2075"/>
                  <a:pt x="4177" y="2125"/>
                </a:cubicBezTo>
                <a:cubicBezTo>
                  <a:pt x="4201" y="2175"/>
                  <a:pt x="4177" y="2225"/>
                  <a:pt x="4177" y="2150"/>
                </a:cubicBezTo>
                <a:cubicBezTo>
                  <a:pt x="4177" y="2101"/>
                  <a:pt x="4076" y="2150"/>
                  <a:pt x="4051" y="2125"/>
                </a:cubicBezTo>
                <a:cubicBezTo>
                  <a:pt x="4026" y="2075"/>
                  <a:pt x="4151" y="2075"/>
                  <a:pt x="4177" y="2025"/>
                </a:cubicBezTo>
                <a:cubicBezTo>
                  <a:pt x="4201" y="1950"/>
                  <a:pt x="4076" y="1975"/>
                  <a:pt x="4101" y="1925"/>
                </a:cubicBezTo>
                <a:cubicBezTo>
                  <a:pt x="4151" y="1875"/>
                  <a:pt x="3926" y="1925"/>
                  <a:pt x="4001" y="1950"/>
                </a:cubicBezTo>
                <a:cubicBezTo>
                  <a:pt x="4051" y="1975"/>
                  <a:pt x="4001" y="2025"/>
                  <a:pt x="3926" y="1975"/>
                </a:cubicBezTo>
                <a:cubicBezTo>
                  <a:pt x="3876" y="1925"/>
                  <a:pt x="3726" y="2001"/>
                  <a:pt x="3776" y="2050"/>
                </a:cubicBezTo>
                <a:cubicBezTo>
                  <a:pt x="3826" y="2075"/>
                  <a:pt x="3951" y="2025"/>
                  <a:pt x="3876" y="2125"/>
                </a:cubicBezTo>
                <a:cubicBezTo>
                  <a:pt x="3801" y="2250"/>
                  <a:pt x="3776" y="2101"/>
                  <a:pt x="3701" y="2125"/>
                </a:cubicBezTo>
                <a:cubicBezTo>
                  <a:pt x="3626" y="2125"/>
                  <a:pt x="3651" y="2225"/>
                  <a:pt x="3751" y="2250"/>
                </a:cubicBezTo>
                <a:cubicBezTo>
                  <a:pt x="3876" y="2275"/>
                  <a:pt x="3851" y="2350"/>
                  <a:pt x="3951" y="2401"/>
                </a:cubicBezTo>
                <a:close/>
                <a:moveTo>
                  <a:pt x="4626" y="1750"/>
                </a:moveTo>
                <a:lnTo>
                  <a:pt x="4626" y="1750"/>
                </a:lnTo>
                <a:cubicBezTo>
                  <a:pt x="4651" y="1825"/>
                  <a:pt x="4701" y="1775"/>
                  <a:pt x="4751" y="1801"/>
                </a:cubicBezTo>
                <a:cubicBezTo>
                  <a:pt x="4777" y="1825"/>
                  <a:pt x="4851" y="1850"/>
                  <a:pt x="4901" y="1825"/>
                </a:cubicBezTo>
                <a:cubicBezTo>
                  <a:pt x="4926" y="1801"/>
                  <a:pt x="4951" y="1775"/>
                  <a:pt x="4951" y="1801"/>
                </a:cubicBezTo>
                <a:cubicBezTo>
                  <a:pt x="4977" y="1850"/>
                  <a:pt x="5077" y="1850"/>
                  <a:pt x="5277" y="1850"/>
                </a:cubicBezTo>
                <a:cubicBezTo>
                  <a:pt x="5477" y="1850"/>
                  <a:pt x="5426" y="1775"/>
                  <a:pt x="5477" y="1801"/>
                </a:cubicBezTo>
                <a:cubicBezTo>
                  <a:pt x="5551" y="1825"/>
                  <a:pt x="5677" y="1825"/>
                  <a:pt x="5726" y="1825"/>
                </a:cubicBezTo>
                <a:cubicBezTo>
                  <a:pt x="5802" y="1801"/>
                  <a:pt x="5826" y="1725"/>
                  <a:pt x="5826" y="1675"/>
                </a:cubicBezTo>
                <a:cubicBezTo>
                  <a:pt x="5802" y="1625"/>
                  <a:pt x="5377" y="1600"/>
                  <a:pt x="5277" y="1625"/>
                </a:cubicBezTo>
                <a:cubicBezTo>
                  <a:pt x="5202" y="1675"/>
                  <a:pt x="5077" y="1625"/>
                  <a:pt x="5026" y="1650"/>
                </a:cubicBezTo>
                <a:cubicBezTo>
                  <a:pt x="4951" y="1675"/>
                  <a:pt x="4977" y="1600"/>
                  <a:pt x="4877" y="1600"/>
                </a:cubicBezTo>
                <a:cubicBezTo>
                  <a:pt x="4751" y="1600"/>
                  <a:pt x="4877" y="1550"/>
                  <a:pt x="4901" y="1525"/>
                </a:cubicBezTo>
                <a:cubicBezTo>
                  <a:pt x="4926" y="1500"/>
                  <a:pt x="4726" y="1425"/>
                  <a:pt x="4651" y="1450"/>
                </a:cubicBezTo>
                <a:cubicBezTo>
                  <a:pt x="4577" y="1450"/>
                  <a:pt x="4526" y="1425"/>
                  <a:pt x="4451" y="1375"/>
                </a:cubicBezTo>
                <a:cubicBezTo>
                  <a:pt x="4377" y="1350"/>
                  <a:pt x="4177" y="1350"/>
                  <a:pt x="4201" y="1425"/>
                </a:cubicBezTo>
                <a:cubicBezTo>
                  <a:pt x="4226" y="1450"/>
                  <a:pt x="4477" y="1550"/>
                  <a:pt x="4501" y="1500"/>
                </a:cubicBezTo>
                <a:cubicBezTo>
                  <a:pt x="4526" y="1450"/>
                  <a:pt x="4601" y="1550"/>
                  <a:pt x="4626" y="1600"/>
                </a:cubicBezTo>
                <a:cubicBezTo>
                  <a:pt x="4677" y="1650"/>
                  <a:pt x="4601" y="1650"/>
                  <a:pt x="4626" y="1750"/>
                </a:cubicBezTo>
                <a:close/>
                <a:moveTo>
                  <a:pt x="4851" y="1250"/>
                </a:moveTo>
                <a:lnTo>
                  <a:pt x="4851" y="1250"/>
                </a:lnTo>
                <a:cubicBezTo>
                  <a:pt x="4777" y="1225"/>
                  <a:pt x="4677" y="1300"/>
                  <a:pt x="4751" y="1325"/>
                </a:cubicBezTo>
                <a:cubicBezTo>
                  <a:pt x="4826" y="1350"/>
                  <a:pt x="4926" y="1300"/>
                  <a:pt x="4851" y="1250"/>
                </a:cubicBezTo>
                <a:close/>
                <a:moveTo>
                  <a:pt x="4251" y="775"/>
                </a:moveTo>
                <a:lnTo>
                  <a:pt x="4251" y="775"/>
                </a:lnTo>
                <a:cubicBezTo>
                  <a:pt x="4301" y="825"/>
                  <a:pt x="4277" y="850"/>
                  <a:pt x="4326" y="875"/>
                </a:cubicBezTo>
                <a:cubicBezTo>
                  <a:pt x="4401" y="925"/>
                  <a:pt x="4601" y="850"/>
                  <a:pt x="4601" y="900"/>
                </a:cubicBezTo>
                <a:cubicBezTo>
                  <a:pt x="4626" y="950"/>
                  <a:pt x="4426" y="950"/>
                  <a:pt x="4451" y="975"/>
                </a:cubicBezTo>
                <a:cubicBezTo>
                  <a:pt x="4477" y="1000"/>
                  <a:pt x="4601" y="1050"/>
                  <a:pt x="4577" y="1075"/>
                </a:cubicBezTo>
                <a:cubicBezTo>
                  <a:pt x="4551" y="1100"/>
                  <a:pt x="4777" y="1175"/>
                  <a:pt x="4801" y="1125"/>
                </a:cubicBezTo>
                <a:cubicBezTo>
                  <a:pt x="4826" y="1100"/>
                  <a:pt x="4877" y="1100"/>
                  <a:pt x="4926" y="1125"/>
                </a:cubicBezTo>
                <a:cubicBezTo>
                  <a:pt x="4977" y="1150"/>
                  <a:pt x="5001" y="1000"/>
                  <a:pt x="5026" y="1025"/>
                </a:cubicBezTo>
                <a:cubicBezTo>
                  <a:pt x="5077" y="1050"/>
                  <a:pt x="5051" y="975"/>
                  <a:pt x="5126" y="950"/>
                </a:cubicBezTo>
                <a:cubicBezTo>
                  <a:pt x="5177" y="925"/>
                  <a:pt x="5277" y="925"/>
                  <a:pt x="5277" y="900"/>
                </a:cubicBezTo>
                <a:cubicBezTo>
                  <a:pt x="5277" y="875"/>
                  <a:pt x="5277" y="850"/>
                  <a:pt x="5202" y="850"/>
                </a:cubicBezTo>
                <a:cubicBezTo>
                  <a:pt x="5126" y="850"/>
                  <a:pt x="5077" y="825"/>
                  <a:pt x="5102" y="800"/>
                </a:cubicBezTo>
                <a:cubicBezTo>
                  <a:pt x="5126" y="750"/>
                  <a:pt x="5026" y="725"/>
                  <a:pt x="5051" y="700"/>
                </a:cubicBezTo>
                <a:cubicBezTo>
                  <a:pt x="5102" y="675"/>
                  <a:pt x="4977" y="625"/>
                  <a:pt x="5001" y="675"/>
                </a:cubicBezTo>
                <a:cubicBezTo>
                  <a:pt x="5001" y="725"/>
                  <a:pt x="4926" y="700"/>
                  <a:pt x="4901" y="650"/>
                </a:cubicBezTo>
                <a:cubicBezTo>
                  <a:pt x="4901" y="600"/>
                  <a:pt x="4726" y="575"/>
                  <a:pt x="4601" y="475"/>
                </a:cubicBezTo>
                <a:cubicBezTo>
                  <a:pt x="4501" y="375"/>
                  <a:pt x="4377" y="450"/>
                  <a:pt x="4451" y="450"/>
                </a:cubicBezTo>
                <a:cubicBezTo>
                  <a:pt x="4501" y="475"/>
                  <a:pt x="4501" y="500"/>
                  <a:pt x="4451" y="500"/>
                </a:cubicBezTo>
                <a:cubicBezTo>
                  <a:pt x="4401" y="500"/>
                  <a:pt x="4301" y="500"/>
                  <a:pt x="4401" y="550"/>
                </a:cubicBezTo>
                <a:cubicBezTo>
                  <a:pt x="4477" y="575"/>
                  <a:pt x="4377" y="575"/>
                  <a:pt x="4301" y="575"/>
                </a:cubicBezTo>
                <a:cubicBezTo>
                  <a:pt x="4251" y="575"/>
                  <a:pt x="4226" y="675"/>
                  <a:pt x="4326" y="700"/>
                </a:cubicBezTo>
                <a:cubicBezTo>
                  <a:pt x="4426" y="700"/>
                  <a:pt x="4351" y="750"/>
                  <a:pt x="4277" y="725"/>
                </a:cubicBezTo>
                <a:cubicBezTo>
                  <a:pt x="4201" y="725"/>
                  <a:pt x="4177" y="750"/>
                  <a:pt x="4251" y="775"/>
                </a:cubicBezTo>
                <a:close/>
                <a:moveTo>
                  <a:pt x="4751" y="375"/>
                </a:moveTo>
                <a:lnTo>
                  <a:pt x="4751" y="375"/>
                </a:lnTo>
                <a:cubicBezTo>
                  <a:pt x="4801" y="325"/>
                  <a:pt x="4851" y="350"/>
                  <a:pt x="4801" y="375"/>
                </a:cubicBezTo>
                <a:cubicBezTo>
                  <a:pt x="4751" y="400"/>
                  <a:pt x="4777" y="425"/>
                  <a:pt x="4851" y="425"/>
                </a:cubicBezTo>
                <a:cubicBezTo>
                  <a:pt x="4901" y="425"/>
                  <a:pt x="4801" y="450"/>
                  <a:pt x="4801" y="475"/>
                </a:cubicBezTo>
                <a:cubicBezTo>
                  <a:pt x="4801" y="525"/>
                  <a:pt x="4901" y="500"/>
                  <a:pt x="4901" y="550"/>
                </a:cubicBezTo>
                <a:cubicBezTo>
                  <a:pt x="4901" y="575"/>
                  <a:pt x="5077" y="600"/>
                  <a:pt x="5126" y="550"/>
                </a:cubicBezTo>
                <a:cubicBezTo>
                  <a:pt x="5202" y="500"/>
                  <a:pt x="5177" y="575"/>
                  <a:pt x="5177" y="600"/>
                </a:cubicBezTo>
                <a:cubicBezTo>
                  <a:pt x="5151" y="625"/>
                  <a:pt x="5426" y="650"/>
                  <a:pt x="5426" y="625"/>
                </a:cubicBezTo>
                <a:cubicBezTo>
                  <a:pt x="5451" y="575"/>
                  <a:pt x="5477" y="600"/>
                  <a:pt x="5526" y="600"/>
                </a:cubicBezTo>
                <a:cubicBezTo>
                  <a:pt x="5577" y="625"/>
                  <a:pt x="5826" y="550"/>
                  <a:pt x="5826" y="500"/>
                </a:cubicBezTo>
                <a:cubicBezTo>
                  <a:pt x="5826" y="450"/>
                  <a:pt x="5902" y="525"/>
                  <a:pt x="5826" y="600"/>
                </a:cubicBezTo>
                <a:cubicBezTo>
                  <a:pt x="5751" y="650"/>
                  <a:pt x="5602" y="625"/>
                  <a:pt x="5526" y="650"/>
                </a:cubicBezTo>
                <a:cubicBezTo>
                  <a:pt x="5451" y="675"/>
                  <a:pt x="5577" y="725"/>
                  <a:pt x="5651" y="775"/>
                </a:cubicBezTo>
                <a:cubicBezTo>
                  <a:pt x="5702" y="825"/>
                  <a:pt x="5551" y="800"/>
                  <a:pt x="5477" y="725"/>
                </a:cubicBezTo>
                <a:cubicBezTo>
                  <a:pt x="5426" y="675"/>
                  <a:pt x="5277" y="675"/>
                  <a:pt x="5177" y="675"/>
                </a:cubicBezTo>
                <a:cubicBezTo>
                  <a:pt x="5102" y="675"/>
                  <a:pt x="5126" y="825"/>
                  <a:pt x="5202" y="825"/>
                </a:cubicBezTo>
                <a:cubicBezTo>
                  <a:pt x="5251" y="825"/>
                  <a:pt x="5302" y="850"/>
                  <a:pt x="5377" y="925"/>
                </a:cubicBezTo>
                <a:cubicBezTo>
                  <a:pt x="5426" y="1025"/>
                  <a:pt x="5551" y="1000"/>
                  <a:pt x="5551" y="1050"/>
                </a:cubicBezTo>
                <a:cubicBezTo>
                  <a:pt x="5551" y="1075"/>
                  <a:pt x="5377" y="1000"/>
                  <a:pt x="5302" y="1000"/>
                </a:cubicBezTo>
                <a:cubicBezTo>
                  <a:pt x="5202" y="975"/>
                  <a:pt x="5051" y="1025"/>
                  <a:pt x="5051" y="1100"/>
                </a:cubicBezTo>
                <a:cubicBezTo>
                  <a:pt x="5051" y="1175"/>
                  <a:pt x="5177" y="1150"/>
                  <a:pt x="5277" y="1100"/>
                </a:cubicBezTo>
                <a:cubicBezTo>
                  <a:pt x="5377" y="1050"/>
                  <a:pt x="5302" y="1125"/>
                  <a:pt x="5251" y="1175"/>
                </a:cubicBezTo>
                <a:cubicBezTo>
                  <a:pt x="5202" y="1200"/>
                  <a:pt x="5377" y="1250"/>
                  <a:pt x="5377" y="1300"/>
                </a:cubicBezTo>
                <a:cubicBezTo>
                  <a:pt x="5377" y="1350"/>
                  <a:pt x="5251" y="1325"/>
                  <a:pt x="5251" y="1275"/>
                </a:cubicBezTo>
                <a:cubicBezTo>
                  <a:pt x="5226" y="1225"/>
                  <a:pt x="5177" y="1175"/>
                  <a:pt x="5077" y="1200"/>
                </a:cubicBezTo>
                <a:cubicBezTo>
                  <a:pt x="4977" y="1200"/>
                  <a:pt x="5001" y="1275"/>
                  <a:pt x="5077" y="1275"/>
                </a:cubicBezTo>
                <a:cubicBezTo>
                  <a:pt x="5126" y="1300"/>
                  <a:pt x="5126" y="1350"/>
                  <a:pt x="5051" y="1350"/>
                </a:cubicBezTo>
                <a:cubicBezTo>
                  <a:pt x="4977" y="1350"/>
                  <a:pt x="4826" y="1400"/>
                  <a:pt x="4877" y="1450"/>
                </a:cubicBezTo>
                <a:cubicBezTo>
                  <a:pt x="4926" y="1500"/>
                  <a:pt x="5151" y="1450"/>
                  <a:pt x="5177" y="1475"/>
                </a:cubicBezTo>
                <a:cubicBezTo>
                  <a:pt x="5226" y="1500"/>
                  <a:pt x="5326" y="1525"/>
                  <a:pt x="5351" y="1475"/>
                </a:cubicBezTo>
                <a:cubicBezTo>
                  <a:pt x="5377" y="1450"/>
                  <a:pt x="5451" y="1450"/>
                  <a:pt x="5526" y="1450"/>
                </a:cubicBezTo>
                <a:cubicBezTo>
                  <a:pt x="5626" y="1450"/>
                  <a:pt x="5651" y="1475"/>
                  <a:pt x="5677" y="1500"/>
                </a:cubicBezTo>
                <a:cubicBezTo>
                  <a:pt x="5726" y="1550"/>
                  <a:pt x="5777" y="1525"/>
                  <a:pt x="5826" y="1500"/>
                </a:cubicBezTo>
                <a:cubicBezTo>
                  <a:pt x="5877" y="1450"/>
                  <a:pt x="5877" y="1450"/>
                  <a:pt x="5926" y="1450"/>
                </a:cubicBezTo>
                <a:cubicBezTo>
                  <a:pt x="6002" y="1450"/>
                  <a:pt x="6002" y="1425"/>
                  <a:pt x="5977" y="1375"/>
                </a:cubicBezTo>
                <a:cubicBezTo>
                  <a:pt x="5951" y="1325"/>
                  <a:pt x="5877" y="1400"/>
                  <a:pt x="5851" y="1375"/>
                </a:cubicBezTo>
                <a:cubicBezTo>
                  <a:pt x="5851" y="1325"/>
                  <a:pt x="5777" y="1325"/>
                  <a:pt x="5677" y="1350"/>
                </a:cubicBezTo>
                <a:cubicBezTo>
                  <a:pt x="5551" y="1350"/>
                  <a:pt x="5602" y="1275"/>
                  <a:pt x="5677" y="1275"/>
                </a:cubicBezTo>
                <a:cubicBezTo>
                  <a:pt x="5751" y="1300"/>
                  <a:pt x="5826" y="1300"/>
                  <a:pt x="5926" y="1275"/>
                </a:cubicBezTo>
                <a:cubicBezTo>
                  <a:pt x="6002" y="1250"/>
                  <a:pt x="5926" y="1225"/>
                  <a:pt x="5926" y="1175"/>
                </a:cubicBezTo>
                <a:cubicBezTo>
                  <a:pt x="5926" y="1150"/>
                  <a:pt x="6027" y="1175"/>
                  <a:pt x="6102" y="1175"/>
                </a:cubicBezTo>
                <a:cubicBezTo>
                  <a:pt x="6177" y="1175"/>
                  <a:pt x="6302" y="1050"/>
                  <a:pt x="6302" y="975"/>
                </a:cubicBezTo>
                <a:cubicBezTo>
                  <a:pt x="6302" y="900"/>
                  <a:pt x="6127" y="925"/>
                  <a:pt x="6051" y="925"/>
                </a:cubicBezTo>
                <a:cubicBezTo>
                  <a:pt x="5951" y="925"/>
                  <a:pt x="6102" y="875"/>
                  <a:pt x="6251" y="875"/>
                </a:cubicBezTo>
                <a:cubicBezTo>
                  <a:pt x="6427" y="875"/>
                  <a:pt x="6351" y="800"/>
                  <a:pt x="6377" y="775"/>
                </a:cubicBezTo>
                <a:cubicBezTo>
                  <a:pt x="6402" y="750"/>
                  <a:pt x="6477" y="825"/>
                  <a:pt x="6551" y="800"/>
                </a:cubicBezTo>
                <a:cubicBezTo>
                  <a:pt x="6627" y="775"/>
                  <a:pt x="6577" y="725"/>
                  <a:pt x="6627" y="725"/>
                </a:cubicBezTo>
                <a:cubicBezTo>
                  <a:pt x="6677" y="725"/>
                  <a:pt x="6751" y="650"/>
                  <a:pt x="6927" y="550"/>
                </a:cubicBezTo>
                <a:cubicBezTo>
                  <a:pt x="7102" y="475"/>
                  <a:pt x="7227" y="475"/>
                  <a:pt x="7252" y="425"/>
                </a:cubicBezTo>
                <a:cubicBezTo>
                  <a:pt x="7252" y="375"/>
                  <a:pt x="7002" y="425"/>
                  <a:pt x="6977" y="400"/>
                </a:cubicBezTo>
                <a:cubicBezTo>
                  <a:pt x="6927" y="400"/>
                  <a:pt x="7127" y="350"/>
                  <a:pt x="7177" y="350"/>
                </a:cubicBezTo>
                <a:cubicBezTo>
                  <a:pt x="7227" y="375"/>
                  <a:pt x="7302" y="350"/>
                  <a:pt x="7477" y="275"/>
                </a:cubicBezTo>
                <a:cubicBezTo>
                  <a:pt x="7652" y="200"/>
                  <a:pt x="7577" y="175"/>
                  <a:pt x="7502" y="175"/>
                </a:cubicBezTo>
                <a:cubicBezTo>
                  <a:pt x="7427" y="200"/>
                  <a:pt x="7352" y="175"/>
                  <a:pt x="7352" y="125"/>
                </a:cubicBezTo>
                <a:cubicBezTo>
                  <a:pt x="7352" y="75"/>
                  <a:pt x="7252" y="125"/>
                  <a:pt x="7252" y="99"/>
                </a:cubicBezTo>
                <a:cubicBezTo>
                  <a:pt x="7252" y="75"/>
                  <a:pt x="7152" y="75"/>
                  <a:pt x="7027" y="125"/>
                </a:cubicBezTo>
                <a:cubicBezTo>
                  <a:pt x="6927" y="175"/>
                  <a:pt x="7027" y="75"/>
                  <a:pt x="7077" y="75"/>
                </a:cubicBezTo>
                <a:cubicBezTo>
                  <a:pt x="7127" y="50"/>
                  <a:pt x="6802" y="75"/>
                  <a:pt x="6751" y="25"/>
                </a:cubicBezTo>
                <a:cubicBezTo>
                  <a:pt x="6677" y="0"/>
                  <a:pt x="6627" y="99"/>
                  <a:pt x="6577" y="50"/>
                </a:cubicBezTo>
                <a:cubicBezTo>
                  <a:pt x="6527" y="0"/>
                  <a:pt x="6402" y="25"/>
                  <a:pt x="6402" y="75"/>
                </a:cubicBezTo>
                <a:cubicBezTo>
                  <a:pt x="6427" y="99"/>
                  <a:pt x="6402" y="99"/>
                  <a:pt x="6351" y="75"/>
                </a:cubicBezTo>
                <a:cubicBezTo>
                  <a:pt x="6302" y="25"/>
                  <a:pt x="6202" y="75"/>
                  <a:pt x="6102" y="50"/>
                </a:cubicBezTo>
                <a:cubicBezTo>
                  <a:pt x="6027" y="50"/>
                  <a:pt x="6051" y="125"/>
                  <a:pt x="5951" y="99"/>
                </a:cubicBezTo>
                <a:cubicBezTo>
                  <a:pt x="5877" y="50"/>
                  <a:pt x="5751" y="75"/>
                  <a:pt x="5802" y="75"/>
                </a:cubicBezTo>
                <a:cubicBezTo>
                  <a:pt x="5826" y="99"/>
                  <a:pt x="5777" y="125"/>
                  <a:pt x="5751" y="99"/>
                </a:cubicBezTo>
                <a:cubicBezTo>
                  <a:pt x="5702" y="99"/>
                  <a:pt x="5651" y="99"/>
                  <a:pt x="5677" y="150"/>
                </a:cubicBezTo>
                <a:cubicBezTo>
                  <a:pt x="5702" y="200"/>
                  <a:pt x="5526" y="150"/>
                  <a:pt x="5526" y="175"/>
                </a:cubicBezTo>
                <a:cubicBezTo>
                  <a:pt x="5526" y="225"/>
                  <a:pt x="5477" y="250"/>
                  <a:pt x="5426" y="225"/>
                </a:cubicBezTo>
                <a:cubicBezTo>
                  <a:pt x="5377" y="175"/>
                  <a:pt x="5202" y="150"/>
                  <a:pt x="5251" y="200"/>
                </a:cubicBezTo>
                <a:cubicBezTo>
                  <a:pt x="5302" y="225"/>
                  <a:pt x="5102" y="225"/>
                  <a:pt x="5151" y="250"/>
                </a:cubicBezTo>
                <a:cubicBezTo>
                  <a:pt x="5202" y="300"/>
                  <a:pt x="5102" y="325"/>
                  <a:pt x="5102" y="300"/>
                </a:cubicBezTo>
                <a:cubicBezTo>
                  <a:pt x="5102" y="275"/>
                  <a:pt x="5001" y="250"/>
                  <a:pt x="4951" y="275"/>
                </a:cubicBezTo>
                <a:cubicBezTo>
                  <a:pt x="4901" y="325"/>
                  <a:pt x="4901" y="350"/>
                  <a:pt x="4877" y="325"/>
                </a:cubicBezTo>
                <a:cubicBezTo>
                  <a:pt x="4851" y="300"/>
                  <a:pt x="4777" y="325"/>
                  <a:pt x="4677" y="350"/>
                </a:cubicBezTo>
                <a:cubicBezTo>
                  <a:pt x="4601" y="375"/>
                  <a:pt x="4701" y="400"/>
                  <a:pt x="4751" y="375"/>
                </a:cubicBezTo>
                <a:close/>
                <a:moveTo>
                  <a:pt x="5802" y="3975"/>
                </a:moveTo>
                <a:lnTo>
                  <a:pt x="5802" y="3975"/>
                </a:lnTo>
                <a:cubicBezTo>
                  <a:pt x="5826" y="3975"/>
                  <a:pt x="5877" y="3850"/>
                  <a:pt x="5802" y="3875"/>
                </a:cubicBezTo>
                <a:cubicBezTo>
                  <a:pt x="5726" y="3875"/>
                  <a:pt x="5751" y="3975"/>
                  <a:pt x="5802" y="3975"/>
                </a:cubicBezTo>
                <a:close/>
                <a:moveTo>
                  <a:pt x="5426" y="3875"/>
                </a:moveTo>
                <a:lnTo>
                  <a:pt x="5426" y="3875"/>
                </a:lnTo>
                <a:cubicBezTo>
                  <a:pt x="5502" y="3926"/>
                  <a:pt x="5602" y="3801"/>
                  <a:pt x="5602" y="3775"/>
                </a:cubicBezTo>
                <a:cubicBezTo>
                  <a:pt x="5577" y="3750"/>
                  <a:pt x="5351" y="3826"/>
                  <a:pt x="5426" y="3875"/>
                </a:cubicBezTo>
                <a:close/>
                <a:moveTo>
                  <a:pt x="5726" y="3650"/>
                </a:moveTo>
                <a:lnTo>
                  <a:pt x="5726" y="3650"/>
                </a:lnTo>
                <a:cubicBezTo>
                  <a:pt x="5751" y="3601"/>
                  <a:pt x="5602" y="3601"/>
                  <a:pt x="5602" y="3550"/>
                </a:cubicBezTo>
                <a:cubicBezTo>
                  <a:pt x="5602" y="3501"/>
                  <a:pt x="5477" y="3450"/>
                  <a:pt x="5426" y="3426"/>
                </a:cubicBezTo>
                <a:cubicBezTo>
                  <a:pt x="5377" y="3401"/>
                  <a:pt x="5302" y="3401"/>
                  <a:pt x="5302" y="3350"/>
                </a:cubicBezTo>
                <a:cubicBezTo>
                  <a:pt x="5302" y="3301"/>
                  <a:pt x="5202" y="3326"/>
                  <a:pt x="5202" y="3401"/>
                </a:cubicBezTo>
                <a:cubicBezTo>
                  <a:pt x="5202" y="3475"/>
                  <a:pt x="5151" y="3475"/>
                  <a:pt x="5177" y="3550"/>
                </a:cubicBezTo>
                <a:cubicBezTo>
                  <a:pt x="5202" y="3601"/>
                  <a:pt x="5077" y="3626"/>
                  <a:pt x="5102" y="3675"/>
                </a:cubicBezTo>
                <a:cubicBezTo>
                  <a:pt x="5102" y="3701"/>
                  <a:pt x="5151" y="3650"/>
                  <a:pt x="5202" y="3650"/>
                </a:cubicBezTo>
                <a:cubicBezTo>
                  <a:pt x="5251" y="3650"/>
                  <a:pt x="5202" y="3726"/>
                  <a:pt x="5251" y="3726"/>
                </a:cubicBezTo>
                <a:cubicBezTo>
                  <a:pt x="5302" y="3750"/>
                  <a:pt x="5402" y="3675"/>
                  <a:pt x="5426" y="3650"/>
                </a:cubicBezTo>
                <a:cubicBezTo>
                  <a:pt x="5451" y="3626"/>
                  <a:pt x="5477" y="3601"/>
                  <a:pt x="5551" y="3650"/>
                </a:cubicBezTo>
                <a:cubicBezTo>
                  <a:pt x="5602" y="3675"/>
                  <a:pt x="5726" y="3701"/>
                  <a:pt x="5726" y="3650"/>
                </a:cubicBezTo>
                <a:close/>
                <a:moveTo>
                  <a:pt x="7102" y="3275"/>
                </a:moveTo>
                <a:lnTo>
                  <a:pt x="7102" y="3275"/>
                </a:lnTo>
                <a:cubicBezTo>
                  <a:pt x="7152" y="3275"/>
                  <a:pt x="7152" y="3350"/>
                  <a:pt x="7227" y="3426"/>
                </a:cubicBezTo>
                <a:cubicBezTo>
                  <a:pt x="7302" y="3475"/>
                  <a:pt x="7327" y="3426"/>
                  <a:pt x="7327" y="3401"/>
                </a:cubicBezTo>
                <a:cubicBezTo>
                  <a:pt x="7352" y="3350"/>
                  <a:pt x="7427" y="3375"/>
                  <a:pt x="7427" y="3326"/>
                </a:cubicBezTo>
                <a:cubicBezTo>
                  <a:pt x="7427" y="3301"/>
                  <a:pt x="7502" y="3226"/>
                  <a:pt x="7552" y="3226"/>
                </a:cubicBezTo>
                <a:cubicBezTo>
                  <a:pt x="7602" y="3201"/>
                  <a:pt x="7502" y="3150"/>
                  <a:pt x="7452" y="3150"/>
                </a:cubicBezTo>
                <a:cubicBezTo>
                  <a:pt x="7377" y="3150"/>
                  <a:pt x="7352" y="3101"/>
                  <a:pt x="7352" y="3075"/>
                </a:cubicBezTo>
                <a:cubicBezTo>
                  <a:pt x="7352" y="3050"/>
                  <a:pt x="7227" y="2975"/>
                  <a:pt x="7202" y="3001"/>
                </a:cubicBezTo>
                <a:cubicBezTo>
                  <a:pt x="7152" y="3001"/>
                  <a:pt x="7077" y="2926"/>
                  <a:pt x="7027" y="2926"/>
                </a:cubicBezTo>
                <a:cubicBezTo>
                  <a:pt x="6977" y="2926"/>
                  <a:pt x="6902" y="2875"/>
                  <a:pt x="6902" y="2825"/>
                </a:cubicBezTo>
                <a:cubicBezTo>
                  <a:pt x="6902" y="2775"/>
                  <a:pt x="7002" y="2850"/>
                  <a:pt x="7027" y="2800"/>
                </a:cubicBezTo>
                <a:cubicBezTo>
                  <a:pt x="7052" y="2750"/>
                  <a:pt x="6927" y="2775"/>
                  <a:pt x="6927" y="2750"/>
                </a:cubicBezTo>
                <a:cubicBezTo>
                  <a:pt x="6927" y="2701"/>
                  <a:pt x="6952" y="2725"/>
                  <a:pt x="6977" y="2701"/>
                </a:cubicBezTo>
                <a:cubicBezTo>
                  <a:pt x="7002" y="2675"/>
                  <a:pt x="6952" y="2650"/>
                  <a:pt x="6927" y="2625"/>
                </a:cubicBezTo>
                <a:cubicBezTo>
                  <a:pt x="6902" y="2601"/>
                  <a:pt x="6902" y="2650"/>
                  <a:pt x="6852" y="2650"/>
                </a:cubicBezTo>
                <a:cubicBezTo>
                  <a:pt x="6827" y="2650"/>
                  <a:pt x="6852" y="2601"/>
                  <a:pt x="6877" y="2575"/>
                </a:cubicBezTo>
                <a:cubicBezTo>
                  <a:pt x="6902" y="2550"/>
                  <a:pt x="6777" y="2525"/>
                  <a:pt x="6727" y="2525"/>
                </a:cubicBezTo>
                <a:cubicBezTo>
                  <a:pt x="6677" y="2550"/>
                  <a:pt x="6677" y="2525"/>
                  <a:pt x="6677" y="2501"/>
                </a:cubicBezTo>
                <a:cubicBezTo>
                  <a:pt x="6677" y="2450"/>
                  <a:pt x="6577" y="2501"/>
                  <a:pt x="6551" y="2525"/>
                </a:cubicBezTo>
                <a:cubicBezTo>
                  <a:pt x="6502" y="2550"/>
                  <a:pt x="6477" y="2501"/>
                  <a:pt x="6502" y="2475"/>
                </a:cubicBezTo>
                <a:cubicBezTo>
                  <a:pt x="6551" y="2475"/>
                  <a:pt x="6602" y="2450"/>
                  <a:pt x="6602" y="2401"/>
                </a:cubicBezTo>
                <a:cubicBezTo>
                  <a:pt x="6577" y="2375"/>
                  <a:pt x="6477" y="2375"/>
                  <a:pt x="6451" y="2425"/>
                </a:cubicBezTo>
                <a:cubicBezTo>
                  <a:pt x="6427" y="2450"/>
                  <a:pt x="6351" y="2375"/>
                  <a:pt x="6351" y="2325"/>
                </a:cubicBezTo>
                <a:cubicBezTo>
                  <a:pt x="6351" y="2301"/>
                  <a:pt x="6202" y="2325"/>
                  <a:pt x="6227" y="2250"/>
                </a:cubicBezTo>
                <a:cubicBezTo>
                  <a:pt x="6251" y="2201"/>
                  <a:pt x="6077" y="2175"/>
                  <a:pt x="6027" y="2175"/>
                </a:cubicBezTo>
                <a:cubicBezTo>
                  <a:pt x="5977" y="2175"/>
                  <a:pt x="5902" y="2225"/>
                  <a:pt x="5926" y="2250"/>
                </a:cubicBezTo>
                <a:cubicBezTo>
                  <a:pt x="5926" y="2301"/>
                  <a:pt x="5877" y="2275"/>
                  <a:pt x="5851" y="2250"/>
                </a:cubicBezTo>
                <a:cubicBezTo>
                  <a:pt x="5851" y="2201"/>
                  <a:pt x="5751" y="2301"/>
                  <a:pt x="5702" y="2301"/>
                </a:cubicBezTo>
                <a:cubicBezTo>
                  <a:pt x="5677" y="2301"/>
                  <a:pt x="5726" y="2175"/>
                  <a:pt x="5702" y="2125"/>
                </a:cubicBezTo>
                <a:cubicBezTo>
                  <a:pt x="5702" y="2101"/>
                  <a:pt x="5677" y="2075"/>
                  <a:pt x="5651" y="2025"/>
                </a:cubicBezTo>
                <a:cubicBezTo>
                  <a:pt x="5626" y="1950"/>
                  <a:pt x="5502" y="1975"/>
                  <a:pt x="5451" y="2025"/>
                </a:cubicBezTo>
                <a:cubicBezTo>
                  <a:pt x="5426" y="2050"/>
                  <a:pt x="5326" y="2050"/>
                  <a:pt x="5251" y="2101"/>
                </a:cubicBezTo>
                <a:cubicBezTo>
                  <a:pt x="5202" y="2150"/>
                  <a:pt x="5277" y="2225"/>
                  <a:pt x="5302" y="2225"/>
                </a:cubicBezTo>
                <a:cubicBezTo>
                  <a:pt x="5326" y="2250"/>
                  <a:pt x="5202" y="2301"/>
                  <a:pt x="5251" y="2325"/>
                </a:cubicBezTo>
                <a:cubicBezTo>
                  <a:pt x="5277" y="2350"/>
                  <a:pt x="5326" y="2350"/>
                  <a:pt x="5351" y="2401"/>
                </a:cubicBezTo>
                <a:cubicBezTo>
                  <a:pt x="5351" y="2450"/>
                  <a:pt x="5202" y="2375"/>
                  <a:pt x="5177" y="2325"/>
                </a:cubicBezTo>
                <a:cubicBezTo>
                  <a:pt x="5151" y="2275"/>
                  <a:pt x="5202" y="2250"/>
                  <a:pt x="5151" y="2201"/>
                </a:cubicBezTo>
                <a:cubicBezTo>
                  <a:pt x="5126" y="2175"/>
                  <a:pt x="5151" y="2125"/>
                  <a:pt x="5202" y="2075"/>
                </a:cubicBezTo>
                <a:cubicBezTo>
                  <a:pt x="5277" y="2025"/>
                  <a:pt x="5302" y="2025"/>
                  <a:pt x="5302" y="2001"/>
                </a:cubicBezTo>
                <a:cubicBezTo>
                  <a:pt x="5302" y="1950"/>
                  <a:pt x="5077" y="1950"/>
                  <a:pt x="4926" y="2075"/>
                </a:cubicBezTo>
                <a:cubicBezTo>
                  <a:pt x="4801" y="2201"/>
                  <a:pt x="4851" y="2375"/>
                  <a:pt x="4851" y="2401"/>
                </a:cubicBezTo>
                <a:cubicBezTo>
                  <a:pt x="4851" y="2450"/>
                  <a:pt x="4977" y="2425"/>
                  <a:pt x="5051" y="2450"/>
                </a:cubicBezTo>
                <a:cubicBezTo>
                  <a:pt x="5126" y="2475"/>
                  <a:pt x="5077" y="2501"/>
                  <a:pt x="5026" y="2501"/>
                </a:cubicBezTo>
                <a:cubicBezTo>
                  <a:pt x="4977" y="2475"/>
                  <a:pt x="4877" y="2475"/>
                  <a:pt x="4877" y="2501"/>
                </a:cubicBezTo>
                <a:cubicBezTo>
                  <a:pt x="4901" y="2550"/>
                  <a:pt x="5001" y="2601"/>
                  <a:pt x="5077" y="2601"/>
                </a:cubicBezTo>
                <a:cubicBezTo>
                  <a:pt x="5126" y="2575"/>
                  <a:pt x="5126" y="2575"/>
                  <a:pt x="5177" y="2625"/>
                </a:cubicBezTo>
                <a:cubicBezTo>
                  <a:pt x="5202" y="2650"/>
                  <a:pt x="5277" y="2650"/>
                  <a:pt x="5351" y="2650"/>
                </a:cubicBezTo>
                <a:cubicBezTo>
                  <a:pt x="5426" y="2650"/>
                  <a:pt x="5526" y="2675"/>
                  <a:pt x="5551" y="2675"/>
                </a:cubicBezTo>
                <a:cubicBezTo>
                  <a:pt x="5602" y="2675"/>
                  <a:pt x="5651" y="2650"/>
                  <a:pt x="5651" y="2650"/>
                </a:cubicBezTo>
                <a:cubicBezTo>
                  <a:pt x="5677" y="2625"/>
                  <a:pt x="5826" y="2675"/>
                  <a:pt x="5877" y="2675"/>
                </a:cubicBezTo>
                <a:cubicBezTo>
                  <a:pt x="5926" y="2675"/>
                  <a:pt x="5877" y="2625"/>
                  <a:pt x="5851" y="2601"/>
                </a:cubicBezTo>
                <a:cubicBezTo>
                  <a:pt x="5826" y="2601"/>
                  <a:pt x="5851" y="2550"/>
                  <a:pt x="5877" y="2575"/>
                </a:cubicBezTo>
                <a:cubicBezTo>
                  <a:pt x="5926" y="2575"/>
                  <a:pt x="5977" y="2601"/>
                  <a:pt x="6002" y="2625"/>
                </a:cubicBezTo>
                <a:cubicBezTo>
                  <a:pt x="6002" y="2675"/>
                  <a:pt x="6027" y="2650"/>
                  <a:pt x="6051" y="2675"/>
                </a:cubicBezTo>
                <a:cubicBezTo>
                  <a:pt x="6051" y="2701"/>
                  <a:pt x="6177" y="2750"/>
                  <a:pt x="6177" y="2775"/>
                </a:cubicBezTo>
                <a:cubicBezTo>
                  <a:pt x="6177" y="2800"/>
                  <a:pt x="6051" y="2825"/>
                  <a:pt x="6102" y="2850"/>
                </a:cubicBezTo>
                <a:cubicBezTo>
                  <a:pt x="6127" y="2875"/>
                  <a:pt x="6177" y="2825"/>
                  <a:pt x="6227" y="2825"/>
                </a:cubicBezTo>
                <a:cubicBezTo>
                  <a:pt x="6277" y="2800"/>
                  <a:pt x="6277" y="2926"/>
                  <a:pt x="6327" y="2900"/>
                </a:cubicBezTo>
                <a:cubicBezTo>
                  <a:pt x="6377" y="2875"/>
                  <a:pt x="6427" y="2926"/>
                  <a:pt x="6477" y="3001"/>
                </a:cubicBezTo>
                <a:cubicBezTo>
                  <a:pt x="6527" y="3075"/>
                  <a:pt x="6451" y="3126"/>
                  <a:pt x="6477" y="3150"/>
                </a:cubicBezTo>
                <a:cubicBezTo>
                  <a:pt x="6477" y="3175"/>
                  <a:pt x="6577" y="3175"/>
                  <a:pt x="6627" y="3150"/>
                </a:cubicBezTo>
                <a:cubicBezTo>
                  <a:pt x="6677" y="3126"/>
                  <a:pt x="6727" y="3175"/>
                  <a:pt x="6777" y="3226"/>
                </a:cubicBezTo>
                <a:cubicBezTo>
                  <a:pt x="6802" y="3250"/>
                  <a:pt x="6602" y="3326"/>
                  <a:pt x="6627" y="3275"/>
                </a:cubicBezTo>
                <a:cubicBezTo>
                  <a:pt x="6651" y="3250"/>
                  <a:pt x="6502" y="3150"/>
                  <a:pt x="6402" y="3201"/>
                </a:cubicBezTo>
                <a:cubicBezTo>
                  <a:pt x="6277" y="3250"/>
                  <a:pt x="6351" y="3326"/>
                  <a:pt x="6377" y="3350"/>
                </a:cubicBezTo>
                <a:cubicBezTo>
                  <a:pt x="6377" y="3401"/>
                  <a:pt x="6251" y="3450"/>
                  <a:pt x="6151" y="3401"/>
                </a:cubicBezTo>
                <a:cubicBezTo>
                  <a:pt x="6027" y="3375"/>
                  <a:pt x="6077" y="3426"/>
                  <a:pt x="6027" y="3426"/>
                </a:cubicBezTo>
                <a:cubicBezTo>
                  <a:pt x="5977" y="3426"/>
                  <a:pt x="5926" y="3501"/>
                  <a:pt x="5977" y="3550"/>
                </a:cubicBezTo>
                <a:cubicBezTo>
                  <a:pt x="6002" y="3601"/>
                  <a:pt x="6102" y="3550"/>
                  <a:pt x="6177" y="3550"/>
                </a:cubicBezTo>
                <a:cubicBezTo>
                  <a:pt x="6251" y="3550"/>
                  <a:pt x="6251" y="3575"/>
                  <a:pt x="6277" y="3526"/>
                </a:cubicBezTo>
                <a:cubicBezTo>
                  <a:pt x="6277" y="3501"/>
                  <a:pt x="6351" y="3526"/>
                  <a:pt x="6402" y="3526"/>
                </a:cubicBezTo>
                <a:cubicBezTo>
                  <a:pt x="6451" y="3550"/>
                  <a:pt x="6451" y="3626"/>
                  <a:pt x="6527" y="3626"/>
                </a:cubicBezTo>
                <a:cubicBezTo>
                  <a:pt x="6577" y="3626"/>
                  <a:pt x="6527" y="3701"/>
                  <a:pt x="6577" y="3750"/>
                </a:cubicBezTo>
                <a:cubicBezTo>
                  <a:pt x="6602" y="3801"/>
                  <a:pt x="6751" y="3775"/>
                  <a:pt x="6802" y="3826"/>
                </a:cubicBezTo>
                <a:cubicBezTo>
                  <a:pt x="6852" y="3875"/>
                  <a:pt x="7052" y="3950"/>
                  <a:pt x="7077" y="3926"/>
                </a:cubicBezTo>
                <a:cubicBezTo>
                  <a:pt x="7127" y="3875"/>
                  <a:pt x="6902" y="3701"/>
                  <a:pt x="6852" y="3675"/>
                </a:cubicBezTo>
                <a:cubicBezTo>
                  <a:pt x="6777" y="3650"/>
                  <a:pt x="6902" y="3650"/>
                  <a:pt x="6977" y="3701"/>
                </a:cubicBezTo>
                <a:cubicBezTo>
                  <a:pt x="7052" y="3775"/>
                  <a:pt x="7177" y="3801"/>
                  <a:pt x="7227" y="3726"/>
                </a:cubicBezTo>
                <a:cubicBezTo>
                  <a:pt x="7302" y="3650"/>
                  <a:pt x="7177" y="3675"/>
                  <a:pt x="7177" y="3601"/>
                </a:cubicBezTo>
                <a:cubicBezTo>
                  <a:pt x="7177" y="3550"/>
                  <a:pt x="7152" y="3475"/>
                  <a:pt x="7102" y="3475"/>
                </a:cubicBezTo>
                <a:cubicBezTo>
                  <a:pt x="7027" y="3475"/>
                  <a:pt x="6877" y="3375"/>
                  <a:pt x="6927" y="3350"/>
                </a:cubicBezTo>
                <a:cubicBezTo>
                  <a:pt x="7002" y="3326"/>
                  <a:pt x="6927" y="3275"/>
                  <a:pt x="6952" y="3226"/>
                </a:cubicBezTo>
                <a:cubicBezTo>
                  <a:pt x="7002" y="3201"/>
                  <a:pt x="7052" y="3275"/>
                  <a:pt x="7102" y="3275"/>
                </a:cubicBezTo>
                <a:close/>
                <a:moveTo>
                  <a:pt x="6227" y="3075"/>
                </a:moveTo>
                <a:lnTo>
                  <a:pt x="6227" y="3075"/>
                </a:lnTo>
                <a:cubicBezTo>
                  <a:pt x="6277" y="3075"/>
                  <a:pt x="6251" y="3001"/>
                  <a:pt x="6227" y="2950"/>
                </a:cubicBezTo>
                <a:cubicBezTo>
                  <a:pt x="6202" y="2926"/>
                  <a:pt x="6151" y="2926"/>
                  <a:pt x="6102" y="2926"/>
                </a:cubicBezTo>
                <a:cubicBezTo>
                  <a:pt x="6051" y="2926"/>
                  <a:pt x="5977" y="3001"/>
                  <a:pt x="6027" y="3075"/>
                </a:cubicBezTo>
                <a:cubicBezTo>
                  <a:pt x="6077" y="3150"/>
                  <a:pt x="6177" y="3101"/>
                  <a:pt x="6227" y="3075"/>
                </a:cubicBezTo>
                <a:close/>
                <a:moveTo>
                  <a:pt x="5702" y="2001"/>
                </a:moveTo>
                <a:lnTo>
                  <a:pt x="5702" y="2001"/>
                </a:lnTo>
                <a:cubicBezTo>
                  <a:pt x="5677" y="2050"/>
                  <a:pt x="5751" y="2050"/>
                  <a:pt x="5751" y="2125"/>
                </a:cubicBezTo>
                <a:cubicBezTo>
                  <a:pt x="5751" y="2175"/>
                  <a:pt x="5826" y="2201"/>
                  <a:pt x="5902" y="2150"/>
                </a:cubicBezTo>
                <a:cubicBezTo>
                  <a:pt x="5951" y="2125"/>
                  <a:pt x="6127" y="2175"/>
                  <a:pt x="6127" y="2125"/>
                </a:cubicBezTo>
                <a:cubicBezTo>
                  <a:pt x="6127" y="2075"/>
                  <a:pt x="5951" y="2001"/>
                  <a:pt x="5877" y="2001"/>
                </a:cubicBezTo>
                <a:cubicBezTo>
                  <a:pt x="5826" y="2025"/>
                  <a:pt x="5726" y="1950"/>
                  <a:pt x="5702" y="2001"/>
                </a:cubicBezTo>
                <a:close/>
                <a:moveTo>
                  <a:pt x="7252" y="5551"/>
                </a:moveTo>
                <a:lnTo>
                  <a:pt x="7252" y="5551"/>
                </a:lnTo>
                <a:cubicBezTo>
                  <a:pt x="7277" y="5576"/>
                  <a:pt x="7502" y="5676"/>
                  <a:pt x="7527" y="5626"/>
                </a:cubicBezTo>
                <a:cubicBezTo>
                  <a:pt x="7527" y="5576"/>
                  <a:pt x="7252" y="5526"/>
                  <a:pt x="7252" y="5551"/>
                </a:cubicBezTo>
                <a:close/>
                <a:moveTo>
                  <a:pt x="8327" y="5801"/>
                </a:moveTo>
                <a:lnTo>
                  <a:pt x="8327" y="5801"/>
                </a:lnTo>
                <a:cubicBezTo>
                  <a:pt x="8302" y="5826"/>
                  <a:pt x="8277" y="5776"/>
                  <a:pt x="8302" y="5751"/>
                </a:cubicBezTo>
                <a:cubicBezTo>
                  <a:pt x="8352" y="5726"/>
                  <a:pt x="8302" y="5701"/>
                  <a:pt x="8277" y="5726"/>
                </a:cubicBezTo>
                <a:cubicBezTo>
                  <a:pt x="8227" y="5726"/>
                  <a:pt x="8252" y="5651"/>
                  <a:pt x="8277" y="5626"/>
                </a:cubicBezTo>
                <a:cubicBezTo>
                  <a:pt x="8302" y="5600"/>
                  <a:pt x="8202" y="5576"/>
                  <a:pt x="8202" y="5600"/>
                </a:cubicBezTo>
                <a:cubicBezTo>
                  <a:pt x="8202" y="5651"/>
                  <a:pt x="8127" y="5626"/>
                  <a:pt x="8127" y="5600"/>
                </a:cubicBezTo>
                <a:cubicBezTo>
                  <a:pt x="8102" y="5576"/>
                  <a:pt x="8052" y="5551"/>
                  <a:pt x="8077" y="5526"/>
                </a:cubicBezTo>
                <a:cubicBezTo>
                  <a:pt x="8102" y="5526"/>
                  <a:pt x="8002" y="5500"/>
                  <a:pt x="8002" y="5551"/>
                </a:cubicBezTo>
                <a:cubicBezTo>
                  <a:pt x="8002" y="5576"/>
                  <a:pt x="7977" y="5526"/>
                  <a:pt x="8002" y="5476"/>
                </a:cubicBezTo>
                <a:cubicBezTo>
                  <a:pt x="8052" y="5426"/>
                  <a:pt x="8052" y="5401"/>
                  <a:pt x="8077" y="5376"/>
                </a:cubicBezTo>
                <a:cubicBezTo>
                  <a:pt x="8127" y="5351"/>
                  <a:pt x="8077" y="5326"/>
                  <a:pt x="8027" y="5326"/>
                </a:cubicBezTo>
                <a:cubicBezTo>
                  <a:pt x="8002" y="5351"/>
                  <a:pt x="7877" y="5500"/>
                  <a:pt x="7877" y="5551"/>
                </a:cubicBezTo>
                <a:cubicBezTo>
                  <a:pt x="7877" y="5600"/>
                  <a:pt x="7877" y="5651"/>
                  <a:pt x="7852" y="5626"/>
                </a:cubicBezTo>
                <a:cubicBezTo>
                  <a:pt x="7802" y="5626"/>
                  <a:pt x="7752" y="5676"/>
                  <a:pt x="7777" y="5701"/>
                </a:cubicBezTo>
                <a:cubicBezTo>
                  <a:pt x="7827" y="5726"/>
                  <a:pt x="7702" y="5776"/>
                  <a:pt x="7752" y="5801"/>
                </a:cubicBezTo>
                <a:cubicBezTo>
                  <a:pt x="7802" y="5826"/>
                  <a:pt x="7852" y="5801"/>
                  <a:pt x="7902" y="5801"/>
                </a:cubicBezTo>
                <a:cubicBezTo>
                  <a:pt x="7952" y="5801"/>
                  <a:pt x="8002" y="5801"/>
                  <a:pt x="8027" y="5776"/>
                </a:cubicBezTo>
                <a:cubicBezTo>
                  <a:pt x="8077" y="5751"/>
                  <a:pt x="8077" y="5801"/>
                  <a:pt x="8127" y="5801"/>
                </a:cubicBezTo>
                <a:cubicBezTo>
                  <a:pt x="8177" y="5801"/>
                  <a:pt x="8102" y="5851"/>
                  <a:pt x="8102" y="5876"/>
                </a:cubicBezTo>
                <a:cubicBezTo>
                  <a:pt x="8102" y="5901"/>
                  <a:pt x="8152" y="5851"/>
                  <a:pt x="8177" y="5826"/>
                </a:cubicBezTo>
                <a:cubicBezTo>
                  <a:pt x="8227" y="5826"/>
                  <a:pt x="8252" y="5826"/>
                  <a:pt x="8252" y="5876"/>
                </a:cubicBezTo>
                <a:cubicBezTo>
                  <a:pt x="8227" y="5901"/>
                  <a:pt x="8327" y="5926"/>
                  <a:pt x="8352" y="5876"/>
                </a:cubicBezTo>
                <a:cubicBezTo>
                  <a:pt x="8377" y="5826"/>
                  <a:pt x="8327" y="5751"/>
                  <a:pt x="8327" y="5801"/>
                </a:cubicBezTo>
                <a:close/>
                <a:moveTo>
                  <a:pt x="776" y="5026"/>
                </a:moveTo>
                <a:lnTo>
                  <a:pt x="776" y="5026"/>
                </a:lnTo>
                <a:cubicBezTo>
                  <a:pt x="701" y="5075"/>
                  <a:pt x="901" y="5251"/>
                  <a:pt x="925" y="5226"/>
                </a:cubicBezTo>
                <a:cubicBezTo>
                  <a:pt x="950" y="5226"/>
                  <a:pt x="876" y="5126"/>
                  <a:pt x="876" y="5075"/>
                </a:cubicBezTo>
                <a:cubicBezTo>
                  <a:pt x="876" y="5026"/>
                  <a:pt x="850" y="4975"/>
                  <a:pt x="776" y="5026"/>
                </a:cubicBezTo>
                <a:close/>
                <a:moveTo>
                  <a:pt x="7652" y="5976"/>
                </a:moveTo>
                <a:lnTo>
                  <a:pt x="7652" y="5976"/>
                </a:lnTo>
                <a:cubicBezTo>
                  <a:pt x="7627" y="5976"/>
                  <a:pt x="7652" y="5926"/>
                  <a:pt x="7652" y="5901"/>
                </a:cubicBezTo>
                <a:cubicBezTo>
                  <a:pt x="7652" y="5901"/>
                  <a:pt x="7577" y="5926"/>
                  <a:pt x="7577" y="5951"/>
                </a:cubicBezTo>
                <a:cubicBezTo>
                  <a:pt x="7577" y="5976"/>
                  <a:pt x="7527" y="5976"/>
                  <a:pt x="7527" y="6001"/>
                </a:cubicBezTo>
                <a:cubicBezTo>
                  <a:pt x="7527" y="6051"/>
                  <a:pt x="7527" y="6026"/>
                  <a:pt x="7502" y="6051"/>
                </a:cubicBezTo>
                <a:cubicBezTo>
                  <a:pt x="7452" y="6051"/>
                  <a:pt x="7327" y="6051"/>
                  <a:pt x="7327" y="6026"/>
                </a:cubicBezTo>
                <a:cubicBezTo>
                  <a:pt x="7327" y="5976"/>
                  <a:pt x="7227" y="5976"/>
                  <a:pt x="7227" y="5926"/>
                </a:cubicBezTo>
                <a:cubicBezTo>
                  <a:pt x="7227" y="5901"/>
                  <a:pt x="7177" y="5876"/>
                  <a:pt x="7227" y="5826"/>
                </a:cubicBezTo>
                <a:cubicBezTo>
                  <a:pt x="7252" y="5801"/>
                  <a:pt x="7202" y="5776"/>
                  <a:pt x="7177" y="5801"/>
                </a:cubicBezTo>
                <a:cubicBezTo>
                  <a:pt x="7127" y="5826"/>
                  <a:pt x="7127" y="5776"/>
                  <a:pt x="7177" y="5776"/>
                </a:cubicBezTo>
                <a:cubicBezTo>
                  <a:pt x="7202" y="5751"/>
                  <a:pt x="7302" y="5726"/>
                  <a:pt x="7252" y="5651"/>
                </a:cubicBezTo>
                <a:cubicBezTo>
                  <a:pt x="7202" y="5551"/>
                  <a:pt x="6927" y="5676"/>
                  <a:pt x="6852" y="5701"/>
                </a:cubicBezTo>
                <a:cubicBezTo>
                  <a:pt x="6777" y="5751"/>
                  <a:pt x="6677" y="5876"/>
                  <a:pt x="6651" y="5876"/>
                </a:cubicBezTo>
                <a:cubicBezTo>
                  <a:pt x="6602" y="5876"/>
                  <a:pt x="6727" y="5826"/>
                  <a:pt x="6727" y="5801"/>
                </a:cubicBezTo>
                <a:cubicBezTo>
                  <a:pt x="6751" y="5751"/>
                  <a:pt x="6727" y="5726"/>
                  <a:pt x="6751" y="5751"/>
                </a:cubicBezTo>
                <a:cubicBezTo>
                  <a:pt x="6777" y="5751"/>
                  <a:pt x="6827" y="5651"/>
                  <a:pt x="6877" y="5626"/>
                </a:cubicBezTo>
                <a:cubicBezTo>
                  <a:pt x="6927" y="5600"/>
                  <a:pt x="6977" y="5626"/>
                  <a:pt x="6977" y="5600"/>
                </a:cubicBezTo>
                <a:cubicBezTo>
                  <a:pt x="6977" y="5576"/>
                  <a:pt x="7002" y="5551"/>
                  <a:pt x="7052" y="5500"/>
                </a:cubicBezTo>
                <a:cubicBezTo>
                  <a:pt x="7102" y="5476"/>
                  <a:pt x="7577" y="5476"/>
                  <a:pt x="7627" y="5476"/>
                </a:cubicBezTo>
                <a:cubicBezTo>
                  <a:pt x="7677" y="5476"/>
                  <a:pt x="7777" y="5426"/>
                  <a:pt x="7802" y="5376"/>
                </a:cubicBezTo>
                <a:cubicBezTo>
                  <a:pt x="7827" y="5326"/>
                  <a:pt x="7877" y="5326"/>
                  <a:pt x="7927" y="5351"/>
                </a:cubicBezTo>
                <a:cubicBezTo>
                  <a:pt x="8002" y="5351"/>
                  <a:pt x="8027" y="5275"/>
                  <a:pt x="8077" y="5251"/>
                </a:cubicBezTo>
                <a:cubicBezTo>
                  <a:pt x="8102" y="5226"/>
                  <a:pt x="8077" y="5226"/>
                  <a:pt x="8052" y="5226"/>
                </a:cubicBezTo>
                <a:cubicBezTo>
                  <a:pt x="8027" y="5226"/>
                  <a:pt x="8002" y="5201"/>
                  <a:pt x="8027" y="5201"/>
                </a:cubicBezTo>
                <a:cubicBezTo>
                  <a:pt x="8052" y="5201"/>
                  <a:pt x="8077" y="5175"/>
                  <a:pt x="8077" y="5126"/>
                </a:cubicBezTo>
                <a:cubicBezTo>
                  <a:pt x="8102" y="5101"/>
                  <a:pt x="8077" y="5126"/>
                  <a:pt x="8027" y="5075"/>
                </a:cubicBezTo>
                <a:cubicBezTo>
                  <a:pt x="8002" y="5001"/>
                  <a:pt x="7977" y="5075"/>
                  <a:pt x="7927" y="5075"/>
                </a:cubicBezTo>
                <a:cubicBezTo>
                  <a:pt x="7902" y="5075"/>
                  <a:pt x="7952" y="5026"/>
                  <a:pt x="7927" y="5001"/>
                </a:cubicBezTo>
                <a:cubicBezTo>
                  <a:pt x="7902" y="4975"/>
                  <a:pt x="7827" y="5001"/>
                  <a:pt x="7777" y="5026"/>
                </a:cubicBezTo>
                <a:cubicBezTo>
                  <a:pt x="7727" y="5075"/>
                  <a:pt x="7727" y="5026"/>
                  <a:pt x="7702" y="5075"/>
                </a:cubicBezTo>
                <a:cubicBezTo>
                  <a:pt x="7652" y="5126"/>
                  <a:pt x="7652" y="5051"/>
                  <a:pt x="7677" y="5051"/>
                </a:cubicBezTo>
                <a:cubicBezTo>
                  <a:pt x="7702" y="5026"/>
                  <a:pt x="7702" y="5051"/>
                  <a:pt x="7727" y="5026"/>
                </a:cubicBezTo>
                <a:cubicBezTo>
                  <a:pt x="7752" y="5001"/>
                  <a:pt x="7752" y="5026"/>
                  <a:pt x="7802" y="4975"/>
                </a:cubicBezTo>
                <a:cubicBezTo>
                  <a:pt x="7852" y="4951"/>
                  <a:pt x="7902" y="4975"/>
                  <a:pt x="7927" y="4951"/>
                </a:cubicBezTo>
                <a:cubicBezTo>
                  <a:pt x="7927" y="4926"/>
                  <a:pt x="7902" y="4901"/>
                  <a:pt x="7852" y="4901"/>
                </a:cubicBezTo>
                <a:cubicBezTo>
                  <a:pt x="7802" y="4901"/>
                  <a:pt x="7777" y="4851"/>
                  <a:pt x="7752" y="4851"/>
                </a:cubicBezTo>
                <a:cubicBezTo>
                  <a:pt x="7702" y="4875"/>
                  <a:pt x="7727" y="4826"/>
                  <a:pt x="7677" y="4851"/>
                </a:cubicBezTo>
                <a:cubicBezTo>
                  <a:pt x="7652" y="4875"/>
                  <a:pt x="7627" y="4851"/>
                  <a:pt x="7627" y="4801"/>
                </a:cubicBezTo>
                <a:cubicBezTo>
                  <a:pt x="7602" y="4775"/>
                  <a:pt x="7502" y="4701"/>
                  <a:pt x="7452" y="4675"/>
                </a:cubicBezTo>
                <a:cubicBezTo>
                  <a:pt x="7402" y="4675"/>
                  <a:pt x="7452" y="4626"/>
                  <a:pt x="7477" y="4651"/>
                </a:cubicBezTo>
                <a:cubicBezTo>
                  <a:pt x="7502" y="4675"/>
                  <a:pt x="7527" y="4626"/>
                  <a:pt x="7552" y="4626"/>
                </a:cubicBezTo>
                <a:cubicBezTo>
                  <a:pt x="7552" y="4601"/>
                  <a:pt x="7527" y="4575"/>
                  <a:pt x="7502" y="4575"/>
                </a:cubicBezTo>
                <a:cubicBezTo>
                  <a:pt x="7502" y="4575"/>
                  <a:pt x="7502" y="4551"/>
                  <a:pt x="7502" y="4526"/>
                </a:cubicBezTo>
                <a:cubicBezTo>
                  <a:pt x="7502" y="4501"/>
                  <a:pt x="7427" y="4475"/>
                  <a:pt x="7427" y="4451"/>
                </a:cubicBezTo>
                <a:cubicBezTo>
                  <a:pt x="7427" y="4426"/>
                  <a:pt x="7402" y="4426"/>
                  <a:pt x="7402" y="4401"/>
                </a:cubicBezTo>
                <a:cubicBezTo>
                  <a:pt x="7402" y="4375"/>
                  <a:pt x="7352" y="4351"/>
                  <a:pt x="7352" y="4326"/>
                </a:cubicBezTo>
                <a:cubicBezTo>
                  <a:pt x="7352" y="4301"/>
                  <a:pt x="7302" y="4251"/>
                  <a:pt x="7302" y="4226"/>
                </a:cubicBezTo>
                <a:cubicBezTo>
                  <a:pt x="7302" y="4200"/>
                  <a:pt x="7252" y="4175"/>
                  <a:pt x="7252" y="4151"/>
                </a:cubicBezTo>
                <a:cubicBezTo>
                  <a:pt x="7227" y="4101"/>
                  <a:pt x="7227" y="4126"/>
                  <a:pt x="7202" y="4175"/>
                </a:cubicBezTo>
                <a:cubicBezTo>
                  <a:pt x="7202" y="4226"/>
                  <a:pt x="7152" y="4226"/>
                  <a:pt x="7177" y="4226"/>
                </a:cubicBezTo>
                <a:cubicBezTo>
                  <a:pt x="7202" y="4275"/>
                  <a:pt x="7177" y="4275"/>
                  <a:pt x="7152" y="4301"/>
                </a:cubicBezTo>
                <a:cubicBezTo>
                  <a:pt x="7127" y="4326"/>
                  <a:pt x="7177" y="4351"/>
                  <a:pt x="7127" y="4351"/>
                </a:cubicBezTo>
                <a:cubicBezTo>
                  <a:pt x="7102" y="4351"/>
                  <a:pt x="7127" y="4401"/>
                  <a:pt x="7102" y="4375"/>
                </a:cubicBezTo>
                <a:cubicBezTo>
                  <a:pt x="7077" y="4351"/>
                  <a:pt x="7052" y="4351"/>
                  <a:pt x="7052" y="4401"/>
                </a:cubicBezTo>
                <a:cubicBezTo>
                  <a:pt x="7052" y="4426"/>
                  <a:pt x="6977" y="4451"/>
                  <a:pt x="6952" y="4451"/>
                </a:cubicBezTo>
                <a:cubicBezTo>
                  <a:pt x="6927" y="4451"/>
                  <a:pt x="6927" y="4375"/>
                  <a:pt x="6902" y="4401"/>
                </a:cubicBezTo>
                <a:cubicBezTo>
                  <a:pt x="6877" y="4426"/>
                  <a:pt x="6877" y="4351"/>
                  <a:pt x="6852" y="4351"/>
                </a:cubicBezTo>
                <a:cubicBezTo>
                  <a:pt x="6802" y="4351"/>
                  <a:pt x="6777" y="4351"/>
                  <a:pt x="6802" y="4326"/>
                </a:cubicBezTo>
                <a:cubicBezTo>
                  <a:pt x="6802" y="4301"/>
                  <a:pt x="6727" y="4275"/>
                  <a:pt x="6751" y="4251"/>
                </a:cubicBezTo>
                <a:cubicBezTo>
                  <a:pt x="6777" y="4251"/>
                  <a:pt x="6751" y="4200"/>
                  <a:pt x="6751" y="4151"/>
                </a:cubicBezTo>
                <a:cubicBezTo>
                  <a:pt x="6751" y="4101"/>
                  <a:pt x="6777" y="4101"/>
                  <a:pt x="6777" y="4075"/>
                </a:cubicBezTo>
                <a:cubicBezTo>
                  <a:pt x="6777" y="4050"/>
                  <a:pt x="6751" y="4050"/>
                  <a:pt x="6727" y="4075"/>
                </a:cubicBezTo>
                <a:cubicBezTo>
                  <a:pt x="6702" y="4075"/>
                  <a:pt x="6702" y="4050"/>
                  <a:pt x="6677" y="4050"/>
                </a:cubicBezTo>
                <a:cubicBezTo>
                  <a:pt x="6651" y="4050"/>
                  <a:pt x="6577" y="4050"/>
                  <a:pt x="6577" y="4001"/>
                </a:cubicBezTo>
                <a:cubicBezTo>
                  <a:pt x="6551" y="3975"/>
                  <a:pt x="6527" y="4001"/>
                  <a:pt x="6527" y="3950"/>
                </a:cubicBezTo>
                <a:cubicBezTo>
                  <a:pt x="6502" y="3926"/>
                  <a:pt x="6477" y="3950"/>
                  <a:pt x="6477" y="3926"/>
                </a:cubicBezTo>
                <a:cubicBezTo>
                  <a:pt x="6477" y="3901"/>
                  <a:pt x="6451" y="3875"/>
                  <a:pt x="6427" y="3875"/>
                </a:cubicBezTo>
                <a:cubicBezTo>
                  <a:pt x="6402" y="3875"/>
                  <a:pt x="6402" y="3850"/>
                  <a:pt x="6377" y="3850"/>
                </a:cubicBezTo>
                <a:cubicBezTo>
                  <a:pt x="6327" y="3850"/>
                  <a:pt x="6302" y="3875"/>
                  <a:pt x="6277" y="3875"/>
                </a:cubicBezTo>
                <a:cubicBezTo>
                  <a:pt x="6251" y="3901"/>
                  <a:pt x="6202" y="3850"/>
                  <a:pt x="6202" y="3875"/>
                </a:cubicBezTo>
                <a:cubicBezTo>
                  <a:pt x="6177" y="3875"/>
                  <a:pt x="6177" y="3850"/>
                  <a:pt x="6127" y="3850"/>
                </a:cubicBezTo>
                <a:cubicBezTo>
                  <a:pt x="6051" y="3826"/>
                  <a:pt x="6002" y="3826"/>
                  <a:pt x="6002" y="3850"/>
                </a:cubicBezTo>
                <a:cubicBezTo>
                  <a:pt x="5977" y="3850"/>
                  <a:pt x="5951" y="3875"/>
                  <a:pt x="5951" y="3901"/>
                </a:cubicBezTo>
                <a:cubicBezTo>
                  <a:pt x="5951" y="3950"/>
                  <a:pt x="6002" y="3950"/>
                  <a:pt x="6002" y="3975"/>
                </a:cubicBezTo>
                <a:cubicBezTo>
                  <a:pt x="6027" y="4001"/>
                  <a:pt x="6002" y="4001"/>
                  <a:pt x="5977" y="4026"/>
                </a:cubicBezTo>
                <a:cubicBezTo>
                  <a:pt x="5977" y="4050"/>
                  <a:pt x="5951" y="4050"/>
                  <a:pt x="5951" y="4075"/>
                </a:cubicBezTo>
                <a:cubicBezTo>
                  <a:pt x="5951" y="4075"/>
                  <a:pt x="5977" y="4075"/>
                  <a:pt x="5977" y="4126"/>
                </a:cubicBezTo>
                <a:cubicBezTo>
                  <a:pt x="6002" y="4151"/>
                  <a:pt x="6027" y="4151"/>
                  <a:pt x="6027" y="4200"/>
                </a:cubicBezTo>
                <a:cubicBezTo>
                  <a:pt x="6027" y="4251"/>
                  <a:pt x="6002" y="4251"/>
                  <a:pt x="5977" y="4251"/>
                </a:cubicBezTo>
                <a:cubicBezTo>
                  <a:pt x="5977" y="4251"/>
                  <a:pt x="6002" y="4275"/>
                  <a:pt x="5951" y="4301"/>
                </a:cubicBezTo>
                <a:cubicBezTo>
                  <a:pt x="5926" y="4351"/>
                  <a:pt x="5902" y="4375"/>
                  <a:pt x="5926" y="4401"/>
                </a:cubicBezTo>
                <a:cubicBezTo>
                  <a:pt x="5951" y="4426"/>
                  <a:pt x="6027" y="4451"/>
                  <a:pt x="6077" y="4526"/>
                </a:cubicBezTo>
                <a:cubicBezTo>
                  <a:pt x="6102" y="4575"/>
                  <a:pt x="6102" y="4651"/>
                  <a:pt x="6102" y="4726"/>
                </a:cubicBezTo>
                <a:cubicBezTo>
                  <a:pt x="6077" y="4775"/>
                  <a:pt x="6002" y="4801"/>
                  <a:pt x="5951" y="4851"/>
                </a:cubicBezTo>
                <a:cubicBezTo>
                  <a:pt x="5902" y="4901"/>
                  <a:pt x="5851" y="4901"/>
                  <a:pt x="5826" y="4901"/>
                </a:cubicBezTo>
                <a:cubicBezTo>
                  <a:pt x="5802" y="4901"/>
                  <a:pt x="5826" y="4951"/>
                  <a:pt x="5851" y="5001"/>
                </a:cubicBezTo>
                <a:cubicBezTo>
                  <a:pt x="5877" y="5026"/>
                  <a:pt x="5851" y="5051"/>
                  <a:pt x="5877" y="5075"/>
                </a:cubicBezTo>
                <a:cubicBezTo>
                  <a:pt x="5902" y="5126"/>
                  <a:pt x="5877" y="5151"/>
                  <a:pt x="5902" y="5201"/>
                </a:cubicBezTo>
                <a:cubicBezTo>
                  <a:pt x="5926" y="5226"/>
                  <a:pt x="5926" y="5251"/>
                  <a:pt x="5877" y="5275"/>
                </a:cubicBezTo>
                <a:cubicBezTo>
                  <a:pt x="5851" y="5301"/>
                  <a:pt x="5902" y="5301"/>
                  <a:pt x="5902" y="5326"/>
                </a:cubicBezTo>
                <a:cubicBezTo>
                  <a:pt x="5902" y="5351"/>
                  <a:pt x="5877" y="5351"/>
                  <a:pt x="5851" y="5326"/>
                </a:cubicBezTo>
                <a:cubicBezTo>
                  <a:pt x="5826" y="5301"/>
                  <a:pt x="5802" y="5351"/>
                  <a:pt x="5802" y="5376"/>
                </a:cubicBezTo>
                <a:cubicBezTo>
                  <a:pt x="5802" y="5401"/>
                  <a:pt x="5751" y="5351"/>
                  <a:pt x="5726" y="5351"/>
                </a:cubicBezTo>
                <a:cubicBezTo>
                  <a:pt x="5702" y="5351"/>
                  <a:pt x="5726" y="5326"/>
                  <a:pt x="5702" y="5275"/>
                </a:cubicBezTo>
                <a:cubicBezTo>
                  <a:pt x="5651" y="5251"/>
                  <a:pt x="5626" y="5251"/>
                  <a:pt x="5626" y="5226"/>
                </a:cubicBezTo>
                <a:cubicBezTo>
                  <a:pt x="5626" y="5201"/>
                  <a:pt x="5551" y="5175"/>
                  <a:pt x="5551" y="5126"/>
                </a:cubicBezTo>
                <a:cubicBezTo>
                  <a:pt x="5551" y="5101"/>
                  <a:pt x="5577" y="5026"/>
                  <a:pt x="5551" y="5001"/>
                </a:cubicBezTo>
                <a:cubicBezTo>
                  <a:pt x="5551" y="4975"/>
                  <a:pt x="5551" y="4951"/>
                  <a:pt x="5577" y="4926"/>
                </a:cubicBezTo>
                <a:cubicBezTo>
                  <a:pt x="5577" y="4901"/>
                  <a:pt x="5551" y="4851"/>
                  <a:pt x="5502" y="4851"/>
                </a:cubicBezTo>
                <a:cubicBezTo>
                  <a:pt x="5477" y="4851"/>
                  <a:pt x="5426" y="4851"/>
                  <a:pt x="5377" y="4851"/>
                </a:cubicBezTo>
                <a:cubicBezTo>
                  <a:pt x="5326" y="4851"/>
                  <a:pt x="5302" y="4851"/>
                  <a:pt x="5277" y="4826"/>
                </a:cubicBezTo>
                <a:cubicBezTo>
                  <a:pt x="5251" y="4826"/>
                  <a:pt x="5202" y="4775"/>
                  <a:pt x="5151" y="4775"/>
                </a:cubicBezTo>
                <a:cubicBezTo>
                  <a:pt x="5077" y="4751"/>
                  <a:pt x="5051" y="4726"/>
                  <a:pt x="5051" y="4701"/>
                </a:cubicBezTo>
                <a:cubicBezTo>
                  <a:pt x="5026" y="4675"/>
                  <a:pt x="4977" y="4675"/>
                  <a:pt x="4951" y="4651"/>
                </a:cubicBezTo>
                <a:cubicBezTo>
                  <a:pt x="4951" y="4626"/>
                  <a:pt x="4877" y="4626"/>
                  <a:pt x="4851" y="4626"/>
                </a:cubicBezTo>
                <a:cubicBezTo>
                  <a:pt x="4826" y="4626"/>
                  <a:pt x="4777" y="4575"/>
                  <a:pt x="4726" y="4575"/>
                </a:cubicBezTo>
                <a:cubicBezTo>
                  <a:pt x="4701" y="4575"/>
                  <a:pt x="4601" y="4626"/>
                  <a:pt x="4601" y="4626"/>
                </a:cubicBezTo>
                <a:cubicBezTo>
                  <a:pt x="4577" y="4626"/>
                  <a:pt x="4601" y="4575"/>
                  <a:pt x="4601" y="4575"/>
                </a:cubicBezTo>
                <a:cubicBezTo>
                  <a:pt x="4626" y="4551"/>
                  <a:pt x="4577" y="4501"/>
                  <a:pt x="4551" y="4451"/>
                </a:cubicBezTo>
                <a:cubicBezTo>
                  <a:pt x="4551" y="4401"/>
                  <a:pt x="4526" y="4375"/>
                  <a:pt x="4501" y="4375"/>
                </a:cubicBezTo>
                <a:cubicBezTo>
                  <a:pt x="4451" y="4375"/>
                  <a:pt x="4401" y="4351"/>
                  <a:pt x="4401" y="4351"/>
                </a:cubicBezTo>
                <a:cubicBezTo>
                  <a:pt x="4377" y="4326"/>
                  <a:pt x="4377" y="4226"/>
                  <a:pt x="4377" y="4175"/>
                </a:cubicBezTo>
                <a:cubicBezTo>
                  <a:pt x="4401" y="4126"/>
                  <a:pt x="4451" y="4050"/>
                  <a:pt x="4451" y="4001"/>
                </a:cubicBezTo>
                <a:cubicBezTo>
                  <a:pt x="4451" y="3975"/>
                  <a:pt x="4477" y="3975"/>
                  <a:pt x="4526" y="3950"/>
                </a:cubicBezTo>
                <a:cubicBezTo>
                  <a:pt x="4551" y="3950"/>
                  <a:pt x="4526" y="3901"/>
                  <a:pt x="4551" y="3875"/>
                </a:cubicBezTo>
                <a:cubicBezTo>
                  <a:pt x="4577" y="3875"/>
                  <a:pt x="4577" y="3875"/>
                  <a:pt x="4601" y="3850"/>
                </a:cubicBezTo>
                <a:cubicBezTo>
                  <a:pt x="4601" y="3826"/>
                  <a:pt x="4626" y="3826"/>
                  <a:pt x="4626" y="3826"/>
                </a:cubicBezTo>
                <a:cubicBezTo>
                  <a:pt x="4601" y="3801"/>
                  <a:pt x="4601" y="3775"/>
                  <a:pt x="4651" y="3775"/>
                </a:cubicBezTo>
                <a:cubicBezTo>
                  <a:pt x="4701" y="3775"/>
                  <a:pt x="4777" y="3775"/>
                  <a:pt x="4777" y="3726"/>
                </a:cubicBezTo>
                <a:cubicBezTo>
                  <a:pt x="4751" y="3675"/>
                  <a:pt x="4626" y="3701"/>
                  <a:pt x="4626" y="3675"/>
                </a:cubicBezTo>
                <a:cubicBezTo>
                  <a:pt x="4626" y="3626"/>
                  <a:pt x="4477" y="3626"/>
                  <a:pt x="4477" y="3601"/>
                </a:cubicBezTo>
                <a:cubicBezTo>
                  <a:pt x="4501" y="3575"/>
                  <a:pt x="4651" y="3626"/>
                  <a:pt x="4701" y="3650"/>
                </a:cubicBezTo>
                <a:cubicBezTo>
                  <a:pt x="4751" y="3675"/>
                  <a:pt x="4777" y="3650"/>
                  <a:pt x="4801" y="3650"/>
                </a:cubicBezTo>
                <a:cubicBezTo>
                  <a:pt x="4851" y="3650"/>
                  <a:pt x="4826" y="3601"/>
                  <a:pt x="4826" y="3575"/>
                </a:cubicBezTo>
                <a:cubicBezTo>
                  <a:pt x="4851" y="3550"/>
                  <a:pt x="4926" y="3626"/>
                  <a:pt x="4977" y="3601"/>
                </a:cubicBezTo>
                <a:cubicBezTo>
                  <a:pt x="5026" y="3601"/>
                  <a:pt x="5077" y="3501"/>
                  <a:pt x="5102" y="3475"/>
                </a:cubicBezTo>
                <a:cubicBezTo>
                  <a:pt x="5151" y="3426"/>
                  <a:pt x="5102" y="3401"/>
                  <a:pt x="5026" y="3426"/>
                </a:cubicBezTo>
                <a:cubicBezTo>
                  <a:pt x="4951" y="3426"/>
                  <a:pt x="4901" y="3401"/>
                  <a:pt x="4877" y="3375"/>
                </a:cubicBezTo>
                <a:cubicBezTo>
                  <a:pt x="4826" y="3326"/>
                  <a:pt x="4826" y="3301"/>
                  <a:pt x="4877" y="3301"/>
                </a:cubicBezTo>
                <a:cubicBezTo>
                  <a:pt x="4926" y="3326"/>
                  <a:pt x="5026" y="3401"/>
                  <a:pt x="5077" y="3401"/>
                </a:cubicBezTo>
                <a:cubicBezTo>
                  <a:pt x="5102" y="3401"/>
                  <a:pt x="5177" y="3326"/>
                  <a:pt x="5202" y="3301"/>
                </a:cubicBezTo>
                <a:cubicBezTo>
                  <a:pt x="5251" y="3275"/>
                  <a:pt x="5177" y="3275"/>
                  <a:pt x="5151" y="3250"/>
                </a:cubicBezTo>
                <a:cubicBezTo>
                  <a:pt x="5126" y="3226"/>
                  <a:pt x="5202" y="3226"/>
                  <a:pt x="5226" y="3226"/>
                </a:cubicBezTo>
                <a:cubicBezTo>
                  <a:pt x="5251" y="3226"/>
                  <a:pt x="5277" y="3250"/>
                  <a:pt x="5277" y="3250"/>
                </a:cubicBezTo>
                <a:cubicBezTo>
                  <a:pt x="5302" y="3275"/>
                  <a:pt x="5351" y="3250"/>
                  <a:pt x="5377" y="3250"/>
                </a:cubicBezTo>
                <a:cubicBezTo>
                  <a:pt x="5426" y="3250"/>
                  <a:pt x="5377" y="3201"/>
                  <a:pt x="5326" y="3175"/>
                </a:cubicBezTo>
                <a:cubicBezTo>
                  <a:pt x="5277" y="3175"/>
                  <a:pt x="5326" y="3126"/>
                  <a:pt x="5351" y="3150"/>
                </a:cubicBezTo>
                <a:cubicBezTo>
                  <a:pt x="5377" y="3175"/>
                  <a:pt x="5402" y="3175"/>
                  <a:pt x="5426" y="3226"/>
                </a:cubicBezTo>
                <a:cubicBezTo>
                  <a:pt x="5451" y="3250"/>
                  <a:pt x="5451" y="3226"/>
                  <a:pt x="5502" y="3226"/>
                </a:cubicBezTo>
                <a:cubicBezTo>
                  <a:pt x="5526" y="3201"/>
                  <a:pt x="5551" y="3175"/>
                  <a:pt x="5577" y="3150"/>
                </a:cubicBezTo>
                <a:cubicBezTo>
                  <a:pt x="5602" y="3126"/>
                  <a:pt x="5602" y="3150"/>
                  <a:pt x="5626" y="3126"/>
                </a:cubicBezTo>
                <a:cubicBezTo>
                  <a:pt x="5651" y="3075"/>
                  <a:pt x="5626" y="3050"/>
                  <a:pt x="5602" y="3026"/>
                </a:cubicBezTo>
                <a:cubicBezTo>
                  <a:pt x="5551" y="3001"/>
                  <a:pt x="5602" y="2975"/>
                  <a:pt x="5551" y="2950"/>
                </a:cubicBezTo>
                <a:cubicBezTo>
                  <a:pt x="5526" y="2926"/>
                  <a:pt x="5526" y="2900"/>
                  <a:pt x="5551" y="2900"/>
                </a:cubicBezTo>
                <a:cubicBezTo>
                  <a:pt x="5602" y="2926"/>
                  <a:pt x="5626" y="2900"/>
                  <a:pt x="5651" y="2875"/>
                </a:cubicBezTo>
                <a:cubicBezTo>
                  <a:pt x="5677" y="2850"/>
                  <a:pt x="5602" y="2850"/>
                  <a:pt x="5626" y="2825"/>
                </a:cubicBezTo>
                <a:cubicBezTo>
                  <a:pt x="5677" y="2800"/>
                  <a:pt x="5626" y="2775"/>
                  <a:pt x="5602" y="2775"/>
                </a:cubicBezTo>
                <a:cubicBezTo>
                  <a:pt x="5551" y="2775"/>
                  <a:pt x="5526" y="2750"/>
                  <a:pt x="5526" y="2725"/>
                </a:cubicBezTo>
                <a:cubicBezTo>
                  <a:pt x="5526" y="2701"/>
                  <a:pt x="5451" y="2725"/>
                  <a:pt x="5426" y="2701"/>
                </a:cubicBezTo>
                <a:cubicBezTo>
                  <a:pt x="5377" y="2675"/>
                  <a:pt x="5302" y="2675"/>
                  <a:pt x="5277" y="2675"/>
                </a:cubicBezTo>
                <a:cubicBezTo>
                  <a:pt x="5251" y="2675"/>
                  <a:pt x="5251" y="2775"/>
                  <a:pt x="5277" y="2775"/>
                </a:cubicBezTo>
                <a:cubicBezTo>
                  <a:pt x="5302" y="2775"/>
                  <a:pt x="5326" y="2800"/>
                  <a:pt x="5302" y="2825"/>
                </a:cubicBezTo>
                <a:cubicBezTo>
                  <a:pt x="5277" y="2825"/>
                  <a:pt x="5326" y="2875"/>
                  <a:pt x="5302" y="2850"/>
                </a:cubicBezTo>
                <a:cubicBezTo>
                  <a:pt x="5277" y="2850"/>
                  <a:pt x="5251" y="2850"/>
                  <a:pt x="5226" y="2900"/>
                </a:cubicBezTo>
                <a:cubicBezTo>
                  <a:pt x="5226" y="2950"/>
                  <a:pt x="5226" y="2975"/>
                  <a:pt x="5177" y="3001"/>
                </a:cubicBezTo>
                <a:cubicBezTo>
                  <a:pt x="5151" y="3026"/>
                  <a:pt x="5177" y="2926"/>
                  <a:pt x="5151" y="2950"/>
                </a:cubicBezTo>
                <a:cubicBezTo>
                  <a:pt x="5102" y="2950"/>
                  <a:pt x="5102" y="3001"/>
                  <a:pt x="5126" y="3001"/>
                </a:cubicBezTo>
                <a:cubicBezTo>
                  <a:pt x="5151" y="3026"/>
                  <a:pt x="5151" y="3050"/>
                  <a:pt x="5177" y="3075"/>
                </a:cubicBezTo>
                <a:cubicBezTo>
                  <a:pt x="5177" y="3101"/>
                  <a:pt x="5126" y="3075"/>
                  <a:pt x="5102" y="3126"/>
                </a:cubicBezTo>
                <a:cubicBezTo>
                  <a:pt x="5077" y="3150"/>
                  <a:pt x="5077" y="3101"/>
                  <a:pt x="5051" y="3075"/>
                </a:cubicBezTo>
                <a:cubicBezTo>
                  <a:pt x="5026" y="3050"/>
                  <a:pt x="4977" y="3001"/>
                  <a:pt x="4977" y="2975"/>
                </a:cubicBezTo>
                <a:cubicBezTo>
                  <a:pt x="5001" y="2950"/>
                  <a:pt x="5001" y="2950"/>
                  <a:pt x="5026" y="2926"/>
                </a:cubicBezTo>
                <a:cubicBezTo>
                  <a:pt x="5051" y="2926"/>
                  <a:pt x="5026" y="2900"/>
                  <a:pt x="5026" y="2875"/>
                </a:cubicBezTo>
                <a:cubicBezTo>
                  <a:pt x="5026" y="2825"/>
                  <a:pt x="5001" y="2850"/>
                  <a:pt x="4951" y="2800"/>
                </a:cubicBezTo>
                <a:cubicBezTo>
                  <a:pt x="4926" y="2775"/>
                  <a:pt x="4901" y="2775"/>
                  <a:pt x="4877" y="2775"/>
                </a:cubicBezTo>
                <a:cubicBezTo>
                  <a:pt x="4851" y="2800"/>
                  <a:pt x="4877" y="2850"/>
                  <a:pt x="4851" y="2850"/>
                </a:cubicBezTo>
                <a:cubicBezTo>
                  <a:pt x="4801" y="2875"/>
                  <a:pt x="4826" y="2926"/>
                  <a:pt x="4801" y="2926"/>
                </a:cubicBezTo>
                <a:cubicBezTo>
                  <a:pt x="4777" y="2926"/>
                  <a:pt x="4777" y="2825"/>
                  <a:pt x="4777" y="2825"/>
                </a:cubicBezTo>
                <a:cubicBezTo>
                  <a:pt x="4751" y="2800"/>
                  <a:pt x="4751" y="2775"/>
                  <a:pt x="4777" y="2775"/>
                </a:cubicBezTo>
                <a:cubicBezTo>
                  <a:pt x="4801" y="2775"/>
                  <a:pt x="4826" y="2750"/>
                  <a:pt x="4801" y="2750"/>
                </a:cubicBezTo>
                <a:cubicBezTo>
                  <a:pt x="4777" y="2750"/>
                  <a:pt x="4726" y="2701"/>
                  <a:pt x="4701" y="2701"/>
                </a:cubicBezTo>
                <a:cubicBezTo>
                  <a:pt x="4701" y="2701"/>
                  <a:pt x="4651" y="2725"/>
                  <a:pt x="4626" y="2725"/>
                </a:cubicBezTo>
                <a:cubicBezTo>
                  <a:pt x="4626" y="2701"/>
                  <a:pt x="4651" y="2650"/>
                  <a:pt x="4651" y="2650"/>
                </a:cubicBezTo>
                <a:cubicBezTo>
                  <a:pt x="4651" y="2625"/>
                  <a:pt x="4677" y="2650"/>
                  <a:pt x="4701" y="2625"/>
                </a:cubicBezTo>
                <a:cubicBezTo>
                  <a:pt x="4726" y="2601"/>
                  <a:pt x="4626" y="2601"/>
                  <a:pt x="4626" y="2550"/>
                </a:cubicBezTo>
                <a:cubicBezTo>
                  <a:pt x="4626" y="2525"/>
                  <a:pt x="4577" y="2525"/>
                  <a:pt x="4551" y="2501"/>
                </a:cubicBezTo>
                <a:cubicBezTo>
                  <a:pt x="4526" y="2501"/>
                  <a:pt x="4577" y="2450"/>
                  <a:pt x="4551" y="2425"/>
                </a:cubicBezTo>
                <a:cubicBezTo>
                  <a:pt x="4551" y="2401"/>
                  <a:pt x="4477" y="2325"/>
                  <a:pt x="4426" y="2350"/>
                </a:cubicBezTo>
                <a:cubicBezTo>
                  <a:pt x="4401" y="2350"/>
                  <a:pt x="4401" y="2301"/>
                  <a:pt x="4426" y="2301"/>
                </a:cubicBezTo>
                <a:cubicBezTo>
                  <a:pt x="4426" y="2301"/>
                  <a:pt x="4451" y="2301"/>
                  <a:pt x="4477" y="2250"/>
                </a:cubicBezTo>
                <a:cubicBezTo>
                  <a:pt x="4526" y="2201"/>
                  <a:pt x="4526" y="2201"/>
                  <a:pt x="4501" y="2201"/>
                </a:cubicBezTo>
                <a:cubicBezTo>
                  <a:pt x="4477" y="2175"/>
                  <a:pt x="4451" y="2150"/>
                  <a:pt x="4501" y="2150"/>
                </a:cubicBezTo>
                <a:cubicBezTo>
                  <a:pt x="4551" y="2150"/>
                  <a:pt x="4626" y="2201"/>
                  <a:pt x="4651" y="2175"/>
                </a:cubicBezTo>
                <a:cubicBezTo>
                  <a:pt x="4677" y="2150"/>
                  <a:pt x="4751" y="2025"/>
                  <a:pt x="4777" y="1975"/>
                </a:cubicBezTo>
                <a:cubicBezTo>
                  <a:pt x="4826" y="1950"/>
                  <a:pt x="4751" y="1950"/>
                  <a:pt x="4677" y="1950"/>
                </a:cubicBezTo>
                <a:cubicBezTo>
                  <a:pt x="4601" y="1950"/>
                  <a:pt x="4601" y="1925"/>
                  <a:pt x="4526" y="1901"/>
                </a:cubicBezTo>
                <a:cubicBezTo>
                  <a:pt x="4477" y="1901"/>
                  <a:pt x="4351" y="1925"/>
                  <a:pt x="4326" y="1950"/>
                </a:cubicBezTo>
                <a:cubicBezTo>
                  <a:pt x="4326" y="1950"/>
                  <a:pt x="4377" y="1975"/>
                  <a:pt x="4351" y="2001"/>
                </a:cubicBezTo>
                <a:cubicBezTo>
                  <a:pt x="4351" y="2025"/>
                  <a:pt x="4326" y="1975"/>
                  <a:pt x="4301" y="2001"/>
                </a:cubicBezTo>
                <a:cubicBezTo>
                  <a:pt x="4277" y="2001"/>
                  <a:pt x="4301" y="2025"/>
                  <a:pt x="4301" y="2101"/>
                </a:cubicBezTo>
                <a:cubicBezTo>
                  <a:pt x="4301" y="2175"/>
                  <a:pt x="4326" y="2175"/>
                  <a:pt x="4326" y="2201"/>
                </a:cubicBezTo>
                <a:cubicBezTo>
                  <a:pt x="4351" y="2225"/>
                  <a:pt x="4351" y="2275"/>
                  <a:pt x="4351" y="2325"/>
                </a:cubicBezTo>
                <a:cubicBezTo>
                  <a:pt x="4351" y="2350"/>
                  <a:pt x="4301" y="2350"/>
                  <a:pt x="4301" y="2375"/>
                </a:cubicBezTo>
                <a:cubicBezTo>
                  <a:pt x="4277" y="2375"/>
                  <a:pt x="4326" y="2401"/>
                  <a:pt x="4326" y="2425"/>
                </a:cubicBezTo>
                <a:cubicBezTo>
                  <a:pt x="4326" y="2450"/>
                  <a:pt x="4277" y="2401"/>
                  <a:pt x="4251" y="2425"/>
                </a:cubicBezTo>
                <a:cubicBezTo>
                  <a:pt x="4226" y="2425"/>
                  <a:pt x="4201" y="2501"/>
                  <a:pt x="4226" y="2525"/>
                </a:cubicBezTo>
                <a:cubicBezTo>
                  <a:pt x="4251" y="2550"/>
                  <a:pt x="4277" y="2525"/>
                  <a:pt x="4251" y="2575"/>
                </a:cubicBezTo>
                <a:cubicBezTo>
                  <a:pt x="4226" y="2601"/>
                  <a:pt x="4201" y="2625"/>
                  <a:pt x="4251" y="2675"/>
                </a:cubicBezTo>
                <a:cubicBezTo>
                  <a:pt x="4301" y="2701"/>
                  <a:pt x="4401" y="2701"/>
                  <a:pt x="4451" y="2725"/>
                </a:cubicBezTo>
                <a:cubicBezTo>
                  <a:pt x="4501" y="2775"/>
                  <a:pt x="4426" y="2750"/>
                  <a:pt x="4451" y="2775"/>
                </a:cubicBezTo>
                <a:cubicBezTo>
                  <a:pt x="4451" y="2825"/>
                  <a:pt x="4401" y="2825"/>
                  <a:pt x="4401" y="2850"/>
                </a:cubicBezTo>
                <a:cubicBezTo>
                  <a:pt x="4401" y="2875"/>
                  <a:pt x="4426" y="2875"/>
                  <a:pt x="4451" y="2825"/>
                </a:cubicBezTo>
                <a:cubicBezTo>
                  <a:pt x="4477" y="2775"/>
                  <a:pt x="4501" y="2850"/>
                  <a:pt x="4501" y="2875"/>
                </a:cubicBezTo>
                <a:cubicBezTo>
                  <a:pt x="4501" y="2926"/>
                  <a:pt x="4451" y="2900"/>
                  <a:pt x="4426" y="2926"/>
                </a:cubicBezTo>
                <a:cubicBezTo>
                  <a:pt x="4401" y="2975"/>
                  <a:pt x="4377" y="2975"/>
                  <a:pt x="4351" y="2975"/>
                </a:cubicBezTo>
                <a:cubicBezTo>
                  <a:pt x="4301" y="2975"/>
                  <a:pt x="4326" y="3026"/>
                  <a:pt x="4351" y="3075"/>
                </a:cubicBezTo>
                <a:cubicBezTo>
                  <a:pt x="4351" y="3101"/>
                  <a:pt x="4326" y="3101"/>
                  <a:pt x="4301" y="3101"/>
                </a:cubicBezTo>
                <a:cubicBezTo>
                  <a:pt x="4251" y="3075"/>
                  <a:pt x="4226" y="3050"/>
                  <a:pt x="4251" y="3026"/>
                </a:cubicBezTo>
                <a:cubicBezTo>
                  <a:pt x="4277" y="2975"/>
                  <a:pt x="4277" y="2950"/>
                  <a:pt x="4251" y="2950"/>
                </a:cubicBezTo>
                <a:cubicBezTo>
                  <a:pt x="4226" y="2950"/>
                  <a:pt x="4177" y="2950"/>
                  <a:pt x="4151" y="2926"/>
                </a:cubicBezTo>
                <a:cubicBezTo>
                  <a:pt x="4126" y="2900"/>
                  <a:pt x="4151" y="2900"/>
                  <a:pt x="4226" y="2900"/>
                </a:cubicBezTo>
                <a:cubicBezTo>
                  <a:pt x="4277" y="2926"/>
                  <a:pt x="4226" y="2875"/>
                  <a:pt x="4277" y="2875"/>
                </a:cubicBezTo>
                <a:cubicBezTo>
                  <a:pt x="4301" y="2875"/>
                  <a:pt x="4326" y="2900"/>
                  <a:pt x="4377" y="2850"/>
                </a:cubicBezTo>
                <a:cubicBezTo>
                  <a:pt x="4401" y="2825"/>
                  <a:pt x="4351" y="2775"/>
                  <a:pt x="4326" y="2775"/>
                </a:cubicBezTo>
                <a:cubicBezTo>
                  <a:pt x="4301" y="2800"/>
                  <a:pt x="4251" y="2800"/>
                  <a:pt x="4251" y="2775"/>
                </a:cubicBezTo>
                <a:cubicBezTo>
                  <a:pt x="4251" y="2750"/>
                  <a:pt x="4301" y="2775"/>
                  <a:pt x="4326" y="2750"/>
                </a:cubicBezTo>
                <a:cubicBezTo>
                  <a:pt x="4351" y="2750"/>
                  <a:pt x="4301" y="2725"/>
                  <a:pt x="4277" y="2725"/>
                </a:cubicBezTo>
                <a:cubicBezTo>
                  <a:pt x="4226" y="2725"/>
                  <a:pt x="4201" y="2750"/>
                  <a:pt x="4151" y="2701"/>
                </a:cubicBezTo>
                <a:cubicBezTo>
                  <a:pt x="4126" y="2675"/>
                  <a:pt x="4076" y="2650"/>
                  <a:pt x="4051" y="2725"/>
                </a:cubicBezTo>
                <a:cubicBezTo>
                  <a:pt x="4051" y="2800"/>
                  <a:pt x="3976" y="2775"/>
                  <a:pt x="3951" y="2800"/>
                </a:cubicBezTo>
                <a:cubicBezTo>
                  <a:pt x="3926" y="2825"/>
                  <a:pt x="3976" y="2850"/>
                  <a:pt x="4051" y="2850"/>
                </a:cubicBezTo>
                <a:cubicBezTo>
                  <a:pt x="4101" y="2850"/>
                  <a:pt x="4151" y="2900"/>
                  <a:pt x="4101" y="2900"/>
                </a:cubicBezTo>
                <a:cubicBezTo>
                  <a:pt x="4076" y="2900"/>
                  <a:pt x="4101" y="2926"/>
                  <a:pt x="4076" y="2926"/>
                </a:cubicBezTo>
                <a:cubicBezTo>
                  <a:pt x="4051" y="2900"/>
                  <a:pt x="4001" y="2926"/>
                  <a:pt x="4026" y="2950"/>
                </a:cubicBezTo>
                <a:cubicBezTo>
                  <a:pt x="4051" y="2975"/>
                  <a:pt x="4026" y="2975"/>
                  <a:pt x="4026" y="3001"/>
                </a:cubicBezTo>
                <a:cubicBezTo>
                  <a:pt x="4026" y="3026"/>
                  <a:pt x="3976" y="3001"/>
                  <a:pt x="3926" y="3001"/>
                </a:cubicBezTo>
                <a:cubicBezTo>
                  <a:pt x="3901" y="3001"/>
                  <a:pt x="3801" y="3026"/>
                  <a:pt x="3751" y="3026"/>
                </a:cubicBezTo>
                <a:cubicBezTo>
                  <a:pt x="3701" y="3050"/>
                  <a:pt x="3626" y="3026"/>
                  <a:pt x="3601" y="3001"/>
                </a:cubicBezTo>
                <a:cubicBezTo>
                  <a:pt x="3576" y="2975"/>
                  <a:pt x="3551" y="2975"/>
                  <a:pt x="3501" y="2975"/>
                </a:cubicBezTo>
                <a:cubicBezTo>
                  <a:pt x="3476" y="2975"/>
                  <a:pt x="3476" y="2926"/>
                  <a:pt x="3426" y="2926"/>
                </a:cubicBezTo>
                <a:cubicBezTo>
                  <a:pt x="3376" y="2926"/>
                  <a:pt x="3376" y="2875"/>
                  <a:pt x="3376" y="2850"/>
                </a:cubicBezTo>
                <a:cubicBezTo>
                  <a:pt x="3376" y="2825"/>
                  <a:pt x="3251" y="2825"/>
                  <a:pt x="3226" y="2850"/>
                </a:cubicBezTo>
                <a:cubicBezTo>
                  <a:pt x="3176" y="2875"/>
                  <a:pt x="3101" y="2875"/>
                  <a:pt x="3076" y="2926"/>
                </a:cubicBezTo>
                <a:cubicBezTo>
                  <a:pt x="3051" y="2975"/>
                  <a:pt x="3101" y="2950"/>
                  <a:pt x="3126" y="2950"/>
                </a:cubicBezTo>
                <a:cubicBezTo>
                  <a:pt x="3151" y="2950"/>
                  <a:pt x="3151" y="2926"/>
                  <a:pt x="3201" y="2926"/>
                </a:cubicBezTo>
                <a:cubicBezTo>
                  <a:pt x="3276" y="2926"/>
                  <a:pt x="3301" y="2875"/>
                  <a:pt x="3326" y="2900"/>
                </a:cubicBezTo>
                <a:cubicBezTo>
                  <a:pt x="3351" y="2926"/>
                  <a:pt x="3226" y="2975"/>
                  <a:pt x="3176" y="2975"/>
                </a:cubicBezTo>
                <a:cubicBezTo>
                  <a:pt x="3126" y="2975"/>
                  <a:pt x="3151" y="3026"/>
                  <a:pt x="3201" y="3101"/>
                </a:cubicBezTo>
                <a:cubicBezTo>
                  <a:pt x="3251" y="3175"/>
                  <a:pt x="3176" y="3126"/>
                  <a:pt x="3176" y="3175"/>
                </a:cubicBezTo>
                <a:cubicBezTo>
                  <a:pt x="3176" y="3201"/>
                  <a:pt x="3076" y="3150"/>
                  <a:pt x="3101" y="3150"/>
                </a:cubicBezTo>
                <a:cubicBezTo>
                  <a:pt x="3151" y="3126"/>
                  <a:pt x="3126" y="3101"/>
                  <a:pt x="3101" y="3075"/>
                </a:cubicBezTo>
                <a:cubicBezTo>
                  <a:pt x="3076" y="3050"/>
                  <a:pt x="3051" y="3075"/>
                  <a:pt x="3051" y="3050"/>
                </a:cubicBezTo>
                <a:cubicBezTo>
                  <a:pt x="3051" y="3026"/>
                  <a:pt x="3026" y="3050"/>
                  <a:pt x="3001" y="3026"/>
                </a:cubicBezTo>
                <a:cubicBezTo>
                  <a:pt x="2951" y="3001"/>
                  <a:pt x="2951" y="2975"/>
                  <a:pt x="2901" y="3001"/>
                </a:cubicBezTo>
                <a:cubicBezTo>
                  <a:pt x="2876" y="3026"/>
                  <a:pt x="2826" y="3026"/>
                  <a:pt x="2726" y="3026"/>
                </a:cubicBezTo>
                <a:cubicBezTo>
                  <a:pt x="2651" y="3050"/>
                  <a:pt x="2476" y="3050"/>
                  <a:pt x="2451" y="3026"/>
                </a:cubicBezTo>
                <a:cubicBezTo>
                  <a:pt x="2426" y="2975"/>
                  <a:pt x="2526" y="2926"/>
                  <a:pt x="2576" y="2950"/>
                </a:cubicBezTo>
                <a:cubicBezTo>
                  <a:pt x="2601" y="2950"/>
                  <a:pt x="2576" y="2900"/>
                  <a:pt x="2526" y="2875"/>
                </a:cubicBezTo>
                <a:cubicBezTo>
                  <a:pt x="2476" y="2825"/>
                  <a:pt x="2376" y="2800"/>
                  <a:pt x="2376" y="2825"/>
                </a:cubicBezTo>
                <a:cubicBezTo>
                  <a:pt x="2376" y="2850"/>
                  <a:pt x="2326" y="2825"/>
                  <a:pt x="2250" y="2825"/>
                </a:cubicBezTo>
                <a:cubicBezTo>
                  <a:pt x="2150" y="2800"/>
                  <a:pt x="2150" y="2775"/>
                  <a:pt x="2101" y="2775"/>
                </a:cubicBezTo>
                <a:cubicBezTo>
                  <a:pt x="2050" y="2775"/>
                  <a:pt x="1976" y="2750"/>
                  <a:pt x="1926" y="2725"/>
                </a:cubicBezTo>
                <a:cubicBezTo>
                  <a:pt x="1850" y="2675"/>
                  <a:pt x="1726" y="2675"/>
                  <a:pt x="1701" y="2725"/>
                </a:cubicBezTo>
                <a:cubicBezTo>
                  <a:pt x="1701" y="2775"/>
                  <a:pt x="1650" y="2750"/>
                  <a:pt x="1601" y="2750"/>
                </a:cubicBezTo>
                <a:cubicBezTo>
                  <a:pt x="1550" y="2750"/>
                  <a:pt x="1626" y="2701"/>
                  <a:pt x="1601" y="2701"/>
                </a:cubicBezTo>
                <a:cubicBezTo>
                  <a:pt x="1576" y="2701"/>
                  <a:pt x="1601" y="2625"/>
                  <a:pt x="1576" y="2625"/>
                </a:cubicBezTo>
                <a:cubicBezTo>
                  <a:pt x="1526" y="2625"/>
                  <a:pt x="1501" y="2775"/>
                  <a:pt x="1450" y="2750"/>
                </a:cubicBezTo>
                <a:cubicBezTo>
                  <a:pt x="1376" y="2750"/>
                  <a:pt x="1350" y="2601"/>
                  <a:pt x="1301" y="2575"/>
                </a:cubicBezTo>
                <a:cubicBezTo>
                  <a:pt x="1250" y="2525"/>
                  <a:pt x="1201" y="2525"/>
                  <a:pt x="1250" y="2601"/>
                </a:cubicBezTo>
                <a:cubicBezTo>
                  <a:pt x="1301" y="2650"/>
                  <a:pt x="1201" y="2601"/>
                  <a:pt x="1201" y="2650"/>
                </a:cubicBezTo>
                <a:cubicBezTo>
                  <a:pt x="1225" y="2675"/>
                  <a:pt x="1150" y="2725"/>
                  <a:pt x="1150" y="2701"/>
                </a:cubicBezTo>
                <a:cubicBezTo>
                  <a:pt x="1150" y="2675"/>
                  <a:pt x="1101" y="2650"/>
                  <a:pt x="1050" y="2725"/>
                </a:cubicBezTo>
                <a:cubicBezTo>
                  <a:pt x="1001" y="2775"/>
                  <a:pt x="976" y="2775"/>
                  <a:pt x="950" y="2750"/>
                </a:cubicBezTo>
                <a:cubicBezTo>
                  <a:pt x="950" y="2725"/>
                  <a:pt x="801" y="2800"/>
                  <a:pt x="825" y="2825"/>
                </a:cubicBezTo>
                <a:cubicBezTo>
                  <a:pt x="825" y="2850"/>
                  <a:pt x="801" y="2875"/>
                  <a:pt x="750" y="2875"/>
                </a:cubicBezTo>
                <a:cubicBezTo>
                  <a:pt x="725" y="2875"/>
                  <a:pt x="750" y="2825"/>
                  <a:pt x="776" y="2825"/>
                </a:cubicBezTo>
                <a:cubicBezTo>
                  <a:pt x="801" y="2800"/>
                  <a:pt x="901" y="2725"/>
                  <a:pt x="950" y="2725"/>
                </a:cubicBezTo>
                <a:cubicBezTo>
                  <a:pt x="1001" y="2701"/>
                  <a:pt x="1101" y="2675"/>
                  <a:pt x="1101" y="2650"/>
                </a:cubicBezTo>
                <a:cubicBezTo>
                  <a:pt x="1101" y="2625"/>
                  <a:pt x="1050" y="2650"/>
                  <a:pt x="1025" y="2625"/>
                </a:cubicBezTo>
                <a:cubicBezTo>
                  <a:pt x="1001" y="2625"/>
                  <a:pt x="925" y="2675"/>
                  <a:pt x="876" y="2701"/>
                </a:cubicBezTo>
                <a:cubicBezTo>
                  <a:pt x="825" y="2725"/>
                  <a:pt x="750" y="2701"/>
                  <a:pt x="776" y="2750"/>
                </a:cubicBezTo>
                <a:cubicBezTo>
                  <a:pt x="801" y="2775"/>
                  <a:pt x="725" y="2725"/>
                  <a:pt x="701" y="2750"/>
                </a:cubicBezTo>
                <a:cubicBezTo>
                  <a:pt x="701" y="2775"/>
                  <a:pt x="676" y="2750"/>
                  <a:pt x="676" y="2750"/>
                </a:cubicBezTo>
                <a:cubicBezTo>
                  <a:pt x="701" y="2725"/>
                  <a:pt x="625" y="2701"/>
                  <a:pt x="625" y="2725"/>
                </a:cubicBezTo>
                <a:cubicBezTo>
                  <a:pt x="625" y="2725"/>
                  <a:pt x="625" y="2750"/>
                  <a:pt x="576" y="2750"/>
                </a:cubicBezTo>
                <a:cubicBezTo>
                  <a:pt x="525" y="2750"/>
                  <a:pt x="476" y="2800"/>
                  <a:pt x="500" y="2825"/>
                </a:cubicBezTo>
                <a:cubicBezTo>
                  <a:pt x="550" y="2850"/>
                  <a:pt x="550" y="2850"/>
                  <a:pt x="550" y="2875"/>
                </a:cubicBezTo>
                <a:cubicBezTo>
                  <a:pt x="525" y="2875"/>
                  <a:pt x="476" y="2825"/>
                  <a:pt x="400" y="2825"/>
                </a:cubicBezTo>
                <a:cubicBezTo>
                  <a:pt x="325" y="2850"/>
                  <a:pt x="176" y="2750"/>
                  <a:pt x="176" y="2725"/>
                </a:cubicBezTo>
                <a:cubicBezTo>
                  <a:pt x="176" y="2701"/>
                  <a:pt x="76" y="2725"/>
                  <a:pt x="0" y="2725"/>
                </a:cubicBezTo>
                <a:cubicBezTo>
                  <a:pt x="0" y="4151"/>
                  <a:pt x="0" y="4151"/>
                  <a:pt x="0" y="4151"/>
                </a:cubicBezTo>
                <a:lnTo>
                  <a:pt x="50" y="4175"/>
                </a:lnTo>
                <a:cubicBezTo>
                  <a:pt x="76" y="4151"/>
                  <a:pt x="100" y="4175"/>
                  <a:pt x="150" y="4151"/>
                </a:cubicBezTo>
                <a:cubicBezTo>
                  <a:pt x="200" y="4126"/>
                  <a:pt x="200" y="4175"/>
                  <a:pt x="200" y="4200"/>
                </a:cubicBezTo>
                <a:cubicBezTo>
                  <a:pt x="200" y="4226"/>
                  <a:pt x="276" y="4251"/>
                  <a:pt x="300" y="4301"/>
                </a:cubicBezTo>
                <a:cubicBezTo>
                  <a:pt x="325" y="4326"/>
                  <a:pt x="350" y="4351"/>
                  <a:pt x="376" y="4351"/>
                </a:cubicBezTo>
                <a:cubicBezTo>
                  <a:pt x="400" y="4326"/>
                  <a:pt x="450" y="4301"/>
                  <a:pt x="450" y="4275"/>
                </a:cubicBezTo>
                <a:cubicBezTo>
                  <a:pt x="450" y="4226"/>
                  <a:pt x="601" y="4226"/>
                  <a:pt x="601" y="4275"/>
                </a:cubicBezTo>
                <a:cubicBezTo>
                  <a:pt x="601" y="4326"/>
                  <a:pt x="725" y="4375"/>
                  <a:pt x="801" y="4501"/>
                </a:cubicBezTo>
                <a:cubicBezTo>
                  <a:pt x="876" y="4626"/>
                  <a:pt x="850" y="4675"/>
                  <a:pt x="950" y="4701"/>
                </a:cubicBezTo>
                <a:cubicBezTo>
                  <a:pt x="1076" y="4751"/>
                  <a:pt x="1050" y="4775"/>
                  <a:pt x="1050" y="4801"/>
                </a:cubicBezTo>
                <a:cubicBezTo>
                  <a:pt x="1025" y="4851"/>
                  <a:pt x="1101" y="4851"/>
                  <a:pt x="1076" y="4901"/>
                </a:cubicBezTo>
                <a:cubicBezTo>
                  <a:pt x="1050" y="4901"/>
                  <a:pt x="1025" y="4926"/>
                  <a:pt x="1001" y="4926"/>
                </a:cubicBezTo>
                <a:cubicBezTo>
                  <a:pt x="1001" y="4951"/>
                  <a:pt x="1025" y="4975"/>
                  <a:pt x="1050" y="4975"/>
                </a:cubicBezTo>
                <a:cubicBezTo>
                  <a:pt x="1076" y="5001"/>
                  <a:pt x="1001" y="5001"/>
                  <a:pt x="1025" y="5026"/>
                </a:cubicBezTo>
                <a:cubicBezTo>
                  <a:pt x="1050" y="5051"/>
                  <a:pt x="1025" y="5075"/>
                  <a:pt x="1025" y="5101"/>
                </a:cubicBezTo>
                <a:cubicBezTo>
                  <a:pt x="1050" y="5126"/>
                  <a:pt x="1101" y="5101"/>
                  <a:pt x="1125" y="5101"/>
                </a:cubicBezTo>
                <a:cubicBezTo>
                  <a:pt x="1150" y="5075"/>
                  <a:pt x="1150" y="5126"/>
                  <a:pt x="1125" y="5151"/>
                </a:cubicBezTo>
                <a:cubicBezTo>
                  <a:pt x="1125" y="5175"/>
                  <a:pt x="1150" y="5201"/>
                  <a:pt x="1176" y="5175"/>
                </a:cubicBezTo>
                <a:cubicBezTo>
                  <a:pt x="1201" y="5151"/>
                  <a:pt x="1225" y="5226"/>
                  <a:pt x="1250" y="5226"/>
                </a:cubicBezTo>
                <a:cubicBezTo>
                  <a:pt x="1276" y="5226"/>
                  <a:pt x="1301" y="5275"/>
                  <a:pt x="1250" y="5275"/>
                </a:cubicBezTo>
                <a:cubicBezTo>
                  <a:pt x="1225" y="5275"/>
                  <a:pt x="1225" y="5326"/>
                  <a:pt x="1250" y="5326"/>
                </a:cubicBezTo>
                <a:cubicBezTo>
                  <a:pt x="1276" y="5326"/>
                  <a:pt x="1276" y="5351"/>
                  <a:pt x="1276" y="5376"/>
                </a:cubicBezTo>
                <a:cubicBezTo>
                  <a:pt x="1276" y="5401"/>
                  <a:pt x="1350" y="5426"/>
                  <a:pt x="1376" y="5401"/>
                </a:cubicBezTo>
                <a:cubicBezTo>
                  <a:pt x="1401" y="5401"/>
                  <a:pt x="1425" y="5426"/>
                  <a:pt x="1450" y="5451"/>
                </a:cubicBezTo>
                <a:cubicBezTo>
                  <a:pt x="1450" y="5476"/>
                  <a:pt x="1501" y="5500"/>
                  <a:pt x="1526" y="5476"/>
                </a:cubicBezTo>
                <a:cubicBezTo>
                  <a:pt x="1550" y="5451"/>
                  <a:pt x="1550" y="5500"/>
                  <a:pt x="1550" y="5526"/>
                </a:cubicBezTo>
                <a:cubicBezTo>
                  <a:pt x="1550" y="5551"/>
                  <a:pt x="1601" y="5551"/>
                  <a:pt x="1626" y="5551"/>
                </a:cubicBezTo>
                <a:cubicBezTo>
                  <a:pt x="1650" y="5551"/>
                  <a:pt x="1676" y="5576"/>
                  <a:pt x="1676" y="5576"/>
                </a:cubicBezTo>
                <a:cubicBezTo>
                  <a:pt x="1726" y="5551"/>
                  <a:pt x="1726" y="5626"/>
                  <a:pt x="1750" y="5651"/>
                </a:cubicBezTo>
                <a:cubicBezTo>
                  <a:pt x="4351" y="5651"/>
                  <a:pt x="4351" y="5651"/>
                  <a:pt x="4351" y="5651"/>
                </a:cubicBezTo>
                <a:cubicBezTo>
                  <a:pt x="4351" y="5651"/>
                  <a:pt x="4351" y="5576"/>
                  <a:pt x="4377" y="5600"/>
                </a:cubicBezTo>
                <a:cubicBezTo>
                  <a:pt x="4401" y="5626"/>
                  <a:pt x="4377" y="5651"/>
                  <a:pt x="4426" y="5676"/>
                </a:cubicBezTo>
                <a:cubicBezTo>
                  <a:pt x="4451" y="5676"/>
                  <a:pt x="4477" y="5701"/>
                  <a:pt x="4501" y="5701"/>
                </a:cubicBezTo>
                <a:cubicBezTo>
                  <a:pt x="4526" y="5701"/>
                  <a:pt x="4551" y="5676"/>
                  <a:pt x="4577" y="5701"/>
                </a:cubicBezTo>
                <a:cubicBezTo>
                  <a:pt x="4626" y="5751"/>
                  <a:pt x="4651" y="5701"/>
                  <a:pt x="4651" y="5726"/>
                </a:cubicBezTo>
                <a:cubicBezTo>
                  <a:pt x="4677" y="5751"/>
                  <a:pt x="4726" y="5776"/>
                  <a:pt x="4751" y="5751"/>
                </a:cubicBezTo>
                <a:cubicBezTo>
                  <a:pt x="4751" y="5726"/>
                  <a:pt x="4851" y="5751"/>
                  <a:pt x="4877" y="5776"/>
                </a:cubicBezTo>
                <a:cubicBezTo>
                  <a:pt x="4926" y="5726"/>
                  <a:pt x="4951" y="5651"/>
                  <a:pt x="5001" y="5651"/>
                </a:cubicBezTo>
                <a:cubicBezTo>
                  <a:pt x="5051" y="5651"/>
                  <a:pt x="5202" y="5676"/>
                  <a:pt x="5202" y="5726"/>
                </a:cubicBezTo>
                <a:cubicBezTo>
                  <a:pt x="5202" y="5801"/>
                  <a:pt x="5302" y="5751"/>
                  <a:pt x="5302" y="5801"/>
                </a:cubicBezTo>
                <a:cubicBezTo>
                  <a:pt x="5302" y="5851"/>
                  <a:pt x="5351" y="5901"/>
                  <a:pt x="5351" y="5926"/>
                </a:cubicBezTo>
                <a:cubicBezTo>
                  <a:pt x="5377" y="5951"/>
                  <a:pt x="5402" y="5951"/>
                  <a:pt x="5402" y="5976"/>
                </a:cubicBezTo>
                <a:cubicBezTo>
                  <a:pt x="5426" y="5976"/>
                  <a:pt x="5502" y="5976"/>
                  <a:pt x="5551" y="6001"/>
                </a:cubicBezTo>
                <a:cubicBezTo>
                  <a:pt x="5602" y="6026"/>
                  <a:pt x="5702" y="5976"/>
                  <a:pt x="5726" y="6051"/>
                </a:cubicBezTo>
                <a:cubicBezTo>
                  <a:pt x="5751" y="6101"/>
                  <a:pt x="5826" y="6151"/>
                  <a:pt x="5751" y="6176"/>
                </a:cubicBezTo>
                <a:cubicBezTo>
                  <a:pt x="5702" y="6176"/>
                  <a:pt x="5626" y="6101"/>
                  <a:pt x="5626" y="6151"/>
                </a:cubicBezTo>
                <a:cubicBezTo>
                  <a:pt x="5651" y="6176"/>
                  <a:pt x="5602" y="6151"/>
                  <a:pt x="5602" y="6226"/>
                </a:cubicBezTo>
                <a:cubicBezTo>
                  <a:pt x="5602" y="6276"/>
                  <a:pt x="5577" y="6376"/>
                  <a:pt x="5551" y="6376"/>
                </a:cubicBezTo>
                <a:lnTo>
                  <a:pt x="5551" y="6376"/>
                </a:lnTo>
                <a:cubicBezTo>
                  <a:pt x="5526" y="6401"/>
                  <a:pt x="5526" y="6426"/>
                  <a:pt x="5551" y="6451"/>
                </a:cubicBezTo>
                <a:cubicBezTo>
                  <a:pt x="5577" y="6426"/>
                  <a:pt x="5626" y="6376"/>
                  <a:pt x="5677" y="6376"/>
                </a:cubicBezTo>
                <a:cubicBezTo>
                  <a:pt x="5726" y="6376"/>
                  <a:pt x="5751" y="6426"/>
                  <a:pt x="5802" y="6401"/>
                </a:cubicBezTo>
                <a:cubicBezTo>
                  <a:pt x="5826" y="6376"/>
                  <a:pt x="5851" y="6351"/>
                  <a:pt x="5851" y="6376"/>
                </a:cubicBezTo>
                <a:lnTo>
                  <a:pt x="5851" y="6376"/>
                </a:lnTo>
                <a:cubicBezTo>
                  <a:pt x="5877" y="6376"/>
                  <a:pt x="5877" y="6376"/>
                  <a:pt x="5877" y="6351"/>
                </a:cubicBezTo>
                <a:lnTo>
                  <a:pt x="5877" y="6326"/>
                </a:lnTo>
                <a:cubicBezTo>
                  <a:pt x="5826" y="6326"/>
                  <a:pt x="5826" y="6326"/>
                  <a:pt x="5802" y="6301"/>
                </a:cubicBezTo>
                <a:cubicBezTo>
                  <a:pt x="5777" y="6251"/>
                  <a:pt x="5926" y="6226"/>
                  <a:pt x="6002" y="6226"/>
                </a:cubicBezTo>
                <a:cubicBezTo>
                  <a:pt x="6051" y="6226"/>
                  <a:pt x="6102" y="6201"/>
                  <a:pt x="6127" y="6226"/>
                </a:cubicBezTo>
                <a:cubicBezTo>
                  <a:pt x="6177" y="6176"/>
                  <a:pt x="6227" y="6126"/>
                  <a:pt x="6251" y="6126"/>
                </a:cubicBezTo>
                <a:cubicBezTo>
                  <a:pt x="6277" y="6126"/>
                  <a:pt x="6577" y="6126"/>
                  <a:pt x="6577" y="6126"/>
                </a:cubicBezTo>
                <a:cubicBezTo>
                  <a:pt x="6577" y="6126"/>
                  <a:pt x="6677" y="6051"/>
                  <a:pt x="6702" y="6001"/>
                </a:cubicBezTo>
                <a:cubicBezTo>
                  <a:pt x="6702" y="5951"/>
                  <a:pt x="6777" y="5801"/>
                  <a:pt x="6802" y="5826"/>
                </a:cubicBezTo>
                <a:cubicBezTo>
                  <a:pt x="6852" y="5851"/>
                  <a:pt x="6927" y="5851"/>
                  <a:pt x="6927" y="5876"/>
                </a:cubicBezTo>
                <a:cubicBezTo>
                  <a:pt x="6927" y="5901"/>
                  <a:pt x="6902" y="5976"/>
                  <a:pt x="7027" y="6126"/>
                </a:cubicBezTo>
                <a:cubicBezTo>
                  <a:pt x="7052" y="6101"/>
                  <a:pt x="7102" y="6076"/>
                  <a:pt x="7102" y="6076"/>
                </a:cubicBezTo>
                <a:cubicBezTo>
                  <a:pt x="7152" y="6101"/>
                  <a:pt x="7202" y="6051"/>
                  <a:pt x="7227" y="6001"/>
                </a:cubicBezTo>
                <a:cubicBezTo>
                  <a:pt x="7252" y="5976"/>
                  <a:pt x="7252" y="6026"/>
                  <a:pt x="7227" y="6051"/>
                </a:cubicBezTo>
                <a:cubicBezTo>
                  <a:pt x="7202" y="6051"/>
                  <a:pt x="7252" y="6076"/>
                  <a:pt x="7327" y="6076"/>
                </a:cubicBezTo>
                <a:cubicBezTo>
                  <a:pt x="7377" y="6076"/>
                  <a:pt x="7277" y="6101"/>
                  <a:pt x="7252" y="6101"/>
                </a:cubicBezTo>
                <a:cubicBezTo>
                  <a:pt x="7202" y="6101"/>
                  <a:pt x="7177" y="6101"/>
                  <a:pt x="7127" y="6151"/>
                </a:cubicBezTo>
                <a:cubicBezTo>
                  <a:pt x="7077" y="6226"/>
                  <a:pt x="7077" y="6226"/>
                  <a:pt x="7102" y="6276"/>
                </a:cubicBezTo>
                <a:cubicBezTo>
                  <a:pt x="7152" y="6301"/>
                  <a:pt x="7202" y="6276"/>
                  <a:pt x="7227" y="6251"/>
                </a:cubicBezTo>
                <a:cubicBezTo>
                  <a:pt x="7277" y="6201"/>
                  <a:pt x="7277" y="6176"/>
                  <a:pt x="7327" y="6176"/>
                </a:cubicBezTo>
                <a:cubicBezTo>
                  <a:pt x="7377" y="6176"/>
                  <a:pt x="7502" y="6126"/>
                  <a:pt x="7552" y="6101"/>
                </a:cubicBezTo>
                <a:cubicBezTo>
                  <a:pt x="7602" y="6101"/>
                  <a:pt x="7552" y="6076"/>
                  <a:pt x="7552" y="6051"/>
                </a:cubicBezTo>
                <a:cubicBezTo>
                  <a:pt x="7552" y="6026"/>
                  <a:pt x="7652" y="6026"/>
                  <a:pt x="7677" y="6026"/>
                </a:cubicBezTo>
                <a:cubicBezTo>
                  <a:pt x="7727" y="6001"/>
                  <a:pt x="7677" y="5976"/>
                  <a:pt x="7652" y="5976"/>
                </a:cubicBezTo>
                <a:close/>
                <a:moveTo>
                  <a:pt x="2226" y="3275"/>
                </a:moveTo>
                <a:lnTo>
                  <a:pt x="2226" y="3275"/>
                </a:lnTo>
                <a:cubicBezTo>
                  <a:pt x="2176" y="3350"/>
                  <a:pt x="2150" y="3350"/>
                  <a:pt x="2101" y="3350"/>
                </a:cubicBezTo>
                <a:cubicBezTo>
                  <a:pt x="2050" y="3326"/>
                  <a:pt x="2001" y="3350"/>
                  <a:pt x="2026" y="3375"/>
                </a:cubicBezTo>
                <a:cubicBezTo>
                  <a:pt x="2076" y="3401"/>
                  <a:pt x="2076" y="3426"/>
                  <a:pt x="2001" y="3426"/>
                </a:cubicBezTo>
                <a:cubicBezTo>
                  <a:pt x="1950" y="3450"/>
                  <a:pt x="1901" y="3501"/>
                  <a:pt x="1876" y="3475"/>
                </a:cubicBezTo>
                <a:cubicBezTo>
                  <a:pt x="1876" y="3475"/>
                  <a:pt x="1976" y="3401"/>
                  <a:pt x="1950" y="3375"/>
                </a:cubicBezTo>
                <a:cubicBezTo>
                  <a:pt x="1926" y="3350"/>
                  <a:pt x="1850" y="3401"/>
                  <a:pt x="1850" y="3426"/>
                </a:cubicBezTo>
                <a:cubicBezTo>
                  <a:pt x="1850" y="3475"/>
                  <a:pt x="1801" y="3475"/>
                  <a:pt x="1750" y="3475"/>
                </a:cubicBezTo>
                <a:cubicBezTo>
                  <a:pt x="1726" y="3450"/>
                  <a:pt x="1676" y="3426"/>
                  <a:pt x="1726" y="3426"/>
                </a:cubicBezTo>
                <a:cubicBezTo>
                  <a:pt x="1750" y="3426"/>
                  <a:pt x="1726" y="3401"/>
                  <a:pt x="1776" y="3375"/>
                </a:cubicBezTo>
                <a:cubicBezTo>
                  <a:pt x="1826" y="3350"/>
                  <a:pt x="1776" y="3326"/>
                  <a:pt x="1776" y="3326"/>
                </a:cubicBezTo>
                <a:cubicBezTo>
                  <a:pt x="1801" y="3301"/>
                  <a:pt x="1876" y="3326"/>
                  <a:pt x="1876" y="3301"/>
                </a:cubicBezTo>
                <a:cubicBezTo>
                  <a:pt x="1876" y="3275"/>
                  <a:pt x="1801" y="3250"/>
                  <a:pt x="1750" y="3250"/>
                </a:cubicBezTo>
                <a:cubicBezTo>
                  <a:pt x="1726" y="3275"/>
                  <a:pt x="1650" y="3326"/>
                  <a:pt x="1576" y="3301"/>
                </a:cubicBezTo>
                <a:cubicBezTo>
                  <a:pt x="1550" y="3275"/>
                  <a:pt x="1801" y="3250"/>
                  <a:pt x="1826" y="3226"/>
                </a:cubicBezTo>
                <a:cubicBezTo>
                  <a:pt x="1876" y="3175"/>
                  <a:pt x="2050" y="3126"/>
                  <a:pt x="2050" y="3175"/>
                </a:cubicBezTo>
                <a:cubicBezTo>
                  <a:pt x="2076" y="3201"/>
                  <a:pt x="1976" y="3226"/>
                  <a:pt x="2026" y="3250"/>
                </a:cubicBezTo>
                <a:cubicBezTo>
                  <a:pt x="2076" y="3275"/>
                  <a:pt x="2150" y="3275"/>
                  <a:pt x="2176" y="3226"/>
                </a:cubicBezTo>
                <a:cubicBezTo>
                  <a:pt x="2201" y="3201"/>
                  <a:pt x="2276" y="3201"/>
                  <a:pt x="2226" y="3275"/>
                </a:cubicBezTo>
                <a:close/>
                <a:moveTo>
                  <a:pt x="2751" y="3950"/>
                </a:moveTo>
                <a:lnTo>
                  <a:pt x="2751" y="3950"/>
                </a:lnTo>
                <a:cubicBezTo>
                  <a:pt x="2701" y="4001"/>
                  <a:pt x="2701" y="3975"/>
                  <a:pt x="2651" y="4001"/>
                </a:cubicBezTo>
                <a:cubicBezTo>
                  <a:pt x="2576" y="4001"/>
                  <a:pt x="2626" y="4050"/>
                  <a:pt x="2551" y="4075"/>
                </a:cubicBezTo>
                <a:cubicBezTo>
                  <a:pt x="2501" y="4075"/>
                  <a:pt x="2326" y="4075"/>
                  <a:pt x="2301" y="4050"/>
                </a:cubicBezTo>
                <a:cubicBezTo>
                  <a:pt x="2301" y="4026"/>
                  <a:pt x="2401" y="4026"/>
                  <a:pt x="2401" y="4001"/>
                </a:cubicBezTo>
                <a:cubicBezTo>
                  <a:pt x="2401" y="3975"/>
                  <a:pt x="2426" y="3926"/>
                  <a:pt x="2476" y="3926"/>
                </a:cubicBezTo>
                <a:cubicBezTo>
                  <a:pt x="2526" y="3926"/>
                  <a:pt x="2501" y="3875"/>
                  <a:pt x="2451" y="3850"/>
                </a:cubicBezTo>
                <a:cubicBezTo>
                  <a:pt x="2376" y="3826"/>
                  <a:pt x="2551" y="3801"/>
                  <a:pt x="2576" y="3850"/>
                </a:cubicBezTo>
                <a:cubicBezTo>
                  <a:pt x="2626" y="3901"/>
                  <a:pt x="2676" y="3926"/>
                  <a:pt x="2726" y="3901"/>
                </a:cubicBezTo>
                <a:cubicBezTo>
                  <a:pt x="2751" y="3850"/>
                  <a:pt x="2976" y="3750"/>
                  <a:pt x="2976" y="3801"/>
                </a:cubicBezTo>
                <a:cubicBezTo>
                  <a:pt x="2976" y="3850"/>
                  <a:pt x="2826" y="3901"/>
                  <a:pt x="2751" y="3950"/>
                </a:cubicBezTo>
                <a:close/>
                <a:moveTo>
                  <a:pt x="4201" y="5451"/>
                </a:moveTo>
                <a:lnTo>
                  <a:pt x="4201" y="5451"/>
                </a:lnTo>
                <a:cubicBezTo>
                  <a:pt x="4151" y="5476"/>
                  <a:pt x="4201" y="5351"/>
                  <a:pt x="4126" y="5301"/>
                </a:cubicBezTo>
                <a:cubicBezTo>
                  <a:pt x="4026" y="5251"/>
                  <a:pt x="3976" y="5151"/>
                  <a:pt x="3976" y="5075"/>
                </a:cubicBezTo>
                <a:cubicBezTo>
                  <a:pt x="3976" y="5026"/>
                  <a:pt x="4076" y="5001"/>
                  <a:pt x="4101" y="5051"/>
                </a:cubicBezTo>
                <a:cubicBezTo>
                  <a:pt x="4126" y="5101"/>
                  <a:pt x="4177" y="5251"/>
                  <a:pt x="4201" y="5326"/>
                </a:cubicBezTo>
                <a:cubicBezTo>
                  <a:pt x="4251" y="5376"/>
                  <a:pt x="4251" y="5451"/>
                  <a:pt x="4201" y="5451"/>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198" name="Freeform 124">
            <a:extLst>
              <a:ext uri="{FF2B5EF4-FFF2-40B4-BE49-F238E27FC236}">
                <a16:creationId xmlns:a16="http://schemas.microsoft.com/office/drawing/2014/main" id="{E4743077-2F5D-F74C-852E-7B23CE20A80F}"/>
              </a:ext>
            </a:extLst>
          </p:cNvPr>
          <p:cNvSpPr>
            <a:spLocks noChangeArrowheads="1"/>
          </p:cNvSpPr>
          <p:nvPr/>
        </p:nvSpPr>
        <p:spPr bwMode="auto">
          <a:xfrm>
            <a:off x="693223" y="2196799"/>
            <a:ext cx="3054356" cy="2072800"/>
          </a:xfrm>
          <a:custGeom>
            <a:avLst/>
            <a:gdLst>
              <a:gd name="T0" fmla="*/ 3001 w 9579"/>
              <a:gd name="T1" fmla="*/ 1850 h 6502"/>
              <a:gd name="T2" fmla="*/ 2551 w 9579"/>
              <a:gd name="T3" fmla="*/ 1726 h 6502"/>
              <a:gd name="T4" fmla="*/ 1801 w 9579"/>
              <a:gd name="T5" fmla="*/ 150 h 6502"/>
              <a:gd name="T6" fmla="*/ 1201 w 9579"/>
              <a:gd name="T7" fmla="*/ 76 h 6502"/>
              <a:gd name="T8" fmla="*/ 776 w 9579"/>
              <a:gd name="T9" fmla="*/ 125 h 6502"/>
              <a:gd name="T10" fmla="*/ 200 w 9579"/>
              <a:gd name="T11" fmla="*/ 425 h 6502"/>
              <a:gd name="T12" fmla="*/ 726 w 9579"/>
              <a:gd name="T13" fmla="*/ 825 h 6502"/>
              <a:gd name="T14" fmla="*/ 226 w 9579"/>
              <a:gd name="T15" fmla="*/ 876 h 6502"/>
              <a:gd name="T16" fmla="*/ 426 w 9579"/>
              <a:gd name="T17" fmla="*/ 1125 h 6502"/>
              <a:gd name="T18" fmla="*/ 476 w 9579"/>
              <a:gd name="T19" fmla="*/ 1350 h 6502"/>
              <a:gd name="T20" fmla="*/ 276 w 9579"/>
              <a:gd name="T21" fmla="*/ 1701 h 6502"/>
              <a:gd name="T22" fmla="*/ 676 w 9579"/>
              <a:gd name="T23" fmla="*/ 1950 h 6502"/>
              <a:gd name="T24" fmla="*/ 976 w 9579"/>
              <a:gd name="T25" fmla="*/ 2150 h 6502"/>
              <a:gd name="T26" fmla="*/ 626 w 9579"/>
              <a:gd name="T27" fmla="*/ 2426 h 6502"/>
              <a:gd name="T28" fmla="*/ 1126 w 9579"/>
              <a:gd name="T29" fmla="*/ 2150 h 6502"/>
              <a:gd name="T30" fmla="*/ 1376 w 9579"/>
              <a:gd name="T31" fmla="*/ 1826 h 6502"/>
              <a:gd name="T32" fmla="*/ 1701 w 9579"/>
              <a:gd name="T33" fmla="*/ 1650 h 6502"/>
              <a:gd name="T34" fmla="*/ 1751 w 9579"/>
              <a:gd name="T35" fmla="*/ 1801 h 6502"/>
              <a:gd name="T36" fmla="*/ 2001 w 9579"/>
              <a:gd name="T37" fmla="*/ 1676 h 6502"/>
              <a:gd name="T38" fmla="*/ 2201 w 9579"/>
              <a:gd name="T39" fmla="*/ 1750 h 6502"/>
              <a:gd name="T40" fmla="*/ 2727 w 9579"/>
              <a:gd name="T41" fmla="*/ 1876 h 6502"/>
              <a:gd name="T42" fmla="*/ 3127 w 9579"/>
              <a:gd name="T43" fmla="*/ 1950 h 6502"/>
              <a:gd name="T44" fmla="*/ 3152 w 9579"/>
              <a:gd name="T45" fmla="*/ 2276 h 6502"/>
              <a:gd name="T46" fmla="*/ 3276 w 9579"/>
              <a:gd name="T47" fmla="*/ 2126 h 6502"/>
              <a:gd name="T48" fmla="*/ 3376 w 9579"/>
              <a:gd name="T49" fmla="*/ 2326 h 6502"/>
              <a:gd name="T50" fmla="*/ 3301 w 9579"/>
              <a:gd name="T51" fmla="*/ 2401 h 6502"/>
              <a:gd name="T52" fmla="*/ 3501 w 9579"/>
              <a:gd name="T53" fmla="*/ 2426 h 6502"/>
              <a:gd name="T54" fmla="*/ 76 w 9579"/>
              <a:gd name="T55" fmla="*/ 2676 h 6502"/>
              <a:gd name="T56" fmla="*/ 300 w 9579"/>
              <a:gd name="T57" fmla="*/ 2550 h 6502"/>
              <a:gd name="T58" fmla="*/ 1326 w 9579"/>
              <a:gd name="T59" fmla="*/ 2126 h 6502"/>
              <a:gd name="T60" fmla="*/ 1501 w 9579"/>
              <a:gd name="T61" fmla="*/ 2050 h 6502"/>
              <a:gd name="T62" fmla="*/ 226 w 9579"/>
              <a:gd name="T63" fmla="*/ 1750 h 6502"/>
              <a:gd name="T64" fmla="*/ 1176 w 9579"/>
              <a:gd name="T65" fmla="*/ 6350 h 6502"/>
              <a:gd name="T66" fmla="*/ 776 w 9579"/>
              <a:gd name="T67" fmla="*/ 6176 h 6502"/>
              <a:gd name="T68" fmla="*/ 926 w 9579"/>
              <a:gd name="T69" fmla="*/ 6225 h 6502"/>
              <a:gd name="T70" fmla="*/ 8802 w 9579"/>
              <a:gd name="T71" fmla="*/ 3701 h 6502"/>
              <a:gd name="T72" fmla="*/ 8402 w 9579"/>
              <a:gd name="T73" fmla="*/ 3951 h 6502"/>
              <a:gd name="T74" fmla="*/ 8053 w 9579"/>
              <a:gd name="T75" fmla="*/ 3826 h 6502"/>
              <a:gd name="T76" fmla="*/ 7653 w 9579"/>
              <a:gd name="T77" fmla="*/ 4051 h 6502"/>
              <a:gd name="T78" fmla="*/ 7902 w 9579"/>
              <a:gd name="T79" fmla="*/ 3501 h 6502"/>
              <a:gd name="T80" fmla="*/ 7302 w 9579"/>
              <a:gd name="T81" fmla="*/ 3501 h 6502"/>
              <a:gd name="T82" fmla="*/ 7128 w 9579"/>
              <a:gd name="T83" fmla="*/ 3276 h 6502"/>
              <a:gd name="T84" fmla="*/ 4327 w 9579"/>
              <a:gd name="T85" fmla="*/ 3251 h 6502"/>
              <a:gd name="T86" fmla="*/ 4101 w 9579"/>
              <a:gd name="T87" fmla="*/ 3301 h 6502"/>
              <a:gd name="T88" fmla="*/ 4177 w 9579"/>
              <a:gd name="T89" fmla="*/ 3876 h 6502"/>
              <a:gd name="T90" fmla="*/ 4327 w 9579"/>
              <a:gd name="T91" fmla="*/ 4551 h 6502"/>
              <a:gd name="T92" fmla="*/ 4727 w 9579"/>
              <a:gd name="T93" fmla="*/ 4926 h 6502"/>
              <a:gd name="T94" fmla="*/ 5677 w 9579"/>
              <a:gd name="T95" fmla="*/ 5201 h 6502"/>
              <a:gd name="T96" fmla="*/ 6152 w 9579"/>
              <a:gd name="T97" fmla="*/ 5451 h 6502"/>
              <a:gd name="T98" fmla="*/ 6652 w 9579"/>
              <a:gd name="T99" fmla="*/ 5751 h 6502"/>
              <a:gd name="T100" fmla="*/ 6928 w 9579"/>
              <a:gd name="T101" fmla="*/ 5401 h 6502"/>
              <a:gd name="T102" fmla="*/ 7252 w 9579"/>
              <a:gd name="T103" fmla="*/ 5401 h 6502"/>
              <a:gd name="T104" fmla="*/ 7502 w 9579"/>
              <a:gd name="T105" fmla="*/ 5301 h 6502"/>
              <a:gd name="T106" fmla="*/ 7977 w 9579"/>
              <a:gd name="T107" fmla="*/ 5351 h 6502"/>
              <a:gd name="T108" fmla="*/ 8277 w 9579"/>
              <a:gd name="T109" fmla="*/ 5850 h 6502"/>
              <a:gd name="T110" fmla="*/ 8377 w 9579"/>
              <a:gd name="T111" fmla="*/ 5026 h 6502"/>
              <a:gd name="T112" fmla="*/ 8702 w 9579"/>
              <a:gd name="T113" fmla="*/ 4776 h 6502"/>
              <a:gd name="T114" fmla="*/ 8653 w 9579"/>
              <a:gd name="T115" fmla="*/ 4451 h 6502"/>
              <a:gd name="T116" fmla="*/ 8753 w 9579"/>
              <a:gd name="T117" fmla="*/ 4376 h 6502"/>
              <a:gd name="T118" fmla="*/ 8928 w 9579"/>
              <a:gd name="T119" fmla="*/ 4151 h 6502"/>
              <a:gd name="T120" fmla="*/ 9253 w 9579"/>
              <a:gd name="T121" fmla="*/ 3851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79" h="6502">
                <a:moveTo>
                  <a:pt x="3601" y="2376"/>
                </a:moveTo>
                <a:lnTo>
                  <a:pt x="3601" y="2376"/>
                </a:lnTo>
                <a:cubicBezTo>
                  <a:pt x="3601" y="2350"/>
                  <a:pt x="3627" y="2326"/>
                  <a:pt x="3501" y="2276"/>
                </a:cubicBezTo>
                <a:cubicBezTo>
                  <a:pt x="3401" y="2250"/>
                  <a:pt x="3427" y="2201"/>
                  <a:pt x="3352" y="2076"/>
                </a:cubicBezTo>
                <a:cubicBezTo>
                  <a:pt x="3276" y="1950"/>
                  <a:pt x="3152" y="1901"/>
                  <a:pt x="3152" y="1850"/>
                </a:cubicBezTo>
                <a:cubicBezTo>
                  <a:pt x="3152" y="1801"/>
                  <a:pt x="3001" y="1801"/>
                  <a:pt x="3001" y="1850"/>
                </a:cubicBezTo>
                <a:cubicBezTo>
                  <a:pt x="3001" y="1876"/>
                  <a:pt x="2951" y="1901"/>
                  <a:pt x="2927" y="1926"/>
                </a:cubicBezTo>
                <a:cubicBezTo>
                  <a:pt x="2901" y="1926"/>
                  <a:pt x="2876" y="1901"/>
                  <a:pt x="2851" y="1876"/>
                </a:cubicBezTo>
                <a:cubicBezTo>
                  <a:pt x="2827" y="1826"/>
                  <a:pt x="2751" y="1801"/>
                  <a:pt x="2751" y="1775"/>
                </a:cubicBezTo>
                <a:cubicBezTo>
                  <a:pt x="2751" y="1750"/>
                  <a:pt x="2751" y="1701"/>
                  <a:pt x="2701" y="1726"/>
                </a:cubicBezTo>
                <a:cubicBezTo>
                  <a:pt x="2651" y="1750"/>
                  <a:pt x="2627" y="1726"/>
                  <a:pt x="2601" y="1750"/>
                </a:cubicBezTo>
                <a:lnTo>
                  <a:pt x="2551" y="1726"/>
                </a:lnTo>
                <a:cubicBezTo>
                  <a:pt x="2551" y="300"/>
                  <a:pt x="2551" y="300"/>
                  <a:pt x="2551" y="300"/>
                </a:cubicBezTo>
                <a:lnTo>
                  <a:pt x="2527" y="276"/>
                </a:lnTo>
                <a:cubicBezTo>
                  <a:pt x="2451" y="250"/>
                  <a:pt x="2376" y="225"/>
                  <a:pt x="2327" y="225"/>
                </a:cubicBezTo>
                <a:cubicBezTo>
                  <a:pt x="2276" y="250"/>
                  <a:pt x="2176" y="250"/>
                  <a:pt x="2151" y="225"/>
                </a:cubicBezTo>
                <a:cubicBezTo>
                  <a:pt x="2101" y="225"/>
                  <a:pt x="2051" y="200"/>
                  <a:pt x="2001" y="225"/>
                </a:cubicBezTo>
                <a:cubicBezTo>
                  <a:pt x="1926" y="225"/>
                  <a:pt x="1876" y="176"/>
                  <a:pt x="1801" y="150"/>
                </a:cubicBezTo>
                <a:cubicBezTo>
                  <a:pt x="1701" y="125"/>
                  <a:pt x="1576" y="150"/>
                  <a:pt x="1551" y="176"/>
                </a:cubicBezTo>
                <a:cubicBezTo>
                  <a:pt x="1526" y="176"/>
                  <a:pt x="1526" y="150"/>
                  <a:pt x="1501" y="150"/>
                </a:cubicBezTo>
                <a:cubicBezTo>
                  <a:pt x="1451" y="150"/>
                  <a:pt x="1476" y="125"/>
                  <a:pt x="1476" y="100"/>
                </a:cubicBezTo>
                <a:cubicBezTo>
                  <a:pt x="1451" y="76"/>
                  <a:pt x="1351" y="100"/>
                  <a:pt x="1301" y="100"/>
                </a:cubicBezTo>
                <a:cubicBezTo>
                  <a:pt x="1276" y="100"/>
                  <a:pt x="1251" y="76"/>
                  <a:pt x="1251" y="50"/>
                </a:cubicBezTo>
                <a:cubicBezTo>
                  <a:pt x="1251" y="50"/>
                  <a:pt x="1226" y="50"/>
                  <a:pt x="1201" y="76"/>
                </a:cubicBezTo>
                <a:cubicBezTo>
                  <a:pt x="1201" y="100"/>
                  <a:pt x="1151" y="100"/>
                  <a:pt x="1126" y="76"/>
                </a:cubicBezTo>
                <a:cubicBezTo>
                  <a:pt x="1126" y="76"/>
                  <a:pt x="1176" y="76"/>
                  <a:pt x="1176" y="50"/>
                </a:cubicBezTo>
                <a:cubicBezTo>
                  <a:pt x="1176" y="25"/>
                  <a:pt x="1126" y="25"/>
                  <a:pt x="1101" y="0"/>
                </a:cubicBezTo>
                <a:cubicBezTo>
                  <a:pt x="1076" y="0"/>
                  <a:pt x="1051" y="25"/>
                  <a:pt x="1001" y="76"/>
                </a:cubicBezTo>
                <a:cubicBezTo>
                  <a:pt x="951" y="100"/>
                  <a:pt x="901" y="100"/>
                  <a:pt x="851" y="100"/>
                </a:cubicBezTo>
                <a:cubicBezTo>
                  <a:pt x="801" y="100"/>
                  <a:pt x="751" y="100"/>
                  <a:pt x="776" y="125"/>
                </a:cubicBezTo>
                <a:cubicBezTo>
                  <a:pt x="776" y="150"/>
                  <a:pt x="826" y="150"/>
                  <a:pt x="776" y="176"/>
                </a:cubicBezTo>
                <a:cubicBezTo>
                  <a:pt x="751" y="200"/>
                  <a:pt x="751" y="150"/>
                  <a:pt x="726" y="176"/>
                </a:cubicBezTo>
                <a:cubicBezTo>
                  <a:pt x="676" y="200"/>
                  <a:pt x="601" y="200"/>
                  <a:pt x="576" y="200"/>
                </a:cubicBezTo>
                <a:cubicBezTo>
                  <a:pt x="551" y="200"/>
                  <a:pt x="501" y="276"/>
                  <a:pt x="476" y="276"/>
                </a:cubicBezTo>
                <a:cubicBezTo>
                  <a:pt x="451" y="300"/>
                  <a:pt x="476" y="325"/>
                  <a:pt x="426" y="375"/>
                </a:cubicBezTo>
                <a:cubicBezTo>
                  <a:pt x="376" y="450"/>
                  <a:pt x="226" y="425"/>
                  <a:pt x="200" y="425"/>
                </a:cubicBezTo>
                <a:cubicBezTo>
                  <a:pt x="151" y="425"/>
                  <a:pt x="176" y="475"/>
                  <a:pt x="176" y="501"/>
                </a:cubicBezTo>
                <a:cubicBezTo>
                  <a:pt x="151" y="525"/>
                  <a:pt x="176" y="525"/>
                  <a:pt x="276" y="550"/>
                </a:cubicBezTo>
                <a:cubicBezTo>
                  <a:pt x="351" y="576"/>
                  <a:pt x="426" y="701"/>
                  <a:pt x="426" y="725"/>
                </a:cubicBezTo>
                <a:cubicBezTo>
                  <a:pt x="426" y="750"/>
                  <a:pt x="551" y="725"/>
                  <a:pt x="576" y="725"/>
                </a:cubicBezTo>
                <a:cubicBezTo>
                  <a:pt x="626" y="725"/>
                  <a:pt x="576" y="801"/>
                  <a:pt x="626" y="801"/>
                </a:cubicBezTo>
                <a:cubicBezTo>
                  <a:pt x="651" y="825"/>
                  <a:pt x="701" y="801"/>
                  <a:pt x="726" y="825"/>
                </a:cubicBezTo>
                <a:cubicBezTo>
                  <a:pt x="726" y="850"/>
                  <a:pt x="651" y="825"/>
                  <a:pt x="601" y="850"/>
                </a:cubicBezTo>
                <a:cubicBezTo>
                  <a:pt x="551" y="901"/>
                  <a:pt x="551" y="901"/>
                  <a:pt x="526" y="876"/>
                </a:cubicBezTo>
                <a:cubicBezTo>
                  <a:pt x="501" y="850"/>
                  <a:pt x="426" y="876"/>
                  <a:pt x="400" y="876"/>
                </a:cubicBezTo>
                <a:cubicBezTo>
                  <a:pt x="376" y="876"/>
                  <a:pt x="400" y="825"/>
                  <a:pt x="400" y="825"/>
                </a:cubicBezTo>
                <a:cubicBezTo>
                  <a:pt x="400" y="801"/>
                  <a:pt x="351" y="776"/>
                  <a:pt x="276" y="825"/>
                </a:cubicBezTo>
                <a:cubicBezTo>
                  <a:pt x="226" y="850"/>
                  <a:pt x="251" y="850"/>
                  <a:pt x="226" y="876"/>
                </a:cubicBezTo>
                <a:cubicBezTo>
                  <a:pt x="226" y="901"/>
                  <a:pt x="200" y="850"/>
                  <a:pt x="151" y="876"/>
                </a:cubicBezTo>
                <a:cubicBezTo>
                  <a:pt x="100" y="901"/>
                  <a:pt x="25" y="925"/>
                  <a:pt x="25" y="950"/>
                </a:cubicBezTo>
                <a:cubicBezTo>
                  <a:pt x="0" y="976"/>
                  <a:pt x="126" y="1001"/>
                  <a:pt x="151" y="1001"/>
                </a:cubicBezTo>
                <a:cubicBezTo>
                  <a:pt x="200" y="1025"/>
                  <a:pt x="100" y="1050"/>
                  <a:pt x="151" y="1050"/>
                </a:cubicBezTo>
                <a:cubicBezTo>
                  <a:pt x="176" y="1076"/>
                  <a:pt x="151" y="1101"/>
                  <a:pt x="226" y="1125"/>
                </a:cubicBezTo>
                <a:cubicBezTo>
                  <a:pt x="276" y="1150"/>
                  <a:pt x="376" y="1125"/>
                  <a:pt x="426" y="1125"/>
                </a:cubicBezTo>
                <a:cubicBezTo>
                  <a:pt x="451" y="1125"/>
                  <a:pt x="476" y="1150"/>
                  <a:pt x="501" y="1125"/>
                </a:cubicBezTo>
                <a:cubicBezTo>
                  <a:pt x="526" y="1101"/>
                  <a:pt x="626" y="1025"/>
                  <a:pt x="676" y="1076"/>
                </a:cubicBezTo>
                <a:cubicBezTo>
                  <a:pt x="726" y="1125"/>
                  <a:pt x="626" y="1125"/>
                  <a:pt x="651" y="1150"/>
                </a:cubicBezTo>
                <a:cubicBezTo>
                  <a:pt x="676" y="1176"/>
                  <a:pt x="701" y="1225"/>
                  <a:pt x="651" y="1276"/>
                </a:cubicBezTo>
                <a:cubicBezTo>
                  <a:pt x="601" y="1301"/>
                  <a:pt x="551" y="1276"/>
                  <a:pt x="526" y="1276"/>
                </a:cubicBezTo>
                <a:cubicBezTo>
                  <a:pt x="501" y="1276"/>
                  <a:pt x="526" y="1325"/>
                  <a:pt x="476" y="1350"/>
                </a:cubicBezTo>
                <a:cubicBezTo>
                  <a:pt x="451" y="1376"/>
                  <a:pt x="426" y="1325"/>
                  <a:pt x="376" y="1325"/>
                </a:cubicBezTo>
                <a:cubicBezTo>
                  <a:pt x="326" y="1325"/>
                  <a:pt x="326" y="1376"/>
                  <a:pt x="326" y="1425"/>
                </a:cubicBezTo>
                <a:cubicBezTo>
                  <a:pt x="326" y="1450"/>
                  <a:pt x="251" y="1401"/>
                  <a:pt x="226" y="1476"/>
                </a:cubicBezTo>
                <a:cubicBezTo>
                  <a:pt x="226" y="1550"/>
                  <a:pt x="126" y="1501"/>
                  <a:pt x="200" y="1576"/>
                </a:cubicBezTo>
                <a:cubicBezTo>
                  <a:pt x="251" y="1650"/>
                  <a:pt x="226" y="1601"/>
                  <a:pt x="276" y="1625"/>
                </a:cubicBezTo>
                <a:cubicBezTo>
                  <a:pt x="326" y="1650"/>
                  <a:pt x="226" y="1701"/>
                  <a:pt x="276" y="1701"/>
                </a:cubicBezTo>
                <a:cubicBezTo>
                  <a:pt x="300" y="1726"/>
                  <a:pt x="351" y="1801"/>
                  <a:pt x="376" y="1826"/>
                </a:cubicBezTo>
                <a:cubicBezTo>
                  <a:pt x="426" y="1850"/>
                  <a:pt x="451" y="1801"/>
                  <a:pt x="501" y="1801"/>
                </a:cubicBezTo>
                <a:cubicBezTo>
                  <a:pt x="551" y="1801"/>
                  <a:pt x="526" y="1750"/>
                  <a:pt x="551" y="1775"/>
                </a:cubicBezTo>
                <a:cubicBezTo>
                  <a:pt x="576" y="1801"/>
                  <a:pt x="601" y="1850"/>
                  <a:pt x="576" y="1876"/>
                </a:cubicBezTo>
                <a:cubicBezTo>
                  <a:pt x="551" y="1901"/>
                  <a:pt x="576" y="1950"/>
                  <a:pt x="576" y="1976"/>
                </a:cubicBezTo>
                <a:cubicBezTo>
                  <a:pt x="576" y="2001"/>
                  <a:pt x="676" y="1976"/>
                  <a:pt x="676" y="1950"/>
                </a:cubicBezTo>
                <a:cubicBezTo>
                  <a:pt x="676" y="1926"/>
                  <a:pt x="751" y="1926"/>
                  <a:pt x="801" y="1976"/>
                </a:cubicBezTo>
                <a:cubicBezTo>
                  <a:pt x="851" y="2001"/>
                  <a:pt x="876" y="2026"/>
                  <a:pt x="876" y="1976"/>
                </a:cubicBezTo>
                <a:cubicBezTo>
                  <a:pt x="876" y="1950"/>
                  <a:pt x="901" y="1901"/>
                  <a:pt x="901" y="1926"/>
                </a:cubicBezTo>
                <a:cubicBezTo>
                  <a:pt x="901" y="1976"/>
                  <a:pt x="951" y="1976"/>
                  <a:pt x="1001" y="1950"/>
                </a:cubicBezTo>
                <a:cubicBezTo>
                  <a:pt x="1076" y="1926"/>
                  <a:pt x="1051" y="1950"/>
                  <a:pt x="1001" y="2001"/>
                </a:cubicBezTo>
                <a:cubicBezTo>
                  <a:pt x="951" y="2050"/>
                  <a:pt x="1001" y="2126"/>
                  <a:pt x="976" y="2150"/>
                </a:cubicBezTo>
                <a:cubicBezTo>
                  <a:pt x="951" y="2150"/>
                  <a:pt x="926" y="2226"/>
                  <a:pt x="851" y="2250"/>
                </a:cubicBezTo>
                <a:cubicBezTo>
                  <a:pt x="801" y="2250"/>
                  <a:pt x="726" y="2350"/>
                  <a:pt x="701" y="2376"/>
                </a:cubicBezTo>
                <a:cubicBezTo>
                  <a:pt x="701" y="2376"/>
                  <a:pt x="576" y="2326"/>
                  <a:pt x="551" y="2376"/>
                </a:cubicBezTo>
                <a:cubicBezTo>
                  <a:pt x="551" y="2426"/>
                  <a:pt x="476" y="2450"/>
                  <a:pt x="476" y="2476"/>
                </a:cubicBezTo>
                <a:cubicBezTo>
                  <a:pt x="501" y="2501"/>
                  <a:pt x="601" y="2450"/>
                  <a:pt x="601" y="2426"/>
                </a:cubicBezTo>
                <a:cubicBezTo>
                  <a:pt x="601" y="2401"/>
                  <a:pt x="626" y="2401"/>
                  <a:pt x="626" y="2426"/>
                </a:cubicBezTo>
                <a:cubicBezTo>
                  <a:pt x="651" y="2426"/>
                  <a:pt x="701" y="2401"/>
                  <a:pt x="701" y="2401"/>
                </a:cubicBezTo>
                <a:cubicBezTo>
                  <a:pt x="726" y="2376"/>
                  <a:pt x="751" y="2376"/>
                  <a:pt x="776" y="2376"/>
                </a:cubicBezTo>
                <a:cubicBezTo>
                  <a:pt x="801" y="2376"/>
                  <a:pt x="801" y="2350"/>
                  <a:pt x="851" y="2350"/>
                </a:cubicBezTo>
                <a:cubicBezTo>
                  <a:pt x="926" y="2350"/>
                  <a:pt x="901" y="2326"/>
                  <a:pt x="926" y="2301"/>
                </a:cubicBezTo>
                <a:cubicBezTo>
                  <a:pt x="926" y="2276"/>
                  <a:pt x="1076" y="2201"/>
                  <a:pt x="1101" y="2201"/>
                </a:cubicBezTo>
                <a:cubicBezTo>
                  <a:pt x="1126" y="2201"/>
                  <a:pt x="1101" y="2150"/>
                  <a:pt x="1126" y="2150"/>
                </a:cubicBezTo>
                <a:cubicBezTo>
                  <a:pt x="1151" y="2150"/>
                  <a:pt x="1201" y="2101"/>
                  <a:pt x="1226" y="2076"/>
                </a:cubicBezTo>
                <a:cubicBezTo>
                  <a:pt x="1276" y="2050"/>
                  <a:pt x="1276" y="2076"/>
                  <a:pt x="1301" y="2050"/>
                </a:cubicBezTo>
                <a:cubicBezTo>
                  <a:pt x="1326" y="2050"/>
                  <a:pt x="1301" y="2001"/>
                  <a:pt x="1326" y="1976"/>
                </a:cubicBezTo>
                <a:cubicBezTo>
                  <a:pt x="1351" y="1976"/>
                  <a:pt x="1376" y="1950"/>
                  <a:pt x="1376" y="1950"/>
                </a:cubicBezTo>
                <a:cubicBezTo>
                  <a:pt x="1376" y="1926"/>
                  <a:pt x="1326" y="1926"/>
                  <a:pt x="1301" y="1901"/>
                </a:cubicBezTo>
                <a:cubicBezTo>
                  <a:pt x="1301" y="1876"/>
                  <a:pt x="1351" y="1826"/>
                  <a:pt x="1376" y="1826"/>
                </a:cubicBezTo>
                <a:cubicBezTo>
                  <a:pt x="1401" y="1826"/>
                  <a:pt x="1451" y="1801"/>
                  <a:pt x="1451" y="1775"/>
                </a:cubicBezTo>
                <a:cubicBezTo>
                  <a:pt x="1451" y="1750"/>
                  <a:pt x="1476" y="1750"/>
                  <a:pt x="1501" y="1701"/>
                </a:cubicBezTo>
                <a:cubicBezTo>
                  <a:pt x="1526" y="1676"/>
                  <a:pt x="1526" y="1650"/>
                  <a:pt x="1551" y="1650"/>
                </a:cubicBezTo>
                <a:cubicBezTo>
                  <a:pt x="1576" y="1650"/>
                  <a:pt x="1601" y="1625"/>
                  <a:pt x="1651" y="1601"/>
                </a:cubicBezTo>
                <a:cubicBezTo>
                  <a:pt x="1676" y="1576"/>
                  <a:pt x="1651" y="1625"/>
                  <a:pt x="1701" y="1625"/>
                </a:cubicBezTo>
                <a:cubicBezTo>
                  <a:pt x="1751" y="1625"/>
                  <a:pt x="1751" y="1676"/>
                  <a:pt x="1701" y="1650"/>
                </a:cubicBezTo>
                <a:cubicBezTo>
                  <a:pt x="1651" y="1625"/>
                  <a:pt x="1626" y="1650"/>
                  <a:pt x="1601" y="1676"/>
                </a:cubicBezTo>
                <a:cubicBezTo>
                  <a:pt x="1551" y="1701"/>
                  <a:pt x="1601" y="1726"/>
                  <a:pt x="1551" y="1750"/>
                </a:cubicBezTo>
                <a:cubicBezTo>
                  <a:pt x="1526" y="1801"/>
                  <a:pt x="1526" y="1826"/>
                  <a:pt x="1576" y="1826"/>
                </a:cubicBezTo>
                <a:cubicBezTo>
                  <a:pt x="1601" y="1826"/>
                  <a:pt x="1576" y="1850"/>
                  <a:pt x="1526" y="1876"/>
                </a:cubicBezTo>
                <a:cubicBezTo>
                  <a:pt x="1501" y="1876"/>
                  <a:pt x="1526" y="1901"/>
                  <a:pt x="1576" y="1901"/>
                </a:cubicBezTo>
                <a:cubicBezTo>
                  <a:pt x="1626" y="1901"/>
                  <a:pt x="1701" y="1826"/>
                  <a:pt x="1751" y="1801"/>
                </a:cubicBezTo>
                <a:cubicBezTo>
                  <a:pt x="1826" y="1775"/>
                  <a:pt x="1876" y="1801"/>
                  <a:pt x="1901" y="1801"/>
                </a:cubicBezTo>
                <a:cubicBezTo>
                  <a:pt x="1901" y="1775"/>
                  <a:pt x="1876" y="1750"/>
                  <a:pt x="1901" y="1750"/>
                </a:cubicBezTo>
                <a:cubicBezTo>
                  <a:pt x="1926" y="1726"/>
                  <a:pt x="1876" y="1726"/>
                  <a:pt x="1851" y="1701"/>
                </a:cubicBezTo>
                <a:cubicBezTo>
                  <a:pt x="1851" y="1650"/>
                  <a:pt x="1876" y="1676"/>
                  <a:pt x="1876" y="1650"/>
                </a:cubicBezTo>
                <a:cubicBezTo>
                  <a:pt x="1901" y="1601"/>
                  <a:pt x="1926" y="1625"/>
                  <a:pt x="1926" y="1650"/>
                </a:cubicBezTo>
                <a:cubicBezTo>
                  <a:pt x="1951" y="1650"/>
                  <a:pt x="1976" y="1625"/>
                  <a:pt x="2001" y="1676"/>
                </a:cubicBezTo>
                <a:cubicBezTo>
                  <a:pt x="2026" y="1701"/>
                  <a:pt x="2051" y="1650"/>
                  <a:pt x="2076" y="1676"/>
                </a:cubicBezTo>
                <a:cubicBezTo>
                  <a:pt x="2101" y="1701"/>
                  <a:pt x="2076" y="1701"/>
                  <a:pt x="2026" y="1701"/>
                </a:cubicBezTo>
                <a:cubicBezTo>
                  <a:pt x="2001" y="1726"/>
                  <a:pt x="2026" y="1775"/>
                  <a:pt x="2051" y="1750"/>
                </a:cubicBezTo>
                <a:cubicBezTo>
                  <a:pt x="2076" y="1726"/>
                  <a:pt x="2101" y="1701"/>
                  <a:pt x="2126" y="1726"/>
                </a:cubicBezTo>
                <a:cubicBezTo>
                  <a:pt x="2151" y="1750"/>
                  <a:pt x="2151" y="1750"/>
                  <a:pt x="2176" y="1726"/>
                </a:cubicBezTo>
                <a:cubicBezTo>
                  <a:pt x="2201" y="1701"/>
                  <a:pt x="2201" y="1726"/>
                  <a:pt x="2201" y="1750"/>
                </a:cubicBezTo>
                <a:cubicBezTo>
                  <a:pt x="2201" y="1750"/>
                  <a:pt x="2251" y="1775"/>
                  <a:pt x="2301" y="1775"/>
                </a:cubicBezTo>
                <a:cubicBezTo>
                  <a:pt x="2376" y="1775"/>
                  <a:pt x="2476" y="1775"/>
                  <a:pt x="2501" y="1775"/>
                </a:cubicBezTo>
                <a:cubicBezTo>
                  <a:pt x="2551" y="1775"/>
                  <a:pt x="2527" y="1801"/>
                  <a:pt x="2601" y="1826"/>
                </a:cubicBezTo>
                <a:cubicBezTo>
                  <a:pt x="2651" y="1826"/>
                  <a:pt x="2676" y="1750"/>
                  <a:pt x="2701" y="1775"/>
                </a:cubicBezTo>
                <a:cubicBezTo>
                  <a:pt x="2751" y="1826"/>
                  <a:pt x="2701" y="1826"/>
                  <a:pt x="2701" y="1850"/>
                </a:cubicBezTo>
                <a:cubicBezTo>
                  <a:pt x="2676" y="1876"/>
                  <a:pt x="2701" y="1876"/>
                  <a:pt x="2727" y="1876"/>
                </a:cubicBezTo>
                <a:cubicBezTo>
                  <a:pt x="2751" y="1901"/>
                  <a:pt x="2827" y="1901"/>
                  <a:pt x="2851" y="1926"/>
                </a:cubicBezTo>
                <a:cubicBezTo>
                  <a:pt x="2876" y="1950"/>
                  <a:pt x="2901" y="2001"/>
                  <a:pt x="2951" y="2026"/>
                </a:cubicBezTo>
                <a:cubicBezTo>
                  <a:pt x="3027" y="2050"/>
                  <a:pt x="2951" y="1950"/>
                  <a:pt x="3001" y="1976"/>
                </a:cubicBezTo>
                <a:cubicBezTo>
                  <a:pt x="3051" y="2026"/>
                  <a:pt x="3051" y="1976"/>
                  <a:pt x="3076" y="2026"/>
                </a:cubicBezTo>
                <a:cubicBezTo>
                  <a:pt x="3127" y="2050"/>
                  <a:pt x="3101" y="2001"/>
                  <a:pt x="3101" y="1926"/>
                </a:cubicBezTo>
                <a:cubicBezTo>
                  <a:pt x="3076" y="1876"/>
                  <a:pt x="3101" y="1926"/>
                  <a:pt x="3127" y="1950"/>
                </a:cubicBezTo>
                <a:cubicBezTo>
                  <a:pt x="3152" y="1976"/>
                  <a:pt x="3152" y="2026"/>
                  <a:pt x="3127" y="2076"/>
                </a:cubicBezTo>
                <a:cubicBezTo>
                  <a:pt x="3127" y="2101"/>
                  <a:pt x="3051" y="2076"/>
                  <a:pt x="3076" y="2050"/>
                </a:cubicBezTo>
                <a:cubicBezTo>
                  <a:pt x="3076" y="2026"/>
                  <a:pt x="3001" y="2050"/>
                  <a:pt x="3001" y="2076"/>
                </a:cubicBezTo>
                <a:cubicBezTo>
                  <a:pt x="3001" y="2101"/>
                  <a:pt x="3051" y="2150"/>
                  <a:pt x="3076" y="2150"/>
                </a:cubicBezTo>
                <a:cubicBezTo>
                  <a:pt x="3127" y="2176"/>
                  <a:pt x="3101" y="2226"/>
                  <a:pt x="3101" y="2226"/>
                </a:cubicBezTo>
                <a:cubicBezTo>
                  <a:pt x="3152" y="2226"/>
                  <a:pt x="3127" y="2301"/>
                  <a:pt x="3152" y="2276"/>
                </a:cubicBezTo>
                <a:cubicBezTo>
                  <a:pt x="3176" y="2276"/>
                  <a:pt x="3176" y="2201"/>
                  <a:pt x="3152" y="2176"/>
                </a:cubicBezTo>
                <a:cubicBezTo>
                  <a:pt x="3127" y="2150"/>
                  <a:pt x="3127" y="2101"/>
                  <a:pt x="3152" y="2126"/>
                </a:cubicBezTo>
                <a:cubicBezTo>
                  <a:pt x="3176" y="2126"/>
                  <a:pt x="3152" y="2176"/>
                  <a:pt x="3176" y="2176"/>
                </a:cubicBezTo>
                <a:cubicBezTo>
                  <a:pt x="3176" y="2201"/>
                  <a:pt x="3201" y="2176"/>
                  <a:pt x="3227" y="2150"/>
                </a:cubicBezTo>
                <a:cubicBezTo>
                  <a:pt x="3252" y="2126"/>
                  <a:pt x="3227" y="2076"/>
                  <a:pt x="3227" y="2050"/>
                </a:cubicBezTo>
                <a:cubicBezTo>
                  <a:pt x="3227" y="2026"/>
                  <a:pt x="3276" y="2076"/>
                  <a:pt x="3276" y="2126"/>
                </a:cubicBezTo>
                <a:cubicBezTo>
                  <a:pt x="3301" y="2176"/>
                  <a:pt x="3252" y="2176"/>
                  <a:pt x="3252" y="2201"/>
                </a:cubicBezTo>
                <a:cubicBezTo>
                  <a:pt x="3252" y="2226"/>
                  <a:pt x="3201" y="2201"/>
                  <a:pt x="3201" y="2226"/>
                </a:cubicBezTo>
                <a:cubicBezTo>
                  <a:pt x="3176" y="2226"/>
                  <a:pt x="3201" y="2301"/>
                  <a:pt x="3201" y="2326"/>
                </a:cubicBezTo>
                <a:cubicBezTo>
                  <a:pt x="3227" y="2326"/>
                  <a:pt x="3227" y="2250"/>
                  <a:pt x="3252" y="2276"/>
                </a:cubicBezTo>
                <a:cubicBezTo>
                  <a:pt x="3252" y="2326"/>
                  <a:pt x="3301" y="2226"/>
                  <a:pt x="3301" y="2276"/>
                </a:cubicBezTo>
                <a:cubicBezTo>
                  <a:pt x="3327" y="2301"/>
                  <a:pt x="3376" y="2350"/>
                  <a:pt x="3376" y="2326"/>
                </a:cubicBezTo>
                <a:cubicBezTo>
                  <a:pt x="3401" y="2326"/>
                  <a:pt x="3376" y="2276"/>
                  <a:pt x="3352" y="2276"/>
                </a:cubicBezTo>
                <a:cubicBezTo>
                  <a:pt x="3327" y="2276"/>
                  <a:pt x="3327" y="2226"/>
                  <a:pt x="3352" y="2226"/>
                </a:cubicBezTo>
                <a:cubicBezTo>
                  <a:pt x="3376" y="2226"/>
                  <a:pt x="3427" y="2301"/>
                  <a:pt x="3427" y="2326"/>
                </a:cubicBezTo>
                <a:cubicBezTo>
                  <a:pt x="3427" y="2350"/>
                  <a:pt x="3401" y="2350"/>
                  <a:pt x="3376" y="2376"/>
                </a:cubicBezTo>
                <a:cubicBezTo>
                  <a:pt x="3352" y="2401"/>
                  <a:pt x="3327" y="2326"/>
                  <a:pt x="3301" y="2326"/>
                </a:cubicBezTo>
                <a:cubicBezTo>
                  <a:pt x="3276" y="2326"/>
                  <a:pt x="3301" y="2376"/>
                  <a:pt x="3301" y="2401"/>
                </a:cubicBezTo>
                <a:cubicBezTo>
                  <a:pt x="3327" y="2426"/>
                  <a:pt x="3276" y="2476"/>
                  <a:pt x="3301" y="2501"/>
                </a:cubicBezTo>
                <a:cubicBezTo>
                  <a:pt x="3352" y="2526"/>
                  <a:pt x="3327" y="2476"/>
                  <a:pt x="3352" y="2476"/>
                </a:cubicBezTo>
                <a:cubicBezTo>
                  <a:pt x="3352" y="2450"/>
                  <a:pt x="3376" y="2476"/>
                  <a:pt x="3401" y="2476"/>
                </a:cubicBezTo>
                <a:cubicBezTo>
                  <a:pt x="3401" y="2501"/>
                  <a:pt x="3427" y="2450"/>
                  <a:pt x="3427" y="2426"/>
                </a:cubicBezTo>
                <a:cubicBezTo>
                  <a:pt x="3427" y="2426"/>
                  <a:pt x="3452" y="2426"/>
                  <a:pt x="3452" y="2450"/>
                </a:cubicBezTo>
                <a:cubicBezTo>
                  <a:pt x="3476" y="2476"/>
                  <a:pt x="3476" y="2426"/>
                  <a:pt x="3501" y="2426"/>
                </a:cubicBezTo>
                <a:cubicBezTo>
                  <a:pt x="3527" y="2426"/>
                  <a:pt x="3527" y="2476"/>
                  <a:pt x="3527" y="2501"/>
                </a:cubicBezTo>
                <a:cubicBezTo>
                  <a:pt x="3527" y="2526"/>
                  <a:pt x="3552" y="2476"/>
                  <a:pt x="3552" y="2501"/>
                </a:cubicBezTo>
                <a:lnTo>
                  <a:pt x="3552" y="2501"/>
                </a:lnTo>
                <a:cubicBezTo>
                  <a:pt x="3576" y="2501"/>
                  <a:pt x="3601" y="2476"/>
                  <a:pt x="3627" y="2476"/>
                </a:cubicBezTo>
                <a:cubicBezTo>
                  <a:pt x="3652" y="2426"/>
                  <a:pt x="3576" y="2426"/>
                  <a:pt x="3601" y="2376"/>
                </a:cubicBezTo>
                <a:close/>
                <a:moveTo>
                  <a:pt x="76" y="2676"/>
                </a:moveTo>
                <a:lnTo>
                  <a:pt x="76" y="2676"/>
                </a:lnTo>
                <a:cubicBezTo>
                  <a:pt x="126" y="2650"/>
                  <a:pt x="151" y="2626"/>
                  <a:pt x="126" y="2601"/>
                </a:cubicBezTo>
                <a:cubicBezTo>
                  <a:pt x="100" y="2576"/>
                  <a:pt x="51" y="2701"/>
                  <a:pt x="76" y="2676"/>
                </a:cubicBezTo>
                <a:close/>
                <a:moveTo>
                  <a:pt x="426" y="2501"/>
                </a:moveTo>
                <a:lnTo>
                  <a:pt x="426" y="2501"/>
                </a:lnTo>
                <a:cubicBezTo>
                  <a:pt x="400" y="2476"/>
                  <a:pt x="276" y="2550"/>
                  <a:pt x="300" y="2550"/>
                </a:cubicBezTo>
                <a:cubicBezTo>
                  <a:pt x="351" y="2550"/>
                  <a:pt x="351" y="2526"/>
                  <a:pt x="376" y="2526"/>
                </a:cubicBezTo>
                <a:cubicBezTo>
                  <a:pt x="426" y="2526"/>
                  <a:pt x="476" y="2501"/>
                  <a:pt x="426" y="2501"/>
                </a:cubicBezTo>
                <a:close/>
                <a:moveTo>
                  <a:pt x="1501" y="2001"/>
                </a:moveTo>
                <a:lnTo>
                  <a:pt x="1501" y="2001"/>
                </a:lnTo>
                <a:cubicBezTo>
                  <a:pt x="1501" y="1976"/>
                  <a:pt x="1451" y="1976"/>
                  <a:pt x="1426" y="2026"/>
                </a:cubicBezTo>
                <a:cubicBezTo>
                  <a:pt x="1376" y="2076"/>
                  <a:pt x="1351" y="2101"/>
                  <a:pt x="1326" y="2126"/>
                </a:cubicBezTo>
                <a:cubicBezTo>
                  <a:pt x="1326" y="2150"/>
                  <a:pt x="1276" y="2126"/>
                  <a:pt x="1276" y="2150"/>
                </a:cubicBezTo>
                <a:cubicBezTo>
                  <a:pt x="1251" y="2176"/>
                  <a:pt x="1276" y="2250"/>
                  <a:pt x="1301" y="2226"/>
                </a:cubicBezTo>
                <a:cubicBezTo>
                  <a:pt x="1326" y="2201"/>
                  <a:pt x="1351" y="2226"/>
                  <a:pt x="1351" y="2226"/>
                </a:cubicBezTo>
                <a:cubicBezTo>
                  <a:pt x="1376" y="2226"/>
                  <a:pt x="1451" y="2150"/>
                  <a:pt x="1476" y="2126"/>
                </a:cubicBezTo>
                <a:cubicBezTo>
                  <a:pt x="1501" y="2101"/>
                  <a:pt x="1451" y="2101"/>
                  <a:pt x="1451" y="2076"/>
                </a:cubicBezTo>
                <a:cubicBezTo>
                  <a:pt x="1451" y="2050"/>
                  <a:pt x="1501" y="2050"/>
                  <a:pt x="1501" y="2050"/>
                </a:cubicBezTo>
                <a:cubicBezTo>
                  <a:pt x="1526" y="2026"/>
                  <a:pt x="1501" y="2026"/>
                  <a:pt x="1501" y="2001"/>
                </a:cubicBezTo>
                <a:close/>
                <a:moveTo>
                  <a:pt x="176" y="1750"/>
                </a:moveTo>
                <a:lnTo>
                  <a:pt x="176" y="1750"/>
                </a:lnTo>
                <a:cubicBezTo>
                  <a:pt x="151" y="1726"/>
                  <a:pt x="76" y="1750"/>
                  <a:pt x="76" y="1775"/>
                </a:cubicBezTo>
                <a:cubicBezTo>
                  <a:pt x="100" y="1826"/>
                  <a:pt x="176" y="1826"/>
                  <a:pt x="226" y="1826"/>
                </a:cubicBezTo>
                <a:cubicBezTo>
                  <a:pt x="251" y="1801"/>
                  <a:pt x="251" y="1775"/>
                  <a:pt x="226" y="1750"/>
                </a:cubicBezTo>
                <a:cubicBezTo>
                  <a:pt x="200" y="1726"/>
                  <a:pt x="176" y="1775"/>
                  <a:pt x="176" y="1750"/>
                </a:cubicBezTo>
                <a:close/>
                <a:moveTo>
                  <a:pt x="1176" y="6350"/>
                </a:moveTo>
                <a:lnTo>
                  <a:pt x="1176" y="6350"/>
                </a:lnTo>
                <a:cubicBezTo>
                  <a:pt x="1126" y="6350"/>
                  <a:pt x="1151" y="6501"/>
                  <a:pt x="1176" y="6476"/>
                </a:cubicBezTo>
                <a:cubicBezTo>
                  <a:pt x="1201" y="6450"/>
                  <a:pt x="1251" y="6450"/>
                  <a:pt x="1251" y="6425"/>
                </a:cubicBezTo>
                <a:cubicBezTo>
                  <a:pt x="1276" y="6400"/>
                  <a:pt x="1226" y="6350"/>
                  <a:pt x="1176" y="6350"/>
                </a:cubicBezTo>
                <a:close/>
                <a:moveTo>
                  <a:pt x="1101" y="6276"/>
                </a:moveTo>
                <a:lnTo>
                  <a:pt x="1101" y="6276"/>
                </a:lnTo>
                <a:cubicBezTo>
                  <a:pt x="1076" y="6276"/>
                  <a:pt x="1101" y="6325"/>
                  <a:pt x="1126" y="6325"/>
                </a:cubicBezTo>
                <a:cubicBezTo>
                  <a:pt x="1151" y="6300"/>
                  <a:pt x="1151" y="6276"/>
                  <a:pt x="1101" y="6276"/>
                </a:cubicBezTo>
                <a:close/>
                <a:moveTo>
                  <a:pt x="776" y="6176"/>
                </a:moveTo>
                <a:lnTo>
                  <a:pt x="776" y="6176"/>
                </a:lnTo>
                <a:cubicBezTo>
                  <a:pt x="826" y="6200"/>
                  <a:pt x="826" y="6200"/>
                  <a:pt x="851" y="6150"/>
                </a:cubicBezTo>
                <a:cubicBezTo>
                  <a:pt x="851" y="6125"/>
                  <a:pt x="751" y="6125"/>
                  <a:pt x="776" y="6176"/>
                </a:cubicBezTo>
                <a:close/>
                <a:moveTo>
                  <a:pt x="926" y="6225"/>
                </a:moveTo>
                <a:lnTo>
                  <a:pt x="926" y="6225"/>
                </a:lnTo>
                <a:cubicBezTo>
                  <a:pt x="951" y="6250"/>
                  <a:pt x="976" y="6276"/>
                  <a:pt x="1001" y="6250"/>
                </a:cubicBezTo>
                <a:cubicBezTo>
                  <a:pt x="1001" y="6200"/>
                  <a:pt x="901" y="6200"/>
                  <a:pt x="926" y="6225"/>
                </a:cubicBezTo>
                <a:close/>
                <a:moveTo>
                  <a:pt x="9478" y="3451"/>
                </a:moveTo>
                <a:lnTo>
                  <a:pt x="9478" y="3451"/>
                </a:lnTo>
                <a:cubicBezTo>
                  <a:pt x="9478" y="3426"/>
                  <a:pt x="9403" y="3426"/>
                  <a:pt x="9353" y="3401"/>
                </a:cubicBezTo>
                <a:cubicBezTo>
                  <a:pt x="9328" y="3376"/>
                  <a:pt x="9253" y="3526"/>
                  <a:pt x="9253" y="3576"/>
                </a:cubicBezTo>
                <a:cubicBezTo>
                  <a:pt x="9228" y="3626"/>
                  <a:pt x="9128" y="3701"/>
                  <a:pt x="9128" y="3701"/>
                </a:cubicBezTo>
                <a:cubicBezTo>
                  <a:pt x="9128" y="3701"/>
                  <a:pt x="8828" y="3701"/>
                  <a:pt x="8802" y="3701"/>
                </a:cubicBezTo>
                <a:cubicBezTo>
                  <a:pt x="8778" y="3701"/>
                  <a:pt x="8728" y="3751"/>
                  <a:pt x="8678" y="3801"/>
                </a:cubicBezTo>
                <a:lnTo>
                  <a:pt x="8678" y="3801"/>
                </a:lnTo>
                <a:cubicBezTo>
                  <a:pt x="8702" y="3851"/>
                  <a:pt x="8602" y="3876"/>
                  <a:pt x="8502" y="3901"/>
                </a:cubicBezTo>
                <a:cubicBezTo>
                  <a:pt x="8477" y="3901"/>
                  <a:pt x="8453" y="3901"/>
                  <a:pt x="8428" y="3901"/>
                </a:cubicBezTo>
                <a:lnTo>
                  <a:pt x="8428" y="3926"/>
                </a:lnTo>
                <a:cubicBezTo>
                  <a:pt x="8428" y="3951"/>
                  <a:pt x="8428" y="3951"/>
                  <a:pt x="8402" y="3951"/>
                </a:cubicBezTo>
                <a:cubicBezTo>
                  <a:pt x="8377" y="4001"/>
                  <a:pt x="8253" y="4051"/>
                  <a:pt x="8177" y="4101"/>
                </a:cubicBezTo>
                <a:cubicBezTo>
                  <a:pt x="8102" y="4126"/>
                  <a:pt x="8002" y="4101"/>
                  <a:pt x="8002" y="4051"/>
                </a:cubicBezTo>
                <a:cubicBezTo>
                  <a:pt x="8002" y="3976"/>
                  <a:pt x="8053" y="4001"/>
                  <a:pt x="8077" y="4026"/>
                </a:cubicBezTo>
                <a:cubicBezTo>
                  <a:pt x="8077" y="4026"/>
                  <a:pt x="8077" y="4026"/>
                  <a:pt x="8102" y="4026"/>
                </a:cubicBezTo>
                <a:cubicBezTo>
                  <a:pt x="8077" y="4001"/>
                  <a:pt x="8077" y="3976"/>
                  <a:pt x="8102" y="3951"/>
                </a:cubicBezTo>
                <a:cubicBezTo>
                  <a:pt x="8077" y="3926"/>
                  <a:pt x="8102" y="3826"/>
                  <a:pt x="8053" y="3826"/>
                </a:cubicBezTo>
                <a:cubicBezTo>
                  <a:pt x="8002" y="3801"/>
                  <a:pt x="7953" y="3901"/>
                  <a:pt x="7953" y="3851"/>
                </a:cubicBezTo>
                <a:cubicBezTo>
                  <a:pt x="7953" y="3776"/>
                  <a:pt x="8028" y="3751"/>
                  <a:pt x="8002" y="3676"/>
                </a:cubicBezTo>
                <a:cubicBezTo>
                  <a:pt x="7953" y="3601"/>
                  <a:pt x="7853" y="3601"/>
                  <a:pt x="7853" y="3651"/>
                </a:cubicBezTo>
                <a:cubicBezTo>
                  <a:pt x="7828" y="3701"/>
                  <a:pt x="7777" y="3676"/>
                  <a:pt x="7753" y="3726"/>
                </a:cubicBezTo>
                <a:cubicBezTo>
                  <a:pt x="7728" y="3776"/>
                  <a:pt x="7702" y="3851"/>
                  <a:pt x="7728" y="3926"/>
                </a:cubicBezTo>
                <a:cubicBezTo>
                  <a:pt x="7753" y="4001"/>
                  <a:pt x="7728" y="4026"/>
                  <a:pt x="7653" y="4051"/>
                </a:cubicBezTo>
                <a:cubicBezTo>
                  <a:pt x="7602" y="4101"/>
                  <a:pt x="7552" y="4001"/>
                  <a:pt x="7577" y="3876"/>
                </a:cubicBezTo>
                <a:cubicBezTo>
                  <a:pt x="7602" y="3801"/>
                  <a:pt x="7653" y="3726"/>
                  <a:pt x="7602" y="3726"/>
                </a:cubicBezTo>
                <a:cubicBezTo>
                  <a:pt x="7577" y="3726"/>
                  <a:pt x="7653" y="3626"/>
                  <a:pt x="7753" y="3601"/>
                </a:cubicBezTo>
                <a:cubicBezTo>
                  <a:pt x="7828" y="3576"/>
                  <a:pt x="7953" y="3576"/>
                  <a:pt x="7953" y="3551"/>
                </a:cubicBezTo>
                <a:lnTo>
                  <a:pt x="7953" y="3551"/>
                </a:lnTo>
                <a:cubicBezTo>
                  <a:pt x="7953" y="3526"/>
                  <a:pt x="7928" y="3526"/>
                  <a:pt x="7902" y="3501"/>
                </a:cubicBezTo>
                <a:cubicBezTo>
                  <a:pt x="7902" y="3526"/>
                  <a:pt x="7902" y="3526"/>
                  <a:pt x="7902" y="3526"/>
                </a:cubicBezTo>
                <a:cubicBezTo>
                  <a:pt x="7853" y="3551"/>
                  <a:pt x="7877" y="3501"/>
                  <a:pt x="7802" y="3501"/>
                </a:cubicBezTo>
                <a:cubicBezTo>
                  <a:pt x="7753" y="3501"/>
                  <a:pt x="7677" y="3551"/>
                  <a:pt x="7628" y="3526"/>
                </a:cubicBezTo>
                <a:cubicBezTo>
                  <a:pt x="7577" y="3501"/>
                  <a:pt x="7602" y="3476"/>
                  <a:pt x="7552" y="3476"/>
                </a:cubicBezTo>
                <a:cubicBezTo>
                  <a:pt x="7502" y="3476"/>
                  <a:pt x="7602" y="3376"/>
                  <a:pt x="7528" y="3426"/>
                </a:cubicBezTo>
                <a:cubicBezTo>
                  <a:pt x="7452" y="3451"/>
                  <a:pt x="7352" y="3551"/>
                  <a:pt x="7302" y="3501"/>
                </a:cubicBezTo>
                <a:cubicBezTo>
                  <a:pt x="7277" y="3451"/>
                  <a:pt x="7228" y="3526"/>
                  <a:pt x="7202" y="3476"/>
                </a:cubicBezTo>
                <a:cubicBezTo>
                  <a:pt x="7152" y="3451"/>
                  <a:pt x="7302" y="3351"/>
                  <a:pt x="7377" y="3351"/>
                </a:cubicBezTo>
                <a:cubicBezTo>
                  <a:pt x="7402" y="3351"/>
                  <a:pt x="7402" y="3351"/>
                  <a:pt x="7428" y="3351"/>
                </a:cubicBezTo>
                <a:cubicBezTo>
                  <a:pt x="7402" y="3326"/>
                  <a:pt x="7302" y="3301"/>
                  <a:pt x="7302" y="3326"/>
                </a:cubicBezTo>
                <a:cubicBezTo>
                  <a:pt x="7277" y="3351"/>
                  <a:pt x="7228" y="3326"/>
                  <a:pt x="7202" y="3301"/>
                </a:cubicBezTo>
                <a:cubicBezTo>
                  <a:pt x="7202" y="3276"/>
                  <a:pt x="7177" y="3326"/>
                  <a:pt x="7128" y="3276"/>
                </a:cubicBezTo>
                <a:cubicBezTo>
                  <a:pt x="7102" y="3251"/>
                  <a:pt x="7077" y="3276"/>
                  <a:pt x="7052" y="3276"/>
                </a:cubicBezTo>
                <a:cubicBezTo>
                  <a:pt x="7028" y="3276"/>
                  <a:pt x="7002" y="3251"/>
                  <a:pt x="6977" y="3251"/>
                </a:cubicBezTo>
                <a:cubicBezTo>
                  <a:pt x="6928" y="3226"/>
                  <a:pt x="6952" y="3201"/>
                  <a:pt x="6928" y="3175"/>
                </a:cubicBezTo>
                <a:cubicBezTo>
                  <a:pt x="6902" y="3151"/>
                  <a:pt x="6902" y="3226"/>
                  <a:pt x="6902" y="3226"/>
                </a:cubicBezTo>
                <a:cubicBezTo>
                  <a:pt x="4301" y="3226"/>
                  <a:pt x="4301" y="3226"/>
                  <a:pt x="4301" y="3226"/>
                </a:cubicBezTo>
                <a:lnTo>
                  <a:pt x="4327" y="3251"/>
                </a:lnTo>
                <a:cubicBezTo>
                  <a:pt x="4352" y="3276"/>
                  <a:pt x="4327" y="3301"/>
                  <a:pt x="4327" y="3351"/>
                </a:cubicBezTo>
                <a:cubicBezTo>
                  <a:pt x="4352" y="3376"/>
                  <a:pt x="4327" y="3426"/>
                  <a:pt x="4301" y="3426"/>
                </a:cubicBezTo>
                <a:cubicBezTo>
                  <a:pt x="4277" y="3426"/>
                  <a:pt x="4277" y="3401"/>
                  <a:pt x="4301" y="3401"/>
                </a:cubicBezTo>
                <a:cubicBezTo>
                  <a:pt x="4327" y="3376"/>
                  <a:pt x="4301" y="3326"/>
                  <a:pt x="4277" y="3326"/>
                </a:cubicBezTo>
                <a:cubicBezTo>
                  <a:pt x="4277" y="3326"/>
                  <a:pt x="4252" y="3326"/>
                  <a:pt x="4252" y="3301"/>
                </a:cubicBezTo>
                <a:cubicBezTo>
                  <a:pt x="4227" y="3301"/>
                  <a:pt x="4177" y="3301"/>
                  <a:pt x="4101" y="3301"/>
                </a:cubicBezTo>
                <a:cubicBezTo>
                  <a:pt x="4127" y="3301"/>
                  <a:pt x="4127" y="3301"/>
                  <a:pt x="4127" y="3301"/>
                </a:cubicBezTo>
                <a:cubicBezTo>
                  <a:pt x="4127" y="3326"/>
                  <a:pt x="4127" y="3376"/>
                  <a:pt x="4152" y="3426"/>
                </a:cubicBezTo>
                <a:cubicBezTo>
                  <a:pt x="4201" y="3476"/>
                  <a:pt x="4177" y="3501"/>
                  <a:pt x="4201" y="3526"/>
                </a:cubicBezTo>
                <a:cubicBezTo>
                  <a:pt x="4227" y="3526"/>
                  <a:pt x="4227" y="3551"/>
                  <a:pt x="4201" y="3551"/>
                </a:cubicBezTo>
                <a:cubicBezTo>
                  <a:pt x="4177" y="3551"/>
                  <a:pt x="4201" y="3576"/>
                  <a:pt x="4177" y="3626"/>
                </a:cubicBezTo>
                <a:cubicBezTo>
                  <a:pt x="4177" y="3701"/>
                  <a:pt x="4177" y="3826"/>
                  <a:pt x="4177" y="3876"/>
                </a:cubicBezTo>
                <a:cubicBezTo>
                  <a:pt x="4177" y="3901"/>
                  <a:pt x="4127" y="3976"/>
                  <a:pt x="4152" y="4001"/>
                </a:cubicBezTo>
                <a:cubicBezTo>
                  <a:pt x="4177" y="4051"/>
                  <a:pt x="4201" y="4101"/>
                  <a:pt x="4177" y="4151"/>
                </a:cubicBezTo>
                <a:cubicBezTo>
                  <a:pt x="4152" y="4226"/>
                  <a:pt x="4177" y="4251"/>
                  <a:pt x="4177" y="4276"/>
                </a:cubicBezTo>
                <a:cubicBezTo>
                  <a:pt x="4201" y="4326"/>
                  <a:pt x="4201" y="4401"/>
                  <a:pt x="4227" y="4401"/>
                </a:cubicBezTo>
                <a:cubicBezTo>
                  <a:pt x="4252" y="4426"/>
                  <a:pt x="4277" y="4451"/>
                  <a:pt x="4277" y="4501"/>
                </a:cubicBezTo>
                <a:cubicBezTo>
                  <a:pt x="4301" y="4526"/>
                  <a:pt x="4327" y="4501"/>
                  <a:pt x="4327" y="4551"/>
                </a:cubicBezTo>
                <a:cubicBezTo>
                  <a:pt x="4352" y="4576"/>
                  <a:pt x="4352" y="4576"/>
                  <a:pt x="4377" y="4601"/>
                </a:cubicBezTo>
                <a:cubicBezTo>
                  <a:pt x="4401" y="4626"/>
                  <a:pt x="4377" y="4651"/>
                  <a:pt x="4377" y="4676"/>
                </a:cubicBezTo>
                <a:cubicBezTo>
                  <a:pt x="4377" y="4701"/>
                  <a:pt x="4427" y="4726"/>
                  <a:pt x="4477" y="4776"/>
                </a:cubicBezTo>
                <a:cubicBezTo>
                  <a:pt x="4527" y="4826"/>
                  <a:pt x="4501" y="4876"/>
                  <a:pt x="4527" y="4876"/>
                </a:cubicBezTo>
                <a:cubicBezTo>
                  <a:pt x="4577" y="4876"/>
                  <a:pt x="4601" y="4901"/>
                  <a:pt x="4652" y="4926"/>
                </a:cubicBezTo>
                <a:cubicBezTo>
                  <a:pt x="4677" y="4951"/>
                  <a:pt x="4701" y="4926"/>
                  <a:pt x="4727" y="4926"/>
                </a:cubicBezTo>
                <a:cubicBezTo>
                  <a:pt x="4752" y="4926"/>
                  <a:pt x="4801" y="5001"/>
                  <a:pt x="4827" y="5026"/>
                </a:cubicBezTo>
                <a:cubicBezTo>
                  <a:pt x="4827" y="5051"/>
                  <a:pt x="4827" y="5076"/>
                  <a:pt x="4827" y="5101"/>
                </a:cubicBezTo>
                <a:cubicBezTo>
                  <a:pt x="5052" y="5076"/>
                  <a:pt x="5052" y="5076"/>
                  <a:pt x="5052" y="5076"/>
                </a:cubicBezTo>
                <a:cubicBezTo>
                  <a:pt x="5052" y="5076"/>
                  <a:pt x="5127" y="5101"/>
                  <a:pt x="5152" y="5126"/>
                </a:cubicBezTo>
                <a:cubicBezTo>
                  <a:pt x="5202" y="5126"/>
                  <a:pt x="5402" y="5201"/>
                  <a:pt x="5402" y="5201"/>
                </a:cubicBezTo>
                <a:cubicBezTo>
                  <a:pt x="5677" y="5201"/>
                  <a:pt x="5677" y="5201"/>
                  <a:pt x="5677" y="5201"/>
                </a:cubicBezTo>
                <a:cubicBezTo>
                  <a:pt x="5702" y="5151"/>
                  <a:pt x="5702" y="5151"/>
                  <a:pt x="5702" y="5151"/>
                </a:cubicBezTo>
                <a:cubicBezTo>
                  <a:pt x="5852" y="5151"/>
                  <a:pt x="5852" y="5151"/>
                  <a:pt x="5852" y="5151"/>
                </a:cubicBezTo>
                <a:cubicBezTo>
                  <a:pt x="5852" y="5151"/>
                  <a:pt x="5927" y="5251"/>
                  <a:pt x="5952" y="5251"/>
                </a:cubicBezTo>
                <a:cubicBezTo>
                  <a:pt x="5977" y="5277"/>
                  <a:pt x="6002" y="5301"/>
                  <a:pt x="6002" y="5326"/>
                </a:cubicBezTo>
                <a:cubicBezTo>
                  <a:pt x="6002" y="5351"/>
                  <a:pt x="6027" y="5377"/>
                  <a:pt x="6052" y="5401"/>
                </a:cubicBezTo>
                <a:cubicBezTo>
                  <a:pt x="6077" y="5401"/>
                  <a:pt x="6152" y="5451"/>
                  <a:pt x="6152" y="5451"/>
                </a:cubicBezTo>
                <a:cubicBezTo>
                  <a:pt x="6177" y="5451"/>
                  <a:pt x="6177" y="5351"/>
                  <a:pt x="6227" y="5351"/>
                </a:cubicBezTo>
                <a:cubicBezTo>
                  <a:pt x="6277" y="5377"/>
                  <a:pt x="6377" y="5401"/>
                  <a:pt x="6402" y="5451"/>
                </a:cubicBezTo>
                <a:cubicBezTo>
                  <a:pt x="6402" y="5526"/>
                  <a:pt x="6477" y="5577"/>
                  <a:pt x="6477" y="5577"/>
                </a:cubicBezTo>
                <a:cubicBezTo>
                  <a:pt x="6502" y="5601"/>
                  <a:pt x="6502" y="5626"/>
                  <a:pt x="6502" y="5651"/>
                </a:cubicBezTo>
                <a:cubicBezTo>
                  <a:pt x="6527" y="5677"/>
                  <a:pt x="6527" y="5701"/>
                  <a:pt x="6527" y="5701"/>
                </a:cubicBezTo>
                <a:cubicBezTo>
                  <a:pt x="6552" y="5701"/>
                  <a:pt x="6627" y="5751"/>
                  <a:pt x="6652" y="5751"/>
                </a:cubicBezTo>
                <a:cubicBezTo>
                  <a:pt x="6677" y="5751"/>
                  <a:pt x="6677" y="5777"/>
                  <a:pt x="6702" y="5777"/>
                </a:cubicBezTo>
                <a:cubicBezTo>
                  <a:pt x="6702" y="5701"/>
                  <a:pt x="6627" y="5677"/>
                  <a:pt x="6677" y="5651"/>
                </a:cubicBezTo>
                <a:cubicBezTo>
                  <a:pt x="6728" y="5626"/>
                  <a:pt x="6677" y="5577"/>
                  <a:pt x="6702" y="5577"/>
                </a:cubicBezTo>
                <a:cubicBezTo>
                  <a:pt x="6728" y="5551"/>
                  <a:pt x="6777" y="5526"/>
                  <a:pt x="6777" y="5501"/>
                </a:cubicBezTo>
                <a:cubicBezTo>
                  <a:pt x="6777" y="5477"/>
                  <a:pt x="6802" y="5477"/>
                  <a:pt x="6828" y="5477"/>
                </a:cubicBezTo>
                <a:cubicBezTo>
                  <a:pt x="6852" y="5501"/>
                  <a:pt x="6928" y="5426"/>
                  <a:pt x="6928" y="5401"/>
                </a:cubicBezTo>
                <a:cubicBezTo>
                  <a:pt x="6902" y="5377"/>
                  <a:pt x="6928" y="5377"/>
                  <a:pt x="6952" y="5401"/>
                </a:cubicBezTo>
                <a:cubicBezTo>
                  <a:pt x="7002" y="5401"/>
                  <a:pt x="7002" y="5351"/>
                  <a:pt x="7028" y="5351"/>
                </a:cubicBezTo>
                <a:cubicBezTo>
                  <a:pt x="7052" y="5351"/>
                  <a:pt x="7077" y="5377"/>
                  <a:pt x="7077" y="5351"/>
                </a:cubicBezTo>
                <a:cubicBezTo>
                  <a:pt x="7077" y="5326"/>
                  <a:pt x="7102" y="5351"/>
                  <a:pt x="7102" y="5377"/>
                </a:cubicBezTo>
                <a:cubicBezTo>
                  <a:pt x="7128" y="5401"/>
                  <a:pt x="7177" y="5401"/>
                  <a:pt x="7202" y="5377"/>
                </a:cubicBezTo>
                <a:cubicBezTo>
                  <a:pt x="7202" y="5351"/>
                  <a:pt x="7228" y="5377"/>
                  <a:pt x="7252" y="5401"/>
                </a:cubicBezTo>
                <a:cubicBezTo>
                  <a:pt x="7277" y="5426"/>
                  <a:pt x="7302" y="5426"/>
                  <a:pt x="7328" y="5426"/>
                </a:cubicBezTo>
                <a:cubicBezTo>
                  <a:pt x="7377" y="5426"/>
                  <a:pt x="7377" y="5401"/>
                  <a:pt x="7377" y="5377"/>
                </a:cubicBezTo>
                <a:cubicBezTo>
                  <a:pt x="7377" y="5351"/>
                  <a:pt x="7428" y="5451"/>
                  <a:pt x="7452" y="5451"/>
                </a:cubicBezTo>
                <a:cubicBezTo>
                  <a:pt x="7502" y="5451"/>
                  <a:pt x="7477" y="5426"/>
                  <a:pt x="7428" y="5401"/>
                </a:cubicBezTo>
                <a:cubicBezTo>
                  <a:pt x="7402" y="5377"/>
                  <a:pt x="7452" y="5377"/>
                  <a:pt x="7428" y="5351"/>
                </a:cubicBezTo>
                <a:cubicBezTo>
                  <a:pt x="7402" y="5326"/>
                  <a:pt x="7452" y="5301"/>
                  <a:pt x="7502" y="5301"/>
                </a:cubicBezTo>
                <a:cubicBezTo>
                  <a:pt x="7552" y="5301"/>
                  <a:pt x="7552" y="5326"/>
                  <a:pt x="7577" y="5301"/>
                </a:cubicBezTo>
                <a:cubicBezTo>
                  <a:pt x="7577" y="5251"/>
                  <a:pt x="7602" y="5301"/>
                  <a:pt x="7602" y="5326"/>
                </a:cubicBezTo>
                <a:cubicBezTo>
                  <a:pt x="7602" y="5351"/>
                  <a:pt x="7677" y="5301"/>
                  <a:pt x="7728" y="5301"/>
                </a:cubicBezTo>
                <a:cubicBezTo>
                  <a:pt x="7777" y="5301"/>
                  <a:pt x="7802" y="5326"/>
                  <a:pt x="7828" y="5351"/>
                </a:cubicBezTo>
                <a:cubicBezTo>
                  <a:pt x="7828" y="5377"/>
                  <a:pt x="7853" y="5401"/>
                  <a:pt x="7877" y="5377"/>
                </a:cubicBezTo>
                <a:cubicBezTo>
                  <a:pt x="7902" y="5351"/>
                  <a:pt x="7928" y="5326"/>
                  <a:pt x="7977" y="5351"/>
                </a:cubicBezTo>
                <a:cubicBezTo>
                  <a:pt x="8002" y="5377"/>
                  <a:pt x="8028" y="5401"/>
                  <a:pt x="8053" y="5451"/>
                </a:cubicBezTo>
                <a:cubicBezTo>
                  <a:pt x="8102" y="5477"/>
                  <a:pt x="8053" y="5526"/>
                  <a:pt x="8053" y="5551"/>
                </a:cubicBezTo>
                <a:cubicBezTo>
                  <a:pt x="8077" y="5577"/>
                  <a:pt x="8053" y="5626"/>
                  <a:pt x="8102" y="5651"/>
                </a:cubicBezTo>
                <a:cubicBezTo>
                  <a:pt x="8153" y="5677"/>
                  <a:pt x="8102" y="5726"/>
                  <a:pt x="8153" y="5751"/>
                </a:cubicBezTo>
                <a:cubicBezTo>
                  <a:pt x="8177" y="5751"/>
                  <a:pt x="8202" y="5801"/>
                  <a:pt x="8202" y="5826"/>
                </a:cubicBezTo>
                <a:cubicBezTo>
                  <a:pt x="8202" y="5850"/>
                  <a:pt x="8277" y="5875"/>
                  <a:pt x="8277" y="5850"/>
                </a:cubicBezTo>
                <a:cubicBezTo>
                  <a:pt x="8277" y="5801"/>
                  <a:pt x="8302" y="5751"/>
                  <a:pt x="8328" y="5726"/>
                </a:cubicBezTo>
                <a:cubicBezTo>
                  <a:pt x="8328" y="5701"/>
                  <a:pt x="8302" y="5577"/>
                  <a:pt x="8277" y="5551"/>
                </a:cubicBezTo>
                <a:cubicBezTo>
                  <a:pt x="8228" y="5501"/>
                  <a:pt x="8277" y="5501"/>
                  <a:pt x="8228" y="5451"/>
                </a:cubicBezTo>
                <a:cubicBezTo>
                  <a:pt x="8202" y="5401"/>
                  <a:pt x="8177" y="5326"/>
                  <a:pt x="8177" y="5277"/>
                </a:cubicBezTo>
                <a:cubicBezTo>
                  <a:pt x="8177" y="5201"/>
                  <a:pt x="8253" y="5101"/>
                  <a:pt x="8302" y="5076"/>
                </a:cubicBezTo>
                <a:cubicBezTo>
                  <a:pt x="8328" y="5051"/>
                  <a:pt x="8377" y="5051"/>
                  <a:pt x="8377" y="5026"/>
                </a:cubicBezTo>
                <a:cubicBezTo>
                  <a:pt x="8377" y="5001"/>
                  <a:pt x="8428" y="4951"/>
                  <a:pt x="8453" y="4951"/>
                </a:cubicBezTo>
                <a:cubicBezTo>
                  <a:pt x="8477" y="4951"/>
                  <a:pt x="8502" y="4951"/>
                  <a:pt x="8502" y="4926"/>
                </a:cubicBezTo>
                <a:cubicBezTo>
                  <a:pt x="8528" y="4901"/>
                  <a:pt x="8553" y="4876"/>
                  <a:pt x="8602" y="4851"/>
                </a:cubicBezTo>
                <a:cubicBezTo>
                  <a:pt x="8678" y="4851"/>
                  <a:pt x="8628" y="4826"/>
                  <a:pt x="8628" y="4801"/>
                </a:cubicBezTo>
                <a:cubicBezTo>
                  <a:pt x="8602" y="4776"/>
                  <a:pt x="8628" y="4751"/>
                  <a:pt x="8653" y="4751"/>
                </a:cubicBezTo>
                <a:cubicBezTo>
                  <a:pt x="8653" y="4776"/>
                  <a:pt x="8678" y="4776"/>
                  <a:pt x="8702" y="4776"/>
                </a:cubicBezTo>
                <a:cubicBezTo>
                  <a:pt x="8728" y="4751"/>
                  <a:pt x="8778" y="4701"/>
                  <a:pt x="8728" y="4701"/>
                </a:cubicBezTo>
                <a:cubicBezTo>
                  <a:pt x="8678" y="4701"/>
                  <a:pt x="8678" y="4701"/>
                  <a:pt x="8702" y="4676"/>
                </a:cubicBezTo>
                <a:cubicBezTo>
                  <a:pt x="8728" y="4676"/>
                  <a:pt x="8702" y="4626"/>
                  <a:pt x="8678" y="4626"/>
                </a:cubicBezTo>
                <a:cubicBezTo>
                  <a:pt x="8628" y="4601"/>
                  <a:pt x="8653" y="4601"/>
                  <a:pt x="8678" y="4576"/>
                </a:cubicBezTo>
                <a:cubicBezTo>
                  <a:pt x="8702" y="4551"/>
                  <a:pt x="8628" y="4501"/>
                  <a:pt x="8602" y="4501"/>
                </a:cubicBezTo>
                <a:cubicBezTo>
                  <a:pt x="8578" y="4476"/>
                  <a:pt x="8628" y="4451"/>
                  <a:pt x="8653" y="4451"/>
                </a:cubicBezTo>
                <a:cubicBezTo>
                  <a:pt x="8678" y="4451"/>
                  <a:pt x="8653" y="4351"/>
                  <a:pt x="8653" y="4326"/>
                </a:cubicBezTo>
                <a:cubicBezTo>
                  <a:pt x="8678" y="4301"/>
                  <a:pt x="8702" y="4301"/>
                  <a:pt x="8702" y="4326"/>
                </a:cubicBezTo>
                <a:cubicBezTo>
                  <a:pt x="8678" y="4351"/>
                  <a:pt x="8653" y="4401"/>
                  <a:pt x="8678" y="4426"/>
                </a:cubicBezTo>
                <a:cubicBezTo>
                  <a:pt x="8702" y="4451"/>
                  <a:pt x="8728" y="4501"/>
                  <a:pt x="8702" y="4526"/>
                </a:cubicBezTo>
                <a:cubicBezTo>
                  <a:pt x="8702" y="4576"/>
                  <a:pt x="8728" y="4576"/>
                  <a:pt x="8753" y="4501"/>
                </a:cubicBezTo>
                <a:cubicBezTo>
                  <a:pt x="8778" y="4451"/>
                  <a:pt x="8778" y="4401"/>
                  <a:pt x="8753" y="4376"/>
                </a:cubicBezTo>
                <a:cubicBezTo>
                  <a:pt x="8753" y="4376"/>
                  <a:pt x="8753" y="4326"/>
                  <a:pt x="8778" y="4351"/>
                </a:cubicBezTo>
                <a:cubicBezTo>
                  <a:pt x="8802" y="4376"/>
                  <a:pt x="8802" y="4376"/>
                  <a:pt x="8828" y="4351"/>
                </a:cubicBezTo>
                <a:cubicBezTo>
                  <a:pt x="8878" y="4301"/>
                  <a:pt x="8902" y="4251"/>
                  <a:pt x="8878" y="4226"/>
                </a:cubicBezTo>
                <a:cubicBezTo>
                  <a:pt x="8853" y="4201"/>
                  <a:pt x="8902" y="4201"/>
                  <a:pt x="8928" y="4201"/>
                </a:cubicBezTo>
                <a:cubicBezTo>
                  <a:pt x="8978" y="4201"/>
                  <a:pt x="9078" y="4176"/>
                  <a:pt x="9078" y="4151"/>
                </a:cubicBezTo>
                <a:cubicBezTo>
                  <a:pt x="9102" y="4126"/>
                  <a:pt x="8928" y="4176"/>
                  <a:pt x="8928" y="4151"/>
                </a:cubicBezTo>
                <a:cubicBezTo>
                  <a:pt x="8928" y="4126"/>
                  <a:pt x="9028" y="4101"/>
                  <a:pt x="9078" y="4101"/>
                </a:cubicBezTo>
                <a:cubicBezTo>
                  <a:pt x="9128" y="4101"/>
                  <a:pt x="9102" y="4051"/>
                  <a:pt x="9128" y="4076"/>
                </a:cubicBezTo>
                <a:cubicBezTo>
                  <a:pt x="9153" y="4101"/>
                  <a:pt x="9178" y="4101"/>
                  <a:pt x="9202" y="4076"/>
                </a:cubicBezTo>
                <a:cubicBezTo>
                  <a:pt x="9228" y="4051"/>
                  <a:pt x="9202" y="4001"/>
                  <a:pt x="9178" y="4001"/>
                </a:cubicBezTo>
                <a:cubicBezTo>
                  <a:pt x="9153" y="4001"/>
                  <a:pt x="9202" y="3976"/>
                  <a:pt x="9202" y="3951"/>
                </a:cubicBezTo>
                <a:cubicBezTo>
                  <a:pt x="9178" y="3926"/>
                  <a:pt x="9228" y="3851"/>
                  <a:pt x="9253" y="3851"/>
                </a:cubicBezTo>
                <a:cubicBezTo>
                  <a:pt x="9302" y="3851"/>
                  <a:pt x="9278" y="3826"/>
                  <a:pt x="9302" y="3826"/>
                </a:cubicBezTo>
                <a:cubicBezTo>
                  <a:pt x="9353" y="3826"/>
                  <a:pt x="9353" y="3776"/>
                  <a:pt x="9378" y="3751"/>
                </a:cubicBezTo>
                <a:cubicBezTo>
                  <a:pt x="9403" y="3726"/>
                  <a:pt x="9453" y="3801"/>
                  <a:pt x="9503" y="3751"/>
                </a:cubicBezTo>
                <a:cubicBezTo>
                  <a:pt x="9503" y="3726"/>
                  <a:pt x="9528" y="3726"/>
                  <a:pt x="9578" y="3701"/>
                </a:cubicBezTo>
                <a:cubicBezTo>
                  <a:pt x="9453" y="3551"/>
                  <a:pt x="9478" y="3476"/>
                  <a:pt x="9478" y="3451"/>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0" name="Freeform 126">
            <a:extLst>
              <a:ext uri="{FF2B5EF4-FFF2-40B4-BE49-F238E27FC236}">
                <a16:creationId xmlns:a16="http://schemas.microsoft.com/office/drawing/2014/main" id="{7E6A6EEA-21CC-AD41-84E1-B67B4B24B7D2}"/>
              </a:ext>
            </a:extLst>
          </p:cNvPr>
          <p:cNvSpPr>
            <a:spLocks noChangeArrowheads="1"/>
          </p:cNvSpPr>
          <p:nvPr/>
        </p:nvSpPr>
        <p:spPr bwMode="auto">
          <a:xfrm>
            <a:off x="6156468" y="3306325"/>
            <a:ext cx="104061" cy="56249"/>
          </a:xfrm>
          <a:custGeom>
            <a:avLst/>
            <a:gdLst>
              <a:gd name="T0" fmla="*/ 0 w 326"/>
              <a:gd name="T1" fmla="*/ 150 h 176"/>
              <a:gd name="T2" fmla="*/ 0 w 326"/>
              <a:gd name="T3" fmla="*/ 150 h 176"/>
              <a:gd name="T4" fmla="*/ 49 w 326"/>
              <a:gd name="T5" fmla="*/ 150 h 176"/>
              <a:gd name="T6" fmla="*/ 74 w 326"/>
              <a:gd name="T7" fmla="*/ 175 h 176"/>
              <a:gd name="T8" fmla="*/ 149 w 326"/>
              <a:gd name="T9" fmla="*/ 150 h 176"/>
              <a:gd name="T10" fmla="*/ 200 w 326"/>
              <a:gd name="T11" fmla="*/ 150 h 176"/>
              <a:gd name="T12" fmla="*/ 225 w 326"/>
              <a:gd name="T13" fmla="*/ 125 h 176"/>
              <a:gd name="T14" fmla="*/ 249 w 326"/>
              <a:gd name="T15" fmla="*/ 75 h 176"/>
              <a:gd name="T16" fmla="*/ 325 w 326"/>
              <a:gd name="T17" fmla="*/ 25 h 176"/>
              <a:gd name="T18" fmla="*/ 300 w 326"/>
              <a:gd name="T19" fmla="*/ 0 h 176"/>
              <a:gd name="T20" fmla="*/ 225 w 326"/>
              <a:gd name="T21" fmla="*/ 25 h 176"/>
              <a:gd name="T22" fmla="*/ 149 w 326"/>
              <a:gd name="T23" fmla="*/ 50 h 176"/>
              <a:gd name="T24" fmla="*/ 49 w 326"/>
              <a:gd name="T25" fmla="*/ 25 h 176"/>
              <a:gd name="T26" fmla="*/ 0 w 326"/>
              <a:gd name="T27" fmla="*/ 25 h 176"/>
              <a:gd name="T28" fmla="*/ 0 w 326"/>
              <a:gd name="T29" fmla="*/ 1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6" h="176">
                <a:moveTo>
                  <a:pt x="0" y="150"/>
                </a:moveTo>
                <a:lnTo>
                  <a:pt x="0" y="150"/>
                </a:lnTo>
                <a:cubicBezTo>
                  <a:pt x="25" y="150"/>
                  <a:pt x="49" y="125"/>
                  <a:pt x="49" y="150"/>
                </a:cubicBezTo>
                <a:cubicBezTo>
                  <a:pt x="74" y="150"/>
                  <a:pt x="74" y="150"/>
                  <a:pt x="74" y="175"/>
                </a:cubicBezTo>
                <a:cubicBezTo>
                  <a:pt x="99" y="175"/>
                  <a:pt x="125" y="150"/>
                  <a:pt x="149" y="150"/>
                </a:cubicBezTo>
                <a:cubicBezTo>
                  <a:pt x="149" y="150"/>
                  <a:pt x="200" y="175"/>
                  <a:pt x="200" y="150"/>
                </a:cubicBezTo>
                <a:lnTo>
                  <a:pt x="225" y="125"/>
                </a:lnTo>
                <a:cubicBezTo>
                  <a:pt x="249" y="125"/>
                  <a:pt x="249" y="75"/>
                  <a:pt x="249" y="75"/>
                </a:cubicBezTo>
                <a:cubicBezTo>
                  <a:pt x="274" y="75"/>
                  <a:pt x="325" y="25"/>
                  <a:pt x="325" y="25"/>
                </a:cubicBezTo>
                <a:lnTo>
                  <a:pt x="300" y="0"/>
                </a:lnTo>
                <a:cubicBezTo>
                  <a:pt x="274" y="0"/>
                  <a:pt x="274" y="25"/>
                  <a:pt x="225" y="25"/>
                </a:cubicBezTo>
                <a:cubicBezTo>
                  <a:pt x="200" y="25"/>
                  <a:pt x="174" y="50"/>
                  <a:pt x="149" y="50"/>
                </a:cubicBezTo>
                <a:cubicBezTo>
                  <a:pt x="125" y="50"/>
                  <a:pt x="74" y="25"/>
                  <a:pt x="49" y="25"/>
                </a:cubicBezTo>
                <a:cubicBezTo>
                  <a:pt x="25" y="25"/>
                  <a:pt x="25" y="25"/>
                  <a:pt x="0" y="25"/>
                </a:cubicBezTo>
                <a:cubicBezTo>
                  <a:pt x="0" y="50"/>
                  <a:pt x="0" y="100"/>
                  <a:pt x="0"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1" name="Freeform 127">
            <a:extLst>
              <a:ext uri="{FF2B5EF4-FFF2-40B4-BE49-F238E27FC236}">
                <a16:creationId xmlns:a16="http://schemas.microsoft.com/office/drawing/2014/main" id="{49B701F1-2E73-8D4E-8E0C-0B879C660C19}"/>
              </a:ext>
            </a:extLst>
          </p:cNvPr>
          <p:cNvSpPr>
            <a:spLocks noChangeArrowheads="1"/>
          </p:cNvSpPr>
          <p:nvPr/>
        </p:nvSpPr>
        <p:spPr bwMode="auto">
          <a:xfrm>
            <a:off x="6363189" y="3497574"/>
            <a:ext cx="191249" cy="232031"/>
          </a:xfrm>
          <a:custGeom>
            <a:avLst/>
            <a:gdLst>
              <a:gd name="T0" fmla="*/ 575 w 601"/>
              <a:gd name="T1" fmla="*/ 0 h 726"/>
              <a:gd name="T2" fmla="*/ 575 w 601"/>
              <a:gd name="T3" fmla="*/ 0 h 726"/>
              <a:gd name="T4" fmla="*/ 550 w 601"/>
              <a:gd name="T5" fmla="*/ 0 h 726"/>
              <a:gd name="T6" fmla="*/ 500 w 601"/>
              <a:gd name="T7" fmla="*/ 25 h 726"/>
              <a:gd name="T8" fmla="*/ 400 w 601"/>
              <a:gd name="T9" fmla="*/ 25 h 726"/>
              <a:gd name="T10" fmla="*/ 275 w 601"/>
              <a:gd name="T11" fmla="*/ 25 h 726"/>
              <a:gd name="T12" fmla="*/ 275 w 601"/>
              <a:gd name="T13" fmla="*/ 25 h 726"/>
              <a:gd name="T14" fmla="*/ 200 w 601"/>
              <a:gd name="T15" fmla="*/ 50 h 726"/>
              <a:gd name="T16" fmla="*/ 150 w 601"/>
              <a:gd name="T17" fmla="*/ 75 h 726"/>
              <a:gd name="T18" fmla="*/ 75 w 601"/>
              <a:gd name="T19" fmla="*/ 100 h 726"/>
              <a:gd name="T20" fmla="*/ 50 w 601"/>
              <a:gd name="T21" fmla="*/ 150 h 726"/>
              <a:gd name="T22" fmla="*/ 24 w 601"/>
              <a:gd name="T23" fmla="*/ 175 h 726"/>
              <a:gd name="T24" fmla="*/ 0 w 601"/>
              <a:gd name="T25" fmla="*/ 225 h 726"/>
              <a:gd name="T26" fmla="*/ 0 w 601"/>
              <a:gd name="T27" fmla="*/ 225 h 726"/>
              <a:gd name="T28" fmla="*/ 50 w 601"/>
              <a:gd name="T29" fmla="*/ 325 h 726"/>
              <a:gd name="T30" fmla="*/ 124 w 601"/>
              <a:gd name="T31" fmla="*/ 350 h 726"/>
              <a:gd name="T32" fmla="*/ 200 w 601"/>
              <a:gd name="T33" fmla="*/ 375 h 726"/>
              <a:gd name="T34" fmla="*/ 100 w 601"/>
              <a:gd name="T35" fmla="*/ 375 h 726"/>
              <a:gd name="T36" fmla="*/ 124 w 601"/>
              <a:gd name="T37" fmla="*/ 450 h 726"/>
              <a:gd name="T38" fmla="*/ 175 w 601"/>
              <a:gd name="T39" fmla="*/ 525 h 726"/>
              <a:gd name="T40" fmla="*/ 250 w 601"/>
              <a:gd name="T41" fmla="*/ 575 h 726"/>
              <a:gd name="T42" fmla="*/ 250 w 601"/>
              <a:gd name="T43" fmla="*/ 475 h 726"/>
              <a:gd name="T44" fmla="*/ 300 w 601"/>
              <a:gd name="T45" fmla="*/ 475 h 726"/>
              <a:gd name="T46" fmla="*/ 275 w 601"/>
              <a:gd name="T47" fmla="*/ 425 h 726"/>
              <a:gd name="T48" fmla="*/ 300 w 601"/>
              <a:gd name="T49" fmla="*/ 400 h 726"/>
              <a:gd name="T50" fmla="*/ 375 w 601"/>
              <a:gd name="T51" fmla="*/ 400 h 726"/>
              <a:gd name="T52" fmla="*/ 324 w 601"/>
              <a:gd name="T53" fmla="*/ 325 h 726"/>
              <a:gd name="T54" fmla="*/ 250 w 601"/>
              <a:gd name="T55" fmla="*/ 325 h 726"/>
              <a:gd name="T56" fmla="*/ 300 w 601"/>
              <a:gd name="T57" fmla="*/ 275 h 726"/>
              <a:gd name="T58" fmla="*/ 224 w 601"/>
              <a:gd name="T59" fmla="*/ 175 h 726"/>
              <a:gd name="T60" fmla="*/ 250 w 601"/>
              <a:gd name="T61" fmla="*/ 150 h 726"/>
              <a:gd name="T62" fmla="*/ 324 w 601"/>
              <a:gd name="T63" fmla="*/ 150 h 726"/>
              <a:gd name="T64" fmla="*/ 350 w 601"/>
              <a:gd name="T65" fmla="*/ 100 h 726"/>
              <a:gd name="T66" fmla="*/ 400 w 601"/>
              <a:gd name="T67" fmla="*/ 100 h 726"/>
              <a:gd name="T68" fmla="*/ 475 w 601"/>
              <a:gd name="T69" fmla="*/ 75 h 726"/>
              <a:gd name="T70" fmla="*/ 550 w 601"/>
              <a:gd name="T71" fmla="*/ 100 h 726"/>
              <a:gd name="T72" fmla="*/ 575 w 601"/>
              <a:gd name="T73" fmla="*/ 75 h 726"/>
              <a:gd name="T74" fmla="*/ 600 w 601"/>
              <a:gd name="T75" fmla="*/ 25 h 726"/>
              <a:gd name="T76" fmla="*/ 575 w 601"/>
              <a:gd name="T77" fmla="*/ 0 h 726"/>
              <a:gd name="T78" fmla="*/ 500 w 601"/>
              <a:gd name="T79" fmla="*/ 700 h 726"/>
              <a:gd name="T80" fmla="*/ 500 w 601"/>
              <a:gd name="T81" fmla="*/ 700 h 726"/>
              <a:gd name="T82" fmla="*/ 350 w 601"/>
              <a:gd name="T83" fmla="*/ 675 h 726"/>
              <a:gd name="T84" fmla="*/ 300 w 601"/>
              <a:gd name="T85" fmla="*/ 700 h 726"/>
              <a:gd name="T86" fmla="*/ 450 w 601"/>
              <a:gd name="T87" fmla="*/ 725 h 726"/>
              <a:gd name="T88" fmla="*/ 575 w 601"/>
              <a:gd name="T89" fmla="*/ 700 h 726"/>
              <a:gd name="T90" fmla="*/ 500 w 601"/>
              <a:gd name="T91" fmla="*/ 70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1" h="726">
                <a:moveTo>
                  <a:pt x="575" y="0"/>
                </a:moveTo>
                <a:lnTo>
                  <a:pt x="575" y="0"/>
                </a:lnTo>
                <a:lnTo>
                  <a:pt x="550" y="0"/>
                </a:lnTo>
                <a:cubicBezTo>
                  <a:pt x="550" y="25"/>
                  <a:pt x="525" y="25"/>
                  <a:pt x="500" y="25"/>
                </a:cubicBezTo>
                <a:cubicBezTo>
                  <a:pt x="500" y="25"/>
                  <a:pt x="424" y="25"/>
                  <a:pt x="400" y="25"/>
                </a:cubicBezTo>
                <a:cubicBezTo>
                  <a:pt x="400" y="0"/>
                  <a:pt x="324" y="0"/>
                  <a:pt x="275" y="25"/>
                </a:cubicBezTo>
                <a:lnTo>
                  <a:pt x="275" y="25"/>
                </a:lnTo>
                <a:cubicBezTo>
                  <a:pt x="275" y="25"/>
                  <a:pt x="200" y="75"/>
                  <a:pt x="200" y="50"/>
                </a:cubicBezTo>
                <a:cubicBezTo>
                  <a:pt x="175" y="50"/>
                  <a:pt x="175" y="75"/>
                  <a:pt x="150" y="75"/>
                </a:cubicBezTo>
                <a:cubicBezTo>
                  <a:pt x="124" y="100"/>
                  <a:pt x="75" y="75"/>
                  <a:pt x="75" y="100"/>
                </a:cubicBezTo>
                <a:cubicBezTo>
                  <a:pt x="75" y="100"/>
                  <a:pt x="75" y="125"/>
                  <a:pt x="50" y="150"/>
                </a:cubicBezTo>
                <a:cubicBezTo>
                  <a:pt x="24" y="175"/>
                  <a:pt x="50" y="175"/>
                  <a:pt x="24" y="175"/>
                </a:cubicBezTo>
                <a:cubicBezTo>
                  <a:pt x="0" y="175"/>
                  <a:pt x="0" y="200"/>
                  <a:pt x="0" y="225"/>
                </a:cubicBezTo>
                <a:lnTo>
                  <a:pt x="0" y="225"/>
                </a:lnTo>
                <a:cubicBezTo>
                  <a:pt x="24" y="250"/>
                  <a:pt x="50" y="275"/>
                  <a:pt x="50" y="325"/>
                </a:cubicBezTo>
                <a:cubicBezTo>
                  <a:pt x="50" y="350"/>
                  <a:pt x="100" y="375"/>
                  <a:pt x="124" y="350"/>
                </a:cubicBezTo>
                <a:cubicBezTo>
                  <a:pt x="150" y="325"/>
                  <a:pt x="200" y="350"/>
                  <a:pt x="200" y="375"/>
                </a:cubicBezTo>
                <a:cubicBezTo>
                  <a:pt x="200" y="375"/>
                  <a:pt x="150" y="350"/>
                  <a:pt x="100" y="375"/>
                </a:cubicBezTo>
                <a:cubicBezTo>
                  <a:pt x="75" y="400"/>
                  <a:pt x="124" y="425"/>
                  <a:pt x="124" y="450"/>
                </a:cubicBezTo>
                <a:cubicBezTo>
                  <a:pt x="124" y="475"/>
                  <a:pt x="150" y="525"/>
                  <a:pt x="175" y="525"/>
                </a:cubicBezTo>
                <a:cubicBezTo>
                  <a:pt x="200" y="525"/>
                  <a:pt x="250" y="575"/>
                  <a:pt x="250" y="575"/>
                </a:cubicBezTo>
                <a:cubicBezTo>
                  <a:pt x="275" y="550"/>
                  <a:pt x="224" y="475"/>
                  <a:pt x="250" y="475"/>
                </a:cubicBezTo>
                <a:cubicBezTo>
                  <a:pt x="250" y="450"/>
                  <a:pt x="300" y="500"/>
                  <a:pt x="300" y="475"/>
                </a:cubicBezTo>
                <a:cubicBezTo>
                  <a:pt x="324" y="450"/>
                  <a:pt x="300" y="425"/>
                  <a:pt x="275" y="425"/>
                </a:cubicBezTo>
                <a:cubicBezTo>
                  <a:pt x="224" y="425"/>
                  <a:pt x="275" y="400"/>
                  <a:pt x="300" y="400"/>
                </a:cubicBezTo>
                <a:cubicBezTo>
                  <a:pt x="324" y="425"/>
                  <a:pt x="350" y="400"/>
                  <a:pt x="375" y="400"/>
                </a:cubicBezTo>
                <a:cubicBezTo>
                  <a:pt x="375" y="400"/>
                  <a:pt x="400" y="350"/>
                  <a:pt x="324" y="325"/>
                </a:cubicBezTo>
                <a:cubicBezTo>
                  <a:pt x="275" y="325"/>
                  <a:pt x="300" y="375"/>
                  <a:pt x="250" y="325"/>
                </a:cubicBezTo>
                <a:cubicBezTo>
                  <a:pt x="224" y="300"/>
                  <a:pt x="300" y="300"/>
                  <a:pt x="300" y="275"/>
                </a:cubicBezTo>
                <a:cubicBezTo>
                  <a:pt x="300" y="250"/>
                  <a:pt x="250" y="200"/>
                  <a:pt x="224" y="175"/>
                </a:cubicBezTo>
                <a:cubicBezTo>
                  <a:pt x="200" y="150"/>
                  <a:pt x="250" y="125"/>
                  <a:pt x="250" y="150"/>
                </a:cubicBezTo>
                <a:cubicBezTo>
                  <a:pt x="275" y="175"/>
                  <a:pt x="324" y="175"/>
                  <a:pt x="324" y="150"/>
                </a:cubicBezTo>
                <a:cubicBezTo>
                  <a:pt x="350" y="150"/>
                  <a:pt x="300" y="100"/>
                  <a:pt x="350" y="100"/>
                </a:cubicBezTo>
                <a:cubicBezTo>
                  <a:pt x="400" y="75"/>
                  <a:pt x="400" y="100"/>
                  <a:pt x="400" y="100"/>
                </a:cubicBezTo>
                <a:cubicBezTo>
                  <a:pt x="424" y="100"/>
                  <a:pt x="450" y="75"/>
                  <a:pt x="475" y="75"/>
                </a:cubicBezTo>
                <a:cubicBezTo>
                  <a:pt x="500" y="75"/>
                  <a:pt x="525" y="75"/>
                  <a:pt x="550" y="100"/>
                </a:cubicBezTo>
                <a:lnTo>
                  <a:pt x="575" y="75"/>
                </a:lnTo>
                <a:cubicBezTo>
                  <a:pt x="575" y="50"/>
                  <a:pt x="600" y="50"/>
                  <a:pt x="600" y="25"/>
                </a:cubicBezTo>
                <a:cubicBezTo>
                  <a:pt x="600" y="25"/>
                  <a:pt x="600" y="0"/>
                  <a:pt x="575" y="0"/>
                </a:cubicBezTo>
                <a:close/>
                <a:moveTo>
                  <a:pt x="500" y="700"/>
                </a:moveTo>
                <a:lnTo>
                  <a:pt x="500" y="700"/>
                </a:lnTo>
                <a:cubicBezTo>
                  <a:pt x="475" y="675"/>
                  <a:pt x="375" y="700"/>
                  <a:pt x="350" y="675"/>
                </a:cubicBezTo>
                <a:cubicBezTo>
                  <a:pt x="324" y="650"/>
                  <a:pt x="275" y="700"/>
                  <a:pt x="300" y="700"/>
                </a:cubicBezTo>
                <a:cubicBezTo>
                  <a:pt x="324" y="700"/>
                  <a:pt x="375" y="725"/>
                  <a:pt x="450" y="725"/>
                </a:cubicBezTo>
                <a:cubicBezTo>
                  <a:pt x="500" y="725"/>
                  <a:pt x="575" y="700"/>
                  <a:pt x="575" y="700"/>
                </a:cubicBezTo>
                <a:cubicBezTo>
                  <a:pt x="575" y="675"/>
                  <a:pt x="525" y="700"/>
                  <a:pt x="500" y="700"/>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2" name="Freeform 128">
            <a:extLst>
              <a:ext uri="{FF2B5EF4-FFF2-40B4-BE49-F238E27FC236}">
                <a16:creationId xmlns:a16="http://schemas.microsoft.com/office/drawing/2014/main" id="{23CC4FA5-85B4-F34C-9565-F0131EEC6E36}"/>
              </a:ext>
            </a:extLst>
          </p:cNvPr>
          <p:cNvSpPr>
            <a:spLocks noChangeArrowheads="1"/>
          </p:cNvSpPr>
          <p:nvPr/>
        </p:nvSpPr>
        <p:spPr bwMode="auto">
          <a:xfrm>
            <a:off x="6714748" y="3697259"/>
            <a:ext cx="80155" cy="47812"/>
          </a:xfrm>
          <a:custGeom>
            <a:avLst/>
            <a:gdLst>
              <a:gd name="T0" fmla="*/ 175 w 251"/>
              <a:gd name="T1" fmla="*/ 100 h 151"/>
              <a:gd name="T2" fmla="*/ 175 w 251"/>
              <a:gd name="T3" fmla="*/ 100 h 151"/>
              <a:gd name="T4" fmla="*/ 225 w 251"/>
              <a:gd name="T5" fmla="*/ 50 h 151"/>
              <a:gd name="T6" fmla="*/ 225 w 251"/>
              <a:gd name="T7" fmla="*/ 25 h 151"/>
              <a:gd name="T8" fmla="*/ 75 w 251"/>
              <a:gd name="T9" fmla="*/ 75 h 151"/>
              <a:gd name="T10" fmla="*/ 50 w 251"/>
              <a:gd name="T11" fmla="*/ 125 h 151"/>
              <a:gd name="T12" fmla="*/ 175 w 251"/>
              <a:gd name="T13" fmla="*/ 100 h 151"/>
            </a:gdLst>
            <a:ahLst/>
            <a:cxnLst>
              <a:cxn ang="0">
                <a:pos x="T0" y="T1"/>
              </a:cxn>
              <a:cxn ang="0">
                <a:pos x="T2" y="T3"/>
              </a:cxn>
              <a:cxn ang="0">
                <a:pos x="T4" y="T5"/>
              </a:cxn>
              <a:cxn ang="0">
                <a:pos x="T6" y="T7"/>
              </a:cxn>
              <a:cxn ang="0">
                <a:pos x="T8" y="T9"/>
              </a:cxn>
              <a:cxn ang="0">
                <a:pos x="T10" y="T11"/>
              </a:cxn>
              <a:cxn ang="0">
                <a:pos x="T12" y="T13"/>
              </a:cxn>
            </a:cxnLst>
            <a:rect l="0" t="0" r="r" b="b"/>
            <a:pathLst>
              <a:path w="251" h="151">
                <a:moveTo>
                  <a:pt x="175" y="100"/>
                </a:moveTo>
                <a:lnTo>
                  <a:pt x="175" y="100"/>
                </a:lnTo>
                <a:cubicBezTo>
                  <a:pt x="175" y="100"/>
                  <a:pt x="200" y="50"/>
                  <a:pt x="225" y="50"/>
                </a:cubicBezTo>
                <a:cubicBezTo>
                  <a:pt x="250" y="25"/>
                  <a:pt x="250" y="0"/>
                  <a:pt x="225" y="25"/>
                </a:cubicBezTo>
                <a:cubicBezTo>
                  <a:pt x="200" y="50"/>
                  <a:pt x="150" y="75"/>
                  <a:pt x="75" y="75"/>
                </a:cubicBezTo>
                <a:cubicBezTo>
                  <a:pt x="25" y="75"/>
                  <a:pt x="0" y="100"/>
                  <a:pt x="50" y="125"/>
                </a:cubicBezTo>
                <a:cubicBezTo>
                  <a:pt x="100" y="150"/>
                  <a:pt x="175" y="125"/>
                  <a:pt x="175"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3" name="Freeform 129">
            <a:extLst>
              <a:ext uri="{FF2B5EF4-FFF2-40B4-BE49-F238E27FC236}">
                <a16:creationId xmlns:a16="http://schemas.microsoft.com/office/drawing/2014/main" id="{5C343341-3FA8-6945-BBFF-0E91F1CBE964}"/>
              </a:ext>
            </a:extLst>
          </p:cNvPr>
          <p:cNvSpPr>
            <a:spLocks noChangeArrowheads="1"/>
          </p:cNvSpPr>
          <p:nvPr/>
        </p:nvSpPr>
        <p:spPr bwMode="auto">
          <a:xfrm>
            <a:off x="5039916" y="2444299"/>
            <a:ext cx="319217" cy="167343"/>
          </a:xfrm>
          <a:custGeom>
            <a:avLst/>
            <a:gdLst>
              <a:gd name="T0" fmla="*/ 850 w 1001"/>
              <a:gd name="T1" fmla="*/ 374 h 526"/>
              <a:gd name="T2" fmla="*/ 850 w 1001"/>
              <a:gd name="T3" fmla="*/ 374 h 526"/>
              <a:gd name="T4" fmla="*/ 925 w 1001"/>
              <a:gd name="T5" fmla="*/ 300 h 526"/>
              <a:gd name="T6" fmla="*/ 1000 w 1001"/>
              <a:gd name="T7" fmla="*/ 249 h 526"/>
              <a:gd name="T8" fmla="*/ 950 w 1001"/>
              <a:gd name="T9" fmla="*/ 174 h 526"/>
              <a:gd name="T10" fmla="*/ 900 w 1001"/>
              <a:gd name="T11" fmla="*/ 125 h 526"/>
              <a:gd name="T12" fmla="*/ 875 w 1001"/>
              <a:gd name="T13" fmla="*/ 49 h 526"/>
              <a:gd name="T14" fmla="*/ 825 w 1001"/>
              <a:gd name="T15" fmla="*/ 74 h 526"/>
              <a:gd name="T16" fmla="*/ 725 w 1001"/>
              <a:gd name="T17" fmla="*/ 25 h 526"/>
              <a:gd name="T18" fmla="*/ 725 w 1001"/>
              <a:gd name="T19" fmla="*/ 74 h 526"/>
              <a:gd name="T20" fmla="*/ 650 w 1001"/>
              <a:gd name="T21" fmla="*/ 74 h 526"/>
              <a:gd name="T22" fmla="*/ 625 w 1001"/>
              <a:gd name="T23" fmla="*/ 74 h 526"/>
              <a:gd name="T24" fmla="*/ 575 w 1001"/>
              <a:gd name="T25" fmla="*/ 100 h 526"/>
              <a:gd name="T26" fmla="*/ 525 w 1001"/>
              <a:gd name="T27" fmla="*/ 74 h 526"/>
              <a:gd name="T28" fmla="*/ 450 w 1001"/>
              <a:gd name="T29" fmla="*/ 125 h 526"/>
              <a:gd name="T30" fmla="*/ 425 w 1001"/>
              <a:gd name="T31" fmla="*/ 100 h 526"/>
              <a:gd name="T32" fmla="*/ 375 w 1001"/>
              <a:gd name="T33" fmla="*/ 125 h 526"/>
              <a:gd name="T34" fmla="*/ 375 w 1001"/>
              <a:gd name="T35" fmla="*/ 174 h 526"/>
              <a:gd name="T36" fmla="*/ 300 w 1001"/>
              <a:gd name="T37" fmla="*/ 200 h 526"/>
              <a:gd name="T38" fmla="*/ 275 w 1001"/>
              <a:gd name="T39" fmla="*/ 125 h 526"/>
              <a:gd name="T40" fmla="*/ 125 w 1001"/>
              <a:gd name="T41" fmla="*/ 25 h 526"/>
              <a:gd name="T42" fmla="*/ 150 w 1001"/>
              <a:gd name="T43" fmla="*/ 74 h 526"/>
              <a:gd name="T44" fmla="*/ 125 w 1001"/>
              <a:gd name="T45" fmla="*/ 74 h 526"/>
              <a:gd name="T46" fmla="*/ 50 w 1001"/>
              <a:gd name="T47" fmla="*/ 100 h 526"/>
              <a:gd name="T48" fmla="*/ 0 w 1001"/>
              <a:gd name="T49" fmla="*/ 174 h 526"/>
              <a:gd name="T50" fmla="*/ 100 w 1001"/>
              <a:gd name="T51" fmla="*/ 200 h 526"/>
              <a:gd name="T52" fmla="*/ 200 w 1001"/>
              <a:gd name="T53" fmla="*/ 200 h 526"/>
              <a:gd name="T54" fmla="*/ 200 w 1001"/>
              <a:gd name="T55" fmla="*/ 225 h 526"/>
              <a:gd name="T56" fmla="*/ 150 w 1001"/>
              <a:gd name="T57" fmla="*/ 249 h 526"/>
              <a:gd name="T58" fmla="*/ 25 w 1001"/>
              <a:gd name="T59" fmla="*/ 300 h 526"/>
              <a:gd name="T60" fmla="*/ 174 w 1001"/>
              <a:gd name="T61" fmla="*/ 300 h 526"/>
              <a:gd name="T62" fmla="*/ 200 w 1001"/>
              <a:gd name="T63" fmla="*/ 325 h 526"/>
              <a:gd name="T64" fmla="*/ 225 w 1001"/>
              <a:gd name="T65" fmla="*/ 349 h 526"/>
              <a:gd name="T66" fmla="*/ 200 w 1001"/>
              <a:gd name="T67" fmla="*/ 400 h 526"/>
              <a:gd name="T68" fmla="*/ 150 w 1001"/>
              <a:gd name="T69" fmla="*/ 425 h 526"/>
              <a:gd name="T70" fmla="*/ 275 w 1001"/>
              <a:gd name="T71" fmla="*/ 425 h 526"/>
              <a:gd name="T72" fmla="*/ 450 w 1001"/>
              <a:gd name="T73" fmla="*/ 500 h 526"/>
              <a:gd name="T74" fmla="*/ 599 w 1001"/>
              <a:gd name="T75" fmla="*/ 449 h 526"/>
              <a:gd name="T76" fmla="*/ 725 w 1001"/>
              <a:gd name="T77" fmla="*/ 425 h 526"/>
              <a:gd name="T78" fmla="*/ 850 w 1001"/>
              <a:gd name="T79" fmla="*/ 37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1" h="526">
                <a:moveTo>
                  <a:pt x="850" y="374"/>
                </a:moveTo>
                <a:lnTo>
                  <a:pt x="850" y="374"/>
                </a:lnTo>
                <a:cubicBezTo>
                  <a:pt x="900" y="374"/>
                  <a:pt x="900" y="300"/>
                  <a:pt x="925" y="300"/>
                </a:cubicBezTo>
                <a:cubicBezTo>
                  <a:pt x="950" y="325"/>
                  <a:pt x="975" y="274"/>
                  <a:pt x="1000" y="249"/>
                </a:cubicBezTo>
                <a:cubicBezTo>
                  <a:pt x="1000" y="225"/>
                  <a:pt x="975" y="174"/>
                  <a:pt x="950" y="174"/>
                </a:cubicBezTo>
                <a:cubicBezTo>
                  <a:pt x="925" y="174"/>
                  <a:pt x="900" y="149"/>
                  <a:pt x="900" y="125"/>
                </a:cubicBezTo>
                <a:cubicBezTo>
                  <a:pt x="900" y="100"/>
                  <a:pt x="875" y="74"/>
                  <a:pt x="875" y="49"/>
                </a:cubicBezTo>
                <a:cubicBezTo>
                  <a:pt x="875" y="49"/>
                  <a:pt x="850" y="49"/>
                  <a:pt x="825" y="74"/>
                </a:cubicBezTo>
                <a:cubicBezTo>
                  <a:pt x="799" y="74"/>
                  <a:pt x="750" y="0"/>
                  <a:pt x="725" y="25"/>
                </a:cubicBezTo>
                <a:cubicBezTo>
                  <a:pt x="700" y="25"/>
                  <a:pt x="725" y="49"/>
                  <a:pt x="725" y="74"/>
                </a:cubicBezTo>
                <a:cubicBezTo>
                  <a:pt x="700" y="100"/>
                  <a:pt x="650" y="74"/>
                  <a:pt x="650" y="74"/>
                </a:cubicBezTo>
                <a:cubicBezTo>
                  <a:pt x="650" y="100"/>
                  <a:pt x="650" y="100"/>
                  <a:pt x="625" y="74"/>
                </a:cubicBezTo>
                <a:cubicBezTo>
                  <a:pt x="599" y="74"/>
                  <a:pt x="575" y="74"/>
                  <a:pt x="575" y="100"/>
                </a:cubicBezTo>
                <a:cubicBezTo>
                  <a:pt x="575" y="100"/>
                  <a:pt x="550" y="100"/>
                  <a:pt x="525" y="74"/>
                </a:cubicBezTo>
                <a:cubicBezTo>
                  <a:pt x="500" y="49"/>
                  <a:pt x="450" y="100"/>
                  <a:pt x="450" y="125"/>
                </a:cubicBezTo>
                <a:cubicBezTo>
                  <a:pt x="450" y="149"/>
                  <a:pt x="450" y="149"/>
                  <a:pt x="425" y="100"/>
                </a:cubicBezTo>
                <a:cubicBezTo>
                  <a:pt x="400" y="49"/>
                  <a:pt x="375" y="100"/>
                  <a:pt x="375" y="125"/>
                </a:cubicBezTo>
                <a:cubicBezTo>
                  <a:pt x="400" y="149"/>
                  <a:pt x="375" y="174"/>
                  <a:pt x="375" y="174"/>
                </a:cubicBezTo>
                <a:cubicBezTo>
                  <a:pt x="350" y="149"/>
                  <a:pt x="325" y="174"/>
                  <a:pt x="300" y="200"/>
                </a:cubicBezTo>
                <a:cubicBezTo>
                  <a:pt x="300" y="225"/>
                  <a:pt x="250" y="149"/>
                  <a:pt x="275" y="125"/>
                </a:cubicBezTo>
                <a:cubicBezTo>
                  <a:pt x="300" y="100"/>
                  <a:pt x="174" y="25"/>
                  <a:pt x="125" y="25"/>
                </a:cubicBezTo>
                <a:cubicBezTo>
                  <a:pt x="100" y="25"/>
                  <a:pt x="125" y="49"/>
                  <a:pt x="150" y="74"/>
                </a:cubicBezTo>
                <a:cubicBezTo>
                  <a:pt x="174" y="100"/>
                  <a:pt x="125" y="100"/>
                  <a:pt x="125" y="74"/>
                </a:cubicBezTo>
                <a:cubicBezTo>
                  <a:pt x="100" y="49"/>
                  <a:pt x="74" y="74"/>
                  <a:pt x="50" y="100"/>
                </a:cubicBezTo>
                <a:cubicBezTo>
                  <a:pt x="25" y="125"/>
                  <a:pt x="0" y="149"/>
                  <a:pt x="0" y="174"/>
                </a:cubicBezTo>
                <a:cubicBezTo>
                  <a:pt x="0" y="174"/>
                  <a:pt x="50" y="200"/>
                  <a:pt x="100" y="200"/>
                </a:cubicBezTo>
                <a:cubicBezTo>
                  <a:pt x="150" y="174"/>
                  <a:pt x="200" y="174"/>
                  <a:pt x="200" y="200"/>
                </a:cubicBezTo>
                <a:cubicBezTo>
                  <a:pt x="225" y="200"/>
                  <a:pt x="174" y="225"/>
                  <a:pt x="200" y="225"/>
                </a:cubicBezTo>
                <a:cubicBezTo>
                  <a:pt x="225" y="249"/>
                  <a:pt x="200" y="274"/>
                  <a:pt x="150" y="249"/>
                </a:cubicBezTo>
                <a:cubicBezTo>
                  <a:pt x="100" y="249"/>
                  <a:pt x="25" y="274"/>
                  <a:pt x="25" y="300"/>
                </a:cubicBezTo>
                <a:cubicBezTo>
                  <a:pt x="50" y="300"/>
                  <a:pt x="174" y="274"/>
                  <a:pt x="174" y="300"/>
                </a:cubicBezTo>
                <a:cubicBezTo>
                  <a:pt x="174" y="300"/>
                  <a:pt x="174" y="349"/>
                  <a:pt x="200" y="325"/>
                </a:cubicBezTo>
                <a:cubicBezTo>
                  <a:pt x="250" y="325"/>
                  <a:pt x="225" y="349"/>
                  <a:pt x="225" y="349"/>
                </a:cubicBezTo>
                <a:cubicBezTo>
                  <a:pt x="250" y="374"/>
                  <a:pt x="250" y="400"/>
                  <a:pt x="200" y="400"/>
                </a:cubicBezTo>
                <a:cubicBezTo>
                  <a:pt x="150" y="400"/>
                  <a:pt x="125" y="425"/>
                  <a:pt x="150" y="425"/>
                </a:cubicBezTo>
                <a:cubicBezTo>
                  <a:pt x="174" y="449"/>
                  <a:pt x="225" y="449"/>
                  <a:pt x="275" y="425"/>
                </a:cubicBezTo>
                <a:cubicBezTo>
                  <a:pt x="325" y="425"/>
                  <a:pt x="400" y="474"/>
                  <a:pt x="450" y="500"/>
                </a:cubicBezTo>
                <a:cubicBezTo>
                  <a:pt x="500" y="525"/>
                  <a:pt x="599" y="500"/>
                  <a:pt x="599" y="449"/>
                </a:cubicBezTo>
                <a:cubicBezTo>
                  <a:pt x="625" y="425"/>
                  <a:pt x="700" y="449"/>
                  <a:pt x="725" y="425"/>
                </a:cubicBezTo>
                <a:cubicBezTo>
                  <a:pt x="750" y="400"/>
                  <a:pt x="799" y="374"/>
                  <a:pt x="850" y="3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4" name="Freeform 130">
            <a:extLst>
              <a:ext uri="{FF2B5EF4-FFF2-40B4-BE49-F238E27FC236}">
                <a16:creationId xmlns:a16="http://schemas.microsoft.com/office/drawing/2014/main" id="{E5016B91-79AE-5743-8B93-03F5DA36D54D}"/>
              </a:ext>
            </a:extLst>
          </p:cNvPr>
          <p:cNvSpPr>
            <a:spLocks noChangeArrowheads="1"/>
          </p:cNvSpPr>
          <p:nvPr/>
        </p:nvSpPr>
        <p:spPr bwMode="auto">
          <a:xfrm>
            <a:off x="5454756" y="2971637"/>
            <a:ext cx="136405" cy="151875"/>
          </a:xfrm>
          <a:custGeom>
            <a:avLst/>
            <a:gdLst>
              <a:gd name="T0" fmla="*/ 375 w 426"/>
              <a:gd name="T1" fmla="*/ 150 h 476"/>
              <a:gd name="T2" fmla="*/ 375 w 426"/>
              <a:gd name="T3" fmla="*/ 150 h 476"/>
              <a:gd name="T4" fmla="*/ 350 w 426"/>
              <a:gd name="T5" fmla="*/ 124 h 476"/>
              <a:gd name="T6" fmla="*/ 300 w 426"/>
              <a:gd name="T7" fmla="*/ 150 h 476"/>
              <a:gd name="T8" fmla="*/ 225 w 426"/>
              <a:gd name="T9" fmla="*/ 124 h 476"/>
              <a:gd name="T10" fmla="*/ 250 w 426"/>
              <a:gd name="T11" fmla="*/ 75 h 476"/>
              <a:gd name="T12" fmla="*/ 275 w 426"/>
              <a:gd name="T13" fmla="*/ 24 h 476"/>
              <a:gd name="T14" fmla="*/ 275 w 426"/>
              <a:gd name="T15" fmla="*/ 24 h 476"/>
              <a:gd name="T16" fmla="*/ 175 w 426"/>
              <a:gd name="T17" fmla="*/ 50 h 476"/>
              <a:gd name="T18" fmla="*/ 225 w 426"/>
              <a:gd name="T19" fmla="*/ 75 h 476"/>
              <a:gd name="T20" fmla="*/ 150 w 426"/>
              <a:gd name="T21" fmla="*/ 124 h 476"/>
              <a:gd name="T22" fmla="*/ 50 w 426"/>
              <a:gd name="T23" fmla="*/ 124 h 476"/>
              <a:gd name="T24" fmla="*/ 50 w 426"/>
              <a:gd name="T25" fmla="*/ 200 h 476"/>
              <a:gd name="T26" fmla="*/ 100 w 426"/>
              <a:gd name="T27" fmla="*/ 250 h 476"/>
              <a:gd name="T28" fmla="*/ 75 w 426"/>
              <a:gd name="T29" fmla="*/ 350 h 476"/>
              <a:gd name="T30" fmla="*/ 0 w 426"/>
              <a:gd name="T31" fmla="*/ 400 h 476"/>
              <a:gd name="T32" fmla="*/ 100 w 426"/>
              <a:gd name="T33" fmla="*/ 475 h 476"/>
              <a:gd name="T34" fmla="*/ 275 w 426"/>
              <a:gd name="T35" fmla="*/ 400 h 476"/>
              <a:gd name="T36" fmla="*/ 375 w 426"/>
              <a:gd name="T37" fmla="*/ 375 h 476"/>
              <a:gd name="T38" fmla="*/ 375 w 426"/>
              <a:gd name="T39" fmla="*/ 175 h 476"/>
              <a:gd name="T40" fmla="*/ 375 w 426"/>
              <a:gd name="T41" fmla="*/ 15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 h="476">
                <a:moveTo>
                  <a:pt x="375" y="150"/>
                </a:moveTo>
                <a:lnTo>
                  <a:pt x="375" y="150"/>
                </a:lnTo>
                <a:lnTo>
                  <a:pt x="350" y="124"/>
                </a:lnTo>
                <a:cubicBezTo>
                  <a:pt x="300" y="75"/>
                  <a:pt x="300" y="124"/>
                  <a:pt x="300" y="150"/>
                </a:cubicBezTo>
                <a:cubicBezTo>
                  <a:pt x="300" y="175"/>
                  <a:pt x="250" y="124"/>
                  <a:pt x="225" y="124"/>
                </a:cubicBezTo>
                <a:lnTo>
                  <a:pt x="250" y="75"/>
                </a:lnTo>
                <a:cubicBezTo>
                  <a:pt x="275" y="75"/>
                  <a:pt x="275" y="50"/>
                  <a:pt x="275" y="24"/>
                </a:cubicBezTo>
                <a:lnTo>
                  <a:pt x="275" y="24"/>
                </a:lnTo>
                <a:cubicBezTo>
                  <a:pt x="225" y="0"/>
                  <a:pt x="175" y="0"/>
                  <a:pt x="175" y="50"/>
                </a:cubicBezTo>
                <a:cubicBezTo>
                  <a:pt x="175" y="75"/>
                  <a:pt x="225" y="50"/>
                  <a:pt x="225" y="75"/>
                </a:cubicBezTo>
                <a:cubicBezTo>
                  <a:pt x="225" y="100"/>
                  <a:pt x="175" y="100"/>
                  <a:pt x="150" y="124"/>
                </a:cubicBezTo>
                <a:cubicBezTo>
                  <a:pt x="100" y="150"/>
                  <a:pt x="75" y="100"/>
                  <a:pt x="50" y="124"/>
                </a:cubicBezTo>
                <a:cubicBezTo>
                  <a:pt x="0" y="150"/>
                  <a:pt x="75" y="150"/>
                  <a:pt x="50" y="200"/>
                </a:cubicBezTo>
                <a:cubicBezTo>
                  <a:pt x="25" y="224"/>
                  <a:pt x="50" y="224"/>
                  <a:pt x="100" y="250"/>
                </a:cubicBezTo>
                <a:cubicBezTo>
                  <a:pt x="150" y="300"/>
                  <a:pt x="75" y="300"/>
                  <a:pt x="75" y="350"/>
                </a:cubicBezTo>
                <a:cubicBezTo>
                  <a:pt x="75" y="375"/>
                  <a:pt x="25" y="375"/>
                  <a:pt x="0" y="400"/>
                </a:cubicBezTo>
                <a:cubicBezTo>
                  <a:pt x="0" y="424"/>
                  <a:pt x="50" y="475"/>
                  <a:pt x="100" y="475"/>
                </a:cubicBezTo>
                <a:cubicBezTo>
                  <a:pt x="125" y="475"/>
                  <a:pt x="225" y="450"/>
                  <a:pt x="275" y="400"/>
                </a:cubicBezTo>
                <a:cubicBezTo>
                  <a:pt x="300" y="375"/>
                  <a:pt x="325" y="400"/>
                  <a:pt x="375" y="375"/>
                </a:cubicBezTo>
                <a:cubicBezTo>
                  <a:pt x="425" y="375"/>
                  <a:pt x="400" y="200"/>
                  <a:pt x="375" y="175"/>
                </a:cubicBezTo>
                <a:cubicBezTo>
                  <a:pt x="375" y="150"/>
                  <a:pt x="375" y="150"/>
                  <a:pt x="37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5" name="Freeform 131">
            <a:extLst>
              <a:ext uri="{FF2B5EF4-FFF2-40B4-BE49-F238E27FC236}">
                <a16:creationId xmlns:a16="http://schemas.microsoft.com/office/drawing/2014/main" id="{BA01EB55-FB0F-684D-88B4-148C3460AD01}"/>
              </a:ext>
            </a:extLst>
          </p:cNvPr>
          <p:cNvSpPr>
            <a:spLocks noChangeArrowheads="1"/>
          </p:cNvSpPr>
          <p:nvPr/>
        </p:nvSpPr>
        <p:spPr bwMode="auto">
          <a:xfrm>
            <a:off x="5526474" y="2724140"/>
            <a:ext cx="295311" cy="462653"/>
          </a:xfrm>
          <a:custGeom>
            <a:avLst/>
            <a:gdLst>
              <a:gd name="T0" fmla="*/ 175 w 926"/>
              <a:gd name="T1" fmla="*/ 776 h 1452"/>
              <a:gd name="T2" fmla="*/ 25 w 926"/>
              <a:gd name="T3" fmla="*/ 851 h 1452"/>
              <a:gd name="T4" fmla="*/ 75 w 926"/>
              <a:gd name="T5" fmla="*/ 926 h 1452"/>
              <a:gd name="T6" fmla="*/ 150 w 926"/>
              <a:gd name="T7" fmla="*/ 926 h 1452"/>
              <a:gd name="T8" fmla="*/ 175 w 926"/>
              <a:gd name="T9" fmla="*/ 776 h 1452"/>
              <a:gd name="T10" fmla="*/ 925 w 926"/>
              <a:gd name="T11" fmla="*/ 1126 h 1452"/>
              <a:gd name="T12" fmla="*/ 800 w 926"/>
              <a:gd name="T13" fmla="*/ 1076 h 1452"/>
              <a:gd name="T14" fmla="*/ 750 w 926"/>
              <a:gd name="T15" fmla="*/ 976 h 1452"/>
              <a:gd name="T16" fmla="*/ 625 w 926"/>
              <a:gd name="T17" fmla="*/ 751 h 1452"/>
              <a:gd name="T18" fmla="*/ 476 w 926"/>
              <a:gd name="T19" fmla="*/ 676 h 1452"/>
              <a:gd name="T20" fmla="*/ 575 w 926"/>
              <a:gd name="T21" fmla="*/ 451 h 1452"/>
              <a:gd name="T22" fmla="*/ 375 w 926"/>
              <a:gd name="T23" fmla="*/ 426 h 1452"/>
              <a:gd name="T24" fmla="*/ 450 w 926"/>
              <a:gd name="T25" fmla="*/ 276 h 1452"/>
              <a:gd name="T26" fmla="*/ 325 w 926"/>
              <a:gd name="T27" fmla="*/ 326 h 1452"/>
              <a:gd name="T28" fmla="*/ 225 w 926"/>
              <a:gd name="T29" fmla="*/ 451 h 1452"/>
              <a:gd name="T30" fmla="*/ 125 w 926"/>
              <a:gd name="T31" fmla="*/ 476 h 1452"/>
              <a:gd name="T32" fmla="*/ 175 w 926"/>
              <a:gd name="T33" fmla="*/ 600 h 1452"/>
              <a:gd name="T34" fmla="*/ 150 w 926"/>
              <a:gd name="T35" fmla="*/ 700 h 1452"/>
              <a:gd name="T36" fmla="*/ 250 w 926"/>
              <a:gd name="T37" fmla="*/ 726 h 1452"/>
              <a:gd name="T38" fmla="*/ 300 w 926"/>
              <a:gd name="T39" fmla="*/ 726 h 1452"/>
              <a:gd name="T40" fmla="*/ 400 w 926"/>
              <a:gd name="T41" fmla="*/ 800 h 1452"/>
              <a:gd name="T42" fmla="*/ 450 w 926"/>
              <a:gd name="T43" fmla="*/ 900 h 1452"/>
              <a:gd name="T44" fmla="*/ 476 w 926"/>
              <a:gd name="T45" fmla="*/ 1026 h 1452"/>
              <a:gd name="T46" fmla="*/ 350 w 926"/>
              <a:gd name="T47" fmla="*/ 1026 h 1452"/>
              <a:gd name="T48" fmla="*/ 375 w 926"/>
              <a:gd name="T49" fmla="*/ 1126 h 1452"/>
              <a:gd name="T50" fmla="*/ 325 w 926"/>
              <a:gd name="T51" fmla="*/ 1226 h 1452"/>
              <a:gd name="T52" fmla="*/ 476 w 926"/>
              <a:gd name="T53" fmla="*/ 1251 h 1452"/>
              <a:gd name="T54" fmla="*/ 375 w 926"/>
              <a:gd name="T55" fmla="*/ 1301 h 1452"/>
              <a:gd name="T56" fmla="*/ 325 w 926"/>
              <a:gd name="T57" fmla="*/ 1401 h 1452"/>
              <a:gd name="T58" fmla="*/ 425 w 926"/>
              <a:gd name="T59" fmla="*/ 1376 h 1452"/>
              <a:gd name="T60" fmla="*/ 575 w 926"/>
              <a:gd name="T61" fmla="*/ 1351 h 1452"/>
              <a:gd name="T62" fmla="*/ 750 w 926"/>
              <a:gd name="T63" fmla="*/ 1351 h 1452"/>
              <a:gd name="T64" fmla="*/ 850 w 926"/>
              <a:gd name="T65" fmla="*/ 1276 h 1452"/>
              <a:gd name="T66" fmla="*/ 925 w 926"/>
              <a:gd name="T67" fmla="*/ 1126 h 1452"/>
              <a:gd name="T68" fmla="*/ 100 w 926"/>
              <a:gd name="T69" fmla="*/ 426 h 1452"/>
              <a:gd name="T70" fmla="*/ 100 w 926"/>
              <a:gd name="T71" fmla="*/ 426 h 1452"/>
              <a:gd name="T72" fmla="*/ 625 w 926"/>
              <a:gd name="T73" fmla="*/ 125 h 1452"/>
              <a:gd name="T74" fmla="*/ 625 w 926"/>
              <a:gd name="T75" fmla="*/ 12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6" h="1452">
                <a:moveTo>
                  <a:pt x="175" y="776"/>
                </a:moveTo>
                <a:lnTo>
                  <a:pt x="175" y="776"/>
                </a:lnTo>
                <a:cubicBezTo>
                  <a:pt x="150" y="751"/>
                  <a:pt x="100" y="800"/>
                  <a:pt x="50" y="800"/>
                </a:cubicBezTo>
                <a:cubicBezTo>
                  <a:pt x="50" y="826"/>
                  <a:pt x="50" y="851"/>
                  <a:pt x="25" y="851"/>
                </a:cubicBezTo>
                <a:lnTo>
                  <a:pt x="0" y="900"/>
                </a:lnTo>
                <a:cubicBezTo>
                  <a:pt x="25" y="900"/>
                  <a:pt x="75" y="951"/>
                  <a:pt x="75" y="926"/>
                </a:cubicBezTo>
                <a:cubicBezTo>
                  <a:pt x="75" y="900"/>
                  <a:pt x="75" y="851"/>
                  <a:pt x="125" y="900"/>
                </a:cubicBezTo>
                <a:lnTo>
                  <a:pt x="150" y="926"/>
                </a:lnTo>
                <a:cubicBezTo>
                  <a:pt x="150" y="900"/>
                  <a:pt x="200" y="900"/>
                  <a:pt x="225" y="876"/>
                </a:cubicBezTo>
                <a:cubicBezTo>
                  <a:pt x="250" y="851"/>
                  <a:pt x="200" y="826"/>
                  <a:pt x="175" y="776"/>
                </a:cubicBezTo>
                <a:close/>
                <a:moveTo>
                  <a:pt x="925" y="1126"/>
                </a:moveTo>
                <a:lnTo>
                  <a:pt x="925" y="1126"/>
                </a:lnTo>
                <a:cubicBezTo>
                  <a:pt x="925" y="1076"/>
                  <a:pt x="850" y="1051"/>
                  <a:pt x="825" y="1076"/>
                </a:cubicBezTo>
                <a:cubicBezTo>
                  <a:pt x="825" y="1100"/>
                  <a:pt x="800" y="1100"/>
                  <a:pt x="800" y="1076"/>
                </a:cubicBezTo>
                <a:cubicBezTo>
                  <a:pt x="775" y="1051"/>
                  <a:pt x="800" y="1026"/>
                  <a:pt x="775" y="1026"/>
                </a:cubicBezTo>
                <a:lnTo>
                  <a:pt x="750" y="976"/>
                </a:lnTo>
                <a:cubicBezTo>
                  <a:pt x="750" y="951"/>
                  <a:pt x="725" y="876"/>
                  <a:pt x="676" y="851"/>
                </a:cubicBezTo>
                <a:cubicBezTo>
                  <a:pt x="650" y="851"/>
                  <a:pt x="625" y="776"/>
                  <a:pt x="625" y="751"/>
                </a:cubicBezTo>
                <a:cubicBezTo>
                  <a:pt x="625" y="700"/>
                  <a:pt x="575" y="726"/>
                  <a:pt x="550" y="700"/>
                </a:cubicBezTo>
                <a:cubicBezTo>
                  <a:pt x="525" y="651"/>
                  <a:pt x="500" y="676"/>
                  <a:pt x="476" y="676"/>
                </a:cubicBezTo>
                <a:cubicBezTo>
                  <a:pt x="450" y="676"/>
                  <a:pt x="476" y="651"/>
                  <a:pt x="500" y="626"/>
                </a:cubicBezTo>
                <a:cubicBezTo>
                  <a:pt x="550" y="600"/>
                  <a:pt x="575" y="476"/>
                  <a:pt x="575" y="451"/>
                </a:cubicBezTo>
                <a:cubicBezTo>
                  <a:pt x="575" y="426"/>
                  <a:pt x="425" y="426"/>
                  <a:pt x="400" y="451"/>
                </a:cubicBezTo>
                <a:cubicBezTo>
                  <a:pt x="375" y="451"/>
                  <a:pt x="350" y="426"/>
                  <a:pt x="375" y="426"/>
                </a:cubicBezTo>
                <a:cubicBezTo>
                  <a:pt x="400" y="400"/>
                  <a:pt x="450" y="351"/>
                  <a:pt x="450" y="326"/>
                </a:cubicBezTo>
                <a:cubicBezTo>
                  <a:pt x="450" y="326"/>
                  <a:pt x="476" y="300"/>
                  <a:pt x="450" y="276"/>
                </a:cubicBezTo>
                <a:cubicBezTo>
                  <a:pt x="450" y="251"/>
                  <a:pt x="425" y="300"/>
                  <a:pt x="425" y="326"/>
                </a:cubicBezTo>
                <a:cubicBezTo>
                  <a:pt x="400" y="326"/>
                  <a:pt x="350" y="326"/>
                  <a:pt x="325" y="326"/>
                </a:cubicBezTo>
                <a:cubicBezTo>
                  <a:pt x="275" y="300"/>
                  <a:pt x="250" y="376"/>
                  <a:pt x="250" y="400"/>
                </a:cubicBezTo>
                <a:cubicBezTo>
                  <a:pt x="250" y="426"/>
                  <a:pt x="200" y="451"/>
                  <a:pt x="225" y="451"/>
                </a:cubicBezTo>
                <a:cubicBezTo>
                  <a:pt x="225" y="476"/>
                  <a:pt x="200" y="500"/>
                  <a:pt x="200" y="500"/>
                </a:cubicBezTo>
                <a:cubicBezTo>
                  <a:pt x="175" y="476"/>
                  <a:pt x="175" y="451"/>
                  <a:pt x="125" y="476"/>
                </a:cubicBezTo>
                <a:cubicBezTo>
                  <a:pt x="100" y="500"/>
                  <a:pt x="175" y="526"/>
                  <a:pt x="200" y="526"/>
                </a:cubicBezTo>
                <a:cubicBezTo>
                  <a:pt x="250" y="526"/>
                  <a:pt x="175" y="551"/>
                  <a:pt x="175" y="600"/>
                </a:cubicBezTo>
                <a:cubicBezTo>
                  <a:pt x="175" y="626"/>
                  <a:pt x="225" y="626"/>
                  <a:pt x="225" y="651"/>
                </a:cubicBezTo>
                <a:cubicBezTo>
                  <a:pt x="225" y="676"/>
                  <a:pt x="150" y="676"/>
                  <a:pt x="150" y="700"/>
                </a:cubicBezTo>
                <a:cubicBezTo>
                  <a:pt x="150" y="726"/>
                  <a:pt x="200" y="700"/>
                  <a:pt x="200" y="676"/>
                </a:cubicBezTo>
                <a:cubicBezTo>
                  <a:pt x="225" y="676"/>
                  <a:pt x="200" y="751"/>
                  <a:pt x="250" y="726"/>
                </a:cubicBezTo>
                <a:cubicBezTo>
                  <a:pt x="300" y="726"/>
                  <a:pt x="275" y="651"/>
                  <a:pt x="300" y="651"/>
                </a:cubicBezTo>
                <a:cubicBezTo>
                  <a:pt x="325" y="676"/>
                  <a:pt x="300" y="700"/>
                  <a:pt x="300" y="726"/>
                </a:cubicBezTo>
                <a:cubicBezTo>
                  <a:pt x="325" y="751"/>
                  <a:pt x="275" y="800"/>
                  <a:pt x="275" y="826"/>
                </a:cubicBezTo>
                <a:cubicBezTo>
                  <a:pt x="275" y="851"/>
                  <a:pt x="375" y="851"/>
                  <a:pt x="400" y="800"/>
                </a:cubicBezTo>
                <a:cubicBezTo>
                  <a:pt x="450" y="776"/>
                  <a:pt x="450" y="800"/>
                  <a:pt x="425" y="826"/>
                </a:cubicBezTo>
                <a:cubicBezTo>
                  <a:pt x="425" y="851"/>
                  <a:pt x="425" y="876"/>
                  <a:pt x="450" y="900"/>
                </a:cubicBezTo>
                <a:cubicBezTo>
                  <a:pt x="476" y="900"/>
                  <a:pt x="500" y="900"/>
                  <a:pt x="476" y="926"/>
                </a:cubicBezTo>
                <a:cubicBezTo>
                  <a:pt x="476" y="951"/>
                  <a:pt x="476" y="1000"/>
                  <a:pt x="476" y="1026"/>
                </a:cubicBezTo>
                <a:cubicBezTo>
                  <a:pt x="450" y="1026"/>
                  <a:pt x="375" y="1026"/>
                  <a:pt x="375" y="1026"/>
                </a:cubicBezTo>
                <a:cubicBezTo>
                  <a:pt x="375" y="1000"/>
                  <a:pt x="325" y="1026"/>
                  <a:pt x="350" y="1026"/>
                </a:cubicBezTo>
                <a:cubicBezTo>
                  <a:pt x="350" y="1051"/>
                  <a:pt x="300" y="1076"/>
                  <a:pt x="325" y="1100"/>
                </a:cubicBezTo>
                <a:cubicBezTo>
                  <a:pt x="325" y="1100"/>
                  <a:pt x="375" y="1100"/>
                  <a:pt x="375" y="1126"/>
                </a:cubicBezTo>
                <a:cubicBezTo>
                  <a:pt x="375" y="1151"/>
                  <a:pt x="325" y="1176"/>
                  <a:pt x="275" y="1200"/>
                </a:cubicBezTo>
                <a:cubicBezTo>
                  <a:pt x="225" y="1200"/>
                  <a:pt x="300" y="1251"/>
                  <a:pt x="325" y="1226"/>
                </a:cubicBezTo>
                <a:cubicBezTo>
                  <a:pt x="350" y="1200"/>
                  <a:pt x="325" y="1251"/>
                  <a:pt x="375" y="1251"/>
                </a:cubicBezTo>
                <a:cubicBezTo>
                  <a:pt x="400" y="1251"/>
                  <a:pt x="425" y="1276"/>
                  <a:pt x="476" y="1251"/>
                </a:cubicBezTo>
                <a:cubicBezTo>
                  <a:pt x="500" y="1251"/>
                  <a:pt x="500" y="1251"/>
                  <a:pt x="476" y="1276"/>
                </a:cubicBezTo>
                <a:cubicBezTo>
                  <a:pt x="450" y="1301"/>
                  <a:pt x="400" y="1276"/>
                  <a:pt x="375" y="1301"/>
                </a:cubicBezTo>
                <a:cubicBezTo>
                  <a:pt x="350" y="1301"/>
                  <a:pt x="225" y="1425"/>
                  <a:pt x="250" y="1451"/>
                </a:cubicBezTo>
                <a:cubicBezTo>
                  <a:pt x="275" y="1451"/>
                  <a:pt x="275" y="1425"/>
                  <a:pt x="325" y="1401"/>
                </a:cubicBezTo>
                <a:cubicBezTo>
                  <a:pt x="375" y="1376"/>
                  <a:pt x="375" y="1425"/>
                  <a:pt x="400" y="1425"/>
                </a:cubicBezTo>
                <a:cubicBezTo>
                  <a:pt x="425" y="1425"/>
                  <a:pt x="425" y="1376"/>
                  <a:pt x="425" y="1376"/>
                </a:cubicBezTo>
                <a:cubicBezTo>
                  <a:pt x="450" y="1376"/>
                  <a:pt x="476" y="1351"/>
                  <a:pt x="500" y="1376"/>
                </a:cubicBezTo>
                <a:cubicBezTo>
                  <a:pt x="525" y="1376"/>
                  <a:pt x="550" y="1351"/>
                  <a:pt x="575" y="1351"/>
                </a:cubicBezTo>
                <a:cubicBezTo>
                  <a:pt x="600" y="1326"/>
                  <a:pt x="650" y="1376"/>
                  <a:pt x="650" y="1351"/>
                </a:cubicBezTo>
                <a:cubicBezTo>
                  <a:pt x="676" y="1351"/>
                  <a:pt x="725" y="1351"/>
                  <a:pt x="750" y="1351"/>
                </a:cubicBezTo>
                <a:cubicBezTo>
                  <a:pt x="800" y="1351"/>
                  <a:pt x="876" y="1301"/>
                  <a:pt x="900" y="1301"/>
                </a:cubicBezTo>
                <a:cubicBezTo>
                  <a:pt x="900" y="1276"/>
                  <a:pt x="876" y="1276"/>
                  <a:pt x="850" y="1276"/>
                </a:cubicBezTo>
                <a:cubicBezTo>
                  <a:pt x="825" y="1276"/>
                  <a:pt x="825" y="1251"/>
                  <a:pt x="850" y="1226"/>
                </a:cubicBezTo>
                <a:cubicBezTo>
                  <a:pt x="876" y="1176"/>
                  <a:pt x="925" y="1176"/>
                  <a:pt x="925" y="1126"/>
                </a:cubicBezTo>
                <a:close/>
                <a:moveTo>
                  <a:pt x="100" y="426"/>
                </a:moveTo>
                <a:lnTo>
                  <a:pt x="100" y="426"/>
                </a:lnTo>
                <a:cubicBezTo>
                  <a:pt x="125" y="426"/>
                  <a:pt x="175" y="351"/>
                  <a:pt x="150" y="351"/>
                </a:cubicBezTo>
                <a:cubicBezTo>
                  <a:pt x="150" y="326"/>
                  <a:pt x="75" y="426"/>
                  <a:pt x="100" y="426"/>
                </a:cubicBezTo>
                <a:close/>
                <a:moveTo>
                  <a:pt x="625" y="125"/>
                </a:moveTo>
                <a:lnTo>
                  <a:pt x="625" y="125"/>
                </a:lnTo>
                <a:cubicBezTo>
                  <a:pt x="650" y="100"/>
                  <a:pt x="676" y="0"/>
                  <a:pt x="650" y="26"/>
                </a:cubicBezTo>
                <a:cubicBezTo>
                  <a:pt x="625" y="26"/>
                  <a:pt x="625" y="125"/>
                  <a:pt x="625" y="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7" name="Freeform 133">
            <a:extLst>
              <a:ext uri="{FF2B5EF4-FFF2-40B4-BE49-F238E27FC236}">
                <a16:creationId xmlns:a16="http://schemas.microsoft.com/office/drawing/2014/main" id="{ECBD6DFB-C36D-294B-9304-EC1A56BFEF28}"/>
              </a:ext>
            </a:extLst>
          </p:cNvPr>
          <p:cNvSpPr>
            <a:spLocks noChangeArrowheads="1"/>
          </p:cNvSpPr>
          <p:nvPr/>
        </p:nvSpPr>
        <p:spPr bwMode="auto">
          <a:xfrm>
            <a:off x="6013034" y="2859140"/>
            <a:ext cx="143436" cy="136405"/>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8" name="Freeform 134">
            <a:extLst>
              <a:ext uri="{FF2B5EF4-FFF2-40B4-BE49-F238E27FC236}">
                <a16:creationId xmlns:a16="http://schemas.microsoft.com/office/drawing/2014/main" id="{C8763AB7-3213-0B48-B96A-FA9F4628B2C1}"/>
              </a:ext>
            </a:extLst>
          </p:cNvPr>
          <p:cNvSpPr>
            <a:spLocks noChangeArrowheads="1"/>
          </p:cNvSpPr>
          <p:nvPr/>
        </p:nvSpPr>
        <p:spPr bwMode="auto">
          <a:xfrm>
            <a:off x="6108657" y="2309300"/>
            <a:ext cx="375467" cy="662339"/>
          </a:xfrm>
          <a:custGeom>
            <a:avLst/>
            <a:gdLst>
              <a:gd name="T0" fmla="*/ 1151 w 1177"/>
              <a:gd name="T1" fmla="*/ 500 h 2077"/>
              <a:gd name="T2" fmla="*/ 1151 w 1177"/>
              <a:gd name="T3" fmla="*/ 375 h 2077"/>
              <a:gd name="T4" fmla="*/ 1125 w 1177"/>
              <a:gd name="T5" fmla="*/ 200 h 2077"/>
              <a:gd name="T6" fmla="*/ 876 w 1177"/>
              <a:gd name="T7" fmla="*/ 25 h 2077"/>
              <a:gd name="T8" fmla="*/ 751 w 1177"/>
              <a:gd name="T9" fmla="*/ 125 h 2077"/>
              <a:gd name="T10" fmla="*/ 625 w 1177"/>
              <a:gd name="T11" fmla="*/ 175 h 2077"/>
              <a:gd name="T12" fmla="*/ 501 w 1177"/>
              <a:gd name="T13" fmla="*/ 251 h 2077"/>
              <a:gd name="T14" fmla="*/ 451 w 1177"/>
              <a:gd name="T15" fmla="*/ 375 h 2077"/>
              <a:gd name="T16" fmla="*/ 376 w 1177"/>
              <a:gd name="T17" fmla="*/ 500 h 2077"/>
              <a:gd name="T18" fmla="*/ 300 w 1177"/>
              <a:gd name="T19" fmla="*/ 600 h 2077"/>
              <a:gd name="T20" fmla="*/ 250 w 1177"/>
              <a:gd name="T21" fmla="*/ 775 h 2077"/>
              <a:gd name="T22" fmla="*/ 200 w 1177"/>
              <a:gd name="T23" fmla="*/ 826 h 2077"/>
              <a:gd name="T24" fmla="*/ 100 w 1177"/>
              <a:gd name="T25" fmla="*/ 975 h 2077"/>
              <a:gd name="T26" fmla="*/ 100 w 1177"/>
              <a:gd name="T27" fmla="*/ 1151 h 2077"/>
              <a:gd name="T28" fmla="*/ 125 w 1177"/>
              <a:gd name="T29" fmla="*/ 1275 h 2077"/>
              <a:gd name="T30" fmla="*/ 125 w 1177"/>
              <a:gd name="T31" fmla="*/ 1400 h 2077"/>
              <a:gd name="T32" fmla="*/ 51 w 1177"/>
              <a:gd name="T33" fmla="*/ 1500 h 2077"/>
              <a:gd name="T34" fmla="*/ 0 w 1177"/>
              <a:gd name="T35" fmla="*/ 1576 h 2077"/>
              <a:gd name="T36" fmla="*/ 51 w 1177"/>
              <a:gd name="T37" fmla="*/ 1676 h 2077"/>
              <a:gd name="T38" fmla="*/ 125 w 1177"/>
              <a:gd name="T39" fmla="*/ 1851 h 2077"/>
              <a:gd name="T40" fmla="*/ 176 w 1177"/>
              <a:gd name="T41" fmla="*/ 1976 h 2077"/>
              <a:gd name="T42" fmla="*/ 250 w 1177"/>
              <a:gd name="T43" fmla="*/ 2051 h 2077"/>
              <a:gd name="T44" fmla="*/ 300 w 1177"/>
              <a:gd name="T45" fmla="*/ 1951 h 2077"/>
              <a:gd name="T46" fmla="*/ 451 w 1177"/>
              <a:gd name="T47" fmla="*/ 1900 h 2077"/>
              <a:gd name="T48" fmla="*/ 525 w 1177"/>
              <a:gd name="T49" fmla="*/ 1826 h 2077"/>
              <a:gd name="T50" fmla="*/ 501 w 1177"/>
              <a:gd name="T51" fmla="*/ 1776 h 2077"/>
              <a:gd name="T52" fmla="*/ 551 w 1177"/>
              <a:gd name="T53" fmla="*/ 1576 h 2077"/>
              <a:gd name="T54" fmla="*/ 701 w 1177"/>
              <a:gd name="T55" fmla="*/ 1425 h 2077"/>
              <a:gd name="T56" fmla="*/ 551 w 1177"/>
              <a:gd name="T57" fmla="*/ 1300 h 2077"/>
              <a:gd name="T58" fmla="*/ 576 w 1177"/>
              <a:gd name="T59" fmla="*/ 1126 h 2077"/>
              <a:gd name="T60" fmla="*/ 625 w 1177"/>
              <a:gd name="T61" fmla="*/ 1000 h 2077"/>
              <a:gd name="T62" fmla="*/ 801 w 1177"/>
              <a:gd name="T63" fmla="*/ 875 h 2077"/>
              <a:gd name="T64" fmla="*/ 925 w 1177"/>
              <a:gd name="T65" fmla="*/ 675 h 2077"/>
              <a:gd name="T66" fmla="*/ 1025 w 1177"/>
              <a:gd name="T67" fmla="*/ 551 h 2077"/>
              <a:gd name="T68" fmla="*/ 1176 w 1177"/>
              <a:gd name="T69" fmla="*/ 551 h 2077"/>
              <a:gd name="T70" fmla="*/ 701 w 1177"/>
              <a:gd name="T71" fmla="*/ 1726 h 2077"/>
              <a:gd name="T72" fmla="*/ 625 w 1177"/>
              <a:gd name="T73" fmla="*/ 1851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7" h="2077">
                <a:moveTo>
                  <a:pt x="1151" y="500"/>
                </a:moveTo>
                <a:lnTo>
                  <a:pt x="1151" y="500"/>
                </a:lnTo>
                <a:cubicBezTo>
                  <a:pt x="1151" y="475"/>
                  <a:pt x="1125" y="451"/>
                  <a:pt x="1151" y="451"/>
                </a:cubicBezTo>
                <a:cubicBezTo>
                  <a:pt x="1151" y="451"/>
                  <a:pt x="1176" y="375"/>
                  <a:pt x="1151" y="375"/>
                </a:cubicBezTo>
                <a:cubicBezTo>
                  <a:pt x="1125" y="351"/>
                  <a:pt x="1151" y="300"/>
                  <a:pt x="1125" y="275"/>
                </a:cubicBezTo>
                <a:cubicBezTo>
                  <a:pt x="1101" y="275"/>
                  <a:pt x="1125" y="226"/>
                  <a:pt x="1125" y="200"/>
                </a:cubicBezTo>
                <a:cubicBezTo>
                  <a:pt x="1125" y="151"/>
                  <a:pt x="1025" y="125"/>
                  <a:pt x="976" y="100"/>
                </a:cubicBezTo>
                <a:cubicBezTo>
                  <a:pt x="925" y="100"/>
                  <a:pt x="901" y="50"/>
                  <a:pt x="876" y="25"/>
                </a:cubicBezTo>
                <a:cubicBezTo>
                  <a:pt x="825" y="0"/>
                  <a:pt x="825" y="75"/>
                  <a:pt x="825" y="100"/>
                </a:cubicBezTo>
                <a:cubicBezTo>
                  <a:pt x="825" y="151"/>
                  <a:pt x="776" y="151"/>
                  <a:pt x="751" y="125"/>
                </a:cubicBezTo>
                <a:cubicBezTo>
                  <a:pt x="725" y="100"/>
                  <a:pt x="701" y="125"/>
                  <a:pt x="651" y="100"/>
                </a:cubicBezTo>
                <a:cubicBezTo>
                  <a:pt x="625" y="75"/>
                  <a:pt x="625" y="151"/>
                  <a:pt x="625" y="175"/>
                </a:cubicBezTo>
                <a:cubicBezTo>
                  <a:pt x="625" y="200"/>
                  <a:pt x="601" y="200"/>
                  <a:pt x="576" y="200"/>
                </a:cubicBezTo>
                <a:cubicBezTo>
                  <a:pt x="525" y="200"/>
                  <a:pt x="501" y="226"/>
                  <a:pt x="501" y="251"/>
                </a:cubicBezTo>
                <a:cubicBezTo>
                  <a:pt x="501" y="275"/>
                  <a:pt x="451" y="300"/>
                  <a:pt x="476" y="326"/>
                </a:cubicBezTo>
                <a:cubicBezTo>
                  <a:pt x="476" y="326"/>
                  <a:pt x="451" y="351"/>
                  <a:pt x="451" y="375"/>
                </a:cubicBezTo>
                <a:cubicBezTo>
                  <a:pt x="425" y="375"/>
                  <a:pt x="400" y="426"/>
                  <a:pt x="400" y="426"/>
                </a:cubicBezTo>
                <a:cubicBezTo>
                  <a:pt x="376" y="451"/>
                  <a:pt x="400" y="475"/>
                  <a:pt x="376" y="500"/>
                </a:cubicBezTo>
                <a:cubicBezTo>
                  <a:pt x="351" y="500"/>
                  <a:pt x="325" y="500"/>
                  <a:pt x="300" y="500"/>
                </a:cubicBezTo>
                <a:cubicBezTo>
                  <a:pt x="300" y="526"/>
                  <a:pt x="300" y="551"/>
                  <a:pt x="300" y="600"/>
                </a:cubicBezTo>
                <a:cubicBezTo>
                  <a:pt x="300" y="626"/>
                  <a:pt x="276" y="675"/>
                  <a:pt x="250" y="726"/>
                </a:cubicBezTo>
                <a:cubicBezTo>
                  <a:pt x="200" y="751"/>
                  <a:pt x="250" y="751"/>
                  <a:pt x="250" y="775"/>
                </a:cubicBezTo>
                <a:cubicBezTo>
                  <a:pt x="276" y="775"/>
                  <a:pt x="276" y="800"/>
                  <a:pt x="250" y="826"/>
                </a:cubicBezTo>
                <a:cubicBezTo>
                  <a:pt x="250" y="851"/>
                  <a:pt x="225" y="826"/>
                  <a:pt x="200" y="826"/>
                </a:cubicBezTo>
                <a:cubicBezTo>
                  <a:pt x="176" y="826"/>
                  <a:pt x="125" y="851"/>
                  <a:pt x="100" y="875"/>
                </a:cubicBezTo>
                <a:cubicBezTo>
                  <a:pt x="76" y="926"/>
                  <a:pt x="76" y="951"/>
                  <a:pt x="100" y="975"/>
                </a:cubicBezTo>
                <a:cubicBezTo>
                  <a:pt x="100" y="1000"/>
                  <a:pt x="76" y="1026"/>
                  <a:pt x="100" y="1075"/>
                </a:cubicBezTo>
                <a:cubicBezTo>
                  <a:pt x="125" y="1126"/>
                  <a:pt x="76" y="1126"/>
                  <a:pt x="100" y="1151"/>
                </a:cubicBezTo>
                <a:cubicBezTo>
                  <a:pt x="100" y="1200"/>
                  <a:pt x="151" y="1200"/>
                  <a:pt x="151" y="1226"/>
                </a:cubicBezTo>
                <a:cubicBezTo>
                  <a:pt x="151" y="1275"/>
                  <a:pt x="125" y="1275"/>
                  <a:pt x="125" y="1275"/>
                </a:cubicBezTo>
                <a:cubicBezTo>
                  <a:pt x="100" y="1275"/>
                  <a:pt x="100" y="1300"/>
                  <a:pt x="125" y="1326"/>
                </a:cubicBezTo>
                <a:cubicBezTo>
                  <a:pt x="151" y="1326"/>
                  <a:pt x="125" y="1400"/>
                  <a:pt x="125" y="1400"/>
                </a:cubicBezTo>
                <a:cubicBezTo>
                  <a:pt x="125" y="1425"/>
                  <a:pt x="51" y="1400"/>
                  <a:pt x="76" y="1425"/>
                </a:cubicBezTo>
                <a:cubicBezTo>
                  <a:pt x="76" y="1451"/>
                  <a:pt x="51" y="1500"/>
                  <a:pt x="51" y="1500"/>
                </a:cubicBezTo>
                <a:cubicBezTo>
                  <a:pt x="51" y="1526"/>
                  <a:pt x="51" y="1576"/>
                  <a:pt x="25" y="1576"/>
                </a:cubicBezTo>
                <a:lnTo>
                  <a:pt x="0" y="1576"/>
                </a:lnTo>
                <a:lnTo>
                  <a:pt x="0" y="1576"/>
                </a:lnTo>
                <a:cubicBezTo>
                  <a:pt x="0" y="1600"/>
                  <a:pt x="0" y="1651"/>
                  <a:pt x="51" y="1676"/>
                </a:cubicBezTo>
                <a:cubicBezTo>
                  <a:pt x="76" y="1700"/>
                  <a:pt x="51" y="1726"/>
                  <a:pt x="76" y="1776"/>
                </a:cubicBezTo>
                <a:cubicBezTo>
                  <a:pt x="100" y="1800"/>
                  <a:pt x="100" y="1826"/>
                  <a:pt x="125" y="1851"/>
                </a:cubicBezTo>
                <a:cubicBezTo>
                  <a:pt x="151" y="1876"/>
                  <a:pt x="151" y="1900"/>
                  <a:pt x="151" y="1926"/>
                </a:cubicBezTo>
                <a:cubicBezTo>
                  <a:pt x="125" y="1951"/>
                  <a:pt x="176" y="1951"/>
                  <a:pt x="176" y="1976"/>
                </a:cubicBezTo>
                <a:cubicBezTo>
                  <a:pt x="176" y="1976"/>
                  <a:pt x="151" y="2026"/>
                  <a:pt x="176" y="2051"/>
                </a:cubicBezTo>
                <a:cubicBezTo>
                  <a:pt x="176" y="2076"/>
                  <a:pt x="200" y="2051"/>
                  <a:pt x="250" y="2051"/>
                </a:cubicBezTo>
                <a:cubicBezTo>
                  <a:pt x="276" y="2051"/>
                  <a:pt x="276" y="2026"/>
                  <a:pt x="276" y="2000"/>
                </a:cubicBezTo>
                <a:cubicBezTo>
                  <a:pt x="276" y="1951"/>
                  <a:pt x="300" y="1976"/>
                  <a:pt x="300" y="1951"/>
                </a:cubicBezTo>
                <a:cubicBezTo>
                  <a:pt x="300" y="1951"/>
                  <a:pt x="351" y="1926"/>
                  <a:pt x="376" y="1951"/>
                </a:cubicBezTo>
                <a:cubicBezTo>
                  <a:pt x="425" y="1976"/>
                  <a:pt x="425" y="1951"/>
                  <a:pt x="451" y="1900"/>
                </a:cubicBezTo>
                <a:cubicBezTo>
                  <a:pt x="451" y="1876"/>
                  <a:pt x="451" y="1926"/>
                  <a:pt x="476" y="1926"/>
                </a:cubicBezTo>
                <a:cubicBezTo>
                  <a:pt x="476" y="1926"/>
                  <a:pt x="501" y="1876"/>
                  <a:pt x="525" y="1826"/>
                </a:cubicBezTo>
                <a:cubicBezTo>
                  <a:pt x="551" y="1800"/>
                  <a:pt x="525" y="1800"/>
                  <a:pt x="501" y="1851"/>
                </a:cubicBezTo>
                <a:cubicBezTo>
                  <a:pt x="451" y="1876"/>
                  <a:pt x="476" y="1800"/>
                  <a:pt x="501" y="1776"/>
                </a:cubicBezTo>
                <a:cubicBezTo>
                  <a:pt x="501" y="1751"/>
                  <a:pt x="501" y="1651"/>
                  <a:pt x="501" y="1651"/>
                </a:cubicBezTo>
                <a:cubicBezTo>
                  <a:pt x="501" y="1626"/>
                  <a:pt x="525" y="1600"/>
                  <a:pt x="551" y="1576"/>
                </a:cubicBezTo>
                <a:cubicBezTo>
                  <a:pt x="601" y="1576"/>
                  <a:pt x="651" y="1526"/>
                  <a:pt x="651" y="1500"/>
                </a:cubicBezTo>
                <a:cubicBezTo>
                  <a:pt x="625" y="1476"/>
                  <a:pt x="701" y="1451"/>
                  <a:pt x="701" y="1425"/>
                </a:cubicBezTo>
                <a:cubicBezTo>
                  <a:pt x="701" y="1400"/>
                  <a:pt x="625" y="1351"/>
                  <a:pt x="601" y="1326"/>
                </a:cubicBezTo>
                <a:cubicBezTo>
                  <a:pt x="576" y="1326"/>
                  <a:pt x="551" y="1326"/>
                  <a:pt x="551" y="1300"/>
                </a:cubicBezTo>
                <a:cubicBezTo>
                  <a:pt x="551" y="1300"/>
                  <a:pt x="525" y="1226"/>
                  <a:pt x="525" y="1200"/>
                </a:cubicBezTo>
                <a:cubicBezTo>
                  <a:pt x="525" y="1175"/>
                  <a:pt x="576" y="1151"/>
                  <a:pt x="576" y="1126"/>
                </a:cubicBezTo>
                <a:cubicBezTo>
                  <a:pt x="576" y="1075"/>
                  <a:pt x="576" y="1051"/>
                  <a:pt x="601" y="1051"/>
                </a:cubicBezTo>
                <a:cubicBezTo>
                  <a:pt x="625" y="1026"/>
                  <a:pt x="601" y="1000"/>
                  <a:pt x="625" y="1000"/>
                </a:cubicBezTo>
                <a:cubicBezTo>
                  <a:pt x="676" y="1000"/>
                  <a:pt x="676" y="951"/>
                  <a:pt x="701" y="926"/>
                </a:cubicBezTo>
                <a:cubicBezTo>
                  <a:pt x="751" y="900"/>
                  <a:pt x="751" y="900"/>
                  <a:pt x="801" y="875"/>
                </a:cubicBezTo>
                <a:cubicBezTo>
                  <a:pt x="851" y="851"/>
                  <a:pt x="925" y="800"/>
                  <a:pt x="925" y="775"/>
                </a:cubicBezTo>
                <a:cubicBezTo>
                  <a:pt x="951" y="726"/>
                  <a:pt x="876" y="700"/>
                  <a:pt x="925" y="675"/>
                </a:cubicBezTo>
                <a:cubicBezTo>
                  <a:pt x="976" y="651"/>
                  <a:pt x="925" y="600"/>
                  <a:pt x="951" y="600"/>
                </a:cubicBezTo>
                <a:cubicBezTo>
                  <a:pt x="1001" y="575"/>
                  <a:pt x="1001" y="575"/>
                  <a:pt x="1025" y="551"/>
                </a:cubicBezTo>
                <a:cubicBezTo>
                  <a:pt x="1051" y="526"/>
                  <a:pt x="1076" y="551"/>
                  <a:pt x="1125" y="551"/>
                </a:cubicBezTo>
                <a:cubicBezTo>
                  <a:pt x="1151" y="526"/>
                  <a:pt x="1151" y="551"/>
                  <a:pt x="1176" y="551"/>
                </a:cubicBezTo>
                <a:cubicBezTo>
                  <a:pt x="1176" y="526"/>
                  <a:pt x="1176" y="500"/>
                  <a:pt x="1151" y="500"/>
                </a:cubicBezTo>
                <a:close/>
                <a:moveTo>
                  <a:pt x="701" y="1726"/>
                </a:moveTo>
                <a:lnTo>
                  <a:pt x="701" y="1726"/>
                </a:lnTo>
                <a:cubicBezTo>
                  <a:pt x="625" y="1726"/>
                  <a:pt x="601" y="1826"/>
                  <a:pt x="625" y="1851"/>
                </a:cubicBezTo>
                <a:cubicBezTo>
                  <a:pt x="625" y="1851"/>
                  <a:pt x="751" y="1726"/>
                  <a:pt x="701" y="1726"/>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09" name="Freeform 135">
            <a:extLst>
              <a:ext uri="{FF2B5EF4-FFF2-40B4-BE49-F238E27FC236}">
                <a16:creationId xmlns:a16="http://schemas.microsoft.com/office/drawing/2014/main" id="{60BEE691-819C-A74C-A07F-338B42BD9E77}"/>
              </a:ext>
            </a:extLst>
          </p:cNvPr>
          <p:cNvSpPr>
            <a:spLocks noChangeArrowheads="1"/>
          </p:cNvSpPr>
          <p:nvPr/>
        </p:nvSpPr>
        <p:spPr bwMode="auto">
          <a:xfrm>
            <a:off x="6419437" y="2771951"/>
            <a:ext cx="182811" cy="95624"/>
          </a:xfrm>
          <a:custGeom>
            <a:avLst/>
            <a:gdLst>
              <a:gd name="T0" fmla="*/ 525 w 575"/>
              <a:gd name="T1" fmla="*/ 100 h 301"/>
              <a:gd name="T2" fmla="*/ 525 w 575"/>
              <a:gd name="T3" fmla="*/ 100 h 301"/>
              <a:gd name="T4" fmla="*/ 550 w 575"/>
              <a:gd name="T5" fmla="*/ 25 h 301"/>
              <a:gd name="T6" fmla="*/ 525 w 575"/>
              <a:gd name="T7" fmla="*/ 49 h 301"/>
              <a:gd name="T8" fmla="*/ 350 w 575"/>
              <a:gd name="T9" fmla="*/ 25 h 301"/>
              <a:gd name="T10" fmla="*/ 175 w 575"/>
              <a:gd name="T11" fmla="*/ 49 h 301"/>
              <a:gd name="T12" fmla="*/ 125 w 575"/>
              <a:gd name="T13" fmla="*/ 100 h 301"/>
              <a:gd name="T14" fmla="*/ 149 w 575"/>
              <a:gd name="T15" fmla="*/ 175 h 301"/>
              <a:gd name="T16" fmla="*/ 200 w 575"/>
              <a:gd name="T17" fmla="*/ 200 h 301"/>
              <a:gd name="T18" fmla="*/ 225 w 575"/>
              <a:gd name="T19" fmla="*/ 249 h 301"/>
              <a:gd name="T20" fmla="*/ 225 w 575"/>
              <a:gd name="T21" fmla="*/ 249 h 301"/>
              <a:gd name="T22" fmla="*/ 325 w 575"/>
              <a:gd name="T23" fmla="*/ 249 h 301"/>
              <a:gd name="T24" fmla="*/ 425 w 575"/>
              <a:gd name="T25" fmla="*/ 300 h 301"/>
              <a:gd name="T26" fmla="*/ 500 w 575"/>
              <a:gd name="T27" fmla="*/ 300 h 301"/>
              <a:gd name="T28" fmla="*/ 500 w 575"/>
              <a:gd name="T29" fmla="*/ 275 h 301"/>
              <a:gd name="T30" fmla="*/ 525 w 575"/>
              <a:gd name="T31" fmla="*/ 249 h 301"/>
              <a:gd name="T32" fmla="*/ 500 w 575"/>
              <a:gd name="T33" fmla="*/ 200 h 301"/>
              <a:gd name="T34" fmla="*/ 500 w 575"/>
              <a:gd name="T35" fmla="*/ 149 h 301"/>
              <a:gd name="T36" fmla="*/ 525 w 575"/>
              <a:gd name="T37" fmla="*/ 100 h 301"/>
              <a:gd name="T38" fmla="*/ 49 w 575"/>
              <a:gd name="T39" fmla="*/ 149 h 301"/>
              <a:gd name="T40" fmla="*/ 49 w 575"/>
              <a:gd name="T41" fmla="*/ 149 h 301"/>
              <a:gd name="T42" fmla="*/ 0 w 575"/>
              <a:gd name="T43" fmla="*/ 249 h 301"/>
              <a:gd name="T44" fmla="*/ 100 w 575"/>
              <a:gd name="T45" fmla="*/ 175 h 301"/>
              <a:gd name="T46" fmla="*/ 49 w 575"/>
              <a:gd name="T47" fmla="*/ 149 h 301"/>
              <a:gd name="T48" fmla="*/ 75 w 575"/>
              <a:gd name="T49" fmla="*/ 125 h 301"/>
              <a:gd name="T50" fmla="*/ 75 w 575"/>
              <a:gd name="T51" fmla="*/ 125 h 301"/>
              <a:gd name="T52" fmla="*/ 25 w 575"/>
              <a:gd name="T53" fmla="*/ 125 h 301"/>
              <a:gd name="T54" fmla="*/ 75 w 575"/>
              <a:gd name="T5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5" h="301">
                <a:moveTo>
                  <a:pt x="525" y="100"/>
                </a:moveTo>
                <a:lnTo>
                  <a:pt x="525" y="100"/>
                </a:lnTo>
                <a:cubicBezTo>
                  <a:pt x="550" y="75"/>
                  <a:pt x="574" y="49"/>
                  <a:pt x="550" y="25"/>
                </a:cubicBezTo>
                <a:cubicBezTo>
                  <a:pt x="550" y="25"/>
                  <a:pt x="550" y="25"/>
                  <a:pt x="525" y="49"/>
                </a:cubicBezTo>
                <a:cubicBezTo>
                  <a:pt x="500" y="49"/>
                  <a:pt x="400" y="0"/>
                  <a:pt x="350" y="25"/>
                </a:cubicBezTo>
                <a:cubicBezTo>
                  <a:pt x="300" y="25"/>
                  <a:pt x="200" y="25"/>
                  <a:pt x="175" y="49"/>
                </a:cubicBezTo>
                <a:cubicBezTo>
                  <a:pt x="149" y="75"/>
                  <a:pt x="100" y="75"/>
                  <a:pt x="125" y="100"/>
                </a:cubicBezTo>
                <a:cubicBezTo>
                  <a:pt x="149" y="125"/>
                  <a:pt x="125" y="149"/>
                  <a:pt x="149" y="175"/>
                </a:cubicBezTo>
                <a:cubicBezTo>
                  <a:pt x="175" y="200"/>
                  <a:pt x="175" y="200"/>
                  <a:pt x="200" y="200"/>
                </a:cubicBezTo>
                <a:cubicBezTo>
                  <a:pt x="225" y="200"/>
                  <a:pt x="249" y="200"/>
                  <a:pt x="225" y="249"/>
                </a:cubicBezTo>
                <a:lnTo>
                  <a:pt x="225" y="249"/>
                </a:lnTo>
                <a:cubicBezTo>
                  <a:pt x="275" y="225"/>
                  <a:pt x="325" y="225"/>
                  <a:pt x="325" y="249"/>
                </a:cubicBezTo>
                <a:cubicBezTo>
                  <a:pt x="325" y="249"/>
                  <a:pt x="400" y="300"/>
                  <a:pt x="425" y="300"/>
                </a:cubicBezTo>
                <a:cubicBezTo>
                  <a:pt x="425" y="300"/>
                  <a:pt x="475" y="300"/>
                  <a:pt x="500" y="300"/>
                </a:cubicBezTo>
                <a:lnTo>
                  <a:pt x="500" y="275"/>
                </a:lnTo>
                <a:cubicBezTo>
                  <a:pt x="525" y="275"/>
                  <a:pt x="550" y="275"/>
                  <a:pt x="525" y="249"/>
                </a:cubicBezTo>
                <a:cubicBezTo>
                  <a:pt x="525" y="225"/>
                  <a:pt x="525" y="225"/>
                  <a:pt x="500" y="200"/>
                </a:cubicBezTo>
                <a:cubicBezTo>
                  <a:pt x="500" y="175"/>
                  <a:pt x="500" y="149"/>
                  <a:pt x="500" y="149"/>
                </a:cubicBezTo>
                <a:cubicBezTo>
                  <a:pt x="500" y="125"/>
                  <a:pt x="525" y="125"/>
                  <a:pt x="525" y="100"/>
                </a:cubicBezTo>
                <a:close/>
                <a:moveTo>
                  <a:pt x="49" y="149"/>
                </a:moveTo>
                <a:lnTo>
                  <a:pt x="49" y="149"/>
                </a:lnTo>
                <a:cubicBezTo>
                  <a:pt x="0" y="175"/>
                  <a:pt x="0" y="249"/>
                  <a:pt x="0" y="249"/>
                </a:cubicBezTo>
                <a:cubicBezTo>
                  <a:pt x="25" y="249"/>
                  <a:pt x="100" y="200"/>
                  <a:pt x="100" y="175"/>
                </a:cubicBezTo>
                <a:cubicBezTo>
                  <a:pt x="125" y="149"/>
                  <a:pt x="100" y="149"/>
                  <a:pt x="49" y="149"/>
                </a:cubicBezTo>
                <a:close/>
                <a:moveTo>
                  <a:pt x="75" y="125"/>
                </a:moveTo>
                <a:lnTo>
                  <a:pt x="75" y="125"/>
                </a:lnTo>
                <a:cubicBezTo>
                  <a:pt x="100" y="100"/>
                  <a:pt x="0" y="100"/>
                  <a:pt x="25" y="125"/>
                </a:cubicBezTo>
                <a:cubicBezTo>
                  <a:pt x="49" y="149"/>
                  <a:pt x="75" y="149"/>
                  <a:pt x="75" y="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0" name="Freeform 136">
            <a:extLst>
              <a:ext uri="{FF2B5EF4-FFF2-40B4-BE49-F238E27FC236}">
                <a16:creationId xmlns:a16="http://schemas.microsoft.com/office/drawing/2014/main" id="{1BD66429-E412-2544-9296-BAE20DF4EA76}"/>
              </a:ext>
            </a:extLst>
          </p:cNvPr>
          <p:cNvSpPr>
            <a:spLocks noChangeArrowheads="1"/>
          </p:cNvSpPr>
          <p:nvPr/>
        </p:nvSpPr>
        <p:spPr bwMode="auto">
          <a:xfrm>
            <a:off x="6762560" y="4685847"/>
            <a:ext cx="239061" cy="295311"/>
          </a:xfrm>
          <a:custGeom>
            <a:avLst/>
            <a:gdLst>
              <a:gd name="T0" fmla="*/ 675 w 751"/>
              <a:gd name="T1" fmla="*/ 200 h 926"/>
              <a:gd name="T2" fmla="*/ 675 w 751"/>
              <a:gd name="T3" fmla="*/ 200 h 926"/>
              <a:gd name="T4" fmla="*/ 700 w 751"/>
              <a:gd name="T5" fmla="*/ 149 h 926"/>
              <a:gd name="T6" fmla="*/ 750 w 751"/>
              <a:gd name="T7" fmla="*/ 75 h 926"/>
              <a:gd name="T8" fmla="*/ 700 w 751"/>
              <a:gd name="T9" fmla="*/ 100 h 926"/>
              <a:gd name="T10" fmla="*/ 675 w 751"/>
              <a:gd name="T11" fmla="*/ 75 h 926"/>
              <a:gd name="T12" fmla="*/ 575 w 751"/>
              <a:gd name="T13" fmla="*/ 75 h 926"/>
              <a:gd name="T14" fmla="*/ 525 w 751"/>
              <a:gd name="T15" fmla="*/ 125 h 926"/>
              <a:gd name="T16" fmla="*/ 400 w 751"/>
              <a:gd name="T17" fmla="*/ 125 h 926"/>
              <a:gd name="T18" fmla="*/ 300 w 751"/>
              <a:gd name="T19" fmla="*/ 49 h 926"/>
              <a:gd name="T20" fmla="*/ 200 w 751"/>
              <a:gd name="T21" fmla="*/ 25 h 926"/>
              <a:gd name="T22" fmla="*/ 150 w 751"/>
              <a:gd name="T23" fmla="*/ 0 h 926"/>
              <a:gd name="T24" fmla="*/ 100 w 751"/>
              <a:gd name="T25" fmla="*/ 0 h 926"/>
              <a:gd name="T26" fmla="*/ 25 w 751"/>
              <a:gd name="T27" fmla="*/ 49 h 926"/>
              <a:gd name="T28" fmla="*/ 0 w 751"/>
              <a:gd name="T29" fmla="*/ 75 h 926"/>
              <a:gd name="T30" fmla="*/ 50 w 751"/>
              <a:gd name="T31" fmla="*/ 100 h 926"/>
              <a:gd name="T32" fmla="*/ 50 w 751"/>
              <a:gd name="T33" fmla="*/ 175 h 926"/>
              <a:gd name="T34" fmla="*/ 100 w 751"/>
              <a:gd name="T35" fmla="*/ 200 h 926"/>
              <a:gd name="T36" fmla="*/ 100 w 751"/>
              <a:gd name="T37" fmla="*/ 275 h 926"/>
              <a:gd name="T38" fmla="*/ 25 w 751"/>
              <a:gd name="T39" fmla="*/ 400 h 926"/>
              <a:gd name="T40" fmla="*/ 0 w 751"/>
              <a:gd name="T41" fmla="*/ 449 h 926"/>
              <a:gd name="T42" fmla="*/ 75 w 751"/>
              <a:gd name="T43" fmla="*/ 500 h 926"/>
              <a:gd name="T44" fmla="*/ 0 w 751"/>
              <a:gd name="T45" fmla="*/ 549 h 926"/>
              <a:gd name="T46" fmla="*/ 0 w 751"/>
              <a:gd name="T47" fmla="*/ 549 h 926"/>
              <a:gd name="T48" fmla="*/ 350 w 751"/>
              <a:gd name="T49" fmla="*/ 749 h 926"/>
              <a:gd name="T50" fmla="*/ 350 w 751"/>
              <a:gd name="T51" fmla="*/ 800 h 926"/>
              <a:gd name="T52" fmla="*/ 500 w 751"/>
              <a:gd name="T53" fmla="*/ 925 h 926"/>
              <a:gd name="T54" fmla="*/ 600 w 751"/>
              <a:gd name="T55" fmla="*/ 700 h 926"/>
              <a:gd name="T56" fmla="*/ 650 w 751"/>
              <a:gd name="T57" fmla="*/ 675 h 926"/>
              <a:gd name="T58" fmla="*/ 700 w 751"/>
              <a:gd name="T59" fmla="*/ 625 h 926"/>
              <a:gd name="T60" fmla="*/ 725 w 751"/>
              <a:gd name="T61" fmla="*/ 625 h 926"/>
              <a:gd name="T62" fmla="*/ 675 w 751"/>
              <a:gd name="T63" fmla="*/ 549 h 926"/>
              <a:gd name="T64" fmla="*/ 675 w 751"/>
              <a:gd name="T65" fmla="*/ 20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1" h="926">
                <a:moveTo>
                  <a:pt x="675" y="200"/>
                </a:moveTo>
                <a:lnTo>
                  <a:pt x="675" y="200"/>
                </a:lnTo>
                <a:cubicBezTo>
                  <a:pt x="700" y="149"/>
                  <a:pt x="700" y="149"/>
                  <a:pt x="700" y="149"/>
                </a:cubicBezTo>
                <a:cubicBezTo>
                  <a:pt x="750" y="75"/>
                  <a:pt x="750" y="75"/>
                  <a:pt x="750" y="75"/>
                </a:cubicBezTo>
                <a:cubicBezTo>
                  <a:pt x="725" y="75"/>
                  <a:pt x="725" y="75"/>
                  <a:pt x="700" y="100"/>
                </a:cubicBezTo>
                <a:lnTo>
                  <a:pt x="675" y="75"/>
                </a:lnTo>
                <a:cubicBezTo>
                  <a:pt x="650" y="49"/>
                  <a:pt x="625" y="75"/>
                  <a:pt x="575" y="75"/>
                </a:cubicBezTo>
                <a:cubicBezTo>
                  <a:pt x="550" y="100"/>
                  <a:pt x="525" y="149"/>
                  <a:pt x="525" y="125"/>
                </a:cubicBezTo>
                <a:cubicBezTo>
                  <a:pt x="500" y="125"/>
                  <a:pt x="425" y="125"/>
                  <a:pt x="400" y="125"/>
                </a:cubicBezTo>
                <a:cubicBezTo>
                  <a:pt x="400" y="125"/>
                  <a:pt x="325" y="75"/>
                  <a:pt x="300" y="49"/>
                </a:cubicBezTo>
                <a:cubicBezTo>
                  <a:pt x="275" y="25"/>
                  <a:pt x="225" y="49"/>
                  <a:pt x="200" y="25"/>
                </a:cubicBezTo>
                <a:cubicBezTo>
                  <a:pt x="200" y="25"/>
                  <a:pt x="175" y="25"/>
                  <a:pt x="150" y="0"/>
                </a:cubicBezTo>
                <a:cubicBezTo>
                  <a:pt x="150" y="0"/>
                  <a:pt x="125" y="0"/>
                  <a:pt x="100" y="0"/>
                </a:cubicBezTo>
                <a:cubicBezTo>
                  <a:pt x="75" y="0"/>
                  <a:pt x="25" y="25"/>
                  <a:pt x="25" y="49"/>
                </a:cubicBezTo>
                <a:cubicBezTo>
                  <a:pt x="25" y="49"/>
                  <a:pt x="25" y="75"/>
                  <a:pt x="0" y="75"/>
                </a:cubicBezTo>
                <a:cubicBezTo>
                  <a:pt x="50" y="100"/>
                  <a:pt x="50" y="100"/>
                  <a:pt x="50" y="100"/>
                </a:cubicBezTo>
                <a:cubicBezTo>
                  <a:pt x="50" y="175"/>
                  <a:pt x="50" y="175"/>
                  <a:pt x="50" y="175"/>
                </a:cubicBezTo>
                <a:cubicBezTo>
                  <a:pt x="100" y="200"/>
                  <a:pt x="100" y="200"/>
                  <a:pt x="100" y="200"/>
                </a:cubicBezTo>
                <a:cubicBezTo>
                  <a:pt x="100" y="200"/>
                  <a:pt x="100" y="249"/>
                  <a:pt x="100" y="275"/>
                </a:cubicBezTo>
                <a:cubicBezTo>
                  <a:pt x="100" y="325"/>
                  <a:pt x="50" y="375"/>
                  <a:pt x="25" y="400"/>
                </a:cubicBezTo>
                <a:cubicBezTo>
                  <a:pt x="25" y="400"/>
                  <a:pt x="25" y="425"/>
                  <a:pt x="0" y="449"/>
                </a:cubicBezTo>
                <a:cubicBezTo>
                  <a:pt x="50" y="475"/>
                  <a:pt x="75" y="475"/>
                  <a:pt x="75" y="500"/>
                </a:cubicBezTo>
                <a:cubicBezTo>
                  <a:pt x="75" y="500"/>
                  <a:pt x="0" y="500"/>
                  <a:pt x="0" y="549"/>
                </a:cubicBezTo>
                <a:lnTo>
                  <a:pt x="0" y="549"/>
                </a:lnTo>
                <a:cubicBezTo>
                  <a:pt x="350" y="749"/>
                  <a:pt x="350" y="749"/>
                  <a:pt x="350" y="749"/>
                </a:cubicBezTo>
                <a:cubicBezTo>
                  <a:pt x="350" y="800"/>
                  <a:pt x="350" y="800"/>
                  <a:pt x="350" y="800"/>
                </a:cubicBezTo>
                <a:cubicBezTo>
                  <a:pt x="350" y="800"/>
                  <a:pt x="425" y="849"/>
                  <a:pt x="500" y="925"/>
                </a:cubicBezTo>
                <a:cubicBezTo>
                  <a:pt x="550" y="825"/>
                  <a:pt x="600" y="725"/>
                  <a:pt x="600" y="700"/>
                </a:cubicBezTo>
                <a:cubicBezTo>
                  <a:pt x="625" y="675"/>
                  <a:pt x="650" y="675"/>
                  <a:pt x="650" y="675"/>
                </a:cubicBezTo>
                <a:cubicBezTo>
                  <a:pt x="675" y="649"/>
                  <a:pt x="675" y="675"/>
                  <a:pt x="700" y="625"/>
                </a:cubicBezTo>
                <a:cubicBezTo>
                  <a:pt x="725" y="625"/>
                  <a:pt x="725" y="625"/>
                  <a:pt x="725" y="625"/>
                </a:cubicBezTo>
                <a:cubicBezTo>
                  <a:pt x="675" y="549"/>
                  <a:pt x="675" y="549"/>
                  <a:pt x="675" y="549"/>
                </a:cubicBezTo>
                <a:lnTo>
                  <a:pt x="675" y="2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1" name="Freeform 137">
            <a:extLst>
              <a:ext uri="{FF2B5EF4-FFF2-40B4-BE49-F238E27FC236}">
                <a16:creationId xmlns:a16="http://schemas.microsoft.com/office/drawing/2014/main" id="{921D19E5-975E-204F-AED0-0900FDE00BB8}"/>
              </a:ext>
            </a:extLst>
          </p:cNvPr>
          <p:cNvSpPr>
            <a:spLocks noChangeArrowheads="1"/>
          </p:cNvSpPr>
          <p:nvPr/>
        </p:nvSpPr>
        <p:spPr bwMode="auto">
          <a:xfrm>
            <a:off x="6634591" y="4709754"/>
            <a:ext cx="160312" cy="167343"/>
          </a:xfrm>
          <a:custGeom>
            <a:avLst/>
            <a:gdLst>
              <a:gd name="T0" fmla="*/ 450 w 501"/>
              <a:gd name="T1" fmla="*/ 100 h 526"/>
              <a:gd name="T2" fmla="*/ 450 w 501"/>
              <a:gd name="T3" fmla="*/ 100 h 526"/>
              <a:gd name="T4" fmla="*/ 450 w 501"/>
              <a:gd name="T5" fmla="*/ 25 h 526"/>
              <a:gd name="T6" fmla="*/ 400 w 501"/>
              <a:gd name="T7" fmla="*/ 0 h 526"/>
              <a:gd name="T8" fmla="*/ 375 w 501"/>
              <a:gd name="T9" fmla="*/ 25 h 526"/>
              <a:gd name="T10" fmla="*/ 325 w 501"/>
              <a:gd name="T11" fmla="*/ 25 h 526"/>
              <a:gd name="T12" fmla="*/ 250 w 501"/>
              <a:gd name="T13" fmla="*/ 50 h 526"/>
              <a:gd name="T14" fmla="*/ 200 w 501"/>
              <a:gd name="T15" fmla="*/ 25 h 526"/>
              <a:gd name="T16" fmla="*/ 125 w 501"/>
              <a:gd name="T17" fmla="*/ 50 h 526"/>
              <a:gd name="T18" fmla="*/ 125 w 501"/>
              <a:gd name="T19" fmla="*/ 125 h 526"/>
              <a:gd name="T20" fmla="*/ 150 w 501"/>
              <a:gd name="T21" fmla="*/ 174 h 526"/>
              <a:gd name="T22" fmla="*/ 125 w 501"/>
              <a:gd name="T23" fmla="*/ 225 h 526"/>
              <a:gd name="T24" fmla="*/ 75 w 501"/>
              <a:gd name="T25" fmla="*/ 250 h 526"/>
              <a:gd name="T26" fmla="*/ 50 w 501"/>
              <a:gd name="T27" fmla="*/ 300 h 526"/>
              <a:gd name="T28" fmla="*/ 25 w 501"/>
              <a:gd name="T29" fmla="*/ 374 h 526"/>
              <a:gd name="T30" fmla="*/ 0 w 501"/>
              <a:gd name="T31" fmla="*/ 450 h 526"/>
              <a:gd name="T32" fmla="*/ 0 w 501"/>
              <a:gd name="T33" fmla="*/ 525 h 526"/>
              <a:gd name="T34" fmla="*/ 25 w 501"/>
              <a:gd name="T35" fmla="*/ 500 h 526"/>
              <a:gd name="T36" fmla="*/ 125 w 501"/>
              <a:gd name="T37" fmla="*/ 474 h 526"/>
              <a:gd name="T38" fmla="*/ 200 w 501"/>
              <a:gd name="T39" fmla="*/ 474 h 526"/>
              <a:gd name="T40" fmla="*/ 275 w 501"/>
              <a:gd name="T41" fmla="*/ 374 h 526"/>
              <a:gd name="T42" fmla="*/ 400 w 501"/>
              <a:gd name="T43" fmla="*/ 374 h 526"/>
              <a:gd name="T44" fmla="*/ 425 w 501"/>
              <a:gd name="T45" fmla="*/ 325 h 526"/>
              <a:gd name="T46" fmla="*/ 500 w 501"/>
              <a:gd name="T47" fmla="*/ 200 h 526"/>
              <a:gd name="T48" fmla="*/ 500 w 501"/>
              <a:gd name="T49" fmla="*/ 125 h 526"/>
              <a:gd name="T50" fmla="*/ 450 w 501"/>
              <a:gd name="T51" fmla="*/ 10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1" h="526">
                <a:moveTo>
                  <a:pt x="450" y="100"/>
                </a:moveTo>
                <a:lnTo>
                  <a:pt x="450" y="100"/>
                </a:lnTo>
                <a:cubicBezTo>
                  <a:pt x="450" y="25"/>
                  <a:pt x="450" y="25"/>
                  <a:pt x="450" y="25"/>
                </a:cubicBezTo>
                <a:cubicBezTo>
                  <a:pt x="400" y="0"/>
                  <a:pt x="400" y="0"/>
                  <a:pt x="400" y="0"/>
                </a:cubicBezTo>
                <a:lnTo>
                  <a:pt x="375" y="25"/>
                </a:lnTo>
                <a:cubicBezTo>
                  <a:pt x="375" y="50"/>
                  <a:pt x="325" y="25"/>
                  <a:pt x="325" y="25"/>
                </a:cubicBezTo>
                <a:cubicBezTo>
                  <a:pt x="300" y="25"/>
                  <a:pt x="250" y="50"/>
                  <a:pt x="250" y="50"/>
                </a:cubicBezTo>
                <a:cubicBezTo>
                  <a:pt x="250" y="74"/>
                  <a:pt x="225" y="25"/>
                  <a:pt x="200" y="25"/>
                </a:cubicBezTo>
                <a:cubicBezTo>
                  <a:pt x="175" y="25"/>
                  <a:pt x="125" y="50"/>
                  <a:pt x="125" y="50"/>
                </a:cubicBezTo>
                <a:cubicBezTo>
                  <a:pt x="125" y="50"/>
                  <a:pt x="125" y="100"/>
                  <a:pt x="125" y="125"/>
                </a:cubicBezTo>
                <a:cubicBezTo>
                  <a:pt x="125" y="150"/>
                  <a:pt x="150" y="150"/>
                  <a:pt x="150" y="174"/>
                </a:cubicBezTo>
                <a:cubicBezTo>
                  <a:pt x="150" y="200"/>
                  <a:pt x="125" y="225"/>
                  <a:pt x="125" y="225"/>
                </a:cubicBezTo>
                <a:cubicBezTo>
                  <a:pt x="125" y="250"/>
                  <a:pt x="99" y="250"/>
                  <a:pt x="75" y="250"/>
                </a:cubicBezTo>
                <a:cubicBezTo>
                  <a:pt x="50" y="250"/>
                  <a:pt x="50" y="300"/>
                  <a:pt x="50" y="300"/>
                </a:cubicBezTo>
                <a:cubicBezTo>
                  <a:pt x="25" y="325"/>
                  <a:pt x="25" y="350"/>
                  <a:pt x="25" y="374"/>
                </a:cubicBezTo>
                <a:cubicBezTo>
                  <a:pt x="0" y="400"/>
                  <a:pt x="0" y="425"/>
                  <a:pt x="0" y="450"/>
                </a:cubicBezTo>
                <a:cubicBezTo>
                  <a:pt x="0" y="474"/>
                  <a:pt x="0" y="500"/>
                  <a:pt x="0" y="525"/>
                </a:cubicBezTo>
                <a:cubicBezTo>
                  <a:pt x="25" y="525"/>
                  <a:pt x="25" y="525"/>
                  <a:pt x="25" y="500"/>
                </a:cubicBezTo>
                <a:cubicBezTo>
                  <a:pt x="50" y="500"/>
                  <a:pt x="125" y="474"/>
                  <a:pt x="125" y="474"/>
                </a:cubicBezTo>
                <a:cubicBezTo>
                  <a:pt x="200" y="474"/>
                  <a:pt x="200" y="474"/>
                  <a:pt x="200" y="474"/>
                </a:cubicBezTo>
                <a:cubicBezTo>
                  <a:pt x="225" y="425"/>
                  <a:pt x="250" y="374"/>
                  <a:pt x="275" y="374"/>
                </a:cubicBezTo>
                <a:cubicBezTo>
                  <a:pt x="325" y="374"/>
                  <a:pt x="375" y="374"/>
                  <a:pt x="400" y="374"/>
                </a:cubicBezTo>
                <a:cubicBezTo>
                  <a:pt x="425" y="350"/>
                  <a:pt x="425" y="325"/>
                  <a:pt x="425" y="325"/>
                </a:cubicBezTo>
                <a:cubicBezTo>
                  <a:pt x="450" y="300"/>
                  <a:pt x="500" y="250"/>
                  <a:pt x="500" y="200"/>
                </a:cubicBezTo>
                <a:cubicBezTo>
                  <a:pt x="500" y="174"/>
                  <a:pt x="500" y="125"/>
                  <a:pt x="500" y="125"/>
                </a:cubicBezTo>
                <a:lnTo>
                  <a:pt x="450" y="1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2" name="Freeform 138">
            <a:extLst>
              <a:ext uri="{FF2B5EF4-FFF2-40B4-BE49-F238E27FC236}">
                <a16:creationId xmlns:a16="http://schemas.microsoft.com/office/drawing/2014/main" id="{14635A6F-311C-BD48-8E93-F1C282EE266B}"/>
              </a:ext>
            </a:extLst>
          </p:cNvPr>
          <p:cNvSpPr>
            <a:spLocks noChangeArrowheads="1"/>
          </p:cNvSpPr>
          <p:nvPr/>
        </p:nvSpPr>
        <p:spPr bwMode="auto">
          <a:xfrm>
            <a:off x="7440369" y="3354135"/>
            <a:ext cx="525935" cy="310780"/>
          </a:xfrm>
          <a:custGeom>
            <a:avLst/>
            <a:gdLst>
              <a:gd name="T0" fmla="*/ 1600 w 1651"/>
              <a:gd name="T1" fmla="*/ 550 h 976"/>
              <a:gd name="T2" fmla="*/ 1600 w 1651"/>
              <a:gd name="T3" fmla="*/ 550 h 976"/>
              <a:gd name="T4" fmla="*/ 1475 w 1651"/>
              <a:gd name="T5" fmla="*/ 500 h 976"/>
              <a:gd name="T6" fmla="*/ 1400 w 1651"/>
              <a:gd name="T7" fmla="*/ 500 h 976"/>
              <a:gd name="T8" fmla="*/ 1325 w 1651"/>
              <a:gd name="T9" fmla="*/ 475 h 976"/>
              <a:gd name="T10" fmla="*/ 1225 w 1651"/>
              <a:gd name="T11" fmla="*/ 550 h 976"/>
              <a:gd name="T12" fmla="*/ 1175 w 1651"/>
              <a:gd name="T13" fmla="*/ 550 h 976"/>
              <a:gd name="T14" fmla="*/ 1100 w 1651"/>
              <a:gd name="T15" fmla="*/ 500 h 976"/>
              <a:gd name="T16" fmla="*/ 1025 w 1651"/>
              <a:gd name="T17" fmla="*/ 500 h 976"/>
              <a:gd name="T18" fmla="*/ 975 w 1651"/>
              <a:gd name="T19" fmla="*/ 400 h 976"/>
              <a:gd name="T20" fmla="*/ 949 w 1651"/>
              <a:gd name="T21" fmla="*/ 300 h 976"/>
              <a:gd name="T22" fmla="*/ 875 w 1651"/>
              <a:gd name="T23" fmla="*/ 250 h 976"/>
              <a:gd name="T24" fmla="*/ 675 w 1651"/>
              <a:gd name="T25" fmla="*/ 250 h 976"/>
              <a:gd name="T26" fmla="*/ 549 w 1651"/>
              <a:gd name="T27" fmla="*/ 250 h 976"/>
              <a:gd name="T28" fmla="*/ 449 w 1651"/>
              <a:gd name="T29" fmla="*/ 125 h 976"/>
              <a:gd name="T30" fmla="*/ 424 w 1651"/>
              <a:gd name="T31" fmla="*/ 175 h 976"/>
              <a:gd name="T32" fmla="*/ 300 w 1651"/>
              <a:gd name="T33" fmla="*/ 150 h 976"/>
              <a:gd name="T34" fmla="*/ 300 w 1651"/>
              <a:gd name="T35" fmla="*/ 25 h 976"/>
              <a:gd name="T36" fmla="*/ 249 w 1651"/>
              <a:gd name="T37" fmla="*/ 150 h 976"/>
              <a:gd name="T38" fmla="*/ 249 w 1651"/>
              <a:gd name="T39" fmla="*/ 0 h 976"/>
              <a:gd name="T40" fmla="*/ 0 w 1651"/>
              <a:gd name="T41" fmla="*/ 75 h 976"/>
              <a:gd name="T42" fmla="*/ 0 w 1651"/>
              <a:gd name="T43" fmla="*/ 475 h 976"/>
              <a:gd name="T44" fmla="*/ 0 w 1651"/>
              <a:gd name="T45" fmla="*/ 475 h 976"/>
              <a:gd name="T46" fmla="*/ 49 w 1651"/>
              <a:gd name="T47" fmla="*/ 500 h 976"/>
              <a:gd name="T48" fmla="*/ 100 w 1651"/>
              <a:gd name="T49" fmla="*/ 450 h 976"/>
              <a:gd name="T50" fmla="*/ 149 w 1651"/>
              <a:gd name="T51" fmla="*/ 400 h 976"/>
              <a:gd name="T52" fmla="*/ 200 w 1651"/>
              <a:gd name="T53" fmla="*/ 375 h 976"/>
              <a:gd name="T54" fmla="*/ 224 w 1651"/>
              <a:gd name="T55" fmla="*/ 350 h 976"/>
              <a:gd name="T56" fmla="*/ 300 w 1651"/>
              <a:gd name="T57" fmla="*/ 375 h 976"/>
              <a:gd name="T58" fmla="*/ 374 w 1651"/>
              <a:gd name="T59" fmla="*/ 400 h 976"/>
              <a:gd name="T60" fmla="*/ 400 w 1651"/>
              <a:gd name="T61" fmla="*/ 500 h 976"/>
              <a:gd name="T62" fmla="*/ 549 w 1651"/>
              <a:gd name="T63" fmla="*/ 500 h 976"/>
              <a:gd name="T64" fmla="*/ 575 w 1651"/>
              <a:gd name="T65" fmla="*/ 575 h 976"/>
              <a:gd name="T66" fmla="*/ 624 w 1651"/>
              <a:gd name="T67" fmla="*/ 650 h 976"/>
              <a:gd name="T68" fmla="*/ 725 w 1651"/>
              <a:gd name="T69" fmla="*/ 725 h 976"/>
              <a:gd name="T70" fmla="*/ 825 w 1651"/>
              <a:gd name="T71" fmla="*/ 775 h 976"/>
              <a:gd name="T72" fmla="*/ 925 w 1651"/>
              <a:gd name="T73" fmla="*/ 850 h 976"/>
              <a:gd name="T74" fmla="*/ 1000 w 1651"/>
              <a:gd name="T75" fmla="*/ 875 h 976"/>
              <a:gd name="T76" fmla="*/ 1025 w 1651"/>
              <a:gd name="T77" fmla="*/ 925 h 976"/>
              <a:gd name="T78" fmla="*/ 1025 w 1651"/>
              <a:gd name="T79" fmla="*/ 925 h 976"/>
              <a:gd name="T80" fmla="*/ 1100 w 1651"/>
              <a:gd name="T81" fmla="*/ 950 h 976"/>
              <a:gd name="T82" fmla="*/ 1125 w 1651"/>
              <a:gd name="T83" fmla="*/ 975 h 976"/>
              <a:gd name="T84" fmla="*/ 1175 w 1651"/>
              <a:gd name="T85" fmla="*/ 875 h 976"/>
              <a:gd name="T86" fmla="*/ 1175 w 1651"/>
              <a:gd name="T87" fmla="*/ 800 h 976"/>
              <a:gd name="T88" fmla="*/ 1100 w 1651"/>
              <a:gd name="T89" fmla="*/ 725 h 976"/>
              <a:gd name="T90" fmla="*/ 1200 w 1651"/>
              <a:gd name="T91" fmla="*/ 700 h 976"/>
              <a:gd name="T92" fmla="*/ 1225 w 1651"/>
              <a:gd name="T93" fmla="*/ 650 h 976"/>
              <a:gd name="T94" fmla="*/ 1275 w 1651"/>
              <a:gd name="T95" fmla="*/ 600 h 976"/>
              <a:gd name="T96" fmla="*/ 1349 w 1651"/>
              <a:gd name="T97" fmla="*/ 575 h 976"/>
              <a:gd name="T98" fmla="*/ 1400 w 1651"/>
              <a:gd name="T99" fmla="*/ 550 h 976"/>
              <a:gd name="T100" fmla="*/ 1375 w 1651"/>
              <a:gd name="T101" fmla="*/ 625 h 976"/>
              <a:gd name="T102" fmla="*/ 1475 w 1651"/>
              <a:gd name="T103" fmla="*/ 625 h 976"/>
              <a:gd name="T104" fmla="*/ 1575 w 1651"/>
              <a:gd name="T105" fmla="*/ 600 h 976"/>
              <a:gd name="T106" fmla="*/ 1600 w 1651"/>
              <a:gd name="T107" fmla="*/ 55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51" h="976">
                <a:moveTo>
                  <a:pt x="1600" y="550"/>
                </a:moveTo>
                <a:lnTo>
                  <a:pt x="1600" y="550"/>
                </a:lnTo>
                <a:cubicBezTo>
                  <a:pt x="1575" y="525"/>
                  <a:pt x="1500" y="475"/>
                  <a:pt x="1475" y="500"/>
                </a:cubicBezTo>
                <a:cubicBezTo>
                  <a:pt x="1475" y="525"/>
                  <a:pt x="1425" y="525"/>
                  <a:pt x="1400" y="500"/>
                </a:cubicBezTo>
                <a:cubicBezTo>
                  <a:pt x="1400" y="475"/>
                  <a:pt x="1375" y="450"/>
                  <a:pt x="1325" y="475"/>
                </a:cubicBezTo>
                <a:cubicBezTo>
                  <a:pt x="1249" y="500"/>
                  <a:pt x="1225" y="525"/>
                  <a:pt x="1225" y="550"/>
                </a:cubicBezTo>
                <a:cubicBezTo>
                  <a:pt x="1225" y="575"/>
                  <a:pt x="1175" y="600"/>
                  <a:pt x="1175" y="550"/>
                </a:cubicBezTo>
                <a:cubicBezTo>
                  <a:pt x="1175" y="525"/>
                  <a:pt x="1125" y="525"/>
                  <a:pt x="1100" y="500"/>
                </a:cubicBezTo>
                <a:cubicBezTo>
                  <a:pt x="1075" y="500"/>
                  <a:pt x="1025" y="525"/>
                  <a:pt x="1025" y="500"/>
                </a:cubicBezTo>
                <a:cubicBezTo>
                  <a:pt x="1025" y="450"/>
                  <a:pt x="975" y="425"/>
                  <a:pt x="975" y="400"/>
                </a:cubicBezTo>
                <a:cubicBezTo>
                  <a:pt x="949" y="350"/>
                  <a:pt x="975" y="300"/>
                  <a:pt x="949" y="300"/>
                </a:cubicBezTo>
                <a:cubicBezTo>
                  <a:pt x="925" y="300"/>
                  <a:pt x="900" y="250"/>
                  <a:pt x="875" y="250"/>
                </a:cubicBezTo>
                <a:cubicBezTo>
                  <a:pt x="849" y="250"/>
                  <a:pt x="700" y="250"/>
                  <a:pt x="675" y="250"/>
                </a:cubicBezTo>
                <a:cubicBezTo>
                  <a:pt x="649" y="225"/>
                  <a:pt x="575" y="275"/>
                  <a:pt x="549" y="250"/>
                </a:cubicBezTo>
                <a:cubicBezTo>
                  <a:pt x="549" y="225"/>
                  <a:pt x="475" y="150"/>
                  <a:pt x="449" y="125"/>
                </a:cubicBezTo>
                <a:cubicBezTo>
                  <a:pt x="449" y="150"/>
                  <a:pt x="424" y="150"/>
                  <a:pt x="424" y="175"/>
                </a:cubicBezTo>
                <a:cubicBezTo>
                  <a:pt x="349" y="225"/>
                  <a:pt x="275" y="200"/>
                  <a:pt x="300" y="150"/>
                </a:cubicBezTo>
                <a:cubicBezTo>
                  <a:pt x="324" y="100"/>
                  <a:pt x="324" y="25"/>
                  <a:pt x="300" y="25"/>
                </a:cubicBezTo>
                <a:cubicBezTo>
                  <a:pt x="249" y="25"/>
                  <a:pt x="275" y="150"/>
                  <a:pt x="249" y="150"/>
                </a:cubicBezTo>
                <a:cubicBezTo>
                  <a:pt x="224" y="150"/>
                  <a:pt x="224" y="50"/>
                  <a:pt x="249" y="0"/>
                </a:cubicBezTo>
                <a:cubicBezTo>
                  <a:pt x="0" y="75"/>
                  <a:pt x="0" y="75"/>
                  <a:pt x="0" y="75"/>
                </a:cubicBezTo>
                <a:cubicBezTo>
                  <a:pt x="0" y="475"/>
                  <a:pt x="0" y="475"/>
                  <a:pt x="0" y="475"/>
                </a:cubicBezTo>
                <a:lnTo>
                  <a:pt x="0" y="475"/>
                </a:lnTo>
                <a:cubicBezTo>
                  <a:pt x="24" y="500"/>
                  <a:pt x="49" y="500"/>
                  <a:pt x="49" y="500"/>
                </a:cubicBezTo>
                <a:cubicBezTo>
                  <a:pt x="100" y="500"/>
                  <a:pt x="100" y="475"/>
                  <a:pt x="100" y="450"/>
                </a:cubicBezTo>
                <a:cubicBezTo>
                  <a:pt x="100" y="450"/>
                  <a:pt x="124" y="400"/>
                  <a:pt x="149" y="400"/>
                </a:cubicBezTo>
                <a:cubicBezTo>
                  <a:pt x="175" y="400"/>
                  <a:pt x="175" y="375"/>
                  <a:pt x="200" y="375"/>
                </a:cubicBezTo>
                <a:cubicBezTo>
                  <a:pt x="200" y="375"/>
                  <a:pt x="224" y="375"/>
                  <a:pt x="224" y="350"/>
                </a:cubicBezTo>
                <a:cubicBezTo>
                  <a:pt x="249" y="350"/>
                  <a:pt x="275" y="350"/>
                  <a:pt x="300" y="375"/>
                </a:cubicBezTo>
                <a:cubicBezTo>
                  <a:pt x="300" y="375"/>
                  <a:pt x="349" y="400"/>
                  <a:pt x="374" y="400"/>
                </a:cubicBezTo>
                <a:cubicBezTo>
                  <a:pt x="400" y="400"/>
                  <a:pt x="400" y="475"/>
                  <a:pt x="400" y="500"/>
                </a:cubicBezTo>
                <a:cubicBezTo>
                  <a:pt x="400" y="500"/>
                  <a:pt x="524" y="500"/>
                  <a:pt x="549" y="500"/>
                </a:cubicBezTo>
                <a:cubicBezTo>
                  <a:pt x="549" y="525"/>
                  <a:pt x="549" y="550"/>
                  <a:pt x="575" y="575"/>
                </a:cubicBezTo>
                <a:cubicBezTo>
                  <a:pt x="600" y="600"/>
                  <a:pt x="624" y="625"/>
                  <a:pt x="624" y="650"/>
                </a:cubicBezTo>
                <a:cubicBezTo>
                  <a:pt x="624" y="675"/>
                  <a:pt x="700" y="700"/>
                  <a:pt x="725" y="725"/>
                </a:cubicBezTo>
                <a:cubicBezTo>
                  <a:pt x="725" y="750"/>
                  <a:pt x="775" y="775"/>
                  <a:pt x="825" y="775"/>
                </a:cubicBezTo>
                <a:cubicBezTo>
                  <a:pt x="875" y="800"/>
                  <a:pt x="900" y="850"/>
                  <a:pt x="925" y="850"/>
                </a:cubicBezTo>
                <a:cubicBezTo>
                  <a:pt x="949" y="850"/>
                  <a:pt x="1000" y="875"/>
                  <a:pt x="1000" y="875"/>
                </a:cubicBezTo>
                <a:cubicBezTo>
                  <a:pt x="1025" y="925"/>
                  <a:pt x="1025" y="925"/>
                  <a:pt x="1025" y="925"/>
                </a:cubicBezTo>
                <a:lnTo>
                  <a:pt x="1025" y="925"/>
                </a:lnTo>
                <a:cubicBezTo>
                  <a:pt x="1049" y="925"/>
                  <a:pt x="1075" y="950"/>
                  <a:pt x="1100" y="950"/>
                </a:cubicBezTo>
                <a:lnTo>
                  <a:pt x="1125" y="975"/>
                </a:lnTo>
                <a:cubicBezTo>
                  <a:pt x="1125" y="925"/>
                  <a:pt x="1149" y="900"/>
                  <a:pt x="1175" y="875"/>
                </a:cubicBezTo>
                <a:cubicBezTo>
                  <a:pt x="1200" y="850"/>
                  <a:pt x="1149" y="825"/>
                  <a:pt x="1175" y="800"/>
                </a:cubicBezTo>
                <a:cubicBezTo>
                  <a:pt x="1175" y="775"/>
                  <a:pt x="1100" y="750"/>
                  <a:pt x="1100" y="725"/>
                </a:cubicBezTo>
                <a:cubicBezTo>
                  <a:pt x="1100" y="700"/>
                  <a:pt x="1175" y="700"/>
                  <a:pt x="1200" y="700"/>
                </a:cubicBezTo>
                <a:cubicBezTo>
                  <a:pt x="1225" y="675"/>
                  <a:pt x="1200" y="650"/>
                  <a:pt x="1225" y="650"/>
                </a:cubicBezTo>
                <a:cubicBezTo>
                  <a:pt x="1249" y="650"/>
                  <a:pt x="1249" y="625"/>
                  <a:pt x="1275" y="600"/>
                </a:cubicBezTo>
                <a:cubicBezTo>
                  <a:pt x="1275" y="575"/>
                  <a:pt x="1325" y="600"/>
                  <a:pt x="1349" y="575"/>
                </a:cubicBezTo>
                <a:cubicBezTo>
                  <a:pt x="1375" y="550"/>
                  <a:pt x="1400" y="550"/>
                  <a:pt x="1400" y="550"/>
                </a:cubicBezTo>
                <a:cubicBezTo>
                  <a:pt x="1425" y="575"/>
                  <a:pt x="1375" y="625"/>
                  <a:pt x="1375" y="625"/>
                </a:cubicBezTo>
                <a:cubicBezTo>
                  <a:pt x="1400" y="625"/>
                  <a:pt x="1475" y="625"/>
                  <a:pt x="1475" y="625"/>
                </a:cubicBezTo>
                <a:cubicBezTo>
                  <a:pt x="1500" y="600"/>
                  <a:pt x="1549" y="625"/>
                  <a:pt x="1575" y="600"/>
                </a:cubicBezTo>
                <a:cubicBezTo>
                  <a:pt x="1600" y="575"/>
                  <a:pt x="1650" y="600"/>
                  <a:pt x="1600" y="5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3" name="Freeform 139">
            <a:extLst>
              <a:ext uri="{FF2B5EF4-FFF2-40B4-BE49-F238E27FC236}">
                <a16:creationId xmlns:a16="http://schemas.microsoft.com/office/drawing/2014/main" id="{30F87B2D-AD76-1844-ABC6-6AB18FF55A4B}"/>
              </a:ext>
            </a:extLst>
          </p:cNvPr>
          <p:cNvSpPr>
            <a:spLocks noChangeArrowheads="1"/>
          </p:cNvSpPr>
          <p:nvPr/>
        </p:nvSpPr>
        <p:spPr bwMode="auto">
          <a:xfrm>
            <a:off x="5917408" y="1623053"/>
            <a:ext cx="773432" cy="1227648"/>
          </a:xfrm>
          <a:custGeom>
            <a:avLst/>
            <a:gdLst>
              <a:gd name="T0" fmla="*/ 2300 w 2426"/>
              <a:gd name="T1" fmla="*/ 2000 h 3851"/>
              <a:gd name="T2" fmla="*/ 2250 w 2426"/>
              <a:gd name="T3" fmla="*/ 1876 h 3851"/>
              <a:gd name="T4" fmla="*/ 2075 w 2426"/>
              <a:gd name="T5" fmla="*/ 1876 h 3851"/>
              <a:gd name="T6" fmla="*/ 1900 w 2426"/>
              <a:gd name="T7" fmla="*/ 1925 h 3851"/>
              <a:gd name="T8" fmla="*/ 1800 w 2426"/>
              <a:gd name="T9" fmla="*/ 1900 h 3851"/>
              <a:gd name="T10" fmla="*/ 1650 w 2426"/>
              <a:gd name="T11" fmla="*/ 1950 h 3851"/>
              <a:gd name="T12" fmla="*/ 1624 w 2426"/>
              <a:gd name="T13" fmla="*/ 1950 h 3851"/>
              <a:gd name="T14" fmla="*/ 1475 w 2426"/>
              <a:gd name="T15" fmla="*/ 1976 h 3851"/>
              <a:gd name="T16" fmla="*/ 1375 w 2426"/>
              <a:gd name="T17" fmla="*/ 2000 h 3851"/>
              <a:gd name="T18" fmla="*/ 1224 w 2426"/>
              <a:gd name="T19" fmla="*/ 2100 h 3851"/>
              <a:gd name="T20" fmla="*/ 1175 w 2426"/>
              <a:gd name="T21" fmla="*/ 2225 h 3851"/>
              <a:gd name="T22" fmla="*/ 999 w 2426"/>
              <a:gd name="T23" fmla="*/ 2200 h 3851"/>
              <a:gd name="T24" fmla="*/ 875 w 2426"/>
              <a:gd name="T25" fmla="*/ 2325 h 3851"/>
              <a:gd name="T26" fmla="*/ 1050 w 2426"/>
              <a:gd name="T27" fmla="*/ 2325 h 3851"/>
              <a:gd name="T28" fmla="*/ 799 w 2426"/>
              <a:gd name="T29" fmla="*/ 2576 h 3851"/>
              <a:gd name="T30" fmla="*/ 650 w 2426"/>
              <a:gd name="T31" fmla="*/ 2801 h 3851"/>
              <a:gd name="T32" fmla="*/ 476 w 2426"/>
              <a:gd name="T33" fmla="*/ 3001 h 3851"/>
              <a:gd name="T34" fmla="*/ 225 w 2426"/>
              <a:gd name="T35" fmla="*/ 3150 h 3851"/>
              <a:gd name="T36" fmla="*/ 51 w 2426"/>
              <a:gd name="T37" fmla="*/ 3276 h 3851"/>
              <a:gd name="T38" fmla="*/ 25 w 2426"/>
              <a:gd name="T39" fmla="*/ 3476 h 3851"/>
              <a:gd name="T40" fmla="*/ 100 w 2426"/>
              <a:gd name="T41" fmla="*/ 3601 h 3851"/>
              <a:gd name="T42" fmla="*/ 125 w 2426"/>
              <a:gd name="T43" fmla="*/ 3650 h 3851"/>
              <a:gd name="T44" fmla="*/ 451 w 2426"/>
              <a:gd name="T45" fmla="*/ 3701 h 3851"/>
              <a:gd name="T46" fmla="*/ 624 w 2426"/>
              <a:gd name="T47" fmla="*/ 3726 h 3851"/>
              <a:gd name="T48" fmla="*/ 724 w 2426"/>
              <a:gd name="T49" fmla="*/ 3425 h 3851"/>
              <a:gd name="T50" fmla="*/ 699 w 2426"/>
              <a:gd name="T51" fmla="*/ 3025 h 3851"/>
              <a:gd name="T52" fmla="*/ 899 w 2426"/>
              <a:gd name="T53" fmla="*/ 2750 h 3851"/>
              <a:gd name="T54" fmla="*/ 1075 w 2426"/>
              <a:gd name="T55" fmla="*/ 2476 h 3851"/>
              <a:gd name="T56" fmla="*/ 1350 w 2426"/>
              <a:gd name="T57" fmla="*/ 2275 h 3851"/>
              <a:gd name="T58" fmla="*/ 1650 w 2426"/>
              <a:gd name="T59" fmla="*/ 2225 h 3851"/>
              <a:gd name="T60" fmla="*/ 1925 w 2426"/>
              <a:gd name="T61" fmla="*/ 2100 h 3851"/>
              <a:gd name="T62" fmla="*/ 2250 w 2426"/>
              <a:gd name="T63" fmla="*/ 2150 h 3851"/>
              <a:gd name="T64" fmla="*/ 675 w 2426"/>
              <a:gd name="T65" fmla="*/ 275 h 3851"/>
              <a:gd name="T66" fmla="*/ 899 w 2426"/>
              <a:gd name="T67" fmla="*/ 400 h 3851"/>
              <a:gd name="T68" fmla="*/ 975 w 2426"/>
              <a:gd name="T69" fmla="*/ 500 h 3851"/>
              <a:gd name="T70" fmla="*/ 924 w 2426"/>
              <a:gd name="T71" fmla="*/ 625 h 3851"/>
              <a:gd name="T72" fmla="*/ 1050 w 2426"/>
              <a:gd name="T73" fmla="*/ 800 h 3851"/>
              <a:gd name="T74" fmla="*/ 1324 w 2426"/>
              <a:gd name="T75" fmla="*/ 425 h 3851"/>
              <a:gd name="T76" fmla="*/ 1500 w 2426"/>
              <a:gd name="T77" fmla="*/ 600 h 3851"/>
              <a:gd name="T78" fmla="*/ 1775 w 2426"/>
              <a:gd name="T79" fmla="*/ 550 h 3851"/>
              <a:gd name="T80" fmla="*/ 1524 w 2426"/>
              <a:gd name="T81" fmla="*/ 350 h 3851"/>
              <a:gd name="T82" fmla="*/ 1250 w 2426"/>
              <a:gd name="T83" fmla="*/ 200 h 3851"/>
              <a:gd name="T84" fmla="*/ 1024 w 2426"/>
              <a:gd name="T85" fmla="*/ 150 h 3851"/>
              <a:gd name="T86" fmla="*/ 875 w 2426"/>
              <a:gd name="T87" fmla="*/ 225 h 3851"/>
              <a:gd name="T88" fmla="*/ 724 w 2426"/>
              <a:gd name="T89" fmla="*/ 150 h 3851"/>
              <a:gd name="T90" fmla="*/ 599 w 2426"/>
              <a:gd name="T91" fmla="*/ 450 h 3851"/>
              <a:gd name="T92" fmla="*/ 599 w 2426"/>
              <a:gd name="T93" fmla="*/ 450 h 3851"/>
              <a:gd name="T94" fmla="*/ 1400 w 2426"/>
              <a:gd name="T95" fmla="*/ 225 h 3851"/>
              <a:gd name="T96" fmla="*/ 2075 w 2426"/>
              <a:gd name="T97" fmla="*/ 100 h 3851"/>
              <a:gd name="T98" fmla="*/ 1624 w 2426"/>
              <a:gd name="T99" fmla="*/ 100 h 3851"/>
              <a:gd name="T100" fmla="*/ 1324 w 2426"/>
              <a:gd name="T101" fmla="*/ 25 h 3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6" h="3851">
                <a:moveTo>
                  <a:pt x="2349" y="2050"/>
                </a:moveTo>
                <a:lnTo>
                  <a:pt x="2349" y="2050"/>
                </a:lnTo>
                <a:cubicBezTo>
                  <a:pt x="2349" y="2076"/>
                  <a:pt x="2325" y="2076"/>
                  <a:pt x="2325" y="2050"/>
                </a:cubicBezTo>
                <a:cubicBezTo>
                  <a:pt x="2325" y="2025"/>
                  <a:pt x="2250" y="2000"/>
                  <a:pt x="2250" y="2000"/>
                </a:cubicBezTo>
                <a:cubicBezTo>
                  <a:pt x="2250" y="2000"/>
                  <a:pt x="2275" y="2000"/>
                  <a:pt x="2300" y="2000"/>
                </a:cubicBezTo>
                <a:cubicBezTo>
                  <a:pt x="2325" y="2025"/>
                  <a:pt x="2349" y="2000"/>
                  <a:pt x="2375" y="1976"/>
                </a:cubicBezTo>
                <a:cubicBezTo>
                  <a:pt x="2400" y="1950"/>
                  <a:pt x="2425" y="1976"/>
                  <a:pt x="2425" y="1950"/>
                </a:cubicBezTo>
                <a:lnTo>
                  <a:pt x="2375" y="1925"/>
                </a:lnTo>
                <a:cubicBezTo>
                  <a:pt x="2375" y="1900"/>
                  <a:pt x="2349" y="1876"/>
                  <a:pt x="2300" y="1900"/>
                </a:cubicBezTo>
                <a:cubicBezTo>
                  <a:pt x="2275" y="1900"/>
                  <a:pt x="2275" y="1876"/>
                  <a:pt x="2250" y="1876"/>
                </a:cubicBezTo>
                <a:cubicBezTo>
                  <a:pt x="2250" y="1850"/>
                  <a:pt x="2175" y="1876"/>
                  <a:pt x="2175" y="1925"/>
                </a:cubicBezTo>
                <a:cubicBezTo>
                  <a:pt x="2175" y="1950"/>
                  <a:pt x="2149" y="1950"/>
                  <a:pt x="2149" y="1925"/>
                </a:cubicBezTo>
                <a:cubicBezTo>
                  <a:pt x="2175" y="1900"/>
                  <a:pt x="2149" y="1876"/>
                  <a:pt x="2175" y="1876"/>
                </a:cubicBezTo>
                <a:cubicBezTo>
                  <a:pt x="2200" y="1876"/>
                  <a:pt x="2175" y="1825"/>
                  <a:pt x="2125" y="1825"/>
                </a:cubicBezTo>
                <a:cubicBezTo>
                  <a:pt x="2075" y="1825"/>
                  <a:pt x="2075" y="1850"/>
                  <a:pt x="2075" y="1876"/>
                </a:cubicBezTo>
                <a:cubicBezTo>
                  <a:pt x="2100" y="1876"/>
                  <a:pt x="2050" y="1950"/>
                  <a:pt x="2025" y="1950"/>
                </a:cubicBezTo>
                <a:cubicBezTo>
                  <a:pt x="2000" y="1950"/>
                  <a:pt x="2025" y="1900"/>
                  <a:pt x="2025" y="1876"/>
                </a:cubicBezTo>
                <a:cubicBezTo>
                  <a:pt x="2025" y="1850"/>
                  <a:pt x="2000" y="1850"/>
                  <a:pt x="1950" y="1900"/>
                </a:cubicBezTo>
                <a:cubicBezTo>
                  <a:pt x="1925" y="1950"/>
                  <a:pt x="1900" y="1976"/>
                  <a:pt x="1875" y="1976"/>
                </a:cubicBezTo>
                <a:cubicBezTo>
                  <a:pt x="1850" y="2000"/>
                  <a:pt x="1850" y="1950"/>
                  <a:pt x="1900" y="1925"/>
                </a:cubicBezTo>
                <a:cubicBezTo>
                  <a:pt x="1925" y="1900"/>
                  <a:pt x="1925" y="1850"/>
                  <a:pt x="1950" y="1850"/>
                </a:cubicBezTo>
                <a:cubicBezTo>
                  <a:pt x="1975" y="1850"/>
                  <a:pt x="1975" y="1825"/>
                  <a:pt x="1950" y="1825"/>
                </a:cubicBezTo>
                <a:cubicBezTo>
                  <a:pt x="1900" y="1800"/>
                  <a:pt x="1900" y="1850"/>
                  <a:pt x="1875" y="1850"/>
                </a:cubicBezTo>
                <a:cubicBezTo>
                  <a:pt x="1875" y="1876"/>
                  <a:pt x="1824" y="1850"/>
                  <a:pt x="1824" y="1850"/>
                </a:cubicBezTo>
                <a:cubicBezTo>
                  <a:pt x="1824" y="1876"/>
                  <a:pt x="1800" y="1876"/>
                  <a:pt x="1800" y="1900"/>
                </a:cubicBezTo>
                <a:cubicBezTo>
                  <a:pt x="1824" y="1900"/>
                  <a:pt x="1800" y="1925"/>
                  <a:pt x="1775" y="1900"/>
                </a:cubicBezTo>
                <a:cubicBezTo>
                  <a:pt x="1775" y="1876"/>
                  <a:pt x="1724" y="1900"/>
                  <a:pt x="1724" y="1925"/>
                </a:cubicBezTo>
                <a:cubicBezTo>
                  <a:pt x="1700" y="1950"/>
                  <a:pt x="1675" y="1950"/>
                  <a:pt x="1700" y="1950"/>
                </a:cubicBezTo>
                <a:cubicBezTo>
                  <a:pt x="1700" y="1976"/>
                  <a:pt x="1700" y="2000"/>
                  <a:pt x="1675" y="2025"/>
                </a:cubicBezTo>
                <a:cubicBezTo>
                  <a:pt x="1650" y="2025"/>
                  <a:pt x="1675" y="1950"/>
                  <a:pt x="1650" y="1950"/>
                </a:cubicBezTo>
                <a:cubicBezTo>
                  <a:pt x="1624" y="1950"/>
                  <a:pt x="1650" y="1925"/>
                  <a:pt x="1675" y="1925"/>
                </a:cubicBezTo>
                <a:cubicBezTo>
                  <a:pt x="1700" y="1925"/>
                  <a:pt x="1724" y="1876"/>
                  <a:pt x="1724" y="1876"/>
                </a:cubicBezTo>
                <a:cubicBezTo>
                  <a:pt x="1724" y="1850"/>
                  <a:pt x="1675" y="1850"/>
                  <a:pt x="1675" y="1876"/>
                </a:cubicBezTo>
                <a:cubicBezTo>
                  <a:pt x="1675" y="1900"/>
                  <a:pt x="1650" y="1900"/>
                  <a:pt x="1600" y="1900"/>
                </a:cubicBezTo>
                <a:cubicBezTo>
                  <a:pt x="1575" y="1900"/>
                  <a:pt x="1575" y="1925"/>
                  <a:pt x="1624" y="1950"/>
                </a:cubicBezTo>
                <a:cubicBezTo>
                  <a:pt x="1650" y="1976"/>
                  <a:pt x="1600" y="2000"/>
                  <a:pt x="1600" y="1976"/>
                </a:cubicBezTo>
                <a:cubicBezTo>
                  <a:pt x="1575" y="1950"/>
                  <a:pt x="1550" y="1976"/>
                  <a:pt x="1524" y="1976"/>
                </a:cubicBezTo>
                <a:cubicBezTo>
                  <a:pt x="1500" y="1976"/>
                  <a:pt x="1575" y="2000"/>
                  <a:pt x="1575" y="2025"/>
                </a:cubicBezTo>
                <a:cubicBezTo>
                  <a:pt x="1575" y="2025"/>
                  <a:pt x="1524" y="2000"/>
                  <a:pt x="1524" y="2025"/>
                </a:cubicBezTo>
                <a:cubicBezTo>
                  <a:pt x="1524" y="2025"/>
                  <a:pt x="1475" y="2000"/>
                  <a:pt x="1475" y="1976"/>
                </a:cubicBezTo>
                <a:cubicBezTo>
                  <a:pt x="1475" y="1976"/>
                  <a:pt x="1400" y="2000"/>
                  <a:pt x="1450" y="2000"/>
                </a:cubicBezTo>
                <a:cubicBezTo>
                  <a:pt x="1475" y="2025"/>
                  <a:pt x="1475" y="2025"/>
                  <a:pt x="1475" y="2076"/>
                </a:cubicBezTo>
                <a:cubicBezTo>
                  <a:pt x="1475" y="2100"/>
                  <a:pt x="1424" y="2076"/>
                  <a:pt x="1424" y="2050"/>
                </a:cubicBezTo>
                <a:cubicBezTo>
                  <a:pt x="1450" y="2025"/>
                  <a:pt x="1400" y="2025"/>
                  <a:pt x="1375" y="2050"/>
                </a:cubicBezTo>
                <a:cubicBezTo>
                  <a:pt x="1350" y="2050"/>
                  <a:pt x="1400" y="2000"/>
                  <a:pt x="1375" y="2000"/>
                </a:cubicBezTo>
                <a:cubicBezTo>
                  <a:pt x="1375" y="1976"/>
                  <a:pt x="1350" y="2000"/>
                  <a:pt x="1300" y="2000"/>
                </a:cubicBezTo>
                <a:cubicBezTo>
                  <a:pt x="1275" y="2000"/>
                  <a:pt x="1275" y="2000"/>
                  <a:pt x="1275" y="2025"/>
                </a:cubicBezTo>
                <a:cubicBezTo>
                  <a:pt x="1300" y="2050"/>
                  <a:pt x="1300" y="2076"/>
                  <a:pt x="1275" y="2076"/>
                </a:cubicBezTo>
                <a:cubicBezTo>
                  <a:pt x="1250" y="2050"/>
                  <a:pt x="1250" y="2076"/>
                  <a:pt x="1250" y="2076"/>
                </a:cubicBezTo>
                <a:cubicBezTo>
                  <a:pt x="1250" y="2100"/>
                  <a:pt x="1224" y="2100"/>
                  <a:pt x="1224" y="2100"/>
                </a:cubicBezTo>
                <a:cubicBezTo>
                  <a:pt x="1200" y="2076"/>
                  <a:pt x="1175" y="2076"/>
                  <a:pt x="1150" y="2100"/>
                </a:cubicBezTo>
                <a:cubicBezTo>
                  <a:pt x="1124" y="2125"/>
                  <a:pt x="1100" y="2125"/>
                  <a:pt x="1100" y="2150"/>
                </a:cubicBezTo>
                <a:cubicBezTo>
                  <a:pt x="1100" y="2175"/>
                  <a:pt x="1124" y="2150"/>
                  <a:pt x="1150" y="2150"/>
                </a:cubicBezTo>
                <a:cubicBezTo>
                  <a:pt x="1175" y="2175"/>
                  <a:pt x="1150" y="2175"/>
                  <a:pt x="1175" y="2200"/>
                </a:cubicBezTo>
                <a:lnTo>
                  <a:pt x="1175" y="2225"/>
                </a:lnTo>
                <a:cubicBezTo>
                  <a:pt x="1150" y="2200"/>
                  <a:pt x="1124" y="2200"/>
                  <a:pt x="1124" y="2225"/>
                </a:cubicBezTo>
                <a:cubicBezTo>
                  <a:pt x="1100" y="2250"/>
                  <a:pt x="1100" y="2225"/>
                  <a:pt x="1075" y="2200"/>
                </a:cubicBezTo>
                <a:cubicBezTo>
                  <a:pt x="1050" y="2175"/>
                  <a:pt x="1050" y="2225"/>
                  <a:pt x="1024" y="2225"/>
                </a:cubicBezTo>
                <a:cubicBezTo>
                  <a:pt x="999" y="2200"/>
                  <a:pt x="1050" y="2175"/>
                  <a:pt x="1050" y="2150"/>
                </a:cubicBezTo>
                <a:cubicBezTo>
                  <a:pt x="1024" y="2125"/>
                  <a:pt x="1024" y="2150"/>
                  <a:pt x="999" y="2200"/>
                </a:cubicBezTo>
                <a:cubicBezTo>
                  <a:pt x="950" y="2225"/>
                  <a:pt x="924" y="2225"/>
                  <a:pt x="924" y="2225"/>
                </a:cubicBezTo>
                <a:cubicBezTo>
                  <a:pt x="950" y="2250"/>
                  <a:pt x="899" y="2250"/>
                  <a:pt x="899" y="2275"/>
                </a:cubicBezTo>
                <a:cubicBezTo>
                  <a:pt x="875" y="2301"/>
                  <a:pt x="824" y="2325"/>
                  <a:pt x="775" y="2350"/>
                </a:cubicBezTo>
                <a:cubicBezTo>
                  <a:pt x="724" y="2376"/>
                  <a:pt x="775" y="2376"/>
                  <a:pt x="799" y="2350"/>
                </a:cubicBezTo>
                <a:cubicBezTo>
                  <a:pt x="824" y="2325"/>
                  <a:pt x="849" y="2350"/>
                  <a:pt x="875" y="2325"/>
                </a:cubicBezTo>
                <a:cubicBezTo>
                  <a:pt x="924" y="2301"/>
                  <a:pt x="950" y="2275"/>
                  <a:pt x="975" y="2275"/>
                </a:cubicBezTo>
                <a:cubicBezTo>
                  <a:pt x="975" y="2301"/>
                  <a:pt x="999" y="2301"/>
                  <a:pt x="1024" y="2275"/>
                </a:cubicBezTo>
                <a:cubicBezTo>
                  <a:pt x="1050" y="2250"/>
                  <a:pt x="1075" y="2250"/>
                  <a:pt x="1075" y="2275"/>
                </a:cubicBezTo>
                <a:cubicBezTo>
                  <a:pt x="1100" y="2275"/>
                  <a:pt x="1050" y="2301"/>
                  <a:pt x="1075" y="2325"/>
                </a:cubicBezTo>
                <a:cubicBezTo>
                  <a:pt x="1100" y="2350"/>
                  <a:pt x="1050" y="2350"/>
                  <a:pt x="1050" y="2325"/>
                </a:cubicBezTo>
                <a:cubicBezTo>
                  <a:pt x="1050" y="2325"/>
                  <a:pt x="1024" y="2301"/>
                  <a:pt x="999" y="2325"/>
                </a:cubicBezTo>
                <a:lnTo>
                  <a:pt x="975" y="2350"/>
                </a:lnTo>
                <a:cubicBezTo>
                  <a:pt x="950" y="2350"/>
                  <a:pt x="924" y="2401"/>
                  <a:pt x="924" y="2425"/>
                </a:cubicBezTo>
                <a:cubicBezTo>
                  <a:pt x="924" y="2450"/>
                  <a:pt x="899" y="2425"/>
                  <a:pt x="899" y="2450"/>
                </a:cubicBezTo>
                <a:cubicBezTo>
                  <a:pt x="899" y="2476"/>
                  <a:pt x="849" y="2525"/>
                  <a:pt x="799" y="2576"/>
                </a:cubicBezTo>
                <a:cubicBezTo>
                  <a:pt x="775" y="2601"/>
                  <a:pt x="799" y="2625"/>
                  <a:pt x="799" y="2650"/>
                </a:cubicBezTo>
                <a:cubicBezTo>
                  <a:pt x="775" y="2676"/>
                  <a:pt x="724" y="2650"/>
                  <a:pt x="724" y="2650"/>
                </a:cubicBezTo>
                <a:cubicBezTo>
                  <a:pt x="699" y="2676"/>
                  <a:pt x="724" y="2725"/>
                  <a:pt x="699" y="2750"/>
                </a:cubicBezTo>
                <a:cubicBezTo>
                  <a:pt x="675" y="2750"/>
                  <a:pt x="699" y="2776"/>
                  <a:pt x="699" y="2801"/>
                </a:cubicBezTo>
                <a:cubicBezTo>
                  <a:pt x="699" y="2825"/>
                  <a:pt x="650" y="2801"/>
                  <a:pt x="650" y="2801"/>
                </a:cubicBezTo>
                <a:cubicBezTo>
                  <a:pt x="650" y="2825"/>
                  <a:pt x="599" y="2825"/>
                  <a:pt x="576" y="2825"/>
                </a:cubicBezTo>
                <a:cubicBezTo>
                  <a:pt x="576" y="2850"/>
                  <a:pt x="599" y="2876"/>
                  <a:pt x="624" y="2901"/>
                </a:cubicBezTo>
                <a:cubicBezTo>
                  <a:pt x="650" y="2901"/>
                  <a:pt x="599" y="2925"/>
                  <a:pt x="599" y="2901"/>
                </a:cubicBezTo>
                <a:cubicBezTo>
                  <a:pt x="599" y="2876"/>
                  <a:pt x="576" y="2925"/>
                  <a:pt x="525" y="2925"/>
                </a:cubicBezTo>
                <a:cubicBezTo>
                  <a:pt x="476" y="2950"/>
                  <a:pt x="500" y="3001"/>
                  <a:pt x="476" y="3001"/>
                </a:cubicBezTo>
                <a:cubicBezTo>
                  <a:pt x="425" y="3001"/>
                  <a:pt x="451" y="3050"/>
                  <a:pt x="425" y="3076"/>
                </a:cubicBezTo>
                <a:cubicBezTo>
                  <a:pt x="400" y="3076"/>
                  <a:pt x="400" y="3025"/>
                  <a:pt x="376" y="3025"/>
                </a:cubicBezTo>
                <a:cubicBezTo>
                  <a:pt x="325" y="3025"/>
                  <a:pt x="325" y="3050"/>
                  <a:pt x="351" y="3076"/>
                </a:cubicBezTo>
                <a:cubicBezTo>
                  <a:pt x="376" y="3101"/>
                  <a:pt x="325" y="3076"/>
                  <a:pt x="300" y="3101"/>
                </a:cubicBezTo>
                <a:cubicBezTo>
                  <a:pt x="276" y="3125"/>
                  <a:pt x="225" y="3125"/>
                  <a:pt x="225" y="3150"/>
                </a:cubicBezTo>
                <a:cubicBezTo>
                  <a:pt x="200" y="3176"/>
                  <a:pt x="251" y="3176"/>
                  <a:pt x="276" y="3176"/>
                </a:cubicBezTo>
                <a:cubicBezTo>
                  <a:pt x="276" y="3201"/>
                  <a:pt x="225" y="3201"/>
                  <a:pt x="176" y="3176"/>
                </a:cubicBezTo>
                <a:cubicBezTo>
                  <a:pt x="151" y="3176"/>
                  <a:pt x="151" y="3225"/>
                  <a:pt x="125" y="3225"/>
                </a:cubicBezTo>
                <a:cubicBezTo>
                  <a:pt x="100" y="3201"/>
                  <a:pt x="75" y="3250"/>
                  <a:pt x="100" y="3250"/>
                </a:cubicBezTo>
                <a:cubicBezTo>
                  <a:pt x="100" y="3276"/>
                  <a:pt x="75" y="3276"/>
                  <a:pt x="51" y="3276"/>
                </a:cubicBezTo>
                <a:cubicBezTo>
                  <a:pt x="25" y="3250"/>
                  <a:pt x="25" y="3301"/>
                  <a:pt x="0" y="3301"/>
                </a:cubicBezTo>
                <a:cubicBezTo>
                  <a:pt x="0" y="3325"/>
                  <a:pt x="51" y="3350"/>
                  <a:pt x="51" y="3350"/>
                </a:cubicBezTo>
                <a:cubicBezTo>
                  <a:pt x="51" y="3376"/>
                  <a:pt x="0" y="3401"/>
                  <a:pt x="25" y="3401"/>
                </a:cubicBezTo>
                <a:cubicBezTo>
                  <a:pt x="51" y="3401"/>
                  <a:pt x="51" y="3425"/>
                  <a:pt x="25" y="3425"/>
                </a:cubicBezTo>
                <a:cubicBezTo>
                  <a:pt x="0" y="3425"/>
                  <a:pt x="0" y="3450"/>
                  <a:pt x="25" y="3476"/>
                </a:cubicBezTo>
                <a:cubicBezTo>
                  <a:pt x="51" y="3501"/>
                  <a:pt x="0" y="3501"/>
                  <a:pt x="25" y="3526"/>
                </a:cubicBezTo>
                <a:cubicBezTo>
                  <a:pt x="51" y="3550"/>
                  <a:pt x="51" y="3526"/>
                  <a:pt x="75" y="3550"/>
                </a:cubicBezTo>
                <a:cubicBezTo>
                  <a:pt x="75" y="3575"/>
                  <a:pt x="100" y="3550"/>
                  <a:pt x="125" y="3526"/>
                </a:cubicBezTo>
                <a:cubicBezTo>
                  <a:pt x="176" y="3501"/>
                  <a:pt x="176" y="3550"/>
                  <a:pt x="151" y="3550"/>
                </a:cubicBezTo>
                <a:cubicBezTo>
                  <a:pt x="125" y="3550"/>
                  <a:pt x="100" y="3575"/>
                  <a:pt x="100" y="3601"/>
                </a:cubicBezTo>
                <a:cubicBezTo>
                  <a:pt x="100" y="3626"/>
                  <a:pt x="75" y="3601"/>
                  <a:pt x="75" y="3575"/>
                </a:cubicBezTo>
                <a:cubicBezTo>
                  <a:pt x="75" y="3550"/>
                  <a:pt x="25" y="3575"/>
                  <a:pt x="25" y="3601"/>
                </a:cubicBezTo>
                <a:cubicBezTo>
                  <a:pt x="51" y="3626"/>
                  <a:pt x="25" y="3650"/>
                  <a:pt x="25" y="3650"/>
                </a:cubicBezTo>
                <a:cubicBezTo>
                  <a:pt x="25" y="3676"/>
                  <a:pt x="75" y="3676"/>
                  <a:pt x="75" y="3650"/>
                </a:cubicBezTo>
                <a:cubicBezTo>
                  <a:pt x="100" y="3626"/>
                  <a:pt x="125" y="3626"/>
                  <a:pt x="125" y="3650"/>
                </a:cubicBezTo>
                <a:cubicBezTo>
                  <a:pt x="151" y="3676"/>
                  <a:pt x="100" y="3676"/>
                  <a:pt x="100" y="3701"/>
                </a:cubicBezTo>
                <a:cubicBezTo>
                  <a:pt x="100" y="3726"/>
                  <a:pt x="75" y="3701"/>
                  <a:pt x="75" y="3726"/>
                </a:cubicBezTo>
                <a:cubicBezTo>
                  <a:pt x="51" y="3750"/>
                  <a:pt x="151" y="3801"/>
                  <a:pt x="176" y="3801"/>
                </a:cubicBezTo>
                <a:cubicBezTo>
                  <a:pt x="200" y="3801"/>
                  <a:pt x="225" y="3850"/>
                  <a:pt x="276" y="3826"/>
                </a:cubicBezTo>
                <a:cubicBezTo>
                  <a:pt x="325" y="3826"/>
                  <a:pt x="425" y="3726"/>
                  <a:pt x="451" y="3701"/>
                </a:cubicBezTo>
                <a:cubicBezTo>
                  <a:pt x="476" y="3676"/>
                  <a:pt x="500" y="3701"/>
                  <a:pt x="525" y="3701"/>
                </a:cubicBezTo>
                <a:cubicBezTo>
                  <a:pt x="525" y="3676"/>
                  <a:pt x="525" y="3626"/>
                  <a:pt x="551" y="3626"/>
                </a:cubicBezTo>
                <a:lnTo>
                  <a:pt x="576" y="3676"/>
                </a:lnTo>
                <a:cubicBezTo>
                  <a:pt x="599" y="3676"/>
                  <a:pt x="599" y="3701"/>
                  <a:pt x="599" y="3726"/>
                </a:cubicBezTo>
                <a:lnTo>
                  <a:pt x="624" y="3726"/>
                </a:lnTo>
                <a:cubicBezTo>
                  <a:pt x="650" y="3726"/>
                  <a:pt x="650" y="3676"/>
                  <a:pt x="650" y="3650"/>
                </a:cubicBezTo>
                <a:cubicBezTo>
                  <a:pt x="650" y="3650"/>
                  <a:pt x="675" y="3601"/>
                  <a:pt x="675" y="3575"/>
                </a:cubicBezTo>
                <a:cubicBezTo>
                  <a:pt x="650" y="3550"/>
                  <a:pt x="724" y="3575"/>
                  <a:pt x="724" y="3550"/>
                </a:cubicBezTo>
                <a:cubicBezTo>
                  <a:pt x="724" y="3550"/>
                  <a:pt x="750" y="3476"/>
                  <a:pt x="724" y="3476"/>
                </a:cubicBezTo>
                <a:cubicBezTo>
                  <a:pt x="699" y="3450"/>
                  <a:pt x="699" y="3425"/>
                  <a:pt x="724" y="3425"/>
                </a:cubicBezTo>
                <a:cubicBezTo>
                  <a:pt x="724" y="3425"/>
                  <a:pt x="750" y="3425"/>
                  <a:pt x="750" y="3376"/>
                </a:cubicBezTo>
                <a:cubicBezTo>
                  <a:pt x="750" y="3350"/>
                  <a:pt x="699" y="3350"/>
                  <a:pt x="699" y="3301"/>
                </a:cubicBezTo>
                <a:cubicBezTo>
                  <a:pt x="675" y="3276"/>
                  <a:pt x="724" y="3276"/>
                  <a:pt x="699" y="3225"/>
                </a:cubicBezTo>
                <a:cubicBezTo>
                  <a:pt x="675" y="3176"/>
                  <a:pt x="699" y="3150"/>
                  <a:pt x="699" y="3125"/>
                </a:cubicBezTo>
                <a:cubicBezTo>
                  <a:pt x="675" y="3101"/>
                  <a:pt x="675" y="3076"/>
                  <a:pt x="699" y="3025"/>
                </a:cubicBezTo>
                <a:cubicBezTo>
                  <a:pt x="724" y="3001"/>
                  <a:pt x="775" y="2976"/>
                  <a:pt x="799" y="2976"/>
                </a:cubicBezTo>
                <a:cubicBezTo>
                  <a:pt x="824" y="2976"/>
                  <a:pt x="849" y="3001"/>
                  <a:pt x="849" y="2976"/>
                </a:cubicBezTo>
                <a:cubicBezTo>
                  <a:pt x="875" y="2950"/>
                  <a:pt x="875" y="2925"/>
                  <a:pt x="849" y="2925"/>
                </a:cubicBezTo>
                <a:cubicBezTo>
                  <a:pt x="849" y="2901"/>
                  <a:pt x="799" y="2901"/>
                  <a:pt x="849" y="2876"/>
                </a:cubicBezTo>
                <a:cubicBezTo>
                  <a:pt x="875" y="2825"/>
                  <a:pt x="899" y="2776"/>
                  <a:pt x="899" y="2750"/>
                </a:cubicBezTo>
                <a:cubicBezTo>
                  <a:pt x="899" y="2701"/>
                  <a:pt x="899" y="2676"/>
                  <a:pt x="899" y="2650"/>
                </a:cubicBezTo>
                <a:cubicBezTo>
                  <a:pt x="924" y="2650"/>
                  <a:pt x="950" y="2650"/>
                  <a:pt x="975" y="2650"/>
                </a:cubicBezTo>
                <a:cubicBezTo>
                  <a:pt x="999" y="2625"/>
                  <a:pt x="975" y="2601"/>
                  <a:pt x="999" y="2576"/>
                </a:cubicBezTo>
                <a:cubicBezTo>
                  <a:pt x="999" y="2576"/>
                  <a:pt x="1024" y="2525"/>
                  <a:pt x="1050" y="2525"/>
                </a:cubicBezTo>
                <a:cubicBezTo>
                  <a:pt x="1050" y="2501"/>
                  <a:pt x="1075" y="2476"/>
                  <a:pt x="1075" y="2476"/>
                </a:cubicBezTo>
                <a:cubicBezTo>
                  <a:pt x="1050" y="2450"/>
                  <a:pt x="1100" y="2425"/>
                  <a:pt x="1100" y="2401"/>
                </a:cubicBezTo>
                <a:cubicBezTo>
                  <a:pt x="1100" y="2376"/>
                  <a:pt x="1124" y="2350"/>
                  <a:pt x="1175" y="2350"/>
                </a:cubicBezTo>
                <a:cubicBezTo>
                  <a:pt x="1200" y="2350"/>
                  <a:pt x="1224" y="2350"/>
                  <a:pt x="1224" y="2325"/>
                </a:cubicBezTo>
                <a:cubicBezTo>
                  <a:pt x="1224" y="2301"/>
                  <a:pt x="1224" y="2225"/>
                  <a:pt x="1250" y="2250"/>
                </a:cubicBezTo>
                <a:cubicBezTo>
                  <a:pt x="1300" y="2275"/>
                  <a:pt x="1324" y="2250"/>
                  <a:pt x="1350" y="2275"/>
                </a:cubicBezTo>
                <a:cubicBezTo>
                  <a:pt x="1375" y="2301"/>
                  <a:pt x="1424" y="2301"/>
                  <a:pt x="1424" y="2250"/>
                </a:cubicBezTo>
                <a:cubicBezTo>
                  <a:pt x="1424" y="2225"/>
                  <a:pt x="1424" y="2150"/>
                  <a:pt x="1475" y="2175"/>
                </a:cubicBezTo>
                <a:lnTo>
                  <a:pt x="1475" y="2175"/>
                </a:lnTo>
                <a:cubicBezTo>
                  <a:pt x="1500" y="2150"/>
                  <a:pt x="1524" y="2150"/>
                  <a:pt x="1550" y="2150"/>
                </a:cubicBezTo>
                <a:cubicBezTo>
                  <a:pt x="1575" y="2150"/>
                  <a:pt x="1600" y="2200"/>
                  <a:pt x="1650" y="2225"/>
                </a:cubicBezTo>
                <a:cubicBezTo>
                  <a:pt x="1700" y="2225"/>
                  <a:pt x="1724" y="2250"/>
                  <a:pt x="1750" y="2225"/>
                </a:cubicBezTo>
                <a:cubicBezTo>
                  <a:pt x="1750" y="2200"/>
                  <a:pt x="1800" y="2225"/>
                  <a:pt x="1824" y="2225"/>
                </a:cubicBezTo>
                <a:cubicBezTo>
                  <a:pt x="1850" y="2225"/>
                  <a:pt x="1850" y="2275"/>
                  <a:pt x="1875" y="2250"/>
                </a:cubicBezTo>
                <a:cubicBezTo>
                  <a:pt x="1900" y="2200"/>
                  <a:pt x="1875" y="2175"/>
                  <a:pt x="1925" y="2175"/>
                </a:cubicBezTo>
                <a:cubicBezTo>
                  <a:pt x="1950" y="2200"/>
                  <a:pt x="1925" y="2125"/>
                  <a:pt x="1925" y="2100"/>
                </a:cubicBezTo>
                <a:cubicBezTo>
                  <a:pt x="1925" y="2076"/>
                  <a:pt x="2000" y="2076"/>
                  <a:pt x="2000" y="2050"/>
                </a:cubicBezTo>
                <a:cubicBezTo>
                  <a:pt x="2000" y="2025"/>
                  <a:pt x="2075" y="2050"/>
                  <a:pt x="2075" y="2025"/>
                </a:cubicBezTo>
                <a:cubicBezTo>
                  <a:pt x="2100" y="2000"/>
                  <a:pt x="2149" y="2000"/>
                  <a:pt x="2149" y="2025"/>
                </a:cubicBezTo>
                <a:cubicBezTo>
                  <a:pt x="2175" y="2050"/>
                  <a:pt x="2250" y="2050"/>
                  <a:pt x="2250" y="2076"/>
                </a:cubicBezTo>
                <a:cubicBezTo>
                  <a:pt x="2250" y="2100"/>
                  <a:pt x="2250" y="2125"/>
                  <a:pt x="2250" y="2150"/>
                </a:cubicBezTo>
                <a:cubicBezTo>
                  <a:pt x="2275" y="2125"/>
                  <a:pt x="2275" y="2125"/>
                  <a:pt x="2300" y="2125"/>
                </a:cubicBezTo>
                <a:cubicBezTo>
                  <a:pt x="2325" y="2125"/>
                  <a:pt x="2349" y="2076"/>
                  <a:pt x="2375" y="2076"/>
                </a:cubicBezTo>
                <a:cubicBezTo>
                  <a:pt x="2400" y="2076"/>
                  <a:pt x="2425" y="2076"/>
                  <a:pt x="2425" y="2050"/>
                </a:cubicBezTo>
                <a:cubicBezTo>
                  <a:pt x="2400" y="2025"/>
                  <a:pt x="2349" y="2025"/>
                  <a:pt x="2349" y="2050"/>
                </a:cubicBezTo>
                <a:close/>
                <a:moveTo>
                  <a:pt x="675" y="275"/>
                </a:moveTo>
                <a:lnTo>
                  <a:pt x="675" y="275"/>
                </a:lnTo>
                <a:cubicBezTo>
                  <a:pt x="724" y="275"/>
                  <a:pt x="624" y="325"/>
                  <a:pt x="624" y="375"/>
                </a:cubicBezTo>
                <a:cubicBezTo>
                  <a:pt x="599" y="400"/>
                  <a:pt x="675" y="450"/>
                  <a:pt x="724" y="475"/>
                </a:cubicBezTo>
                <a:cubicBezTo>
                  <a:pt x="750" y="500"/>
                  <a:pt x="824" y="500"/>
                  <a:pt x="849" y="475"/>
                </a:cubicBezTo>
                <a:cubicBezTo>
                  <a:pt x="875" y="450"/>
                  <a:pt x="875" y="400"/>
                  <a:pt x="899" y="400"/>
                </a:cubicBezTo>
                <a:cubicBezTo>
                  <a:pt x="950" y="400"/>
                  <a:pt x="924" y="375"/>
                  <a:pt x="950" y="350"/>
                </a:cubicBezTo>
                <a:cubicBezTo>
                  <a:pt x="975" y="350"/>
                  <a:pt x="975" y="400"/>
                  <a:pt x="950" y="425"/>
                </a:cubicBezTo>
                <a:cubicBezTo>
                  <a:pt x="924" y="450"/>
                  <a:pt x="999" y="450"/>
                  <a:pt x="1050" y="400"/>
                </a:cubicBezTo>
                <a:cubicBezTo>
                  <a:pt x="1075" y="375"/>
                  <a:pt x="1075" y="400"/>
                  <a:pt x="1075" y="450"/>
                </a:cubicBezTo>
                <a:cubicBezTo>
                  <a:pt x="1075" y="475"/>
                  <a:pt x="999" y="450"/>
                  <a:pt x="975" y="500"/>
                </a:cubicBezTo>
                <a:cubicBezTo>
                  <a:pt x="924" y="525"/>
                  <a:pt x="849" y="500"/>
                  <a:pt x="824" y="550"/>
                </a:cubicBezTo>
                <a:cubicBezTo>
                  <a:pt x="775" y="575"/>
                  <a:pt x="849" y="575"/>
                  <a:pt x="899" y="575"/>
                </a:cubicBezTo>
                <a:cubicBezTo>
                  <a:pt x="950" y="575"/>
                  <a:pt x="1050" y="550"/>
                  <a:pt x="1100" y="575"/>
                </a:cubicBezTo>
                <a:cubicBezTo>
                  <a:pt x="1124" y="575"/>
                  <a:pt x="1075" y="600"/>
                  <a:pt x="999" y="600"/>
                </a:cubicBezTo>
                <a:cubicBezTo>
                  <a:pt x="950" y="600"/>
                  <a:pt x="924" y="600"/>
                  <a:pt x="924" y="625"/>
                </a:cubicBezTo>
                <a:cubicBezTo>
                  <a:pt x="924" y="650"/>
                  <a:pt x="824" y="600"/>
                  <a:pt x="824" y="650"/>
                </a:cubicBezTo>
                <a:cubicBezTo>
                  <a:pt x="824" y="675"/>
                  <a:pt x="924" y="700"/>
                  <a:pt x="924" y="725"/>
                </a:cubicBezTo>
                <a:cubicBezTo>
                  <a:pt x="924" y="750"/>
                  <a:pt x="999" y="725"/>
                  <a:pt x="1024" y="725"/>
                </a:cubicBezTo>
                <a:cubicBezTo>
                  <a:pt x="1050" y="725"/>
                  <a:pt x="975" y="750"/>
                  <a:pt x="975" y="775"/>
                </a:cubicBezTo>
                <a:cubicBezTo>
                  <a:pt x="950" y="775"/>
                  <a:pt x="1024" y="800"/>
                  <a:pt x="1050" y="800"/>
                </a:cubicBezTo>
                <a:cubicBezTo>
                  <a:pt x="1050" y="825"/>
                  <a:pt x="1100" y="825"/>
                  <a:pt x="1100" y="800"/>
                </a:cubicBezTo>
                <a:cubicBezTo>
                  <a:pt x="1100" y="750"/>
                  <a:pt x="1150" y="650"/>
                  <a:pt x="1224" y="625"/>
                </a:cubicBezTo>
                <a:cubicBezTo>
                  <a:pt x="1275" y="600"/>
                  <a:pt x="1250" y="575"/>
                  <a:pt x="1250" y="550"/>
                </a:cubicBezTo>
                <a:cubicBezTo>
                  <a:pt x="1250" y="500"/>
                  <a:pt x="1300" y="525"/>
                  <a:pt x="1300" y="500"/>
                </a:cubicBezTo>
                <a:cubicBezTo>
                  <a:pt x="1275" y="475"/>
                  <a:pt x="1300" y="475"/>
                  <a:pt x="1324" y="425"/>
                </a:cubicBezTo>
                <a:cubicBezTo>
                  <a:pt x="1375" y="400"/>
                  <a:pt x="1400" y="425"/>
                  <a:pt x="1450" y="400"/>
                </a:cubicBezTo>
                <a:cubicBezTo>
                  <a:pt x="1500" y="375"/>
                  <a:pt x="1524" y="400"/>
                  <a:pt x="1450" y="425"/>
                </a:cubicBezTo>
                <a:cubicBezTo>
                  <a:pt x="1424" y="425"/>
                  <a:pt x="1450" y="475"/>
                  <a:pt x="1475" y="475"/>
                </a:cubicBezTo>
                <a:cubicBezTo>
                  <a:pt x="1524" y="500"/>
                  <a:pt x="1475" y="525"/>
                  <a:pt x="1500" y="525"/>
                </a:cubicBezTo>
                <a:cubicBezTo>
                  <a:pt x="1550" y="525"/>
                  <a:pt x="1524" y="575"/>
                  <a:pt x="1500" y="600"/>
                </a:cubicBezTo>
                <a:cubicBezTo>
                  <a:pt x="1450" y="650"/>
                  <a:pt x="1500" y="650"/>
                  <a:pt x="1575" y="625"/>
                </a:cubicBezTo>
                <a:cubicBezTo>
                  <a:pt x="1650" y="600"/>
                  <a:pt x="1600" y="650"/>
                  <a:pt x="1624" y="675"/>
                </a:cubicBezTo>
                <a:cubicBezTo>
                  <a:pt x="1650" y="700"/>
                  <a:pt x="1724" y="650"/>
                  <a:pt x="1750" y="625"/>
                </a:cubicBezTo>
                <a:cubicBezTo>
                  <a:pt x="1775" y="575"/>
                  <a:pt x="1824" y="575"/>
                  <a:pt x="1824" y="575"/>
                </a:cubicBezTo>
                <a:cubicBezTo>
                  <a:pt x="1824" y="550"/>
                  <a:pt x="1800" y="525"/>
                  <a:pt x="1775" y="550"/>
                </a:cubicBezTo>
                <a:cubicBezTo>
                  <a:pt x="1750" y="550"/>
                  <a:pt x="1675" y="550"/>
                  <a:pt x="1700" y="525"/>
                </a:cubicBezTo>
                <a:cubicBezTo>
                  <a:pt x="1724" y="500"/>
                  <a:pt x="1700" y="500"/>
                  <a:pt x="1675" y="500"/>
                </a:cubicBezTo>
                <a:cubicBezTo>
                  <a:pt x="1624" y="500"/>
                  <a:pt x="1575" y="475"/>
                  <a:pt x="1600" y="475"/>
                </a:cubicBezTo>
                <a:cubicBezTo>
                  <a:pt x="1624" y="450"/>
                  <a:pt x="1575" y="400"/>
                  <a:pt x="1550" y="425"/>
                </a:cubicBezTo>
                <a:cubicBezTo>
                  <a:pt x="1524" y="425"/>
                  <a:pt x="1524" y="375"/>
                  <a:pt x="1524" y="350"/>
                </a:cubicBezTo>
                <a:cubicBezTo>
                  <a:pt x="1524" y="325"/>
                  <a:pt x="1450" y="325"/>
                  <a:pt x="1475" y="325"/>
                </a:cubicBezTo>
                <a:cubicBezTo>
                  <a:pt x="1475" y="300"/>
                  <a:pt x="1424" y="300"/>
                  <a:pt x="1424" y="300"/>
                </a:cubicBezTo>
                <a:cubicBezTo>
                  <a:pt x="1400" y="325"/>
                  <a:pt x="1375" y="325"/>
                  <a:pt x="1375" y="300"/>
                </a:cubicBezTo>
                <a:cubicBezTo>
                  <a:pt x="1375" y="275"/>
                  <a:pt x="1324" y="275"/>
                  <a:pt x="1300" y="275"/>
                </a:cubicBezTo>
                <a:cubicBezTo>
                  <a:pt x="1275" y="275"/>
                  <a:pt x="1275" y="225"/>
                  <a:pt x="1250" y="200"/>
                </a:cubicBezTo>
                <a:cubicBezTo>
                  <a:pt x="1224" y="175"/>
                  <a:pt x="1200" y="250"/>
                  <a:pt x="1175" y="250"/>
                </a:cubicBezTo>
                <a:cubicBezTo>
                  <a:pt x="1150" y="225"/>
                  <a:pt x="1200" y="200"/>
                  <a:pt x="1200" y="175"/>
                </a:cubicBezTo>
                <a:cubicBezTo>
                  <a:pt x="1200" y="150"/>
                  <a:pt x="1124" y="125"/>
                  <a:pt x="1100" y="150"/>
                </a:cubicBezTo>
                <a:cubicBezTo>
                  <a:pt x="1100" y="175"/>
                  <a:pt x="1075" y="100"/>
                  <a:pt x="1050" y="100"/>
                </a:cubicBezTo>
                <a:cubicBezTo>
                  <a:pt x="1024" y="100"/>
                  <a:pt x="1050" y="125"/>
                  <a:pt x="1024" y="150"/>
                </a:cubicBezTo>
                <a:cubicBezTo>
                  <a:pt x="999" y="150"/>
                  <a:pt x="975" y="175"/>
                  <a:pt x="1024" y="175"/>
                </a:cubicBezTo>
                <a:cubicBezTo>
                  <a:pt x="1050" y="200"/>
                  <a:pt x="1075" y="300"/>
                  <a:pt x="1075" y="325"/>
                </a:cubicBezTo>
                <a:cubicBezTo>
                  <a:pt x="1075" y="350"/>
                  <a:pt x="975" y="250"/>
                  <a:pt x="975" y="200"/>
                </a:cubicBezTo>
                <a:cubicBezTo>
                  <a:pt x="975" y="175"/>
                  <a:pt x="924" y="125"/>
                  <a:pt x="899" y="150"/>
                </a:cubicBezTo>
                <a:cubicBezTo>
                  <a:pt x="899" y="200"/>
                  <a:pt x="849" y="200"/>
                  <a:pt x="875" y="225"/>
                </a:cubicBezTo>
                <a:cubicBezTo>
                  <a:pt x="875" y="275"/>
                  <a:pt x="849" y="275"/>
                  <a:pt x="849" y="250"/>
                </a:cubicBezTo>
                <a:cubicBezTo>
                  <a:pt x="849" y="225"/>
                  <a:pt x="799" y="200"/>
                  <a:pt x="775" y="200"/>
                </a:cubicBezTo>
                <a:cubicBezTo>
                  <a:pt x="750" y="200"/>
                  <a:pt x="824" y="175"/>
                  <a:pt x="849" y="175"/>
                </a:cubicBezTo>
                <a:cubicBezTo>
                  <a:pt x="875" y="150"/>
                  <a:pt x="824" y="125"/>
                  <a:pt x="799" y="150"/>
                </a:cubicBezTo>
                <a:cubicBezTo>
                  <a:pt x="775" y="175"/>
                  <a:pt x="724" y="125"/>
                  <a:pt x="724" y="150"/>
                </a:cubicBezTo>
                <a:cubicBezTo>
                  <a:pt x="699" y="175"/>
                  <a:pt x="675" y="150"/>
                  <a:pt x="650" y="150"/>
                </a:cubicBezTo>
                <a:cubicBezTo>
                  <a:pt x="624" y="150"/>
                  <a:pt x="599" y="200"/>
                  <a:pt x="576" y="175"/>
                </a:cubicBezTo>
                <a:cubicBezTo>
                  <a:pt x="551" y="175"/>
                  <a:pt x="551" y="225"/>
                  <a:pt x="576" y="275"/>
                </a:cubicBezTo>
                <a:cubicBezTo>
                  <a:pt x="599" y="325"/>
                  <a:pt x="624" y="275"/>
                  <a:pt x="675" y="275"/>
                </a:cubicBezTo>
                <a:close/>
                <a:moveTo>
                  <a:pt x="599" y="450"/>
                </a:moveTo>
                <a:lnTo>
                  <a:pt x="599" y="450"/>
                </a:lnTo>
                <a:cubicBezTo>
                  <a:pt x="624" y="450"/>
                  <a:pt x="624" y="500"/>
                  <a:pt x="650" y="475"/>
                </a:cubicBezTo>
                <a:cubicBezTo>
                  <a:pt x="675" y="475"/>
                  <a:pt x="624" y="425"/>
                  <a:pt x="599" y="400"/>
                </a:cubicBezTo>
                <a:cubicBezTo>
                  <a:pt x="576" y="375"/>
                  <a:pt x="576" y="350"/>
                  <a:pt x="525" y="350"/>
                </a:cubicBezTo>
                <a:cubicBezTo>
                  <a:pt x="500" y="375"/>
                  <a:pt x="576" y="425"/>
                  <a:pt x="599" y="450"/>
                </a:cubicBezTo>
                <a:close/>
                <a:moveTo>
                  <a:pt x="1250" y="100"/>
                </a:moveTo>
                <a:lnTo>
                  <a:pt x="1250" y="100"/>
                </a:lnTo>
                <a:cubicBezTo>
                  <a:pt x="1275" y="125"/>
                  <a:pt x="1224" y="125"/>
                  <a:pt x="1250" y="150"/>
                </a:cubicBezTo>
                <a:cubicBezTo>
                  <a:pt x="1300" y="200"/>
                  <a:pt x="1550" y="125"/>
                  <a:pt x="1575" y="150"/>
                </a:cubicBezTo>
                <a:cubicBezTo>
                  <a:pt x="1624" y="175"/>
                  <a:pt x="1375" y="200"/>
                  <a:pt x="1400" y="225"/>
                </a:cubicBezTo>
                <a:cubicBezTo>
                  <a:pt x="1400" y="250"/>
                  <a:pt x="1600" y="250"/>
                  <a:pt x="1600" y="250"/>
                </a:cubicBezTo>
                <a:cubicBezTo>
                  <a:pt x="1624" y="225"/>
                  <a:pt x="1650" y="275"/>
                  <a:pt x="1724" y="275"/>
                </a:cubicBezTo>
                <a:cubicBezTo>
                  <a:pt x="1775" y="275"/>
                  <a:pt x="1775" y="250"/>
                  <a:pt x="1824" y="250"/>
                </a:cubicBezTo>
                <a:cubicBezTo>
                  <a:pt x="1875" y="250"/>
                  <a:pt x="1950" y="225"/>
                  <a:pt x="1950" y="200"/>
                </a:cubicBezTo>
                <a:cubicBezTo>
                  <a:pt x="1950" y="175"/>
                  <a:pt x="2100" y="150"/>
                  <a:pt x="2075" y="100"/>
                </a:cubicBezTo>
                <a:cubicBezTo>
                  <a:pt x="2075" y="50"/>
                  <a:pt x="1925" y="75"/>
                  <a:pt x="1900" y="75"/>
                </a:cubicBezTo>
                <a:cubicBezTo>
                  <a:pt x="1850" y="50"/>
                  <a:pt x="1775" y="25"/>
                  <a:pt x="1750" y="50"/>
                </a:cubicBezTo>
                <a:cubicBezTo>
                  <a:pt x="1750" y="75"/>
                  <a:pt x="1724" y="75"/>
                  <a:pt x="1700" y="75"/>
                </a:cubicBezTo>
                <a:cubicBezTo>
                  <a:pt x="1700" y="50"/>
                  <a:pt x="1700" y="0"/>
                  <a:pt x="1650" y="25"/>
                </a:cubicBezTo>
                <a:cubicBezTo>
                  <a:pt x="1575" y="25"/>
                  <a:pt x="1650" y="100"/>
                  <a:pt x="1624" y="100"/>
                </a:cubicBezTo>
                <a:cubicBezTo>
                  <a:pt x="1624" y="125"/>
                  <a:pt x="1550" y="100"/>
                  <a:pt x="1550" y="75"/>
                </a:cubicBezTo>
                <a:cubicBezTo>
                  <a:pt x="1550" y="25"/>
                  <a:pt x="1475" y="100"/>
                  <a:pt x="1475" y="50"/>
                </a:cubicBezTo>
                <a:cubicBezTo>
                  <a:pt x="1475" y="25"/>
                  <a:pt x="1400" y="0"/>
                  <a:pt x="1375" y="0"/>
                </a:cubicBezTo>
                <a:cubicBezTo>
                  <a:pt x="1350" y="0"/>
                  <a:pt x="1400" y="25"/>
                  <a:pt x="1375" y="50"/>
                </a:cubicBezTo>
                <a:lnTo>
                  <a:pt x="1324" y="25"/>
                </a:lnTo>
                <a:cubicBezTo>
                  <a:pt x="1300" y="25"/>
                  <a:pt x="1324" y="50"/>
                  <a:pt x="1324" y="75"/>
                </a:cubicBezTo>
                <a:cubicBezTo>
                  <a:pt x="1300" y="100"/>
                  <a:pt x="1275" y="25"/>
                  <a:pt x="1250" y="25"/>
                </a:cubicBezTo>
                <a:cubicBezTo>
                  <a:pt x="1224" y="25"/>
                  <a:pt x="1224" y="50"/>
                  <a:pt x="1200" y="50"/>
                </a:cubicBezTo>
                <a:cubicBezTo>
                  <a:pt x="1175" y="75"/>
                  <a:pt x="1224" y="100"/>
                  <a:pt x="1250" y="10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4" name="Freeform 140">
            <a:extLst>
              <a:ext uri="{FF2B5EF4-FFF2-40B4-BE49-F238E27FC236}">
                <a16:creationId xmlns:a16="http://schemas.microsoft.com/office/drawing/2014/main" id="{A87DEA52-4241-724D-AEC5-FCFC6A7947F3}"/>
              </a:ext>
            </a:extLst>
          </p:cNvPr>
          <p:cNvSpPr>
            <a:spLocks noChangeArrowheads="1"/>
          </p:cNvSpPr>
          <p:nvPr/>
        </p:nvSpPr>
        <p:spPr bwMode="auto">
          <a:xfrm>
            <a:off x="11394719" y="2604611"/>
            <a:ext cx="104061" cy="32343"/>
          </a:xfrm>
          <a:custGeom>
            <a:avLst/>
            <a:gdLst>
              <a:gd name="T0" fmla="*/ 150 w 326"/>
              <a:gd name="T1" fmla="*/ 0 h 101"/>
              <a:gd name="T2" fmla="*/ 150 w 326"/>
              <a:gd name="T3" fmla="*/ 0 h 101"/>
              <a:gd name="T4" fmla="*/ 25 w 326"/>
              <a:gd name="T5" fmla="*/ 49 h 101"/>
              <a:gd name="T6" fmla="*/ 200 w 326"/>
              <a:gd name="T7" fmla="*/ 74 h 101"/>
              <a:gd name="T8" fmla="*/ 325 w 326"/>
              <a:gd name="T9" fmla="*/ 74 h 101"/>
              <a:gd name="T10" fmla="*/ 150 w 326"/>
              <a:gd name="T11" fmla="*/ 0 h 101"/>
            </a:gdLst>
            <a:ahLst/>
            <a:cxnLst>
              <a:cxn ang="0">
                <a:pos x="T0" y="T1"/>
              </a:cxn>
              <a:cxn ang="0">
                <a:pos x="T2" y="T3"/>
              </a:cxn>
              <a:cxn ang="0">
                <a:pos x="T4" y="T5"/>
              </a:cxn>
              <a:cxn ang="0">
                <a:pos x="T6" y="T7"/>
              </a:cxn>
              <a:cxn ang="0">
                <a:pos x="T8" y="T9"/>
              </a:cxn>
              <a:cxn ang="0">
                <a:pos x="T10" y="T11"/>
              </a:cxn>
            </a:cxnLst>
            <a:rect l="0" t="0" r="r" b="b"/>
            <a:pathLst>
              <a:path w="326" h="101">
                <a:moveTo>
                  <a:pt x="150" y="0"/>
                </a:moveTo>
                <a:lnTo>
                  <a:pt x="150" y="0"/>
                </a:lnTo>
                <a:cubicBezTo>
                  <a:pt x="125" y="25"/>
                  <a:pt x="0" y="0"/>
                  <a:pt x="25" y="49"/>
                </a:cubicBezTo>
                <a:cubicBezTo>
                  <a:pt x="50" y="74"/>
                  <a:pt x="150" y="49"/>
                  <a:pt x="200" y="74"/>
                </a:cubicBezTo>
                <a:cubicBezTo>
                  <a:pt x="250" y="100"/>
                  <a:pt x="325" y="74"/>
                  <a:pt x="325" y="74"/>
                </a:cubicBezTo>
                <a:cubicBezTo>
                  <a:pt x="325" y="49"/>
                  <a:pt x="150" y="0"/>
                  <a:pt x="15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5" name="Freeform 141">
            <a:extLst>
              <a:ext uri="{FF2B5EF4-FFF2-40B4-BE49-F238E27FC236}">
                <a16:creationId xmlns:a16="http://schemas.microsoft.com/office/drawing/2014/main" id="{C1A9952B-D879-8944-AA77-6B3564B9104B}"/>
              </a:ext>
            </a:extLst>
          </p:cNvPr>
          <p:cNvSpPr>
            <a:spLocks noChangeArrowheads="1"/>
          </p:cNvSpPr>
          <p:nvPr/>
        </p:nvSpPr>
        <p:spPr bwMode="auto">
          <a:xfrm>
            <a:off x="9617230" y="3361169"/>
            <a:ext cx="518903" cy="510465"/>
          </a:xfrm>
          <a:custGeom>
            <a:avLst/>
            <a:gdLst>
              <a:gd name="T0" fmla="*/ 1525 w 1626"/>
              <a:gd name="T1" fmla="*/ 175 h 1601"/>
              <a:gd name="T2" fmla="*/ 1225 w 1626"/>
              <a:gd name="T3" fmla="*/ 50 h 1601"/>
              <a:gd name="T4" fmla="*/ 1151 w 1626"/>
              <a:gd name="T5" fmla="*/ 175 h 1601"/>
              <a:gd name="T6" fmla="*/ 1051 w 1626"/>
              <a:gd name="T7" fmla="*/ 275 h 1601"/>
              <a:gd name="T8" fmla="*/ 1000 w 1626"/>
              <a:gd name="T9" fmla="*/ 400 h 1601"/>
              <a:gd name="T10" fmla="*/ 1051 w 1626"/>
              <a:gd name="T11" fmla="*/ 450 h 1601"/>
              <a:gd name="T12" fmla="*/ 1051 w 1626"/>
              <a:gd name="T13" fmla="*/ 375 h 1601"/>
              <a:gd name="T14" fmla="*/ 1275 w 1626"/>
              <a:gd name="T15" fmla="*/ 400 h 1601"/>
              <a:gd name="T16" fmla="*/ 1451 w 1626"/>
              <a:gd name="T17" fmla="*/ 300 h 1601"/>
              <a:gd name="T18" fmla="*/ 1625 w 1626"/>
              <a:gd name="T19" fmla="*/ 150 h 1601"/>
              <a:gd name="T20" fmla="*/ 1025 w 1626"/>
              <a:gd name="T21" fmla="*/ 550 h 1601"/>
              <a:gd name="T22" fmla="*/ 1000 w 1626"/>
              <a:gd name="T23" fmla="*/ 675 h 1601"/>
              <a:gd name="T24" fmla="*/ 900 w 1626"/>
              <a:gd name="T25" fmla="*/ 900 h 1601"/>
              <a:gd name="T26" fmla="*/ 750 w 1626"/>
              <a:gd name="T27" fmla="*/ 925 h 1601"/>
              <a:gd name="T28" fmla="*/ 625 w 1626"/>
              <a:gd name="T29" fmla="*/ 1100 h 1601"/>
              <a:gd name="T30" fmla="*/ 450 w 1626"/>
              <a:gd name="T31" fmla="*/ 1125 h 1601"/>
              <a:gd name="T32" fmla="*/ 175 w 1626"/>
              <a:gd name="T33" fmla="*/ 1250 h 1601"/>
              <a:gd name="T34" fmla="*/ 275 w 1626"/>
              <a:gd name="T35" fmla="*/ 1275 h 1601"/>
              <a:gd name="T36" fmla="*/ 550 w 1626"/>
              <a:gd name="T37" fmla="*/ 1300 h 1601"/>
              <a:gd name="T38" fmla="*/ 675 w 1626"/>
              <a:gd name="T39" fmla="*/ 1225 h 1601"/>
              <a:gd name="T40" fmla="*/ 825 w 1626"/>
              <a:gd name="T41" fmla="*/ 1200 h 1601"/>
              <a:gd name="T42" fmla="*/ 950 w 1626"/>
              <a:gd name="T43" fmla="*/ 1150 h 1601"/>
              <a:gd name="T44" fmla="*/ 1075 w 1626"/>
              <a:gd name="T45" fmla="*/ 1000 h 1601"/>
              <a:gd name="T46" fmla="*/ 1175 w 1626"/>
              <a:gd name="T47" fmla="*/ 775 h 1601"/>
              <a:gd name="T48" fmla="*/ 1025 w 1626"/>
              <a:gd name="T49" fmla="*/ 550 h 1601"/>
              <a:gd name="T50" fmla="*/ 400 w 1626"/>
              <a:gd name="T51" fmla="*/ 1275 h 1601"/>
              <a:gd name="T52" fmla="*/ 300 w 1626"/>
              <a:gd name="T53" fmla="*/ 1425 h 1601"/>
              <a:gd name="T54" fmla="*/ 425 w 1626"/>
              <a:gd name="T55" fmla="*/ 1375 h 1601"/>
              <a:gd name="T56" fmla="*/ 400 w 1626"/>
              <a:gd name="T57" fmla="*/ 1275 h 1601"/>
              <a:gd name="T58" fmla="*/ 225 w 1626"/>
              <a:gd name="T59" fmla="*/ 1375 h 1601"/>
              <a:gd name="T60" fmla="*/ 75 w 1626"/>
              <a:gd name="T61" fmla="*/ 1350 h 1601"/>
              <a:gd name="T62" fmla="*/ 75 w 1626"/>
              <a:gd name="T63" fmla="*/ 1400 h 1601"/>
              <a:gd name="T64" fmla="*/ 125 w 1626"/>
              <a:gd name="T65" fmla="*/ 1600 h 1601"/>
              <a:gd name="T66" fmla="*/ 225 w 1626"/>
              <a:gd name="T67" fmla="*/ 137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6" h="1601">
                <a:moveTo>
                  <a:pt x="1525" y="175"/>
                </a:moveTo>
                <a:lnTo>
                  <a:pt x="1525" y="175"/>
                </a:lnTo>
                <a:cubicBezTo>
                  <a:pt x="1500" y="150"/>
                  <a:pt x="1475" y="175"/>
                  <a:pt x="1425" y="200"/>
                </a:cubicBezTo>
                <a:cubicBezTo>
                  <a:pt x="1400" y="200"/>
                  <a:pt x="1251" y="100"/>
                  <a:pt x="1225" y="50"/>
                </a:cubicBezTo>
                <a:cubicBezTo>
                  <a:pt x="1200" y="0"/>
                  <a:pt x="1151" y="25"/>
                  <a:pt x="1175" y="75"/>
                </a:cubicBezTo>
                <a:cubicBezTo>
                  <a:pt x="1200" y="100"/>
                  <a:pt x="1151" y="125"/>
                  <a:pt x="1151" y="175"/>
                </a:cubicBezTo>
                <a:cubicBezTo>
                  <a:pt x="1151" y="225"/>
                  <a:pt x="1125" y="225"/>
                  <a:pt x="1125" y="250"/>
                </a:cubicBezTo>
                <a:cubicBezTo>
                  <a:pt x="1151" y="275"/>
                  <a:pt x="1100" y="275"/>
                  <a:pt x="1051" y="275"/>
                </a:cubicBezTo>
                <a:cubicBezTo>
                  <a:pt x="1025" y="275"/>
                  <a:pt x="1051" y="325"/>
                  <a:pt x="1025" y="325"/>
                </a:cubicBezTo>
                <a:cubicBezTo>
                  <a:pt x="975" y="350"/>
                  <a:pt x="975" y="375"/>
                  <a:pt x="1000" y="400"/>
                </a:cubicBezTo>
                <a:cubicBezTo>
                  <a:pt x="1025" y="400"/>
                  <a:pt x="1000" y="450"/>
                  <a:pt x="1000" y="475"/>
                </a:cubicBezTo>
                <a:cubicBezTo>
                  <a:pt x="1000" y="500"/>
                  <a:pt x="1025" y="475"/>
                  <a:pt x="1051" y="450"/>
                </a:cubicBezTo>
                <a:cubicBezTo>
                  <a:pt x="1075" y="425"/>
                  <a:pt x="1100" y="450"/>
                  <a:pt x="1100" y="425"/>
                </a:cubicBezTo>
                <a:cubicBezTo>
                  <a:pt x="1100" y="400"/>
                  <a:pt x="1051" y="400"/>
                  <a:pt x="1051" y="375"/>
                </a:cubicBezTo>
                <a:cubicBezTo>
                  <a:pt x="1051" y="325"/>
                  <a:pt x="1100" y="375"/>
                  <a:pt x="1125" y="350"/>
                </a:cubicBezTo>
                <a:cubicBezTo>
                  <a:pt x="1151" y="350"/>
                  <a:pt x="1225" y="350"/>
                  <a:pt x="1275" y="400"/>
                </a:cubicBezTo>
                <a:cubicBezTo>
                  <a:pt x="1300" y="425"/>
                  <a:pt x="1325" y="400"/>
                  <a:pt x="1325" y="375"/>
                </a:cubicBezTo>
                <a:cubicBezTo>
                  <a:pt x="1325" y="325"/>
                  <a:pt x="1400" y="300"/>
                  <a:pt x="1451" y="300"/>
                </a:cubicBezTo>
                <a:cubicBezTo>
                  <a:pt x="1525" y="300"/>
                  <a:pt x="1525" y="275"/>
                  <a:pt x="1500" y="250"/>
                </a:cubicBezTo>
                <a:cubicBezTo>
                  <a:pt x="1500" y="250"/>
                  <a:pt x="1625" y="175"/>
                  <a:pt x="1625" y="150"/>
                </a:cubicBezTo>
                <a:cubicBezTo>
                  <a:pt x="1600" y="125"/>
                  <a:pt x="1551" y="200"/>
                  <a:pt x="1525" y="175"/>
                </a:cubicBezTo>
                <a:close/>
                <a:moveTo>
                  <a:pt x="1025" y="550"/>
                </a:moveTo>
                <a:lnTo>
                  <a:pt x="1025" y="550"/>
                </a:lnTo>
                <a:cubicBezTo>
                  <a:pt x="1000" y="550"/>
                  <a:pt x="975" y="650"/>
                  <a:pt x="1000" y="675"/>
                </a:cubicBezTo>
                <a:cubicBezTo>
                  <a:pt x="1025" y="700"/>
                  <a:pt x="950" y="750"/>
                  <a:pt x="950" y="800"/>
                </a:cubicBezTo>
                <a:cubicBezTo>
                  <a:pt x="950" y="850"/>
                  <a:pt x="900" y="850"/>
                  <a:pt x="900" y="900"/>
                </a:cubicBezTo>
                <a:cubicBezTo>
                  <a:pt x="875" y="925"/>
                  <a:pt x="850" y="925"/>
                  <a:pt x="800" y="950"/>
                </a:cubicBezTo>
                <a:cubicBezTo>
                  <a:pt x="750" y="1000"/>
                  <a:pt x="725" y="950"/>
                  <a:pt x="750" y="925"/>
                </a:cubicBezTo>
                <a:cubicBezTo>
                  <a:pt x="750" y="900"/>
                  <a:pt x="675" y="950"/>
                  <a:pt x="675" y="1000"/>
                </a:cubicBezTo>
                <a:cubicBezTo>
                  <a:pt x="675" y="1050"/>
                  <a:pt x="600" y="1075"/>
                  <a:pt x="625" y="1100"/>
                </a:cubicBezTo>
                <a:cubicBezTo>
                  <a:pt x="650" y="1125"/>
                  <a:pt x="550" y="1150"/>
                  <a:pt x="550" y="1125"/>
                </a:cubicBezTo>
                <a:cubicBezTo>
                  <a:pt x="575" y="1100"/>
                  <a:pt x="500" y="1100"/>
                  <a:pt x="450" y="1125"/>
                </a:cubicBezTo>
                <a:cubicBezTo>
                  <a:pt x="375" y="1150"/>
                  <a:pt x="350" y="1100"/>
                  <a:pt x="300" y="1125"/>
                </a:cubicBezTo>
                <a:cubicBezTo>
                  <a:pt x="275" y="1175"/>
                  <a:pt x="200" y="1225"/>
                  <a:pt x="175" y="1250"/>
                </a:cubicBezTo>
                <a:cubicBezTo>
                  <a:pt x="125" y="1250"/>
                  <a:pt x="150" y="1300"/>
                  <a:pt x="175" y="1300"/>
                </a:cubicBezTo>
                <a:cubicBezTo>
                  <a:pt x="200" y="1275"/>
                  <a:pt x="250" y="1300"/>
                  <a:pt x="275" y="1275"/>
                </a:cubicBezTo>
                <a:cubicBezTo>
                  <a:pt x="275" y="1250"/>
                  <a:pt x="425" y="1225"/>
                  <a:pt x="500" y="1225"/>
                </a:cubicBezTo>
                <a:cubicBezTo>
                  <a:pt x="575" y="1225"/>
                  <a:pt x="525" y="1250"/>
                  <a:pt x="550" y="1300"/>
                </a:cubicBezTo>
                <a:cubicBezTo>
                  <a:pt x="550" y="1350"/>
                  <a:pt x="625" y="1325"/>
                  <a:pt x="650" y="1300"/>
                </a:cubicBezTo>
                <a:cubicBezTo>
                  <a:pt x="700" y="1250"/>
                  <a:pt x="725" y="1250"/>
                  <a:pt x="675" y="1225"/>
                </a:cubicBezTo>
                <a:cubicBezTo>
                  <a:pt x="650" y="1200"/>
                  <a:pt x="700" y="1175"/>
                  <a:pt x="725" y="1225"/>
                </a:cubicBezTo>
                <a:cubicBezTo>
                  <a:pt x="725" y="1250"/>
                  <a:pt x="800" y="1250"/>
                  <a:pt x="825" y="1200"/>
                </a:cubicBezTo>
                <a:cubicBezTo>
                  <a:pt x="850" y="1175"/>
                  <a:pt x="875" y="1225"/>
                  <a:pt x="900" y="1225"/>
                </a:cubicBezTo>
                <a:cubicBezTo>
                  <a:pt x="925" y="1200"/>
                  <a:pt x="950" y="1125"/>
                  <a:pt x="950" y="1150"/>
                </a:cubicBezTo>
                <a:cubicBezTo>
                  <a:pt x="950" y="1200"/>
                  <a:pt x="1025" y="1175"/>
                  <a:pt x="1051" y="1150"/>
                </a:cubicBezTo>
                <a:cubicBezTo>
                  <a:pt x="1075" y="1100"/>
                  <a:pt x="1051" y="1050"/>
                  <a:pt x="1075" y="1000"/>
                </a:cubicBezTo>
                <a:cubicBezTo>
                  <a:pt x="1100" y="975"/>
                  <a:pt x="1125" y="900"/>
                  <a:pt x="1100" y="875"/>
                </a:cubicBezTo>
                <a:cubicBezTo>
                  <a:pt x="1075" y="825"/>
                  <a:pt x="1151" y="800"/>
                  <a:pt x="1175" y="775"/>
                </a:cubicBezTo>
                <a:cubicBezTo>
                  <a:pt x="1225" y="725"/>
                  <a:pt x="1151" y="575"/>
                  <a:pt x="1125" y="525"/>
                </a:cubicBezTo>
                <a:cubicBezTo>
                  <a:pt x="1125" y="475"/>
                  <a:pt x="1051" y="525"/>
                  <a:pt x="1025" y="550"/>
                </a:cubicBezTo>
                <a:close/>
                <a:moveTo>
                  <a:pt x="400" y="1275"/>
                </a:moveTo>
                <a:lnTo>
                  <a:pt x="400" y="1275"/>
                </a:lnTo>
                <a:cubicBezTo>
                  <a:pt x="400" y="1300"/>
                  <a:pt x="350" y="1275"/>
                  <a:pt x="325" y="1300"/>
                </a:cubicBezTo>
                <a:cubicBezTo>
                  <a:pt x="275" y="1300"/>
                  <a:pt x="275" y="1400"/>
                  <a:pt x="300" y="1425"/>
                </a:cubicBezTo>
                <a:cubicBezTo>
                  <a:pt x="325" y="1425"/>
                  <a:pt x="350" y="1425"/>
                  <a:pt x="350" y="1400"/>
                </a:cubicBezTo>
                <a:cubicBezTo>
                  <a:pt x="375" y="1350"/>
                  <a:pt x="400" y="1350"/>
                  <a:pt x="425" y="1375"/>
                </a:cubicBezTo>
                <a:cubicBezTo>
                  <a:pt x="475" y="1375"/>
                  <a:pt x="500" y="1325"/>
                  <a:pt x="500" y="1275"/>
                </a:cubicBezTo>
                <a:cubicBezTo>
                  <a:pt x="500" y="1250"/>
                  <a:pt x="425" y="1250"/>
                  <a:pt x="400" y="1275"/>
                </a:cubicBezTo>
                <a:close/>
                <a:moveTo>
                  <a:pt x="225" y="1375"/>
                </a:moveTo>
                <a:lnTo>
                  <a:pt x="225" y="1375"/>
                </a:lnTo>
                <a:cubicBezTo>
                  <a:pt x="225" y="1350"/>
                  <a:pt x="150" y="1350"/>
                  <a:pt x="150" y="1325"/>
                </a:cubicBezTo>
                <a:cubicBezTo>
                  <a:pt x="150" y="1300"/>
                  <a:pt x="100" y="1325"/>
                  <a:pt x="75" y="1350"/>
                </a:cubicBezTo>
                <a:cubicBezTo>
                  <a:pt x="25" y="1375"/>
                  <a:pt x="0" y="1375"/>
                  <a:pt x="25" y="1425"/>
                </a:cubicBezTo>
                <a:cubicBezTo>
                  <a:pt x="50" y="1450"/>
                  <a:pt x="75" y="1425"/>
                  <a:pt x="75" y="1400"/>
                </a:cubicBezTo>
                <a:cubicBezTo>
                  <a:pt x="100" y="1350"/>
                  <a:pt x="125" y="1425"/>
                  <a:pt x="100" y="1475"/>
                </a:cubicBezTo>
                <a:cubicBezTo>
                  <a:pt x="75" y="1525"/>
                  <a:pt x="100" y="1600"/>
                  <a:pt x="125" y="1600"/>
                </a:cubicBezTo>
                <a:cubicBezTo>
                  <a:pt x="150" y="1600"/>
                  <a:pt x="200" y="1500"/>
                  <a:pt x="225" y="1450"/>
                </a:cubicBezTo>
                <a:cubicBezTo>
                  <a:pt x="275" y="1375"/>
                  <a:pt x="225" y="1400"/>
                  <a:pt x="225" y="13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7" name="Freeform 143">
            <a:extLst>
              <a:ext uri="{FF2B5EF4-FFF2-40B4-BE49-F238E27FC236}">
                <a16:creationId xmlns:a16="http://schemas.microsoft.com/office/drawing/2014/main" id="{89E93197-33C9-F14C-978D-550913AA3AC9}"/>
              </a:ext>
            </a:extLst>
          </p:cNvPr>
          <p:cNvSpPr>
            <a:spLocks noChangeArrowheads="1"/>
          </p:cNvSpPr>
          <p:nvPr/>
        </p:nvSpPr>
        <p:spPr bwMode="auto">
          <a:xfrm>
            <a:off x="9241763" y="4271006"/>
            <a:ext cx="295311" cy="406404"/>
          </a:xfrm>
          <a:custGeom>
            <a:avLst/>
            <a:gdLst>
              <a:gd name="T0" fmla="*/ 501 w 927"/>
              <a:gd name="T1" fmla="*/ 500 h 1276"/>
              <a:gd name="T2" fmla="*/ 501 w 927"/>
              <a:gd name="T3" fmla="*/ 500 h 1276"/>
              <a:gd name="T4" fmla="*/ 601 w 927"/>
              <a:gd name="T5" fmla="*/ 575 h 1276"/>
              <a:gd name="T6" fmla="*/ 626 w 927"/>
              <a:gd name="T7" fmla="*/ 649 h 1276"/>
              <a:gd name="T8" fmla="*/ 676 w 927"/>
              <a:gd name="T9" fmla="*/ 700 h 1276"/>
              <a:gd name="T10" fmla="*/ 726 w 927"/>
              <a:gd name="T11" fmla="*/ 824 h 1276"/>
              <a:gd name="T12" fmla="*/ 751 w 927"/>
              <a:gd name="T13" fmla="*/ 800 h 1276"/>
              <a:gd name="T14" fmla="*/ 801 w 927"/>
              <a:gd name="T15" fmla="*/ 724 h 1276"/>
              <a:gd name="T16" fmla="*/ 776 w 927"/>
              <a:gd name="T17" fmla="*/ 624 h 1276"/>
              <a:gd name="T18" fmla="*/ 651 w 927"/>
              <a:gd name="T19" fmla="*/ 549 h 1276"/>
              <a:gd name="T20" fmla="*/ 601 w 927"/>
              <a:gd name="T21" fmla="*/ 475 h 1276"/>
              <a:gd name="T22" fmla="*/ 476 w 927"/>
              <a:gd name="T23" fmla="*/ 449 h 1276"/>
              <a:gd name="T24" fmla="*/ 426 w 927"/>
              <a:gd name="T25" fmla="*/ 349 h 1276"/>
              <a:gd name="T26" fmla="*/ 476 w 927"/>
              <a:gd name="T27" fmla="*/ 224 h 1276"/>
              <a:gd name="T28" fmla="*/ 476 w 927"/>
              <a:gd name="T29" fmla="*/ 75 h 1276"/>
              <a:gd name="T30" fmla="*/ 451 w 927"/>
              <a:gd name="T31" fmla="*/ 24 h 1276"/>
              <a:gd name="T32" fmla="*/ 325 w 927"/>
              <a:gd name="T33" fmla="*/ 24 h 1276"/>
              <a:gd name="T34" fmla="*/ 300 w 927"/>
              <a:gd name="T35" fmla="*/ 249 h 1276"/>
              <a:gd name="T36" fmla="*/ 251 w 927"/>
              <a:gd name="T37" fmla="*/ 224 h 1276"/>
              <a:gd name="T38" fmla="*/ 276 w 927"/>
              <a:gd name="T39" fmla="*/ 349 h 1276"/>
              <a:gd name="T40" fmla="*/ 300 w 927"/>
              <a:gd name="T41" fmla="*/ 424 h 1276"/>
              <a:gd name="T42" fmla="*/ 401 w 927"/>
              <a:gd name="T43" fmla="*/ 475 h 1276"/>
              <a:gd name="T44" fmla="*/ 501 w 927"/>
              <a:gd name="T45" fmla="*/ 500 h 1276"/>
              <a:gd name="T46" fmla="*/ 325 w 927"/>
              <a:gd name="T47" fmla="*/ 524 h 1276"/>
              <a:gd name="T48" fmla="*/ 325 w 927"/>
              <a:gd name="T49" fmla="*/ 524 h 1276"/>
              <a:gd name="T50" fmla="*/ 401 w 927"/>
              <a:gd name="T51" fmla="*/ 624 h 1276"/>
              <a:gd name="T52" fmla="*/ 325 w 927"/>
              <a:gd name="T53" fmla="*/ 524 h 1276"/>
              <a:gd name="T54" fmla="*/ 476 w 927"/>
              <a:gd name="T55" fmla="*/ 774 h 1276"/>
              <a:gd name="T56" fmla="*/ 476 w 927"/>
              <a:gd name="T57" fmla="*/ 774 h 1276"/>
              <a:gd name="T58" fmla="*/ 525 w 927"/>
              <a:gd name="T59" fmla="*/ 749 h 1276"/>
              <a:gd name="T60" fmla="*/ 525 w 927"/>
              <a:gd name="T61" fmla="*/ 824 h 1276"/>
              <a:gd name="T62" fmla="*/ 551 w 927"/>
              <a:gd name="T63" fmla="*/ 924 h 1276"/>
              <a:gd name="T64" fmla="*/ 651 w 927"/>
              <a:gd name="T65" fmla="*/ 774 h 1276"/>
              <a:gd name="T66" fmla="*/ 601 w 927"/>
              <a:gd name="T67" fmla="*/ 774 h 1276"/>
              <a:gd name="T68" fmla="*/ 476 w 927"/>
              <a:gd name="T69" fmla="*/ 649 h 1276"/>
              <a:gd name="T70" fmla="*/ 476 w 927"/>
              <a:gd name="T71" fmla="*/ 774 h 1276"/>
              <a:gd name="T72" fmla="*/ 151 w 927"/>
              <a:gd name="T73" fmla="*/ 849 h 1276"/>
              <a:gd name="T74" fmla="*/ 151 w 927"/>
              <a:gd name="T75" fmla="*/ 849 h 1276"/>
              <a:gd name="T76" fmla="*/ 26 w 927"/>
              <a:gd name="T77" fmla="*/ 1000 h 1276"/>
              <a:gd name="T78" fmla="*/ 200 w 927"/>
              <a:gd name="T79" fmla="*/ 824 h 1276"/>
              <a:gd name="T80" fmla="*/ 226 w 927"/>
              <a:gd name="T81" fmla="*/ 724 h 1276"/>
              <a:gd name="T82" fmla="*/ 151 w 927"/>
              <a:gd name="T83" fmla="*/ 849 h 1276"/>
              <a:gd name="T84" fmla="*/ 626 w 927"/>
              <a:gd name="T85" fmla="*/ 900 h 1276"/>
              <a:gd name="T86" fmla="*/ 626 w 927"/>
              <a:gd name="T87" fmla="*/ 900 h 1276"/>
              <a:gd name="T88" fmla="*/ 701 w 927"/>
              <a:gd name="T89" fmla="*/ 849 h 1276"/>
              <a:gd name="T90" fmla="*/ 626 w 927"/>
              <a:gd name="T91" fmla="*/ 900 h 1276"/>
              <a:gd name="T92" fmla="*/ 876 w 927"/>
              <a:gd name="T93" fmla="*/ 1100 h 1276"/>
              <a:gd name="T94" fmla="*/ 876 w 927"/>
              <a:gd name="T95" fmla="*/ 1100 h 1276"/>
              <a:gd name="T96" fmla="*/ 876 w 927"/>
              <a:gd name="T97" fmla="*/ 900 h 1276"/>
              <a:gd name="T98" fmla="*/ 801 w 927"/>
              <a:gd name="T99" fmla="*/ 900 h 1276"/>
              <a:gd name="T100" fmla="*/ 751 w 927"/>
              <a:gd name="T101" fmla="*/ 949 h 1276"/>
              <a:gd name="T102" fmla="*/ 701 w 927"/>
              <a:gd name="T103" fmla="*/ 1000 h 1276"/>
              <a:gd name="T104" fmla="*/ 601 w 927"/>
              <a:gd name="T105" fmla="*/ 975 h 1276"/>
              <a:gd name="T106" fmla="*/ 501 w 927"/>
              <a:gd name="T107" fmla="*/ 1024 h 1276"/>
              <a:gd name="T108" fmla="*/ 451 w 927"/>
              <a:gd name="T109" fmla="*/ 1125 h 1276"/>
              <a:gd name="T110" fmla="*/ 551 w 927"/>
              <a:gd name="T111" fmla="*/ 1075 h 1276"/>
              <a:gd name="T112" fmla="*/ 626 w 927"/>
              <a:gd name="T113" fmla="*/ 1049 h 1276"/>
              <a:gd name="T114" fmla="*/ 701 w 927"/>
              <a:gd name="T115" fmla="*/ 1225 h 1276"/>
              <a:gd name="T116" fmla="*/ 801 w 927"/>
              <a:gd name="T117" fmla="*/ 1275 h 1276"/>
              <a:gd name="T118" fmla="*/ 776 w 927"/>
              <a:gd name="T119" fmla="*/ 1149 h 1276"/>
              <a:gd name="T120" fmla="*/ 876 w 927"/>
              <a:gd name="T121" fmla="*/ 110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7" h="1276">
                <a:moveTo>
                  <a:pt x="501" y="500"/>
                </a:moveTo>
                <a:lnTo>
                  <a:pt x="501" y="500"/>
                </a:lnTo>
                <a:cubicBezTo>
                  <a:pt x="551" y="475"/>
                  <a:pt x="626" y="549"/>
                  <a:pt x="601" y="575"/>
                </a:cubicBezTo>
                <a:cubicBezTo>
                  <a:pt x="601" y="600"/>
                  <a:pt x="601" y="674"/>
                  <a:pt x="626" y="649"/>
                </a:cubicBezTo>
                <a:cubicBezTo>
                  <a:pt x="651" y="624"/>
                  <a:pt x="701" y="674"/>
                  <a:pt x="676" y="700"/>
                </a:cubicBezTo>
                <a:cubicBezTo>
                  <a:pt x="651" y="724"/>
                  <a:pt x="701" y="774"/>
                  <a:pt x="726" y="824"/>
                </a:cubicBezTo>
                <a:cubicBezTo>
                  <a:pt x="726" y="849"/>
                  <a:pt x="751" y="824"/>
                  <a:pt x="751" y="800"/>
                </a:cubicBezTo>
                <a:cubicBezTo>
                  <a:pt x="751" y="749"/>
                  <a:pt x="751" y="749"/>
                  <a:pt x="801" y="724"/>
                </a:cubicBezTo>
                <a:cubicBezTo>
                  <a:pt x="826" y="700"/>
                  <a:pt x="801" y="674"/>
                  <a:pt x="776" y="624"/>
                </a:cubicBezTo>
                <a:cubicBezTo>
                  <a:pt x="751" y="575"/>
                  <a:pt x="651" y="600"/>
                  <a:pt x="651" y="549"/>
                </a:cubicBezTo>
                <a:cubicBezTo>
                  <a:pt x="651" y="500"/>
                  <a:pt x="601" y="500"/>
                  <a:pt x="601" y="475"/>
                </a:cubicBezTo>
                <a:cubicBezTo>
                  <a:pt x="601" y="449"/>
                  <a:pt x="525" y="424"/>
                  <a:pt x="476" y="449"/>
                </a:cubicBezTo>
                <a:cubicBezTo>
                  <a:pt x="426" y="475"/>
                  <a:pt x="451" y="400"/>
                  <a:pt x="426" y="349"/>
                </a:cubicBezTo>
                <a:cubicBezTo>
                  <a:pt x="376" y="324"/>
                  <a:pt x="451" y="275"/>
                  <a:pt x="476" y="224"/>
                </a:cubicBezTo>
                <a:cubicBezTo>
                  <a:pt x="525" y="175"/>
                  <a:pt x="476" y="100"/>
                  <a:pt x="476" y="75"/>
                </a:cubicBezTo>
                <a:cubicBezTo>
                  <a:pt x="476" y="24"/>
                  <a:pt x="476" y="24"/>
                  <a:pt x="451" y="24"/>
                </a:cubicBezTo>
                <a:cubicBezTo>
                  <a:pt x="451" y="49"/>
                  <a:pt x="351" y="0"/>
                  <a:pt x="325" y="24"/>
                </a:cubicBezTo>
                <a:cubicBezTo>
                  <a:pt x="300" y="49"/>
                  <a:pt x="325" y="224"/>
                  <a:pt x="300" y="249"/>
                </a:cubicBezTo>
                <a:cubicBezTo>
                  <a:pt x="300" y="249"/>
                  <a:pt x="276" y="224"/>
                  <a:pt x="251" y="224"/>
                </a:cubicBezTo>
                <a:cubicBezTo>
                  <a:pt x="251" y="249"/>
                  <a:pt x="276" y="349"/>
                  <a:pt x="276" y="349"/>
                </a:cubicBezTo>
                <a:cubicBezTo>
                  <a:pt x="300" y="349"/>
                  <a:pt x="325" y="400"/>
                  <a:pt x="300" y="424"/>
                </a:cubicBezTo>
                <a:cubicBezTo>
                  <a:pt x="300" y="475"/>
                  <a:pt x="351" y="475"/>
                  <a:pt x="401" y="475"/>
                </a:cubicBezTo>
                <a:cubicBezTo>
                  <a:pt x="451" y="449"/>
                  <a:pt x="451" y="500"/>
                  <a:pt x="501" y="500"/>
                </a:cubicBezTo>
                <a:close/>
                <a:moveTo>
                  <a:pt x="325" y="524"/>
                </a:moveTo>
                <a:lnTo>
                  <a:pt x="325" y="524"/>
                </a:lnTo>
                <a:cubicBezTo>
                  <a:pt x="325" y="549"/>
                  <a:pt x="351" y="624"/>
                  <a:pt x="401" y="624"/>
                </a:cubicBezTo>
                <a:cubicBezTo>
                  <a:pt x="476" y="600"/>
                  <a:pt x="300" y="475"/>
                  <a:pt x="325" y="524"/>
                </a:cubicBezTo>
                <a:close/>
                <a:moveTo>
                  <a:pt x="476" y="774"/>
                </a:moveTo>
                <a:lnTo>
                  <a:pt x="476" y="774"/>
                </a:lnTo>
                <a:cubicBezTo>
                  <a:pt x="476" y="774"/>
                  <a:pt x="525" y="774"/>
                  <a:pt x="525" y="749"/>
                </a:cubicBezTo>
                <a:cubicBezTo>
                  <a:pt x="525" y="724"/>
                  <a:pt x="551" y="800"/>
                  <a:pt x="525" y="824"/>
                </a:cubicBezTo>
                <a:cubicBezTo>
                  <a:pt x="501" y="849"/>
                  <a:pt x="501" y="924"/>
                  <a:pt x="551" y="924"/>
                </a:cubicBezTo>
                <a:cubicBezTo>
                  <a:pt x="576" y="949"/>
                  <a:pt x="651" y="800"/>
                  <a:pt x="651" y="774"/>
                </a:cubicBezTo>
                <a:cubicBezTo>
                  <a:pt x="626" y="749"/>
                  <a:pt x="601" y="800"/>
                  <a:pt x="601" y="774"/>
                </a:cubicBezTo>
                <a:cubicBezTo>
                  <a:pt x="626" y="724"/>
                  <a:pt x="501" y="649"/>
                  <a:pt x="476" y="649"/>
                </a:cubicBezTo>
                <a:cubicBezTo>
                  <a:pt x="426" y="674"/>
                  <a:pt x="426" y="800"/>
                  <a:pt x="476" y="774"/>
                </a:cubicBezTo>
                <a:close/>
                <a:moveTo>
                  <a:pt x="151" y="849"/>
                </a:moveTo>
                <a:lnTo>
                  <a:pt x="151" y="849"/>
                </a:lnTo>
                <a:cubicBezTo>
                  <a:pt x="100" y="900"/>
                  <a:pt x="0" y="975"/>
                  <a:pt x="26" y="1000"/>
                </a:cubicBezTo>
                <a:cubicBezTo>
                  <a:pt x="51" y="1024"/>
                  <a:pt x="151" y="875"/>
                  <a:pt x="200" y="824"/>
                </a:cubicBezTo>
                <a:cubicBezTo>
                  <a:pt x="251" y="800"/>
                  <a:pt x="226" y="774"/>
                  <a:pt x="226" y="724"/>
                </a:cubicBezTo>
                <a:cubicBezTo>
                  <a:pt x="200" y="700"/>
                  <a:pt x="176" y="800"/>
                  <a:pt x="151" y="849"/>
                </a:cubicBezTo>
                <a:close/>
                <a:moveTo>
                  <a:pt x="626" y="900"/>
                </a:moveTo>
                <a:lnTo>
                  <a:pt x="626" y="900"/>
                </a:lnTo>
                <a:cubicBezTo>
                  <a:pt x="651" y="924"/>
                  <a:pt x="726" y="875"/>
                  <a:pt x="701" y="849"/>
                </a:cubicBezTo>
                <a:cubicBezTo>
                  <a:pt x="676" y="824"/>
                  <a:pt x="626" y="875"/>
                  <a:pt x="626" y="900"/>
                </a:cubicBezTo>
                <a:close/>
                <a:moveTo>
                  <a:pt x="876" y="1100"/>
                </a:moveTo>
                <a:lnTo>
                  <a:pt x="876" y="1100"/>
                </a:lnTo>
                <a:cubicBezTo>
                  <a:pt x="926" y="1075"/>
                  <a:pt x="876" y="975"/>
                  <a:pt x="876" y="900"/>
                </a:cubicBezTo>
                <a:cubicBezTo>
                  <a:pt x="876" y="824"/>
                  <a:pt x="776" y="849"/>
                  <a:pt x="801" y="900"/>
                </a:cubicBezTo>
                <a:cubicBezTo>
                  <a:pt x="826" y="949"/>
                  <a:pt x="751" y="900"/>
                  <a:pt x="751" y="949"/>
                </a:cubicBezTo>
                <a:cubicBezTo>
                  <a:pt x="751" y="1000"/>
                  <a:pt x="676" y="949"/>
                  <a:pt x="701" y="1000"/>
                </a:cubicBezTo>
                <a:cubicBezTo>
                  <a:pt x="701" y="1024"/>
                  <a:pt x="626" y="1000"/>
                  <a:pt x="601" y="975"/>
                </a:cubicBezTo>
                <a:cubicBezTo>
                  <a:pt x="576" y="949"/>
                  <a:pt x="551" y="1024"/>
                  <a:pt x="501" y="1024"/>
                </a:cubicBezTo>
                <a:cubicBezTo>
                  <a:pt x="451" y="1049"/>
                  <a:pt x="426" y="1125"/>
                  <a:pt x="451" y="1125"/>
                </a:cubicBezTo>
                <a:cubicBezTo>
                  <a:pt x="501" y="1125"/>
                  <a:pt x="501" y="1075"/>
                  <a:pt x="551" y="1075"/>
                </a:cubicBezTo>
                <a:cubicBezTo>
                  <a:pt x="576" y="1100"/>
                  <a:pt x="576" y="1049"/>
                  <a:pt x="626" y="1049"/>
                </a:cubicBezTo>
                <a:cubicBezTo>
                  <a:pt x="651" y="1075"/>
                  <a:pt x="626" y="1200"/>
                  <a:pt x="701" y="1225"/>
                </a:cubicBezTo>
                <a:cubicBezTo>
                  <a:pt x="751" y="1225"/>
                  <a:pt x="751" y="1275"/>
                  <a:pt x="801" y="1275"/>
                </a:cubicBezTo>
                <a:cubicBezTo>
                  <a:pt x="826" y="1275"/>
                  <a:pt x="776" y="1175"/>
                  <a:pt x="776" y="1149"/>
                </a:cubicBezTo>
                <a:cubicBezTo>
                  <a:pt x="801" y="1125"/>
                  <a:pt x="851" y="1149"/>
                  <a:pt x="876" y="1100"/>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8" name="Freeform 144">
            <a:extLst>
              <a:ext uri="{FF2B5EF4-FFF2-40B4-BE49-F238E27FC236}">
                <a16:creationId xmlns:a16="http://schemas.microsoft.com/office/drawing/2014/main" id="{8411E989-2F25-0F40-8878-320AC37DF59D}"/>
              </a:ext>
            </a:extLst>
          </p:cNvPr>
          <p:cNvSpPr>
            <a:spLocks noChangeArrowheads="1"/>
          </p:cNvSpPr>
          <p:nvPr/>
        </p:nvSpPr>
        <p:spPr bwMode="auto">
          <a:xfrm>
            <a:off x="9960351" y="4923502"/>
            <a:ext cx="383904" cy="240468"/>
          </a:xfrm>
          <a:custGeom>
            <a:avLst/>
            <a:gdLst>
              <a:gd name="T0" fmla="*/ 850 w 1202"/>
              <a:gd name="T1" fmla="*/ 701 h 752"/>
              <a:gd name="T2" fmla="*/ 850 w 1202"/>
              <a:gd name="T3" fmla="*/ 701 h 752"/>
              <a:gd name="T4" fmla="*/ 800 w 1202"/>
              <a:gd name="T5" fmla="*/ 626 h 752"/>
              <a:gd name="T6" fmla="*/ 700 w 1202"/>
              <a:gd name="T7" fmla="*/ 601 h 752"/>
              <a:gd name="T8" fmla="*/ 625 w 1202"/>
              <a:gd name="T9" fmla="*/ 476 h 752"/>
              <a:gd name="T10" fmla="*/ 600 w 1202"/>
              <a:gd name="T11" fmla="*/ 401 h 752"/>
              <a:gd name="T12" fmla="*/ 625 w 1202"/>
              <a:gd name="T13" fmla="*/ 326 h 752"/>
              <a:gd name="T14" fmla="*/ 450 w 1202"/>
              <a:gd name="T15" fmla="*/ 226 h 752"/>
              <a:gd name="T16" fmla="*/ 76 w 1202"/>
              <a:gd name="T17" fmla="*/ 25 h 752"/>
              <a:gd name="T18" fmla="*/ 0 w 1202"/>
              <a:gd name="T19" fmla="*/ 0 h 752"/>
              <a:gd name="T20" fmla="*/ 0 w 1202"/>
              <a:gd name="T21" fmla="*/ 601 h 752"/>
              <a:gd name="T22" fmla="*/ 100 w 1202"/>
              <a:gd name="T23" fmla="*/ 626 h 752"/>
              <a:gd name="T24" fmla="*/ 225 w 1202"/>
              <a:gd name="T25" fmla="*/ 576 h 752"/>
              <a:gd name="T26" fmla="*/ 276 w 1202"/>
              <a:gd name="T27" fmla="*/ 501 h 752"/>
              <a:gd name="T28" fmla="*/ 476 w 1202"/>
              <a:gd name="T29" fmla="*/ 551 h 752"/>
              <a:gd name="T30" fmla="*/ 676 w 1202"/>
              <a:gd name="T31" fmla="*/ 726 h 752"/>
              <a:gd name="T32" fmla="*/ 876 w 1202"/>
              <a:gd name="T33" fmla="*/ 751 h 752"/>
              <a:gd name="T34" fmla="*/ 850 w 1202"/>
              <a:gd name="T35" fmla="*/ 701 h 752"/>
              <a:gd name="T36" fmla="*/ 1025 w 1202"/>
              <a:gd name="T37" fmla="*/ 200 h 752"/>
              <a:gd name="T38" fmla="*/ 1025 w 1202"/>
              <a:gd name="T39" fmla="*/ 200 h 752"/>
              <a:gd name="T40" fmla="*/ 901 w 1202"/>
              <a:gd name="T41" fmla="*/ 276 h 752"/>
              <a:gd name="T42" fmla="*/ 700 w 1202"/>
              <a:gd name="T43" fmla="*/ 276 h 752"/>
              <a:gd name="T44" fmla="*/ 850 w 1202"/>
              <a:gd name="T45" fmla="*/ 351 h 752"/>
              <a:gd name="T46" fmla="*/ 1050 w 1202"/>
              <a:gd name="T47" fmla="*/ 251 h 752"/>
              <a:gd name="T48" fmla="*/ 1075 w 1202"/>
              <a:gd name="T49" fmla="*/ 176 h 752"/>
              <a:gd name="T50" fmla="*/ 1025 w 1202"/>
              <a:gd name="T51" fmla="*/ 200 h 752"/>
              <a:gd name="T52" fmla="*/ 1125 w 1202"/>
              <a:gd name="T53" fmla="*/ 100 h 752"/>
              <a:gd name="T54" fmla="*/ 1125 w 1202"/>
              <a:gd name="T55" fmla="*/ 100 h 752"/>
              <a:gd name="T56" fmla="*/ 1075 w 1202"/>
              <a:gd name="T57" fmla="*/ 100 h 752"/>
              <a:gd name="T58" fmla="*/ 1150 w 1202"/>
              <a:gd name="T59" fmla="*/ 200 h 752"/>
              <a:gd name="T60" fmla="*/ 1125 w 1202"/>
              <a:gd name="T61" fmla="*/ 10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2" h="752">
                <a:moveTo>
                  <a:pt x="850" y="701"/>
                </a:moveTo>
                <a:lnTo>
                  <a:pt x="850" y="701"/>
                </a:lnTo>
                <a:cubicBezTo>
                  <a:pt x="850" y="701"/>
                  <a:pt x="800" y="651"/>
                  <a:pt x="800" y="626"/>
                </a:cubicBezTo>
                <a:cubicBezTo>
                  <a:pt x="800" y="626"/>
                  <a:pt x="750" y="626"/>
                  <a:pt x="700" y="601"/>
                </a:cubicBezTo>
                <a:cubicBezTo>
                  <a:pt x="650" y="576"/>
                  <a:pt x="676" y="476"/>
                  <a:pt x="625" y="476"/>
                </a:cubicBezTo>
                <a:cubicBezTo>
                  <a:pt x="600" y="451"/>
                  <a:pt x="550" y="376"/>
                  <a:pt x="600" y="401"/>
                </a:cubicBezTo>
                <a:cubicBezTo>
                  <a:pt x="650" y="401"/>
                  <a:pt x="676" y="376"/>
                  <a:pt x="625" y="326"/>
                </a:cubicBezTo>
                <a:cubicBezTo>
                  <a:pt x="600" y="301"/>
                  <a:pt x="450" y="276"/>
                  <a:pt x="450" y="226"/>
                </a:cubicBezTo>
                <a:cubicBezTo>
                  <a:pt x="450" y="176"/>
                  <a:pt x="176" y="51"/>
                  <a:pt x="76" y="25"/>
                </a:cubicBezTo>
                <a:cubicBezTo>
                  <a:pt x="50" y="25"/>
                  <a:pt x="25" y="0"/>
                  <a:pt x="0" y="0"/>
                </a:cubicBezTo>
                <a:cubicBezTo>
                  <a:pt x="0" y="601"/>
                  <a:pt x="0" y="601"/>
                  <a:pt x="0" y="601"/>
                </a:cubicBezTo>
                <a:cubicBezTo>
                  <a:pt x="25" y="601"/>
                  <a:pt x="76" y="626"/>
                  <a:pt x="100" y="626"/>
                </a:cubicBezTo>
                <a:cubicBezTo>
                  <a:pt x="225" y="626"/>
                  <a:pt x="200" y="576"/>
                  <a:pt x="225" y="576"/>
                </a:cubicBezTo>
                <a:cubicBezTo>
                  <a:pt x="250" y="576"/>
                  <a:pt x="250" y="526"/>
                  <a:pt x="276" y="501"/>
                </a:cubicBezTo>
                <a:cubicBezTo>
                  <a:pt x="300" y="476"/>
                  <a:pt x="400" y="501"/>
                  <a:pt x="476" y="551"/>
                </a:cubicBezTo>
                <a:cubicBezTo>
                  <a:pt x="525" y="601"/>
                  <a:pt x="600" y="726"/>
                  <a:pt x="676" y="726"/>
                </a:cubicBezTo>
                <a:cubicBezTo>
                  <a:pt x="750" y="701"/>
                  <a:pt x="825" y="751"/>
                  <a:pt x="876" y="751"/>
                </a:cubicBezTo>
                <a:cubicBezTo>
                  <a:pt x="925" y="751"/>
                  <a:pt x="876" y="701"/>
                  <a:pt x="850" y="701"/>
                </a:cubicBezTo>
                <a:close/>
                <a:moveTo>
                  <a:pt x="1025" y="200"/>
                </a:moveTo>
                <a:lnTo>
                  <a:pt x="1025" y="200"/>
                </a:lnTo>
                <a:cubicBezTo>
                  <a:pt x="1025" y="226"/>
                  <a:pt x="976" y="251"/>
                  <a:pt x="901" y="276"/>
                </a:cubicBezTo>
                <a:cubicBezTo>
                  <a:pt x="825" y="301"/>
                  <a:pt x="700" y="251"/>
                  <a:pt x="700" y="276"/>
                </a:cubicBezTo>
                <a:cubicBezTo>
                  <a:pt x="700" y="301"/>
                  <a:pt x="776" y="351"/>
                  <a:pt x="850" y="351"/>
                </a:cubicBezTo>
                <a:cubicBezTo>
                  <a:pt x="925" y="351"/>
                  <a:pt x="1050" y="276"/>
                  <a:pt x="1050" y="251"/>
                </a:cubicBezTo>
                <a:cubicBezTo>
                  <a:pt x="1050" y="226"/>
                  <a:pt x="1101" y="200"/>
                  <a:pt x="1075" y="176"/>
                </a:cubicBezTo>
                <a:cubicBezTo>
                  <a:pt x="1050" y="151"/>
                  <a:pt x="1025" y="176"/>
                  <a:pt x="1025" y="200"/>
                </a:cubicBezTo>
                <a:close/>
                <a:moveTo>
                  <a:pt x="1125" y="100"/>
                </a:moveTo>
                <a:lnTo>
                  <a:pt x="1125" y="100"/>
                </a:lnTo>
                <a:cubicBezTo>
                  <a:pt x="1075" y="76"/>
                  <a:pt x="1025" y="51"/>
                  <a:pt x="1075" y="100"/>
                </a:cubicBezTo>
                <a:cubicBezTo>
                  <a:pt x="1150" y="151"/>
                  <a:pt x="1101" y="200"/>
                  <a:pt x="1150" y="200"/>
                </a:cubicBezTo>
                <a:cubicBezTo>
                  <a:pt x="1201" y="176"/>
                  <a:pt x="1150" y="126"/>
                  <a:pt x="1125" y="10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19" name="Freeform 145">
            <a:extLst>
              <a:ext uri="{FF2B5EF4-FFF2-40B4-BE49-F238E27FC236}">
                <a16:creationId xmlns:a16="http://schemas.microsoft.com/office/drawing/2014/main" id="{DB83C5C0-271D-B744-B926-6C86BA75D3C6}"/>
              </a:ext>
            </a:extLst>
          </p:cNvPr>
          <p:cNvSpPr>
            <a:spLocks noChangeArrowheads="1"/>
          </p:cNvSpPr>
          <p:nvPr/>
        </p:nvSpPr>
        <p:spPr bwMode="auto">
          <a:xfrm>
            <a:off x="8149114" y="4549441"/>
            <a:ext cx="64687" cy="119531"/>
          </a:xfrm>
          <a:custGeom>
            <a:avLst/>
            <a:gdLst>
              <a:gd name="T0" fmla="*/ 50 w 201"/>
              <a:gd name="T1" fmla="*/ 0 h 375"/>
              <a:gd name="T2" fmla="*/ 50 w 201"/>
              <a:gd name="T3" fmla="*/ 0 h 375"/>
              <a:gd name="T4" fmla="*/ 25 w 201"/>
              <a:gd name="T5" fmla="*/ 74 h 375"/>
              <a:gd name="T6" fmla="*/ 25 w 201"/>
              <a:gd name="T7" fmla="*/ 200 h 375"/>
              <a:gd name="T8" fmla="*/ 50 w 201"/>
              <a:gd name="T9" fmla="*/ 350 h 375"/>
              <a:gd name="T10" fmla="*/ 200 w 201"/>
              <a:gd name="T11" fmla="*/ 225 h 375"/>
              <a:gd name="T12" fmla="*/ 50 w 201"/>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201" h="375">
                <a:moveTo>
                  <a:pt x="50" y="0"/>
                </a:moveTo>
                <a:lnTo>
                  <a:pt x="50" y="0"/>
                </a:lnTo>
                <a:cubicBezTo>
                  <a:pt x="25" y="0"/>
                  <a:pt x="25" y="49"/>
                  <a:pt x="25" y="74"/>
                </a:cubicBezTo>
                <a:cubicBezTo>
                  <a:pt x="0" y="125"/>
                  <a:pt x="0" y="149"/>
                  <a:pt x="25" y="200"/>
                </a:cubicBezTo>
                <a:cubicBezTo>
                  <a:pt x="25" y="250"/>
                  <a:pt x="25" y="325"/>
                  <a:pt x="50" y="350"/>
                </a:cubicBezTo>
                <a:cubicBezTo>
                  <a:pt x="125" y="374"/>
                  <a:pt x="200" y="300"/>
                  <a:pt x="200" y="225"/>
                </a:cubicBezTo>
                <a:cubicBezTo>
                  <a:pt x="200" y="125"/>
                  <a:pt x="75" y="0"/>
                  <a:pt x="5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0" name="Freeform 146">
            <a:extLst>
              <a:ext uri="{FF2B5EF4-FFF2-40B4-BE49-F238E27FC236}">
                <a16:creationId xmlns:a16="http://schemas.microsoft.com/office/drawing/2014/main" id="{E93044D9-FDD2-C54D-9B0F-82EE0D4A3306}"/>
              </a:ext>
            </a:extLst>
          </p:cNvPr>
          <p:cNvSpPr>
            <a:spLocks noChangeArrowheads="1"/>
          </p:cNvSpPr>
          <p:nvPr/>
        </p:nvSpPr>
        <p:spPr bwMode="auto">
          <a:xfrm>
            <a:off x="7032557" y="5187873"/>
            <a:ext cx="223592" cy="438747"/>
          </a:xfrm>
          <a:custGeom>
            <a:avLst/>
            <a:gdLst>
              <a:gd name="T0" fmla="*/ 600 w 701"/>
              <a:gd name="T1" fmla="*/ 50 h 1376"/>
              <a:gd name="T2" fmla="*/ 600 w 701"/>
              <a:gd name="T3" fmla="*/ 50 h 1376"/>
              <a:gd name="T4" fmla="*/ 575 w 701"/>
              <a:gd name="T5" fmla="*/ 75 h 1376"/>
              <a:gd name="T6" fmla="*/ 551 w 701"/>
              <a:gd name="T7" fmla="*/ 150 h 1376"/>
              <a:gd name="T8" fmla="*/ 500 w 701"/>
              <a:gd name="T9" fmla="*/ 175 h 1376"/>
              <a:gd name="T10" fmla="*/ 451 w 701"/>
              <a:gd name="T11" fmla="*/ 225 h 1376"/>
              <a:gd name="T12" fmla="*/ 451 w 701"/>
              <a:gd name="T13" fmla="*/ 275 h 1376"/>
              <a:gd name="T14" fmla="*/ 375 w 701"/>
              <a:gd name="T15" fmla="*/ 325 h 1376"/>
              <a:gd name="T16" fmla="*/ 251 w 701"/>
              <a:gd name="T17" fmla="*/ 400 h 1376"/>
              <a:gd name="T18" fmla="*/ 125 w 701"/>
              <a:gd name="T19" fmla="*/ 425 h 1376"/>
              <a:gd name="T20" fmla="*/ 100 w 701"/>
              <a:gd name="T21" fmla="*/ 550 h 1376"/>
              <a:gd name="T22" fmla="*/ 100 w 701"/>
              <a:gd name="T23" fmla="*/ 725 h 1376"/>
              <a:gd name="T24" fmla="*/ 75 w 701"/>
              <a:gd name="T25" fmla="*/ 900 h 1376"/>
              <a:gd name="T26" fmla="*/ 50 w 701"/>
              <a:gd name="T27" fmla="*/ 1125 h 1376"/>
              <a:gd name="T28" fmla="*/ 100 w 701"/>
              <a:gd name="T29" fmla="*/ 1300 h 1376"/>
              <a:gd name="T30" fmla="*/ 275 w 701"/>
              <a:gd name="T31" fmla="*/ 1350 h 1376"/>
              <a:gd name="T32" fmla="*/ 375 w 701"/>
              <a:gd name="T33" fmla="*/ 1325 h 1376"/>
              <a:gd name="T34" fmla="*/ 500 w 701"/>
              <a:gd name="T35" fmla="*/ 925 h 1376"/>
              <a:gd name="T36" fmla="*/ 600 w 701"/>
              <a:gd name="T37" fmla="*/ 550 h 1376"/>
              <a:gd name="T38" fmla="*/ 625 w 701"/>
              <a:gd name="T39" fmla="*/ 450 h 1376"/>
              <a:gd name="T40" fmla="*/ 651 w 701"/>
              <a:gd name="T41" fmla="*/ 400 h 1376"/>
              <a:gd name="T42" fmla="*/ 700 w 701"/>
              <a:gd name="T43" fmla="*/ 375 h 1376"/>
              <a:gd name="T44" fmla="*/ 675 w 701"/>
              <a:gd name="T45" fmla="*/ 200 h 1376"/>
              <a:gd name="T46" fmla="*/ 600 w 701"/>
              <a:gd name="T47" fmla="*/ 5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1" h="1376">
                <a:moveTo>
                  <a:pt x="600" y="50"/>
                </a:moveTo>
                <a:lnTo>
                  <a:pt x="600" y="50"/>
                </a:lnTo>
                <a:cubicBezTo>
                  <a:pt x="600" y="0"/>
                  <a:pt x="575" y="50"/>
                  <a:pt x="575" y="75"/>
                </a:cubicBezTo>
                <a:cubicBezTo>
                  <a:pt x="551" y="75"/>
                  <a:pt x="551" y="125"/>
                  <a:pt x="551" y="150"/>
                </a:cubicBezTo>
                <a:cubicBezTo>
                  <a:pt x="551" y="150"/>
                  <a:pt x="525" y="175"/>
                  <a:pt x="500" y="175"/>
                </a:cubicBezTo>
                <a:cubicBezTo>
                  <a:pt x="475" y="175"/>
                  <a:pt x="451" y="200"/>
                  <a:pt x="451" y="225"/>
                </a:cubicBezTo>
                <a:cubicBezTo>
                  <a:pt x="451" y="250"/>
                  <a:pt x="425" y="250"/>
                  <a:pt x="451" y="275"/>
                </a:cubicBezTo>
                <a:cubicBezTo>
                  <a:pt x="451" y="300"/>
                  <a:pt x="425" y="325"/>
                  <a:pt x="375" y="325"/>
                </a:cubicBezTo>
                <a:cubicBezTo>
                  <a:pt x="350" y="325"/>
                  <a:pt x="300" y="400"/>
                  <a:pt x="251" y="400"/>
                </a:cubicBezTo>
                <a:cubicBezTo>
                  <a:pt x="200" y="400"/>
                  <a:pt x="175" y="425"/>
                  <a:pt x="125" y="425"/>
                </a:cubicBezTo>
                <a:cubicBezTo>
                  <a:pt x="100" y="425"/>
                  <a:pt x="125" y="499"/>
                  <a:pt x="100" y="550"/>
                </a:cubicBezTo>
                <a:cubicBezTo>
                  <a:pt x="50" y="599"/>
                  <a:pt x="75" y="650"/>
                  <a:pt x="100" y="725"/>
                </a:cubicBezTo>
                <a:cubicBezTo>
                  <a:pt x="125" y="775"/>
                  <a:pt x="150" y="825"/>
                  <a:pt x="75" y="900"/>
                </a:cubicBezTo>
                <a:cubicBezTo>
                  <a:pt x="0" y="975"/>
                  <a:pt x="25" y="1075"/>
                  <a:pt x="50" y="1125"/>
                </a:cubicBezTo>
                <a:cubicBezTo>
                  <a:pt x="75" y="1175"/>
                  <a:pt x="75" y="1275"/>
                  <a:pt x="100" y="1300"/>
                </a:cubicBezTo>
                <a:cubicBezTo>
                  <a:pt x="150" y="1350"/>
                  <a:pt x="251" y="1375"/>
                  <a:pt x="275" y="1350"/>
                </a:cubicBezTo>
                <a:cubicBezTo>
                  <a:pt x="300" y="1325"/>
                  <a:pt x="325" y="1350"/>
                  <a:pt x="375" y="1325"/>
                </a:cubicBezTo>
                <a:cubicBezTo>
                  <a:pt x="400" y="1275"/>
                  <a:pt x="451" y="1050"/>
                  <a:pt x="500" y="925"/>
                </a:cubicBezTo>
                <a:cubicBezTo>
                  <a:pt x="551" y="775"/>
                  <a:pt x="600" y="599"/>
                  <a:pt x="600" y="550"/>
                </a:cubicBezTo>
                <a:cubicBezTo>
                  <a:pt x="600" y="525"/>
                  <a:pt x="651" y="499"/>
                  <a:pt x="625" y="450"/>
                </a:cubicBezTo>
                <a:cubicBezTo>
                  <a:pt x="600" y="400"/>
                  <a:pt x="625" y="350"/>
                  <a:pt x="651" y="400"/>
                </a:cubicBezTo>
                <a:cubicBezTo>
                  <a:pt x="675" y="425"/>
                  <a:pt x="700" y="425"/>
                  <a:pt x="700" y="375"/>
                </a:cubicBezTo>
                <a:cubicBezTo>
                  <a:pt x="700" y="325"/>
                  <a:pt x="675" y="275"/>
                  <a:pt x="675" y="200"/>
                </a:cubicBezTo>
                <a:cubicBezTo>
                  <a:pt x="675" y="125"/>
                  <a:pt x="600" y="75"/>
                  <a:pt x="600" y="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1" name="Freeform 147">
            <a:extLst>
              <a:ext uri="{FF2B5EF4-FFF2-40B4-BE49-F238E27FC236}">
                <a16:creationId xmlns:a16="http://schemas.microsoft.com/office/drawing/2014/main" id="{840C9644-6296-F545-8FF1-DE42F4E1AE4B}"/>
              </a:ext>
            </a:extLst>
          </p:cNvPr>
          <p:cNvSpPr>
            <a:spLocks noChangeArrowheads="1"/>
          </p:cNvSpPr>
          <p:nvPr/>
        </p:nvSpPr>
        <p:spPr bwMode="auto">
          <a:xfrm>
            <a:off x="7025525" y="4254131"/>
            <a:ext cx="358592" cy="215156"/>
          </a:xfrm>
          <a:custGeom>
            <a:avLst/>
            <a:gdLst>
              <a:gd name="T0" fmla="*/ 800 w 1126"/>
              <a:gd name="T1" fmla="*/ 26 h 676"/>
              <a:gd name="T2" fmla="*/ 800 w 1126"/>
              <a:gd name="T3" fmla="*/ 26 h 676"/>
              <a:gd name="T4" fmla="*/ 625 w 1126"/>
              <a:gd name="T5" fmla="*/ 26 h 676"/>
              <a:gd name="T6" fmla="*/ 476 w 1126"/>
              <a:gd name="T7" fmla="*/ 175 h 676"/>
              <a:gd name="T8" fmla="*/ 400 w 1126"/>
              <a:gd name="T9" fmla="*/ 175 h 676"/>
              <a:gd name="T10" fmla="*/ 276 w 1126"/>
              <a:gd name="T11" fmla="*/ 175 h 676"/>
              <a:gd name="T12" fmla="*/ 175 w 1126"/>
              <a:gd name="T13" fmla="*/ 151 h 676"/>
              <a:gd name="T14" fmla="*/ 100 w 1126"/>
              <a:gd name="T15" fmla="*/ 151 h 676"/>
              <a:gd name="T16" fmla="*/ 50 w 1126"/>
              <a:gd name="T17" fmla="*/ 175 h 676"/>
              <a:gd name="T18" fmla="*/ 50 w 1126"/>
              <a:gd name="T19" fmla="*/ 226 h 676"/>
              <a:gd name="T20" fmla="*/ 0 w 1126"/>
              <a:gd name="T21" fmla="*/ 251 h 676"/>
              <a:gd name="T22" fmla="*/ 25 w 1126"/>
              <a:gd name="T23" fmla="*/ 300 h 676"/>
              <a:gd name="T24" fmla="*/ 50 w 1126"/>
              <a:gd name="T25" fmla="*/ 451 h 676"/>
              <a:gd name="T26" fmla="*/ 75 w 1126"/>
              <a:gd name="T27" fmla="*/ 600 h 676"/>
              <a:gd name="T28" fmla="*/ 250 w 1126"/>
              <a:gd name="T29" fmla="*/ 575 h 676"/>
              <a:gd name="T30" fmla="*/ 375 w 1126"/>
              <a:gd name="T31" fmla="*/ 551 h 676"/>
              <a:gd name="T32" fmla="*/ 476 w 1126"/>
              <a:gd name="T33" fmla="*/ 500 h 676"/>
              <a:gd name="T34" fmla="*/ 576 w 1126"/>
              <a:gd name="T35" fmla="*/ 475 h 676"/>
              <a:gd name="T36" fmla="*/ 650 w 1126"/>
              <a:gd name="T37" fmla="*/ 426 h 676"/>
              <a:gd name="T38" fmla="*/ 850 w 1126"/>
              <a:gd name="T39" fmla="*/ 351 h 676"/>
              <a:gd name="T40" fmla="*/ 925 w 1126"/>
              <a:gd name="T41" fmla="*/ 275 h 676"/>
              <a:gd name="T42" fmla="*/ 1000 w 1126"/>
              <a:gd name="T43" fmla="*/ 226 h 676"/>
              <a:gd name="T44" fmla="*/ 900 w 1126"/>
              <a:gd name="T45" fmla="*/ 0 h 676"/>
              <a:gd name="T46" fmla="*/ 800 w 1126"/>
              <a:gd name="T47" fmla="*/ 26 h 676"/>
              <a:gd name="T48" fmla="*/ 1025 w 1126"/>
              <a:gd name="T49" fmla="*/ 651 h 676"/>
              <a:gd name="T50" fmla="*/ 1025 w 1126"/>
              <a:gd name="T51" fmla="*/ 651 h 676"/>
              <a:gd name="T52" fmla="*/ 1125 w 1126"/>
              <a:gd name="T53" fmla="*/ 626 h 676"/>
              <a:gd name="T54" fmla="*/ 1025 w 1126"/>
              <a:gd name="T55" fmla="*/ 65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6" h="676">
                <a:moveTo>
                  <a:pt x="800" y="26"/>
                </a:moveTo>
                <a:lnTo>
                  <a:pt x="800" y="26"/>
                </a:lnTo>
                <a:cubicBezTo>
                  <a:pt x="750" y="26"/>
                  <a:pt x="625" y="26"/>
                  <a:pt x="625" y="26"/>
                </a:cubicBezTo>
                <a:cubicBezTo>
                  <a:pt x="600" y="51"/>
                  <a:pt x="500" y="126"/>
                  <a:pt x="476" y="175"/>
                </a:cubicBezTo>
                <a:cubicBezTo>
                  <a:pt x="450" y="200"/>
                  <a:pt x="425" y="200"/>
                  <a:pt x="400" y="175"/>
                </a:cubicBezTo>
                <a:cubicBezTo>
                  <a:pt x="375" y="175"/>
                  <a:pt x="276" y="175"/>
                  <a:pt x="276" y="175"/>
                </a:cubicBezTo>
                <a:cubicBezTo>
                  <a:pt x="276" y="151"/>
                  <a:pt x="200" y="151"/>
                  <a:pt x="175" y="151"/>
                </a:cubicBezTo>
                <a:cubicBezTo>
                  <a:pt x="125" y="151"/>
                  <a:pt x="100" y="151"/>
                  <a:pt x="100" y="151"/>
                </a:cubicBezTo>
                <a:cubicBezTo>
                  <a:pt x="75" y="151"/>
                  <a:pt x="50" y="175"/>
                  <a:pt x="50" y="175"/>
                </a:cubicBezTo>
                <a:cubicBezTo>
                  <a:pt x="50" y="200"/>
                  <a:pt x="50" y="226"/>
                  <a:pt x="50" y="226"/>
                </a:cubicBezTo>
                <a:cubicBezTo>
                  <a:pt x="50" y="226"/>
                  <a:pt x="25" y="251"/>
                  <a:pt x="0" y="251"/>
                </a:cubicBezTo>
                <a:cubicBezTo>
                  <a:pt x="25" y="275"/>
                  <a:pt x="25" y="300"/>
                  <a:pt x="25" y="300"/>
                </a:cubicBezTo>
                <a:cubicBezTo>
                  <a:pt x="0" y="351"/>
                  <a:pt x="25" y="426"/>
                  <a:pt x="50" y="451"/>
                </a:cubicBezTo>
                <a:cubicBezTo>
                  <a:pt x="75" y="500"/>
                  <a:pt x="75" y="575"/>
                  <a:pt x="75" y="600"/>
                </a:cubicBezTo>
                <a:cubicBezTo>
                  <a:pt x="100" y="626"/>
                  <a:pt x="200" y="600"/>
                  <a:pt x="250" y="575"/>
                </a:cubicBezTo>
                <a:cubicBezTo>
                  <a:pt x="300" y="551"/>
                  <a:pt x="325" y="551"/>
                  <a:pt x="375" y="551"/>
                </a:cubicBezTo>
                <a:cubicBezTo>
                  <a:pt x="400" y="551"/>
                  <a:pt x="450" y="500"/>
                  <a:pt x="476" y="500"/>
                </a:cubicBezTo>
                <a:cubicBezTo>
                  <a:pt x="476" y="475"/>
                  <a:pt x="550" y="475"/>
                  <a:pt x="576" y="475"/>
                </a:cubicBezTo>
                <a:cubicBezTo>
                  <a:pt x="600" y="475"/>
                  <a:pt x="625" y="451"/>
                  <a:pt x="650" y="426"/>
                </a:cubicBezTo>
                <a:cubicBezTo>
                  <a:pt x="676" y="400"/>
                  <a:pt x="750" y="400"/>
                  <a:pt x="850" y="351"/>
                </a:cubicBezTo>
                <a:cubicBezTo>
                  <a:pt x="925" y="326"/>
                  <a:pt x="900" y="300"/>
                  <a:pt x="925" y="275"/>
                </a:cubicBezTo>
                <a:cubicBezTo>
                  <a:pt x="950" y="251"/>
                  <a:pt x="976" y="251"/>
                  <a:pt x="1000" y="226"/>
                </a:cubicBezTo>
                <a:cubicBezTo>
                  <a:pt x="976" y="151"/>
                  <a:pt x="925" y="51"/>
                  <a:pt x="900" y="0"/>
                </a:cubicBezTo>
                <a:cubicBezTo>
                  <a:pt x="850" y="0"/>
                  <a:pt x="825" y="26"/>
                  <a:pt x="800" y="26"/>
                </a:cubicBezTo>
                <a:close/>
                <a:moveTo>
                  <a:pt x="1025" y="651"/>
                </a:moveTo>
                <a:lnTo>
                  <a:pt x="1025" y="651"/>
                </a:lnTo>
                <a:cubicBezTo>
                  <a:pt x="1076" y="675"/>
                  <a:pt x="1125" y="651"/>
                  <a:pt x="1125" y="626"/>
                </a:cubicBezTo>
                <a:cubicBezTo>
                  <a:pt x="1125" y="626"/>
                  <a:pt x="1000" y="600"/>
                  <a:pt x="1025" y="651"/>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2" name="Freeform 148">
            <a:extLst>
              <a:ext uri="{FF2B5EF4-FFF2-40B4-BE49-F238E27FC236}">
                <a16:creationId xmlns:a16="http://schemas.microsoft.com/office/drawing/2014/main" id="{3B857B29-5265-5B4A-B989-BC7ED01B5BB8}"/>
              </a:ext>
            </a:extLst>
          </p:cNvPr>
          <p:cNvSpPr>
            <a:spLocks noChangeArrowheads="1"/>
          </p:cNvSpPr>
          <p:nvPr/>
        </p:nvSpPr>
        <p:spPr bwMode="auto">
          <a:xfrm>
            <a:off x="7790522" y="6439430"/>
            <a:ext cx="80156" cy="47812"/>
          </a:xfrm>
          <a:custGeom>
            <a:avLst/>
            <a:gdLst>
              <a:gd name="T0" fmla="*/ 100 w 250"/>
              <a:gd name="T1" fmla="*/ 24 h 150"/>
              <a:gd name="T2" fmla="*/ 100 w 250"/>
              <a:gd name="T3" fmla="*/ 24 h 150"/>
              <a:gd name="T4" fmla="*/ 75 w 250"/>
              <a:gd name="T5" fmla="*/ 124 h 150"/>
              <a:gd name="T6" fmla="*/ 149 w 250"/>
              <a:gd name="T7" fmla="*/ 124 h 150"/>
              <a:gd name="T8" fmla="*/ 225 w 250"/>
              <a:gd name="T9" fmla="*/ 100 h 150"/>
              <a:gd name="T10" fmla="*/ 100 w 250"/>
              <a:gd name="T11" fmla="*/ 24 h 150"/>
            </a:gdLst>
            <a:ahLst/>
            <a:cxnLst>
              <a:cxn ang="0">
                <a:pos x="T0" y="T1"/>
              </a:cxn>
              <a:cxn ang="0">
                <a:pos x="T2" y="T3"/>
              </a:cxn>
              <a:cxn ang="0">
                <a:pos x="T4" y="T5"/>
              </a:cxn>
              <a:cxn ang="0">
                <a:pos x="T6" y="T7"/>
              </a:cxn>
              <a:cxn ang="0">
                <a:pos x="T8" y="T9"/>
              </a:cxn>
              <a:cxn ang="0">
                <a:pos x="T10" y="T11"/>
              </a:cxn>
            </a:cxnLst>
            <a:rect l="0" t="0" r="r" b="b"/>
            <a:pathLst>
              <a:path w="250" h="150">
                <a:moveTo>
                  <a:pt x="100" y="24"/>
                </a:moveTo>
                <a:lnTo>
                  <a:pt x="100" y="24"/>
                </a:lnTo>
                <a:cubicBezTo>
                  <a:pt x="100" y="0"/>
                  <a:pt x="0" y="100"/>
                  <a:pt x="75" y="124"/>
                </a:cubicBezTo>
                <a:cubicBezTo>
                  <a:pt x="100" y="149"/>
                  <a:pt x="125" y="100"/>
                  <a:pt x="149" y="124"/>
                </a:cubicBezTo>
                <a:cubicBezTo>
                  <a:pt x="175" y="149"/>
                  <a:pt x="225" y="149"/>
                  <a:pt x="225" y="100"/>
                </a:cubicBezTo>
                <a:cubicBezTo>
                  <a:pt x="249" y="49"/>
                  <a:pt x="125" y="49"/>
                  <a:pt x="100" y="2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3" name="Freeform 149">
            <a:extLst>
              <a:ext uri="{FF2B5EF4-FFF2-40B4-BE49-F238E27FC236}">
                <a16:creationId xmlns:a16="http://schemas.microsoft.com/office/drawing/2014/main" id="{42319213-A947-D04F-A84E-24AB17BB5A74}"/>
              </a:ext>
            </a:extLst>
          </p:cNvPr>
          <p:cNvSpPr>
            <a:spLocks noChangeArrowheads="1"/>
          </p:cNvSpPr>
          <p:nvPr/>
        </p:nvSpPr>
        <p:spPr bwMode="auto">
          <a:xfrm>
            <a:off x="10375193" y="5003658"/>
            <a:ext cx="247499" cy="175780"/>
          </a:xfrm>
          <a:custGeom>
            <a:avLst/>
            <a:gdLst>
              <a:gd name="T0" fmla="*/ 0 w 776"/>
              <a:gd name="T1" fmla="*/ 25 h 551"/>
              <a:gd name="T2" fmla="*/ 0 w 776"/>
              <a:gd name="T3" fmla="*/ 25 h 551"/>
              <a:gd name="T4" fmla="*/ 124 w 776"/>
              <a:gd name="T5" fmla="*/ 150 h 551"/>
              <a:gd name="T6" fmla="*/ 0 w 776"/>
              <a:gd name="T7" fmla="*/ 25 h 551"/>
              <a:gd name="T8" fmla="*/ 175 w 776"/>
              <a:gd name="T9" fmla="*/ 150 h 551"/>
              <a:gd name="T10" fmla="*/ 175 w 776"/>
              <a:gd name="T11" fmla="*/ 150 h 551"/>
              <a:gd name="T12" fmla="*/ 275 w 776"/>
              <a:gd name="T13" fmla="*/ 200 h 551"/>
              <a:gd name="T14" fmla="*/ 175 w 776"/>
              <a:gd name="T15" fmla="*/ 150 h 551"/>
              <a:gd name="T16" fmla="*/ 500 w 776"/>
              <a:gd name="T17" fmla="*/ 300 h 551"/>
              <a:gd name="T18" fmla="*/ 500 w 776"/>
              <a:gd name="T19" fmla="*/ 300 h 551"/>
              <a:gd name="T20" fmla="*/ 375 w 776"/>
              <a:gd name="T21" fmla="*/ 225 h 551"/>
              <a:gd name="T22" fmla="*/ 500 w 776"/>
              <a:gd name="T23" fmla="*/ 300 h 551"/>
              <a:gd name="T24" fmla="*/ 475 w 776"/>
              <a:gd name="T25" fmla="*/ 400 h 551"/>
              <a:gd name="T26" fmla="*/ 475 w 776"/>
              <a:gd name="T27" fmla="*/ 400 h 551"/>
              <a:gd name="T28" fmla="*/ 575 w 776"/>
              <a:gd name="T29" fmla="*/ 450 h 551"/>
              <a:gd name="T30" fmla="*/ 475 w 776"/>
              <a:gd name="T31" fmla="*/ 400 h 551"/>
              <a:gd name="T32" fmla="*/ 649 w 776"/>
              <a:gd name="T33" fmla="*/ 475 h 551"/>
              <a:gd name="T34" fmla="*/ 649 w 776"/>
              <a:gd name="T35" fmla="*/ 475 h 551"/>
              <a:gd name="T36" fmla="*/ 749 w 776"/>
              <a:gd name="T37" fmla="*/ 525 h 551"/>
              <a:gd name="T38" fmla="*/ 649 w 776"/>
              <a:gd name="T39" fmla="*/ 475 h 551"/>
              <a:gd name="T40" fmla="*/ 575 w 776"/>
              <a:gd name="T41" fmla="*/ 300 h 551"/>
              <a:gd name="T42" fmla="*/ 575 w 776"/>
              <a:gd name="T43" fmla="*/ 300 h 551"/>
              <a:gd name="T44" fmla="*/ 649 w 776"/>
              <a:gd name="T45" fmla="*/ 425 h 551"/>
              <a:gd name="T46" fmla="*/ 575 w 776"/>
              <a:gd name="T47" fmla="*/ 30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6" h="551">
                <a:moveTo>
                  <a:pt x="0" y="25"/>
                </a:moveTo>
                <a:lnTo>
                  <a:pt x="0" y="25"/>
                </a:lnTo>
                <a:cubicBezTo>
                  <a:pt x="0" y="50"/>
                  <a:pt x="100" y="175"/>
                  <a:pt x="124" y="150"/>
                </a:cubicBezTo>
                <a:cubicBezTo>
                  <a:pt x="175" y="125"/>
                  <a:pt x="24" y="0"/>
                  <a:pt x="0" y="25"/>
                </a:cubicBezTo>
                <a:close/>
                <a:moveTo>
                  <a:pt x="175" y="150"/>
                </a:moveTo>
                <a:lnTo>
                  <a:pt x="175" y="150"/>
                </a:lnTo>
                <a:cubicBezTo>
                  <a:pt x="175" y="150"/>
                  <a:pt x="249" y="225"/>
                  <a:pt x="275" y="200"/>
                </a:cubicBezTo>
                <a:cubicBezTo>
                  <a:pt x="275" y="200"/>
                  <a:pt x="200" y="125"/>
                  <a:pt x="175" y="150"/>
                </a:cubicBezTo>
                <a:close/>
                <a:moveTo>
                  <a:pt x="500" y="300"/>
                </a:moveTo>
                <a:lnTo>
                  <a:pt x="500" y="300"/>
                </a:lnTo>
                <a:cubicBezTo>
                  <a:pt x="525" y="300"/>
                  <a:pt x="375" y="200"/>
                  <a:pt x="375" y="225"/>
                </a:cubicBezTo>
                <a:cubicBezTo>
                  <a:pt x="375" y="250"/>
                  <a:pt x="475" y="325"/>
                  <a:pt x="500" y="300"/>
                </a:cubicBezTo>
                <a:close/>
                <a:moveTo>
                  <a:pt x="475" y="400"/>
                </a:moveTo>
                <a:lnTo>
                  <a:pt x="475" y="400"/>
                </a:lnTo>
                <a:cubicBezTo>
                  <a:pt x="500" y="425"/>
                  <a:pt x="549" y="450"/>
                  <a:pt x="575" y="450"/>
                </a:cubicBezTo>
                <a:cubicBezTo>
                  <a:pt x="600" y="425"/>
                  <a:pt x="475" y="350"/>
                  <a:pt x="475" y="400"/>
                </a:cubicBezTo>
                <a:close/>
                <a:moveTo>
                  <a:pt x="649" y="475"/>
                </a:moveTo>
                <a:lnTo>
                  <a:pt x="649" y="475"/>
                </a:lnTo>
                <a:cubicBezTo>
                  <a:pt x="649" y="500"/>
                  <a:pt x="700" y="550"/>
                  <a:pt x="749" y="525"/>
                </a:cubicBezTo>
                <a:cubicBezTo>
                  <a:pt x="775" y="500"/>
                  <a:pt x="649" y="475"/>
                  <a:pt x="649" y="475"/>
                </a:cubicBezTo>
                <a:close/>
                <a:moveTo>
                  <a:pt x="575" y="300"/>
                </a:moveTo>
                <a:lnTo>
                  <a:pt x="575" y="300"/>
                </a:lnTo>
                <a:cubicBezTo>
                  <a:pt x="549" y="350"/>
                  <a:pt x="649" y="425"/>
                  <a:pt x="649" y="425"/>
                </a:cubicBezTo>
                <a:cubicBezTo>
                  <a:pt x="675" y="425"/>
                  <a:pt x="600" y="275"/>
                  <a:pt x="575" y="30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4" name="Freeform 150">
            <a:extLst>
              <a:ext uri="{FF2B5EF4-FFF2-40B4-BE49-F238E27FC236}">
                <a16:creationId xmlns:a16="http://schemas.microsoft.com/office/drawing/2014/main" id="{EEFFC7D5-B852-8140-9D37-B86E844DBD69}"/>
              </a:ext>
            </a:extLst>
          </p:cNvPr>
          <p:cNvSpPr>
            <a:spLocks noChangeArrowheads="1"/>
          </p:cNvSpPr>
          <p:nvPr/>
        </p:nvSpPr>
        <p:spPr bwMode="auto">
          <a:xfrm>
            <a:off x="10375193" y="5003658"/>
            <a:ext cx="247499" cy="175780"/>
          </a:xfrm>
          <a:custGeom>
            <a:avLst/>
            <a:gdLst>
              <a:gd name="T0" fmla="*/ 0 w 776"/>
              <a:gd name="T1" fmla="*/ 25 h 551"/>
              <a:gd name="T2" fmla="*/ 0 w 776"/>
              <a:gd name="T3" fmla="*/ 25 h 551"/>
              <a:gd name="T4" fmla="*/ 124 w 776"/>
              <a:gd name="T5" fmla="*/ 150 h 551"/>
              <a:gd name="T6" fmla="*/ 0 w 776"/>
              <a:gd name="T7" fmla="*/ 25 h 551"/>
              <a:gd name="T8" fmla="*/ 175 w 776"/>
              <a:gd name="T9" fmla="*/ 150 h 551"/>
              <a:gd name="T10" fmla="*/ 175 w 776"/>
              <a:gd name="T11" fmla="*/ 150 h 551"/>
              <a:gd name="T12" fmla="*/ 275 w 776"/>
              <a:gd name="T13" fmla="*/ 200 h 551"/>
              <a:gd name="T14" fmla="*/ 175 w 776"/>
              <a:gd name="T15" fmla="*/ 150 h 551"/>
              <a:gd name="T16" fmla="*/ 500 w 776"/>
              <a:gd name="T17" fmla="*/ 300 h 551"/>
              <a:gd name="T18" fmla="*/ 500 w 776"/>
              <a:gd name="T19" fmla="*/ 300 h 551"/>
              <a:gd name="T20" fmla="*/ 375 w 776"/>
              <a:gd name="T21" fmla="*/ 225 h 551"/>
              <a:gd name="T22" fmla="*/ 500 w 776"/>
              <a:gd name="T23" fmla="*/ 300 h 551"/>
              <a:gd name="T24" fmla="*/ 475 w 776"/>
              <a:gd name="T25" fmla="*/ 400 h 551"/>
              <a:gd name="T26" fmla="*/ 475 w 776"/>
              <a:gd name="T27" fmla="*/ 400 h 551"/>
              <a:gd name="T28" fmla="*/ 575 w 776"/>
              <a:gd name="T29" fmla="*/ 450 h 551"/>
              <a:gd name="T30" fmla="*/ 475 w 776"/>
              <a:gd name="T31" fmla="*/ 400 h 551"/>
              <a:gd name="T32" fmla="*/ 649 w 776"/>
              <a:gd name="T33" fmla="*/ 475 h 551"/>
              <a:gd name="T34" fmla="*/ 649 w 776"/>
              <a:gd name="T35" fmla="*/ 475 h 551"/>
              <a:gd name="T36" fmla="*/ 749 w 776"/>
              <a:gd name="T37" fmla="*/ 525 h 551"/>
              <a:gd name="T38" fmla="*/ 649 w 776"/>
              <a:gd name="T39" fmla="*/ 475 h 551"/>
              <a:gd name="T40" fmla="*/ 575 w 776"/>
              <a:gd name="T41" fmla="*/ 300 h 551"/>
              <a:gd name="T42" fmla="*/ 575 w 776"/>
              <a:gd name="T43" fmla="*/ 300 h 551"/>
              <a:gd name="T44" fmla="*/ 649 w 776"/>
              <a:gd name="T45" fmla="*/ 425 h 551"/>
              <a:gd name="T46" fmla="*/ 575 w 776"/>
              <a:gd name="T47" fmla="*/ 30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6" h="551">
                <a:moveTo>
                  <a:pt x="0" y="25"/>
                </a:moveTo>
                <a:lnTo>
                  <a:pt x="0" y="25"/>
                </a:lnTo>
                <a:cubicBezTo>
                  <a:pt x="0" y="50"/>
                  <a:pt x="100" y="175"/>
                  <a:pt x="124" y="150"/>
                </a:cubicBezTo>
                <a:cubicBezTo>
                  <a:pt x="175" y="125"/>
                  <a:pt x="24" y="0"/>
                  <a:pt x="0" y="25"/>
                </a:cubicBezTo>
                <a:close/>
                <a:moveTo>
                  <a:pt x="175" y="150"/>
                </a:moveTo>
                <a:lnTo>
                  <a:pt x="175" y="150"/>
                </a:lnTo>
                <a:cubicBezTo>
                  <a:pt x="175" y="150"/>
                  <a:pt x="249" y="225"/>
                  <a:pt x="275" y="200"/>
                </a:cubicBezTo>
                <a:cubicBezTo>
                  <a:pt x="275" y="200"/>
                  <a:pt x="200" y="125"/>
                  <a:pt x="175" y="150"/>
                </a:cubicBezTo>
                <a:close/>
                <a:moveTo>
                  <a:pt x="500" y="300"/>
                </a:moveTo>
                <a:lnTo>
                  <a:pt x="500" y="300"/>
                </a:lnTo>
                <a:cubicBezTo>
                  <a:pt x="525" y="300"/>
                  <a:pt x="375" y="200"/>
                  <a:pt x="375" y="225"/>
                </a:cubicBezTo>
                <a:cubicBezTo>
                  <a:pt x="375" y="250"/>
                  <a:pt x="475" y="325"/>
                  <a:pt x="500" y="300"/>
                </a:cubicBezTo>
                <a:close/>
                <a:moveTo>
                  <a:pt x="475" y="400"/>
                </a:moveTo>
                <a:lnTo>
                  <a:pt x="475" y="400"/>
                </a:lnTo>
                <a:cubicBezTo>
                  <a:pt x="500" y="425"/>
                  <a:pt x="549" y="450"/>
                  <a:pt x="575" y="450"/>
                </a:cubicBezTo>
                <a:cubicBezTo>
                  <a:pt x="600" y="425"/>
                  <a:pt x="475" y="350"/>
                  <a:pt x="475" y="400"/>
                </a:cubicBezTo>
                <a:close/>
                <a:moveTo>
                  <a:pt x="649" y="475"/>
                </a:moveTo>
                <a:lnTo>
                  <a:pt x="649" y="475"/>
                </a:lnTo>
                <a:cubicBezTo>
                  <a:pt x="649" y="500"/>
                  <a:pt x="700" y="550"/>
                  <a:pt x="749" y="525"/>
                </a:cubicBezTo>
                <a:cubicBezTo>
                  <a:pt x="775" y="500"/>
                  <a:pt x="649" y="475"/>
                  <a:pt x="649" y="475"/>
                </a:cubicBezTo>
                <a:close/>
                <a:moveTo>
                  <a:pt x="575" y="300"/>
                </a:moveTo>
                <a:lnTo>
                  <a:pt x="575" y="300"/>
                </a:lnTo>
                <a:cubicBezTo>
                  <a:pt x="549" y="350"/>
                  <a:pt x="649" y="425"/>
                  <a:pt x="649" y="425"/>
                </a:cubicBezTo>
                <a:cubicBezTo>
                  <a:pt x="675" y="425"/>
                  <a:pt x="600" y="275"/>
                  <a:pt x="575" y="30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5" name="Freeform 151">
            <a:extLst>
              <a:ext uri="{FF2B5EF4-FFF2-40B4-BE49-F238E27FC236}">
                <a16:creationId xmlns:a16="http://schemas.microsoft.com/office/drawing/2014/main" id="{B8E03276-D753-5B47-947F-915CD7CEF893}"/>
              </a:ext>
            </a:extLst>
          </p:cNvPr>
          <p:cNvSpPr>
            <a:spLocks noChangeArrowheads="1"/>
          </p:cNvSpPr>
          <p:nvPr/>
        </p:nvSpPr>
        <p:spPr bwMode="auto">
          <a:xfrm>
            <a:off x="9113795" y="5163970"/>
            <a:ext cx="1229055" cy="1092649"/>
          </a:xfrm>
          <a:custGeom>
            <a:avLst/>
            <a:gdLst>
              <a:gd name="T0" fmla="*/ 3801 w 3853"/>
              <a:gd name="T1" fmla="*/ 1650 h 3426"/>
              <a:gd name="T2" fmla="*/ 3726 w 3853"/>
              <a:gd name="T3" fmla="*/ 1400 h 3426"/>
              <a:gd name="T4" fmla="*/ 3576 w 3853"/>
              <a:gd name="T5" fmla="*/ 1200 h 3426"/>
              <a:gd name="T6" fmla="*/ 3451 w 3853"/>
              <a:gd name="T7" fmla="*/ 1100 h 3426"/>
              <a:gd name="T8" fmla="*/ 3176 w 3853"/>
              <a:gd name="T9" fmla="*/ 825 h 3426"/>
              <a:gd name="T10" fmla="*/ 3076 w 3853"/>
              <a:gd name="T11" fmla="*/ 550 h 3426"/>
              <a:gd name="T12" fmla="*/ 2927 w 3853"/>
              <a:gd name="T13" fmla="*/ 375 h 3426"/>
              <a:gd name="T14" fmla="*/ 2801 w 3853"/>
              <a:gd name="T15" fmla="*/ 25 h 3426"/>
              <a:gd name="T16" fmla="*/ 2701 w 3853"/>
              <a:gd name="T17" fmla="*/ 250 h 3426"/>
              <a:gd name="T18" fmla="*/ 2601 w 3853"/>
              <a:gd name="T19" fmla="*/ 674 h 3426"/>
              <a:gd name="T20" fmla="*/ 2301 w 3853"/>
              <a:gd name="T21" fmla="*/ 525 h 3426"/>
              <a:gd name="T22" fmla="*/ 2151 w 3853"/>
              <a:gd name="T23" fmla="*/ 375 h 3426"/>
              <a:gd name="T24" fmla="*/ 2251 w 3853"/>
              <a:gd name="T25" fmla="*/ 175 h 3426"/>
              <a:gd name="T26" fmla="*/ 2151 w 3853"/>
              <a:gd name="T27" fmla="*/ 125 h 3426"/>
              <a:gd name="T28" fmla="*/ 1826 w 3853"/>
              <a:gd name="T29" fmla="*/ 50 h 3426"/>
              <a:gd name="T30" fmla="*/ 1676 w 3853"/>
              <a:gd name="T31" fmla="*/ 175 h 3426"/>
              <a:gd name="T32" fmla="*/ 1576 w 3853"/>
              <a:gd name="T33" fmla="*/ 425 h 3426"/>
              <a:gd name="T34" fmla="*/ 1451 w 3853"/>
              <a:gd name="T35" fmla="*/ 400 h 3426"/>
              <a:gd name="T36" fmla="*/ 1251 w 3853"/>
              <a:gd name="T37" fmla="*/ 325 h 3426"/>
              <a:gd name="T38" fmla="*/ 1151 w 3853"/>
              <a:gd name="T39" fmla="*/ 425 h 3426"/>
              <a:gd name="T40" fmla="*/ 1001 w 3853"/>
              <a:gd name="T41" fmla="*/ 550 h 3426"/>
              <a:gd name="T42" fmla="*/ 951 w 3853"/>
              <a:gd name="T43" fmla="*/ 600 h 3426"/>
              <a:gd name="T44" fmla="*/ 751 w 3853"/>
              <a:gd name="T45" fmla="*/ 875 h 3426"/>
              <a:gd name="T46" fmla="*/ 400 w 3853"/>
              <a:gd name="T47" fmla="*/ 975 h 3426"/>
              <a:gd name="T48" fmla="*/ 126 w 3853"/>
              <a:gd name="T49" fmla="*/ 1150 h 3426"/>
              <a:gd name="T50" fmla="*/ 76 w 3853"/>
              <a:gd name="T51" fmla="*/ 1250 h 3426"/>
              <a:gd name="T52" fmla="*/ 51 w 3853"/>
              <a:gd name="T53" fmla="*/ 1500 h 3426"/>
              <a:gd name="T54" fmla="*/ 100 w 3853"/>
              <a:gd name="T55" fmla="*/ 1725 h 3426"/>
              <a:gd name="T56" fmla="*/ 251 w 3853"/>
              <a:gd name="T57" fmla="*/ 2225 h 3426"/>
              <a:gd name="T58" fmla="*/ 276 w 3853"/>
              <a:gd name="T59" fmla="*/ 2425 h 3426"/>
              <a:gd name="T60" fmla="*/ 626 w 3853"/>
              <a:gd name="T61" fmla="*/ 2350 h 3426"/>
              <a:gd name="T62" fmla="*/ 1176 w 3853"/>
              <a:gd name="T63" fmla="*/ 2200 h 3426"/>
              <a:gd name="T64" fmla="*/ 1726 w 3853"/>
              <a:gd name="T65" fmla="*/ 2076 h 3426"/>
              <a:gd name="T66" fmla="*/ 2001 w 3853"/>
              <a:gd name="T67" fmla="*/ 2176 h 3426"/>
              <a:gd name="T68" fmla="*/ 2101 w 3853"/>
              <a:gd name="T69" fmla="*/ 2425 h 3426"/>
              <a:gd name="T70" fmla="*/ 2351 w 3853"/>
              <a:gd name="T71" fmla="*/ 2250 h 3426"/>
              <a:gd name="T72" fmla="*/ 2351 w 3853"/>
              <a:gd name="T73" fmla="*/ 2425 h 3426"/>
              <a:gd name="T74" fmla="*/ 2451 w 3853"/>
              <a:gd name="T75" fmla="*/ 2500 h 3426"/>
              <a:gd name="T76" fmla="*/ 2676 w 3853"/>
              <a:gd name="T77" fmla="*/ 2800 h 3426"/>
              <a:gd name="T78" fmla="*/ 3027 w 3853"/>
              <a:gd name="T79" fmla="*/ 2825 h 3426"/>
              <a:gd name="T80" fmla="*/ 3127 w 3853"/>
              <a:gd name="T81" fmla="*/ 2876 h 3426"/>
              <a:gd name="T82" fmla="*/ 3301 w 3853"/>
              <a:gd name="T83" fmla="*/ 2776 h 3426"/>
              <a:gd name="T84" fmla="*/ 3601 w 3853"/>
              <a:gd name="T85" fmla="*/ 2425 h 3426"/>
              <a:gd name="T86" fmla="*/ 3801 w 3853"/>
              <a:gd name="T87" fmla="*/ 2025 h 3426"/>
              <a:gd name="T88" fmla="*/ 3827 w 3853"/>
              <a:gd name="T89" fmla="*/ 1725 h 3426"/>
              <a:gd name="T90" fmla="*/ 1626 w 3853"/>
              <a:gd name="T91" fmla="*/ 125 h 3426"/>
              <a:gd name="T92" fmla="*/ 2226 w 3853"/>
              <a:gd name="T93" fmla="*/ 2550 h 3426"/>
              <a:gd name="T94" fmla="*/ 3151 w 3853"/>
              <a:gd name="T95" fmla="*/ 3125 h 3426"/>
              <a:gd name="T96" fmla="*/ 3051 w 3853"/>
              <a:gd name="T97" fmla="*/ 3276 h 3426"/>
              <a:gd name="T98" fmla="*/ 3251 w 3853"/>
              <a:gd name="T99" fmla="*/ 3350 h 3426"/>
              <a:gd name="T100" fmla="*/ 3327 w 3853"/>
              <a:gd name="T101" fmla="*/ 3101 h 3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53" h="3426">
                <a:moveTo>
                  <a:pt x="3827" y="1725"/>
                </a:moveTo>
                <a:lnTo>
                  <a:pt x="3827" y="1725"/>
                </a:lnTo>
                <a:cubicBezTo>
                  <a:pt x="3852" y="1700"/>
                  <a:pt x="3827" y="1650"/>
                  <a:pt x="3801" y="1650"/>
                </a:cubicBezTo>
                <a:cubicBezTo>
                  <a:pt x="3801" y="1675"/>
                  <a:pt x="3801" y="1550"/>
                  <a:pt x="3801" y="1500"/>
                </a:cubicBezTo>
                <a:cubicBezTo>
                  <a:pt x="3827" y="1450"/>
                  <a:pt x="3801" y="1450"/>
                  <a:pt x="3776" y="1475"/>
                </a:cubicBezTo>
                <a:cubicBezTo>
                  <a:pt x="3752" y="1500"/>
                  <a:pt x="3726" y="1425"/>
                  <a:pt x="3726" y="1400"/>
                </a:cubicBezTo>
                <a:cubicBezTo>
                  <a:pt x="3726" y="1375"/>
                  <a:pt x="3676" y="1325"/>
                  <a:pt x="3652" y="1325"/>
                </a:cubicBezTo>
                <a:cubicBezTo>
                  <a:pt x="3627" y="1350"/>
                  <a:pt x="3627" y="1275"/>
                  <a:pt x="3601" y="1300"/>
                </a:cubicBezTo>
                <a:cubicBezTo>
                  <a:pt x="3576" y="1300"/>
                  <a:pt x="3576" y="1250"/>
                  <a:pt x="3576" y="1200"/>
                </a:cubicBezTo>
                <a:cubicBezTo>
                  <a:pt x="3576" y="1150"/>
                  <a:pt x="3552" y="1175"/>
                  <a:pt x="3527" y="1150"/>
                </a:cubicBezTo>
                <a:cubicBezTo>
                  <a:pt x="3527" y="1150"/>
                  <a:pt x="3501" y="1150"/>
                  <a:pt x="3476" y="1175"/>
                </a:cubicBezTo>
                <a:cubicBezTo>
                  <a:pt x="3451" y="1175"/>
                  <a:pt x="3451" y="1125"/>
                  <a:pt x="3451" y="1100"/>
                </a:cubicBezTo>
                <a:cubicBezTo>
                  <a:pt x="3451" y="1075"/>
                  <a:pt x="3451" y="1050"/>
                  <a:pt x="3427" y="1025"/>
                </a:cubicBezTo>
                <a:cubicBezTo>
                  <a:pt x="3401" y="1000"/>
                  <a:pt x="3376" y="1000"/>
                  <a:pt x="3401" y="975"/>
                </a:cubicBezTo>
                <a:cubicBezTo>
                  <a:pt x="3401" y="925"/>
                  <a:pt x="3201" y="850"/>
                  <a:pt x="3176" y="825"/>
                </a:cubicBezTo>
                <a:cubicBezTo>
                  <a:pt x="3127" y="825"/>
                  <a:pt x="3176" y="775"/>
                  <a:pt x="3151" y="775"/>
                </a:cubicBezTo>
                <a:cubicBezTo>
                  <a:pt x="3127" y="750"/>
                  <a:pt x="3127" y="700"/>
                  <a:pt x="3127" y="650"/>
                </a:cubicBezTo>
                <a:cubicBezTo>
                  <a:pt x="3127" y="600"/>
                  <a:pt x="3076" y="600"/>
                  <a:pt x="3076" y="550"/>
                </a:cubicBezTo>
                <a:cubicBezTo>
                  <a:pt x="3076" y="525"/>
                  <a:pt x="3051" y="475"/>
                  <a:pt x="3051" y="450"/>
                </a:cubicBezTo>
                <a:cubicBezTo>
                  <a:pt x="3051" y="400"/>
                  <a:pt x="3001" y="400"/>
                  <a:pt x="3001" y="375"/>
                </a:cubicBezTo>
                <a:cubicBezTo>
                  <a:pt x="3001" y="350"/>
                  <a:pt x="2951" y="375"/>
                  <a:pt x="2927" y="375"/>
                </a:cubicBezTo>
                <a:cubicBezTo>
                  <a:pt x="2876" y="375"/>
                  <a:pt x="2901" y="325"/>
                  <a:pt x="2901" y="275"/>
                </a:cubicBezTo>
                <a:cubicBezTo>
                  <a:pt x="2901" y="225"/>
                  <a:pt x="2876" y="150"/>
                  <a:pt x="2851" y="125"/>
                </a:cubicBezTo>
                <a:cubicBezTo>
                  <a:pt x="2827" y="100"/>
                  <a:pt x="2827" y="25"/>
                  <a:pt x="2801" y="25"/>
                </a:cubicBezTo>
                <a:cubicBezTo>
                  <a:pt x="2801" y="0"/>
                  <a:pt x="2751" y="50"/>
                  <a:pt x="2751" y="75"/>
                </a:cubicBezTo>
                <a:cubicBezTo>
                  <a:pt x="2751" y="100"/>
                  <a:pt x="2751" y="150"/>
                  <a:pt x="2727" y="150"/>
                </a:cubicBezTo>
                <a:cubicBezTo>
                  <a:pt x="2701" y="175"/>
                  <a:pt x="2727" y="250"/>
                  <a:pt x="2701" y="250"/>
                </a:cubicBezTo>
                <a:cubicBezTo>
                  <a:pt x="2676" y="275"/>
                  <a:pt x="2701" y="375"/>
                  <a:pt x="2701" y="425"/>
                </a:cubicBezTo>
                <a:cubicBezTo>
                  <a:pt x="2701" y="475"/>
                  <a:pt x="2701" y="525"/>
                  <a:pt x="2676" y="574"/>
                </a:cubicBezTo>
                <a:cubicBezTo>
                  <a:pt x="2651" y="600"/>
                  <a:pt x="2651" y="674"/>
                  <a:pt x="2601" y="674"/>
                </a:cubicBezTo>
                <a:cubicBezTo>
                  <a:pt x="2551" y="700"/>
                  <a:pt x="2476" y="650"/>
                  <a:pt x="2476" y="625"/>
                </a:cubicBezTo>
                <a:cubicBezTo>
                  <a:pt x="2476" y="600"/>
                  <a:pt x="2426" y="600"/>
                  <a:pt x="2401" y="600"/>
                </a:cubicBezTo>
                <a:cubicBezTo>
                  <a:pt x="2376" y="600"/>
                  <a:pt x="2351" y="550"/>
                  <a:pt x="2301" y="525"/>
                </a:cubicBezTo>
                <a:cubicBezTo>
                  <a:pt x="2251" y="475"/>
                  <a:pt x="2226" y="525"/>
                  <a:pt x="2201" y="500"/>
                </a:cubicBezTo>
                <a:cubicBezTo>
                  <a:pt x="2201" y="450"/>
                  <a:pt x="2176" y="450"/>
                  <a:pt x="2151" y="425"/>
                </a:cubicBezTo>
                <a:cubicBezTo>
                  <a:pt x="2101" y="400"/>
                  <a:pt x="2126" y="400"/>
                  <a:pt x="2151" y="375"/>
                </a:cubicBezTo>
                <a:cubicBezTo>
                  <a:pt x="2176" y="350"/>
                  <a:pt x="2176" y="325"/>
                  <a:pt x="2151" y="300"/>
                </a:cubicBezTo>
                <a:cubicBezTo>
                  <a:pt x="2151" y="275"/>
                  <a:pt x="2176" y="275"/>
                  <a:pt x="2226" y="250"/>
                </a:cubicBezTo>
                <a:cubicBezTo>
                  <a:pt x="2251" y="225"/>
                  <a:pt x="2226" y="200"/>
                  <a:pt x="2251" y="175"/>
                </a:cubicBezTo>
                <a:cubicBezTo>
                  <a:pt x="2276" y="175"/>
                  <a:pt x="2276" y="150"/>
                  <a:pt x="2226" y="150"/>
                </a:cubicBezTo>
                <a:cubicBezTo>
                  <a:pt x="2201" y="125"/>
                  <a:pt x="2201" y="175"/>
                  <a:pt x="2201" y="175"/>
                </a:cubicBezTo>
                <a:cubicBezTo>
                  <a:pt x="2176" y="175"/>
                  <a:pt x="2176" y="125"/>
                  <a:pt x="2151" y="125"/>
                </a:cubicBezTo>
                <a:cubicBezTo>
                  <a:pt x="2151" y="125"/>
                  <a:pt x="2101" y="175"/>
                  <a:pt x="2101" y="150"/>
                </a:cubicBezTo>
                <a:cubicBezTo>
                  <a:pt x="2076" y="125"/>
                  <a:pt x="1951" y="100"/>
                  <a:pt x="1901" y="100"/>
                </a:cubicBezTo>
                <a:cubicBezTo>
                  <a:pt x="1851" y="100"/>
                  <a:pt x="1851" y="25"/>
                  <a:pt x="1826" y="50"/>
                </a:cubicBezTo>
                <a:cubicBezTo>
                  <a:pt x="1801" y="50"/>
                  <a:pt x="1826" y="75"/>
                  <a:pt x="1851" y="100"/>
                </a:cubicBezTo>
                <a:cubicBezTo>
                  <a:pt x="1876" y="150"/>
                  <a:pt x="1751" y="175"/>
                  <a:pt x="1701" y="150"/>
                </a:cubicBezTo>
                <a:cubicBezTo>
                  <a:pt x="1676" y="150"/>
                  <a:pt x="1726" y="175"/>
                  <a:pt x="1676" y="175"/>
                </a:cubicBezTo>
                <a:cubicBezTo>
                  <a:pt x="1651" y="175"/>
                  <a:pt x="1651" y="225"/>
                  <a:pt x="1626" y="275"/>
                </a:cubicBezTo>
                <a:cubicBezTo>
                  <a:pt x="1601" y="300"/>
                  <a:pt x="1601" y="325"/>
                  <a:pt x="1576" y="325"/>
                </a:cubicBezTo>
                <a:cubicBezTo>
                  <a:pt x="1551" y="350"/>
                  <a:pt x="1551" y="375"/>
                  <a:pt x="1576" y="425"/>
                </a:cubicBezTo>
                <a:cubicBezTo>
                  <a:pt x="1626" y="450"/>
                  <a:pt x="1576" y="450"/>
                  <a:pt x="1526" y="425"/>
                </a:cubicBezTo>
                <a:cubicBezTo>
                  <a:pt x="1501" y="400"/>
                  <a:pt x="1476" y="400"/>
                  <a:pt x="1476" y="425"/>
                </a:cubicBezTo>
                <a:cubicBezTo>
                  <a:pt x="1476" y="475"/>
                  <a:pt x="1426" y="450"/>
                  <a:pt x="1451" y="400"/>
                </a:cubicBezTo>
                <a:cubicBezTo>
                  <a:pt x="1451" y="375"/>
                  <a:pt x="1401" y="375"/>
                  <a:pt x="1401" y="375"/>
                </a:cubicBezTo>
                <a:cubicBezTo>
                  <a:pt x="1376" y="350"/>
                  <a:pt x="1351" y="300"/>
                  <a:pt x="1301" y="300"/>
                </a:cubicBezTo>
                <a:cubicBezTo>
                  <a:pt x="1276" y="300"/>
                  <a:pt x="1276" y="325"/>
                  <a:pt x="1251" y="325"/>
                </a:cubicBezTo>
                <a:cubicBezTo>
                  <a:pt x="1226" y="325"/>
                  <a:pt x="1226" y="350"/>
                  <a:pt x="1226" y="375"/>
                </a:cubicBezTo>
                <a:cubicBezTo>
                  <a:pt x="1226" y="400"/>
                  <a:pt x="1176" y="375"/>
                  <a:pt x="1151" y="375"/>
                </a:cubicBezTo>
                <a:cubicBezTo>
                  <a:pt x="1126" y="375"/>
                  <a:pt x="1151" y="425"/>
                  <a:pt x="1151" y="425"/>
                </a:cubicBezTo>
                <a:cubicBezTo>
                  <a:pt x="1126" y="425"/>
                  <a:pt x="1126" y="450"/>
                  <a:pt x="1101" y="450"/>
                </a:cubicBezTo>
                <a:cubicBezTo>
                  <a:pt x="1076" y="450"/>
                  <a:pt x="1076" y="525"/>
                  <a:pt x="1076" y="550"/>
                </a:cubicBezTo>
                <a:cubicBezTo>
                  <a:pt x="1076" y="574"/>
                  <a:pt x="1026" y="525"/>
                  <a:pt x="1001" y="550"/>
                </a:cubicBezTo>
                <a:cubicBezTo>
                  <a:pt x="976" y="550"/>
                  <a:pt x="1026" y="574"/>
                  <a:pt x="1026" y="600"/>
                </a:cubicBezTo>
                <a:cubicBezTo>
                  <a:pt x="1026" y="650"/>
                  <a:pt x="1001" y="650"/>
                  <a:pt x="1001" y="650"/>
                </a:cubicBezTo>
                <a:cubicBezTo>
                  <a:pt x="976" y="674"/>
                  <a:pt x="951" y="625"/>
                  <a:pt x="951" y="600"/>
                </a:cubicBezTo>
                <a:cubicBezTo>
                  <a:pt x="951" y="550"/>
                  <a:pt x="925" y="574"/>
                  <a:pt x="876" y="625"/>
                </a:cubicBezTo>
                <a:cubicBezTo>
                  <a:pt x="851" y="674"/>
                  <a:pt x="901" y="725"/>
                  <a:pt x="876" y="725"/>
                </a:cubicBezTo>
                <a:cubicBezTo>
                  <a:pt x="851" y="750"/>
                  <a:pt x="776" y="825"/>
                  <a:pt x="751" y="875"/>
                </a:cubicBezTo>
                <a:cubicBezTo>
                  <a:pt x="700" y="925"/>
                  <a:pt x="600" y="900"/>
                  <a:pt x="576" y="925"/>
                </a:cubicBezTo>
                <a:cubicBezTo>
                  <a:pt x="551" y="950"/>
                  <a:pt x="526" y="925"/>
                  <a:pt x="476" y="950"/>
                </a:cubicBezTo>
                <a:cubicBezTo>
                  <a:pt x="451" y="975"/>
                  <a:pt x="400" y="1000"/>
                  <a:pt x="400" y="975"/>
                </a:cubicBezTo>
                <a:cubicBezTo>
                  <a:pt x="400" y="950"/>
                  <a:pt x="326" y="975"/>
                  <a:pt x="276" y="1000"/>
                </a:cubicBezTo>
                <a:cubicBezTo>
                  <a:pt x="251" y="1050"/>
                  <a:pt x="200" y="1075"/>
                  <a:pt x="176" y="1075"/>
                </a:cubicBezTo>
                <a:cubicBezTo>
                  <a:pt x="126" y="1075"/>
                  <a:pt x="126" y="1125"/>
                  <a:pt x="126" y="1150"/>
                </a:cubicBezTo>
                <a:cubicBezTo>
                  <a:pt x="100" y="1150"/>
                  <a:pt x="100" y="1100"/>
                  <a:pt x="100" y="1075"/>
                </a:cubicBezTo>
                <a:cubicBezTo>
                  <a:pt x="100" y="1075"/>
                  <a:pt x="76" y="1100"/>
                  <a:pt x="51" y="1150"/>
                </a:cubicBezTo>
                <a:cubicBezTo>
                  <a:pt x="51" y="1200"/>
                  <a:pt x="100" y="1225"/>
                  <a:pt x="76" y="1250"/>
                </a:cubicBezTo>
                <a:cubicBezTo>
                  <a:pt x="26" y="1300"/>
                  <a:pt x="0" y="1350"/>
                  <a:pt x="51" y="1400"/>
                </a:cubicBezTo>
                <a:cubicBezTo>
                  <a:pt x="100" y="1475"/>
                  <a:pt x="126" y="1500"/>
                  <a:pt x="100" y="1525"/>
                </a:cubicBezTo>
                <a:cubicBezTo>
                  <a:pt x="76" y="1575"/>
                  <a:pt x="51" y="1475"/>
                  <a:pt x="51" y="1500"/>
                </a:cubicBezTo>
                <a:cubicBezTo>
                  <a:pt x="26" y="1500"/>
                  <a:pt x="76" y="1525"/>
                  <a:pt x="76" y="1550"/>
                </a:cubicBezTo>
                <a:cubicBezTo>
                  <a:pt x="51" y="1575"/>
                  <a:pt x="26" y="1475"/>
                  <a:pt x="0" y="1500"/>
                </a:cubicBezTo>
                <a:cubicBezTo>
                  <a:pt x="0" y="1525"/>
                  <a:pt x="100" y="1675"/>
                  <a:pt x="100" y="1725"/>
                </a:cubicBezTo>
                <a:cubicBezTo>
                  <a:pt x="100" y="1775"/>
                  <a:pt x="176" y="1825"/>
                  <a:pt x="176" y="1900"/>
                </a:cubicBezTo>
                <a:cubicBezTo>
                  <a:pt x="176" y="1976"/>
                  <a:pt x="251" y="2100"/>
                  <a:pt x="276" y="2100"/>
                </a:cubicBezTo>
                <a:cubicBezTo>
                  <a:pt x="276" y="2125"/>
                  <a:pt x="226" y="2176"/>
                  <a:pt x="251" y="2225"/>
                </a:cubicBezTo>
                <a:cubicBezTo>
                  <a:pt x="251" y="2300"/>
                  <a:pt x="226" y="2300"/>
                  <a:pt x="200" y="2300"/>
                </a:cubicBezTo>
                <a:cubicBezTo>
                  <a:pt x="151" y="2300"/>
                  <a:pt x="176" y="2376"/>
                  <a:pt x="226" y="2376"/>
                </a:cubicBezTo>
                <a:cubicBezTo>
                  <a:pt x="251" y="2376"/>
                  <a:pt x="251" y="2400"/>
                  <a:pt x="276" y="2425"/>
                </a:cubicBezTo>
                <a:cubicBezTo>
                  <a:pt x="326" y="2476"/>
                  <a:pt x="426" y="2450"/>
                  <a:pt x="476" y="2450"/>
                </a:cubicBezTo>
                <a:cubicBezTo>
                  <a:pt x="500" y="2450"/>
                  <a:pt x="500" y="2400"/>
                  <a:pt x="551" y="2400"/>
                </a:cubicBezTo>
                <a:cubicBezTo>
                  <a:pt x="600" y="2400"/>
                  <a:pt x="600" y="2376"/>
                  <a:pt x="626" y="2350"/>
                </a:cubicBezTo>
                <a:cubicBezTo>
                  <a:pt x="651" y="2325"/>
                  <a:pt x="751" y="2325"/>
                  <a:pt x="876" y="2325"/>
                </a:cubicBezTo>
                <a:cubicBezTo>
                  <a:pt x="976" y="2350"/>
                  <a:pt x="1026" y="2300"/>
                  <a:pt x="1051" y="2276"/>
                </a:cubicBezTo>
                <a:cubicBezTo>
                  <a:pt x="1051" y="2225"/>
                  <a:pt x="1126" y="2225"/>
                  <a:pt x="1176" y="2200"/>
                </a:cubicBezTo>
                <a:cubicBezTo>
                  <a:pt x="1201" y="2176"/>
                  <a:pt x="1226" y="2150"/>
                  <a:pt x="1301" y="2176"/>
                </a:cubicBezTo>
                <a:cubicBezTo>
                  <a:pt x="1401" y="2176"/>
                  <a:pt x="1476" y="2125"/>
                  <a:pt x="1526" y="2100"/>
                </a:cubicBezTo>
                <a:cubicBezTo>
                  <a:pt x="1576" y="2076"/>
                  <a:pt x="1676" y="2100"/>
                  <a:pt x="1726" y="2076"/>
                </a:cubicBezTo>
                <a:cubicBezTo>
                  <a:pt x="1776" y="2076"/>
                  <a:pt x="1776" y="2150"/>
                  <a:pt x="1826" y="2125"/>
                </a:cubicBezTo>
                <a:cubicBezTo>
                  <a:pt x="1876" y="2125"/>
                  <a:pt x="1901" y="2150"/>
                  <a:pt x="1951" y="2150"/>
                </a:cubicBezTo>
                <a:cubicBezTo>
                  <a:pt x="1976" y="2150"/>
                  <a:pt x="1976" y="2176"/>
                  <a:pt x="2001" y="2176"/>
                </a:cubicBezTo>
                <a:cubicBezTo>
                  <a:pt x="2026" y="2176"/>
                  <a:pt x="2026" y="2200"/>
                  <a:pt x="2001" y="2225"/>
                </a:cubicBezTo>
                <a:cubicBezTo>
                  <a:pt x="1976" y="2276"/>
                  <a:pt x="2051" y="2250"/>
                  <a:pt x="2076" y="2325"/>
                </a:cubicBezTo>
                <a:cubicBezTo>
                  <a:pt x="2126" y="2376"/>
                  <a:pt x="2076" y="2376"/>
                  <a:pt x="2101" y="2425"/>
                </a:cubicBezTo>
                <a:cubicBezTo>
                  <a:pt x="2126" y="2450"/>
                  <a:pt x="2151" y="2450"/>
                  <a:pt x="2176" y="2400"/>
                </a:cubicBezTo>
                <a:cubicBezTo>
                  <a:pt x="2226" y="2325"/>
                  <a:pt x="2276" y="2376"/>
                  <a:pt x="2276" y="2325"/>
                </a:cubicBezTo>
                <a:cubicBezTo>
                  <a:pt x="2276" y="2276"/>
                  <a:pt x="2326" y="2225"/>
                  <a:pt x="2351" y="2250"/>
                </a:cubicBezTo>
                <a:cubicBezTo>
                  <a:pt x="2376" y="2276"/>
                  <a:pt x="2326" y="2276"/>
                  <a:pt x="2326" y="2376"/>
                </a:cubicBezTo>
                <a:cubicBezTo>
                  <a:pt x="2301" y="2476"/>
                  <a:pt x="2276" y="2425"/>
                  <a:pt x="2251" y="2450"/>
                </a:cubicBezTo>
                <a:cubicBezTo>
                  <a:pt x="2251" y="2476"/>
                  <a:pt x="2351" y="2476"/>
                  <a:pt x="2351" y="2425"/>
                </a:cubicBezTo>
                <a:cubicBezTo>
                  <a:pt x="2351" y="2376"/>
                  <a:pt x="2351" y="2376"/>
                  <a:pt x="2401" y="2400"/>
                </a:cubicBezTo>
                <a:cubicBezTo>
                  <a:pt x="2426" y="2450"/>
                  <a:pt x="2376" y="2500"/>
                  <a:pt x="2376" y="2525"/>
                </a:cubicBezTo>
                <a:cubicBezTo>
                  <a:pt x="2401" y="2525"/>
                  <a:pt x="2426" y="2500"/>
                  <a:pt x="2451" y="2500"/>
                </a:cubicBezTo>
                <a:cubicBezTo>
                  <a:pt x="2501" y="2500"/>
                  <a:pt x="2551" y="2600"/>
                  <a:pt x="2526" y="2650"/>
                </a:cubicBezTo>
                <a:cubicBezTo>
                  <a:pt x="2526" y="2676"/>
                  <a:pt x="2501" y="2725"/>
                  <a:pt x="2576" y="2750"/>
                </a:cubicBezTo>
                <a:cubicBezTo>
                  <a:pt x="2651" y="2800"/>
                  <a:pt x="2627" y="2800"/>
                  <a:pt x="2676" y="2800"/>
                </a:cubicBezTo>
                <a:cubicBezTo>
                  <a:pt x="2727" y="2800"/>
                  <a:pt x="2851" y="2850"/>
                  <a:pt x="2876" y="2876"/>
                </a:cubicBezTo>
                <a:cubicBezTo>
                  <a:pt x="2901" y="2900"/>
                  <a:pt x="2976" y="2850"/>
                  <a:pt x="2976" y="2800"/>
                </a:cubicBezTo>
                <a:cubicBezTo>
                  <a:pt x="3001" y="2750"/>
                  <a:pt x="3051" y="2800"/>
                  <a:pt x="3027" y="2825"/>
                </a:cubicBezTo>
                <a:cubicBezTo>
                  <a:pt x="3001" y="2825"/>
                  <a:pt x="3051" y="2876"/>
                  <a:pt x="3051" y="2850"/>
                </a:cubicBezTo>
                <a:cubicBezTo>
                  <a:pt x="3051" y="2825"/>
                  <a:pt x="3051" y="2800"/>
                  <a:pt x="3076" y="2825"/>
                </a:cubicBezTo>
                <a:cubicBezTo>
                  <a:pt x="3076" y="2850"/>
                  <a:pt x="3127" y="2850"/>
                  <a:pt x="3127" y="2876"/>
                </a:cubicBezTo>
                <a:cubicBezTo>
                  <a:pt x="3151" y="2900"/>
                  <a:pt x="3151" y="2925"/>
                  <a:pt x="3151" y="2900"/>
                </a:cubicBezTo>
                <a:cubicBezTo>
                  <a:pt x="3151" y="2876"/>
                  <a:pt x="3176" y="2876"/>
                  <a:pt x="3201" y="2850"/>
                </a:cubicBezTo>
                <a:cubicBezTo>
                  <a:pt x="3227" y="2850"/>
                  <a:pt x="3251" y="2825"/>
                  <a:pt x="3301" y="2776"/>
                </a:cubicBezTo>
                <a:cubicBezTo>
                  <a:pt x="3327" y="2750"/>
                  <a:pt x="3476" y="2750"/>
                  <a:pt x="3501" y="2750"/>
                </a:cubicBezTo>
                <a:cubicBezTo>
                  <a:pt x="3501" y="2750"/>
                  <a:pt x="3501" y="2625"/>
                  <a:pt x="3527" y="2550"/>
                </a:cubicBezTo>
                <a:cubicBezTo>
                  <a:pt x="3527" y="2500"/>
                  <a:pt x="3576" y="2476"/>
                  <a:pt x="3601" y="2425"/>
                </a:cubicBezTo>
                <a:cubicBezTo>
                  <a:pt x="3601" y="2350"/>
                  <a:pt x="3676" y="2225"/>
                  <a:pt x="3701" y="2225"/>
                </a:cubicBezTo>
                <a:cubicBezTo>
                  <a:pt x="3701" y="2200"/>
                  <a:pt x="3752" y="2200"/>
                  <a:pt x="3752" y="2150"/>
                </a:cubicBezTo>
                <a:cubicBezTo>
                  <a:pt x="3752" y="2100"/>
                  <a:pt x="3801" y="2076"/>
                  <a:pt x="3801" y="2025"/>
                </a:cubicBezTo>
                <a:cubicBezTo>
                  <a:pt x="3801" y="1976"/>
                  <a:pt x="3827" y="1925"/>
                  <a:pt x="3827" y="1900"/>
                </a:cubicBezTo>
                <a:cubicBezTo>
                  <a:pt x="3827" y="1875"/>
                  <a:pt x="3801" y="1850"/>
                  <a:pt x="3827" y="1800"/>
                </a:cubicBezTo>
                <a:cubicBezTo>
                  <a:pt x="3852" y="1775"/>
                  <a:pt x="3827" y="1725"/>
                  <a:pt x="3827" y="1725"/>
                </a:cubicBezTo>
                <a:close/>
                <a:moveTo>
                  <a:pt x="1751" y="100"/>
                </a:moveTo>
                <a:lnTo>
                  <a:pt x="1751" y="100"/>
                </a:lnTo>
                <a:cubicBezTo>
                  <a:pt x="1751" y="75"/>
                  <a:pt x="1601" y="100"/>
                  <a:pt x="1626" y="125"/>
                </a:cubicBezTo>
                <a:cubicBezTo>
                  <a:pt x="1651" y="125"/>
                  <a:pt x="1751" y="125"/>
                  <a:pt x="1751" y="100"/>
                </a:cubicBezTo>
                <a:close/>
                <a:moveTo>
                  <a:pt x="2226" y="2550"/>
                </a:moveTo>
                <a:lnTo>
                  <a:pt x="2226" y="2550"/>
                </a:lnTo>
                <a:cubicBezTo>
                  <a:pt x="2251" y="2576"/>
                  <a:pt x="2326" y="2576"/>
                  <a:pt x="2326" y="2550"/>
                </a:cubicBezTo>
                <a:cubicBezTo>
                  <a:pt x="2351" y="2525"/>
                  <a:pt x="2201" y="2550"/>
                  <a:pt x="2226" y="2550"/>
                </a:cubicBezTo>
                <a:close/>
                <a:moveTo>
                  <a:pt x="3151" y="3125"/>
                </a:moveTo>
                <a:lnTo>
                  <a:pt x="3151" y="3125"/>
                </a:lnTo>
                <a:cubicBezTo>
                  <a:pt x="3101" y="3150"/>
                  <a:pt x="3027" y="3076"/>
                  <a:pt x="3001" y="3101"/>
                </a:cubicBezTo>
                <a:cubicBezTo>
                  <a:pt x="2976" y="3101"/>
                  <a:pt x="3076" y="3250"/>
                  <a:pt x="3051" y="3276"/>
                </a:cubicBezTo>
                <a:cubicBezTo>
                  <a:pt x="3001" y="3325"/>
                  <a:pt x="3127" y="3425"/>
                  <a:pt x="3176" y="3425"/>
                </a:cubicBezTo>
                <a:cubicBezTo>
                  <a:pt x="3201" y="3425"/>
                  <a:pt x="3201" y="3376"/>
                  <a:pt x="3227" y="3376"/>
                </a:cubicBezTo>
                <a:cubicBezTo>
                  <a:pt x="3251" y="3401"/>
                  <a:pt x="3227" y="3350"/>
                  <a:pt x="3251" y="3350"/>
                </a:cubicBezTo>
                <a:cubicBezTo>
                  <a:pt x="3251" y="3325"/>
                  <a:pt x="3276" y="3350"/>
                  <a:pt x="3301" y="3350"/>
                </a:cubicBezTo>
                <a:cubicBezTo>
                  <a:pt x="3327" y="3325"/>
                  <a:pt x="3276" y="3250"/>
                  <a:pt x="3327" y="3250"/>
                </a:cubicBezTo>
                <a:cubicBezTo>
                  <a:pt x="3351" y="3250"/>
                  <a:pt x="3327" y="3150"/>
                  <a:pt x="3327" y="3101"/>
                </a:cubicBezTo>
                <a:cubicBezTo>
                  <a:pt x="3301" y="3076"/>
                  <a:pt x="3227" y="3125"/>
                  <a:pt x="3151" y="3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6" name="Freeform 152">
            <a:extLst>
              <a:ext uri="{FF2B5EF4-FFF2-40B4-BE49-F238E27FC236}">
                <a16:creationId xmlns:a16="http://schemas.microsoft.com/office/drawing/2014/main" id="{8E1FB115-BC88-7A4F-BC5B-F11A618CD1B7}"/>
              </a:ext>
            </a:extLst>
          </p:cNvPr>
          <p:cNvSpPr>
            <a:spLocks noChangeArrowheads="1"/>
          </p:cNvSpPr>
          <p:nvPr/>
        </p:nvSpPr>
        <p:spPr bwMode="auto">
          <a:xfrm>
            <a:off x="10725349" y="5944433"/>
            <a:ext cx="375465" cy="447185"/>
          </a:xfrm>
          <a:custGeom>
            <a:avLst/>
            <a:gdLst>
              <a:gd name="T0" fmla="*/ 725 w 1176"/>
              <a:gd name="T1" fmla="*/ 675 h 1401"/>
              <a:gd name="T2" fmla="*/ 725 w 1176"/>
              <a:gd name="T3" fmla="*/ 675 h 1401"/>
              <a:gd name="T4" fmla="*/ 650 w 1176"/>
              <a:gd name="T5" fmla="*/ 700 h 1401"/>
              <a:gd name="T6" fmla="*/ 550 w 1176"/>
              <a:gd name="T7" fmla="*/ 651 h 1401"/>
              <a:gd name="T8" fmla="*/ 500 w 1176"/>
              <a:gd name="T9" fmla="*/ 726 h 1401"/>
              <a:gd name="T10" fmla="*/ 425 w 1176"/>
              <a:gd name="T11" fmla="*/ 875 h 1401"/>
              <a:gd name="T12" fmla="*/ 174 w 1176"/>
              <a:gd name="T13" fmla="*/ 1026 h 1401"/>
              <a:gd name="T14" fmla="*/ 49 w 1176"/>
              <a:gd name="T15" fmla="*/ 1151 h 1401"/>
              <a:gd name="T16" fmla="*/ 25 w 1176"/>
              <a:gd name="T17" fmla="*/ 1251 h 1401"/>
              <a:gd name="T18" fmla="*/ 125 w 1176"/>
              <a:gd name="T19" fmla="*/ 1300 h 1401"/>
              <a:gd name="T20" fmla="*/ 174 w 1176"/>
              <a:gd name="T21" fmla="*/ 1326 h 1401"/>
              <a:gd name="T22" fmla="*/ 350 w 1176"/>
              <a:gd name="T23" fmla="*/ 1275 h 1401"/>
              <a:gd name="T24" fmla="*/ 425 w 1176"/>
              <a:gd name="T25" fmla="*/ 1175 h 1401"/>
              <a:gd name="T26" fmla="*/ 475 w 1176"/>
              <a:gd name="T27" fmla="*/ 1075 h 1401"/>
              <a:gd name="T28" fmla="*/ 575 w 1176"/>
              <a:gd name="T29" fmla="*/ 1000 h 1401"/>
              <a:gd name="T30" fmla="*/ 600 w 1176"/>
              <a:gd name="T31" fmla="*/ 951 h 1401"/>
              <a:gd name="T32" fmla="*/ 675 w 1176"/>
              <a:gd name="T33" fmla="*/ 875 h 1401"/>
              <a:gd name="T34" fmla="*/ 750 w 1176"/>
              <a:gd name="T35" fmla="*/ 751 h 1401"/>
              <a:gd name="T36" fmla="*/ 725 w 1176"/>
              <a:gd name="T37" fmla="*/ 675 h 1401"/>
              <a:gd name="T38" fmla="*/ 125 w 1176"/>
              <a:gd name="T39" fmla="*/ 1375 h 1401"/>
              <a:gd name="T40" fmla="*/ 125 w 1176"/>
              <a:gd name="T41" fmla="*/ 1375 h 1401"/>
              <a:gd name="T42" fmla="*/ 149 w 1176"/>
              <a:gd name="T43" fmla="*/ 1351 h 1401"/>
              <a:gd name="T44" fmla="*/ 125 w 1176"/>
              <a:gd name="T45" fmla="*/ 1375 h 1401"/>
              <a:gd name="T46" fmla="*/ 1075 w 1176"/>
              <a:gd name="T47" fmla="*/ 326 h 1401"/>
              <a:gd name="T48" fmla="*/ 1075 w 1176"/>
              <a:gd name="T49" fmla="*/ 326 h 1401"/>
              <a:gd name="T50" fmla="*/ 975 w 1176"/>
              <a:gd name="T51" fmla="*/ 326 h 1401"/>
              <a:gd name="T52" fmla="*/ 925 w 1176"/>
              <a:gd name="T53" fmla="*/ 275 h 1401"/>
              <a:gd name="T54" fmla="*/ 875 w 1176"/>
              <a:gd name="T55" fmla="*/ 200 h 1401"/>
              <a:gd name="T56" fmla="*/ 875 w 1176"/>
              <a:gd name="T57" fmla="*/ 250 h 1401"/>
              <a:gd name="T58" fmla="*/ 825 w 1176"/>
              <a:gd name="T59" fmla="*/ 226 h 1401"/>
              <a:gd name="T60" fmla="*/ 800 w 1176"/>
              <a:gd name="T61" fmla="*/ 150 h 1401"/>
              <a:gd name="T62" fmla="*/ 775 w 1176"/>
              <a:gd name="T63" fmla="*/ 75 h 1401"/>
              <a:gd name="T64" fmla="*/ 650 w 1176"/>
              <a:gd name="T65" fmla="*/ 0 h 1401"/>
              <a:gd name="T66" fmla="*/ 675 w 1176"/>
              <a:gd name="T67" fmla="*/ 100 h 1401"/>
              <a:gd name="T68" fmla="*/ 750 w 1176"/>
              <a:gd name="T69" fmla="*/ 150 h 1401"/>
              <a:gd name="T70" fmla="*/ 800 w 1176"/>
              <a:gd name="T71" fmla="*/ 226 h 1401"/>
              <a:gd name="T72" fmla="*/ 775 w 1176"/>
              <a:gd name="T73" fmla="*/ 375 h 1401"/>
              <a:gd name="T74" fmla="*/ 700 w 1176"/>
              <a:gd name="T75" fmla="*/ 450 h 1401"/>
              <a:gd name="T76" fmla="*/ 825 w 1176"/>
              <a:gd name="T77" fmla="*/ 575 h 1401"/>
              <a:gd name="T78" fmla="*/ 800 w 1176"/>
              <a:gd name="T79" fmla="*/ 726 h 1401"/>
              <a:gd name="T80" fmla="*/ 900 w 1176"/>
              <a:gd name="T81" fmla="*/ 726 h 1401"/>
              <a:gd name="T82" fmla="*/ 1000 w 1176"/>
              <a:gd name="T83" fmla="*/ 575 h 1401"/>
              <a:gd name="T84" fmla="*/ 1025 w 1176"/>
              <a:gd name="T85" fmla="*/ 500 h 1401"/>
              <a:gd name="T86" fmla="*/ 1075 w 1176"/>
              <a:gd name="T87" fmla="*/ 475 h 1401"/>
              <a:gd name="T88" fmla="*/ 1125 w 1176"/>
              <a:gd name="T89" fmla="*/ 400 h 1401"/>
              <a:gd name="T90" fmla="*/ 1150 w 1176"/>
              <a:gd name="T91" fmla="*/ 326 h 1401"/>
              <a:gd name="T92" fmla="*/ 1075 w 1176"/>
              <a:gd name="T93" fmla="*/ 326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76" h="1401">
                <a:moveTo>
                  <a:pt x="725" y="675"/>
                </a:moveTo>
                <a:lnTo>
                  <a:pt x="725" y="675"/>
                </a:lnTo>
                <a:cubicBezTo>
                  <a:pt x="700" y="651"/>
                  <a:pt x="675" y="675"/>
                  <a:pt x="650" y="700"/>
                </a:cubicBezTo>
                <a:cubicBezTo>
                  <a:pt x="625" y="700"/>
                  <a:pt x="600" y="626"/>
                  <a:pt x="550" y="651"/>
                </a:cubicBezTo>
                <a:cubicBezTo>
                  <a:pt x="525" y="675"/>
                  <a:pt x="550" y="700"/>
                  <a:pt x="500" y="726"/>
                </a:cubicBezTo>
                <a:cubicBezTo>
                  <a:pt x="475" y="775"/>
                  <a:pt x="475" y="775"/>
                  <a:pt x="425" y="875"/>
                </a:cubicBezTo>
                <a:cubicBezTo>
                  <a:pt x="375" y="951"/>
                  <a:pt x="200" y="1000"/>
                  <a:pt x="174" y="1026"/>
                </a:cubicBezTo>
                <a:cubicBezTo>
                  <a:pt x="149" y="1075"/>
                  <a:pt x="49" y="1126"/>
                  <a:pt x="49" y="1151"/>
                </a:cubicBezTo>
                <a:cubicBezTo>
                  <a:pt x="49" y="1175"/>
                  <a:pt x="0" y="1200"/>
                  <a:pt x="25" y="1251"/>
                </a:cubicBezTo>
                <a:cubicBezTo>
                  <a:pt x="49" y="1275"/>
                  <a:pt x="100" y="1251"/>
                  <a:pt x="125" y="1300"/>
                </a:cubicBezTo>
                <a:cubicBezTo>
                  <a:pt x="149" y="1326"/>
                  <a:pt x="174" y="1300"/>
                  <a:pt x="174" y="1326"/>
                </a:cubicBezTo>
                <a:cubicBezTo>
                  <a:pt x="200" y="1351"/>
                  <a:pt x="300" y="1351"/>
                  <a:pt x="350" y="1275"/>
                </a:cubicBezTo>
                <a:cubicBezTo>
                  <a:pt x="425" y="1226"/>
                  <a:pt x="400" y="1175"/>
                  <a:pt x="425" y="1175"/>
                </a:cubicBezTo>
                <a:cubicBezTo>
                  <a:pt x="450" y="1151"/>
                  <a:pt x="450" y="1100"/>
                  <a:pt x="475" y="1075"/>
                </a:cubicBezTo>
                <a:cubicBezTo>
                  <a:pt x="475" y="1051"/>
                  <a:pt x="500" y="1000"/>
                  <a:pt x="575" y="1000"/>
                </a:cubicBezTo>
                <a:cubicBezTo>
                  <a:pt x="650" y="1000"/>
                  <a:pt x="600" y="1000"/>
                  <a:pt x="600" y="951"/>
                </a:cubicBezTo>
                <a:cubicBezTo>
                  <a:pt x="600" y="926"/>
                  <a:pt x="675" y="926"/>
                  <a:pt x="675" y="875"/>
                </a:cubicBezTo>
                <a:cubicBezTo>
                  <a:pt x="675" y="826"/>
                  <a:pt x="750" y="775"/>
                  <a:pt x="750" y="751"/>
                </a:cubicBezTo>
                <a:cubicBezTo>
                  <a:pt x="725" y="700"/>
                  <a:pt x="750" y="700"/>
                  <a:pt x="725" y="675"/>
                </a:cubicBezTo>
                <a:close/>
                <a:moveTo>
                  <a:pt x="125" y="1375"/>
                </a:moveTo>
                <a:lnTo>
                  <a:pt x="125" y="1375"/>
                </a:lnTo>
                <a:cubicBezTo>
                  <a:pt x="149" y="1400"/>
                  <a:pt x="174" y="1375"/>
                  <a:pt x="149" y="1351"/>
                </a:cubicBezTo>
                <a:cubicBezTo>
                  <a:pt x="125" y="1300"/>
                  <a:pt x="100" y="1375"/>
                  <a:pt x="125" y="1375"/>
                </a:cubicBezTo>
                <a:close/>
                <a:moveTo>
                  <a:pt x="1075" y="326"/>
                </a:moveTo>
                <a:lnTo>
                  <a:pt x="1075" y="326"/>
                </a:lnTo>
                <a:cubicBezTo>
                  <a:pt x="1050" y="375"/>
                  <a:pt x="1000" y="326"/>
                  <a:pt x="975" y="326"/>
                </a:cubicBezTo>
                <a:cubicBezTo>
                  <a:pt x="950" y="326"/>
                  <a:pt x="925" y="300"/>
                  <a:pt x="925" y="275"/>
                </a:cubicBezTo>
                <a:cubicBezTo>
                  <a:pt x="925" y="226"/>
                  <a:pt x="900" y="200"/>
                  <a:pt x="875" y="200"/>
                </a:cubicBezTo>
                <a:cubicBezTo>
                  <a:pt x="850" y="200"/>
                  <a:pt x="875" y="226"/>
                  <a:pt x="875" y="250"/>
                </a:cubicBezTo>
                <a:cubicBezTo>
                  <a:pt x="850" y="250"/>
                  <a:pt x="850" y="226"/>
                  <a:pt x="825" y="226"/>
                </a:cubicBezTo>
                <a:cubicBezTo>
                  <a:pt x="825" y="226"/>
                  <a:pt x="800" y="200"/>
                  <a:pt x="800" y="150"/>
                </a:cubicBezTo>
                <a:cubicBezTo>
                  <a:pt x="800" y="126"/>
                  <a:pt x="775" y="126"/>
                  <a:pt x="775" y="75"/>
                </a:cubicBezTo>
                <a:cubicBezTo>
                  <a:pt x="775" y="26"/>
                  <a:pt x="700" y="0"/>
                  <a:pt x="650" y="0"/>
                </a:cubicBezTo>
                <a:cubicBezTo>
                  <a:pt x="600" y="0"/>
                  <a:pt x="650" y="75"/>
                  <a:pt x="675" y="100"/>
                </a:cubicBezTo>
                <a:cubicBezTo>
                  <a:pt x="700" y="126"/>
                  <a:pt x="750" y="150"/>
                  <a:pt x="750" y="150"/>
                </a:cubicBezTo>
                <a:cubicBezTo>
                  <a:pt x="750" y="175"/>
                  <a:pt x="775" y="226"/>
                  <a:pt x="800" y="226"/>
                </a:cubicBezTo>
                <a:cubicBezTo>
                  <a:pt x="825" y="250"/>
                  <a:pt x="775" y="326"/>
                  <a:pt x="775" y="375"/>
                </a:cubicBezTo>
                <a:cubicBezTo>
                  <a:pt x="775" y="426"/>
                  <a:pt x="750" y="426"/>
                  <a:pt x="700" y="450"/>
                </a:cubicBezTo>
                <a:cubicBezTo>
                  <a:pt x="675" y="500"/>
                  <a:pt x="775" y="526"/>
                  <a:pt x="825" y="575"/>
                </a:cubicBezTo>
                <a:cubicBezTo>
                  <a:pt x="875" y="600"/>
                  <a:pt x="800" y="700"/>
                  <a:pt x="800" y="726"/>
                </a:cubicBezTo>
                <a:cubicBezTo>
                  <a:pt x="800" y="726"/>
                  <a:pt x="850" y="751"/>
                  <a:pt x="900" y="726"/>
                </a:cubicBezTo>
                <a:cubicBezTo>
                  <a:pt x="950" y="726"/>
                  <a:pt x="950" y="626"/>
                  <a:pt x="1000" y="575"/>
                </a:cubicBezTo>
                <a:cubicBezTo>
                  <a:pt x="1025" y="550"/>
                  <a:pt x="1000" y="500"/>
                  <a:pt x="1025" y="500"/>
                </a:cubicBezTo>
                <a:cubicBezTo>
                  <a:pt x="1050" y="475"/>
                  <a:pt x="1075" y="475"/>
                  <a:pt x="1075" y="475"/>
                </a:cubicBezTo>
                <a:cubicBezTo>
                  <a:pt x="1100" y="475"/>
                  <a:pt x="1100" y="400"/>
                  <a:pt x="1125" y="400"/>
                </a:cubicBezTo>
                <a:cubicBezTo>
                  <a:pt x="1150" y="400"/>
                  <a:pt x="1150" y="375"/>
                  <a:pt x="1150" y="326"/>
                </a:cubicBezTo>
                <a:cubicBezTo>
                  <a:pt x="1175" y="275"/>
                  <a:pt x="1075" y="300"/>
                  <a:pt x="1075" y="326"/>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7" name="Freeform 153">
            <a:extLst>
              <a:ext uri="{FF2B5EF4-FFF2-40B4-BE49-F238E27FC236}">
                <a16:creationId xmlns:a16="http://schemas.microsoft.com/office/drawing/2014/main" id="{9B3C8C14-03DB-524B-94E0-FBDCBC628333}"/>
              </a:ext>
            </a:extLst>
          </p:cNvPr>
          <p:cNvSpPr>
            <a:spLocks noChangeArrowheads="1"/>
          </p:cNvSpPr>
          <p:nvPr/>
        </p:nvSpPr>
        <p:spPr bwMode="auto">
          <a:xfrm>
            <a:off x="11051596" y="5338343"/>
            <a:ext cx="80155" cy="71717"/>
          </a:xfrm>
          <a:custGeom>
            <a:avLst/>
            <a:gdLst>
              <a:gd name="T0" fmla="*/ 25 w 251"/>
              <a:gd name="T1" fmla="*/ 200 h 226"/>
              <a:gd name="T2" fmla="*/ 25 w 251"/>
              <a:gd name="T3" fmla="*/ 200 h 226"/>
              <a:gd name="T4" fmla="*/ 150 w 251"/>
              <a:gd name="T5" fmla="*/ 150 h 226"/>
              <a:gd name="T6" fmla="*/ 25 w 251"/>
              <a:gd name="T7" fmla="*/ 200 h 226"/>
              <a:gd name="T8" fmla="*/ 175 w 251"/>
              <a:gd name="T9" fmla="*/ 75 h 226"/>
              <a:gd name="T10" fmla="*/ 175 w 251"/>
              <a:gd name="T11" fmla="*/ 75 h 226"/>
              <a:gd name="T12" fmla="*/ 250 w 251"/>
              <a:gd name="T13" fmla="*/ 24 h 226"/>
              <a:gd name="T14" fmla="*/ 175 w 251"/>
              <a:gd name="T15" fmla="*/ 75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1" h="226">
                <a:moveTo>
                  <a:pt x="25" y="200"/>
                </a:moveTo>
                <a:lnTo>
                  <a:pt x="25" y="200"/>
                </a:lnTo>
                <a:cubicBezTo>
                  <a:pt x="75" y="225"/>
                  <a:pt x="150" y="225"/>
                  <a:pt x="150" y="150"/>
                </a:cubicBezTo>
                <a:cubicBezTo>
                  <a:pt x="150" y="100"/>
                  <a:pt x="0" y="150"/>
                  <a:pt x="25" y="200"/>
                </a:cubicBezTo>
                <a:close/>
                <a:moveTo>
                  <a:pt x="175" y="75"/>
                </a:moveTo>
                <a:lnTo>
                  <a:pt x="175" y="75"/>
                </a:lnTo>
                <a:cubicBezTo>
                  <a:pt x="175" y="75"/>
                  <a:pt x="250" y="50"/>
                  <a:pt x="250" y="24"/>
                </a:cubicBezTo>
                <a:cubicBezTo>
                  <a:pt x="250" y="0"/>
                  <a:pt x="125" y="75"/>
                  <a:pt x="175" y="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8" name="Freeform 154">
            <a:extLst>
              <a:ext uri="{FF2B5EF4-FFF2-40B4-BE49-F238E27FC236}">
                <a16:creationId xmlns:a16="http://schemas.microsoft.com/office/drawing/2014/main" id="{8487405D-5ECC-5B42-BE37-AE25A72DE678}"/>
              </a:ext>
            </a:extLst>
          </p:cNvPr>
          <p:cNvSpPr>
            <a:spLocks noChangeArrowheads="1"/>
          </p:cNvSpPr>
          <p:nvPr/>
        </p:nvSpPr>
        <p:spPr bwMode="auto">
          <a:xfrm>
            <a:off x="7336307" y="3465230"/>
            <a:ext cx="430309" cy="271404"/>
          </a:xfrm>
          <a:custGeom>
            <a:avLst/>
            <a:gdLst>
              <a:gd name="T0" fmla="*/ 1325 w 1351"/>
              <a:gd name="T1" fmla="*/ 525 h 851"/>
              <a:gd name="T2" fmla="*/ 1325 w 1351"/>
              <a:gd name="T3" fmla="*/ 525 h 851"/>
              <a:gd name="T4" fmla="*/ 1250 w 1351"/>
              <a:gd name="T5" fmla="*/ 500 h 851"/>
              <a:gd name="T6" fmla="*/ 1150 w 1351"/>
              <a:gd name="T7" fmla="*/ 425 h 851"/>
              <a:gd name="T8" fmla="*/ 1050 w 1351"/>
              <a:gd name="T9" fmla="*/ 375 h 851"/>
              <a:gd name="T10" fmla="*/ 949 w 1351"/>
              <a:gd name="T11" fmla="*/ 300 h 851"/>
              <a:gd name="T12" fmla="*/ 900 w 1351"/>
              <a:gd name="T13" fmla="*/ 225 h 851"/>
              <a:gd name="T14" fmla="*/ 874 w 1351"/>
              <a:gd name="T15" fmla="*/ 150 h 851"/>
              <a:gd name="T16" fmla="*/ 725 w 1351"/>
              <a:gd name="T17" fmla="*/ 150 h 851"/>
              <a:gd name="T18" fmla="*/ 699 w 1351"/>
              <a:gd name="T19" fmla="*/ 50 h 851"/>
              <a:gd name="T20" fmla="*/ 625 w 1351"/>
              <a:gd name="T21" fmla="*/ 25 h 851"/>
              <a:gd name="T22" fmla="*/ 549 w 1351"/>
              <a:gd name="T23" fmla="*/ 0 h 851"/>
              <a:gd name="T24" fmla="*/ 525 w 1351"/>
              <a:gd name="T25" fmla="*/ 25 h 851"/>
              <a:gd name="T26" fmla="*/ 474 w 1351"/>
              <a:gd name="T27" fmla="*/ 50 h 851"/>
              <a:gd name="T28" fmla="*/ 425 w 1351"/>
              <a:gd name="T29" fmla="*/ 100 h 851"/>
              <a:gd name="T30" fmla="*/ 374 w 1351"/>
              <a:gd name="T31" fmla="*/ 150 h 851"/>
              <a:gd name="T32" fmla="*/ 325 w 1351"/>
              <a:gd name="T33" fmla="*/ 125 h 851"/>
              <a:gd name="T34" fmla="*/ 249 w 1351"/>
              <a:gd name="T35" fmla="*/ 125 h 851"/>
              <a:gd name="T36" fmla="*/ 124 w 1351"/>
              <a:gd name="T37" fmla="*/ 25 h 851"/>
              <a:gd name="T38" fmla="*/ 49 w 1351"/>
              <a:gd name="T39" fmla="*/ 75 h 851"/>
              <a:gd name="T40" fmla="*/ 74 w 1351"/>
              <a:gd name="T41" fmla="*/ 75 h 851"/>
              <a:gd name="T42" fmla="*/ 149 w 1351"/>
              <a:gd name="T43" fmla="*/ 150 h 851"/>
              <a:gd name="T44" fmla="*/ 200 w 1351"/>
              <a:gd name="T45" fmla="*/ 200 h 851"/>
              <a:gd name="T46" fmla="*/ 100 w 1351"/>
              <a:gd name="T47" fmla="*/ 225 h 851"/>
              <a:gd name="T48" fmla="*/ 24 w 1351"/>
              <a:gd name="T49" fmla="*/ 225 h 851"/>
              <a:gd name="T50" fmla="*/ 49 w 1351"/>
              <a:gd name="T51" fmla="*/ 300 h 851"/>
              <a:gd name="T52" fmla="*/ 49 w 1351"/>
              <a:gd name="T53" fmla="*/ 375 h 851"/>
              <a:gd name="T54" fmla="*/ 100 w 1351"/>
              <a:gd name="T55" fmla="*/ 375 h 851"/>
              <a:gd name="T56" fmla="*/ 124 w 1351"/>
              <a:gd name="T57" fmla="*/ 450 h 851"/>
              <a:gd name="T58" fmla="*/ 124 w 1351"/>
              <a:gd name="T59" fmla="*/ 575 h 851"/>
              <a:gd name="T60" fmla="*/ 200 w 1351"/>
              <a:gd name="T61" fmla="*/ 575 h 851"/>
              <a:gd name="T62" fmla="*/ 274 w 1351"/>
              <a:gd name="T63" fmla="*/ 525 h 851"/>
              <a:gd name="T64" fmla="*/ 349 w 1351"/>
              <a:gd name="T65" fmla="*/ 500 h 851"/>
              <a:gd name="T66" fmla="*/ 449 w 1351"/>
              <a:gd name="T67" fmla="*/ 500 h 851"/>
              <a:gd name="T68" fmla="*/ 525 w 1351"/>
              <a:gd name="T69" fmla="*/ 550 h 851"/>
              <a:gd name="T70" fmla="*/ 574 w 1351"/>
              <a:gd name="T71" fmla="*/ 550 h 851"/>
              <a:gd name="T72" fmla="*/ 649 w 1351"/>
              <a:gd name="T73" fmla="*/ 575 h 851"/>
              <a:gd name="T74" fmla="*/ 699 w 1351"/>
              <a:gd name="T75" fmla="*/ 625 h 851"/>
              <a:gd name="T76" fmla="*/ 749 w 1351"/>
              <a:gd name="T77" fmla="*/ 675 h 851"/>
              <a:gd name="T78" fmla="*/ 825 w 1351"/>
              <a:gd name="T79" fmla="*/ 675 h 851"/>
              <a:gd name="T80" fmla="*/ 825 w 1351"/>
              <a:gd name="T81" fmla="*/ 800 h 851"/>
              <a:gd name="T82" fmla="*/ 849 w 1351"/>
              <a:gd name="T83" fmla="*/ 800 h 851"/>
              <a:gd name="T84" fmla="*/ 925 w 1351"/>
              <a:gd name="T85" fmla="*/ 825 h 851"/>
              <a:gd name="T86" fmla="*/ 1000 w 1351"/>
              <a:gd name="T87" fmla="*/ 775 h 851"/>
              <a:gd name="T88" fmla="*/ 1150 w 1351"/>
              <a:gd name="T89" fmla="*/ 700 h 851"/>
              <a:gd name="T90" fmla="*/ 1200 w 1351"/>
              <a:gd name="T91" fmla="*/ 625 h 851"/>
              <a:gd name="T92" fmla="*/ 1274 w 1351"/>
              <a:gd name="T93" fmla="*/ 575 h 851"/>
              <a:gd name="T94" fmla="*/ 1350 w 1351"/>
              <a:gd name="T95" fmla="*/ 575 h 851"/>
              <a:gd name="T96" fmla="*/ 1325 w 1351"/>
              <a:gd name="T97" fmla="*/ 525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1" h="851">
                <a:moveTo>
                  <a:pt x="1325" y="525"/>
                </a:moveTo>
                <a:lnTo>
                  <a:pt x="1325" y="525"/>
                </a:lnTo>
                <a:cubicBezTo>
                  <a:pt x="1325" y="525"/>
                  <a:pt x="1274" y="500"/>
                  <a:pt x="1250" y="500"/>
                </a:cubicBezTo>
                <a:cubicBezTo>
                  <a:pt x="1225" y="500"/>
                  <a:pt x="1200" y="450"/>
                  <a:pt x="1150" y="425"/>
                </a:cubicBezTo>
                <a:cubicBezTo>
                  <a:pt x="1100" y="425"/>
                  <a:pt x="1050" y="400"/>
                  <a:pt x="1050" y="375"/>
                </a:cubicBezTo>
                <a:cubicBezTo>
                  <a:pt x="1025" y="350"/>
                  <a:pt x="949" y="325"/>
                  <a:pt x="949" y="300"/>
                </a:cubicBezTo>
                <a:cubicBezTo>
                  <a:pt x="949" y="275"/>
                  <a:pt x="925" y="250"/>
                  <a:pt x="900" y="225"/>
                </a:cubicBezTo>
                <a:cubicBezTo>
                  <a:pt x="874" y="200"/>
                  <a:pt x="874" y="175"/>
                  <a:pt x="874" y="150"/>
                </a:cubicBezTo>
                <a:cubicBezTo>
                  <a:pt x="849" y="150"/>
                  <a:pt x="725" y="150"/>
                  <a:pt x="725" y="150"/>
                </a:cubicBezTo>
                <a:cubicBezTo>
                  <a:pt x="725" y="125"/>
                  <a:pt x="725" y="50"/>
                  <a:pt x="699" y="50"/>
                </a:cubicBezTo>
                <a:cubicBezTo>
                  <a:pt x="674" y="50"/>
                  <a:pt x="625" y="25"/>
                  <a:pt x="625" y="25"/>
                </a:cubicBezTo>
                <a:cubicBezTo>
                  <a:pt x="600" y="0"/>
                  <a:pt x="574" y="0"/>
                  <a:pt x="549" y="0"/>
                </a:cubicBezTo>
                <a:cubicBezTo>
                  <a:pt x="549" y="25"/>
                  <a:pt x="525" y="25"/>
                  <a:pt x="525" y="25"/>
                </a:cubicBezTo>
                <a:cubicBezTo>
                  <a:pt x="500" y="25"/>
                  <a:pt x="500" y="50"/>
                  <a:pt x="474" y="50"/>
                </a:cubicBezTo>
                <a:cubicBezTo>
                  <a:pt x="449" y="50"/>
                  <a:pt x="425" y="100"/>
                  <a:pt x="425" y="100"/>
                </a:cubicBezTo>
                <a:cubicBezTo>
                  <a:pt x="425" y="125"/>
                  <a:pt x="425" y="150"/>
                  <a:pt x="374" y="150"/>
                </a:cubicBezTo>
                <a:cubicBezTo>
                  <a:pt x="374" y="150"/>
                  <a:pt x="349" y="150"/>
                  <a:pt x="325" y="125"/>
                </a:cubicBezTo>
                <a:cubicBezTo>
                  <a:pt x="325" y="150"/>
                  <a:pt x="274" y="150"/>
                  <a:pt x="249" y="125"/>
                </a:cubicBezTo>
                <a:cubicBezTo>
                  <a:pt x="225" y="75"/>
                  <a:pt x="174" y="25"/>
                  <a:pt x="124" y="25"/>
                </a:cubicBezTo>
                <a:cubicBezTo>
                  <a:pt x="100" y="25"/>
                  <a:pt x="24" y="25"/>
                  <a:pt x="49" y="75"/>
                </a:cubicBezTo>
                <a:cubicBezTo>
                  <a:pt x="49" y="75"/>
                  <a:pt x="49" y="75"/>
                  <a:pt x="74" y="75"/>
                </a:cubicBezTo>
                <a:cubicBezTo>
                  <a:pt x="149" y="75"/>
                  <a:pt x="124" y="150"/>
                  <a:pt x="149" y="150"/>
                </a:cubicBezTo>
                <a:cubicBezTo>
                  <a:pt x="200" y="150"/>
                  <a:pt x="225" y="200"/>
                  <a:pt x="200" y="200"/>
                </a:cubicBezTo>
                <a:cubicBezTo>
                  <a:pt x="174" y="200"/>
                  <a:pt x="149" y="250"/>
                  <a:pt x="100" y="225"/>
                </a:cubicBezTo>
                <a:cubicBezTo>
                  <a:pt x="74" y="225"/>
                  <a:pt x="24" y="200"/>
                  <a:pt x="24" y="225"/>
                </a:cubicBezTo>
                <a:cubicBezTo>
                  <a:pt x="0" y="275"/>
                  <a:pt x="0" y="300"/>
                  <a:pt x="49" y="300"/>
                </a:cubicBezTo>
                <a:cubicBezTo>
                  <a:pt x="74" y="300"/>
                  <a:pt x="74" y="325"/>
                  <a:pt x="49" y="375"/>
                </a:cubicBezTo>
                <a:cubicBezTo>
                  <a:pt x="24" y="400"/>
                  <a:pt x="100" y="350"/>
                  <a:pt x="100" y="375"/>
                </a:cubicBezTo>
                <a:cubicBezTo>
                  <a:pt x="100" y="425"/>
                  <a:pt x="124" y="425"/>
                  <a:pt x="124" y="450"/>
                </a:cubicBezTo>
                <a:cubicBezTo>
                  <a:pt x="100" y="500"/>
                  <a:pt x="124" y="550"/>
                  <a:pt x="124" y="575"/>
                </a:cubicBezTo>
                <a:cubicBezTo>
                  <a:pt x="149" y="575"/>
                  <a:pt x="174" y="575"/>
                  <a:pt x="200" y="575"/>
                </a:cubicBezTo>
                <a:cubicBezTo>
                  <a:pt x="200" y="550"/>
                  <a:pt x="249" y="525"/>
                  <a:pt x="274" y="525"/>
                </a:cubicBezTo>
                <a:cubicBezTo>
                  <a:pt x="300" y="525"/>
                  <a:pt x="325" y="525"/>
                  <a:pt x="349" y="500"/>
                </a:cubicBezTo>
                <a:cubicBezTo>
                  <a:pt x="349" y="475"/>
                  <a:pt x="449" y="500"/>
                  <a:pt x="449" y="500"/>
                </a:cubicBezTo>
                <a:cubicBezTo>
                  <a:pt x="474" y="525"/>
                  <a:pt x="500" y="550"/>
                  <a:pt x="525" y="550"/>
                </a:cubicBezTo>
                <a:cubicBezTo>
                  <a:pt x="525" y="550"/>
                  <a:pt x="549" y="575"/>
                  <a:pt x="574" y="550"/>
                </a:cubicBezTo>
                <a:cubicBezTo>
                  <a:pt x="600" y="550"/>
                  <a:pt x="649" y="575"/>
                  <a:pt x="649" y="575"/>
                </a:cubicBezTo>
                <a:cubicBezTo>
                  <a:pt x="649" y="600"/>
                  <a:pt x="674" y="625"/>
                  <a:pt x="699" y="625"/>
                </a:cubicBezTo>
                <a:cubicBezTo>
                  <a:pt x="699" y="625"/>
                  <a:pt x="725" y="675"/>
                  <a:pt x="749" y="675"/>
                </a:cubicBezTo>
                <a:cubicBezTo>
                  <a:pt x="774" y="675"/>
                  <a:pt x="825" y="675"/>
                  <a:pt x="825" y="675"/>
                </a:cubicBezTo>
                <a:cubicBezTo>
                  <a:pt x="825" y="700"/>
                  <a:pt x="825" y="750"/>
                  <a:pt x="825" y="800"/>
                </a:cubicBezTo>
                <a:cubicBezTo>
                  <a:pt x="849" y="800"/>
                  <a:pt x="849" y="800"/>
                  <a:pt x="849" y="800"/>
                </a:cubicBezTo>
                <a:cubicBezTo>
                  <a:pt x="874" y="800"/>
                  <a:pt x="925" y="800"/>
                  <a:pt x="925" y="825"/>
                </a:cubicBezTo>
                <a:cubicBezTo>
                  <a:pt x="925" y="850"/>
                  <a:pt x="1000" y="825"/>
                  <a:pt x="1000" y="775"/>
                </a:cubicBezTo>
                <a:cubicBezTo>
                  <a:pt x="1000" y="750"/>
                  <a:pt x="1125" y="750"/>
                  <a:pt x="1150" y="700"/>
                </a:cubicBezTo>
                <a:cubicBezTo>
                  <a:pt x="1150" y="675"/>
                  <a:pt x="1174" y="600"/>
                  <a:pt x="1200" y="625"/>
                </a:cubicBezTo>
                <a:cubicBezTo>
                  <a:pt x="1225" y="625"/>
                  <a:pt x="1250" y="575"/>
                  <a:pt x="1274" y="575"/>
                </a:cubicBezTo>
                <a:cubicBezTo>
                  <a:pt x="1300" y="575"/>
                  <a:pt x="1300" y="600"/>
                  <a:pt x="1350" y="575"/>
                </a:cubicBezTo>
                <a:lnTo>
                  <a:pt x="1325" y="5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29" name="Freeform 155">
            <a:extLst>
              <a:ext uri="{FF2B5EF4-FFF2-40B4-BE49-F238E27FC236}">
                <a16:creationId xmlns:a16="http://schemas.microsoft.com/office/drawing/2014/main" id="{380C74E3-242E-704D-A1E1-F421F419DF0C}"/>
              </a:ext>
            </a:extLst>
          </p:cNvPr>
          <p:cNvSpPr>
            <a:spLocks noChangeArrowheads="1"/>
          </p:cNvSpPr>
          <p:nvPr/>
        </p:nvSpPr>
        <p:spPr bwMode="auto">
          <a:xfrm>
            <a:off x="7073339" y="3560855"/>
            <a:ext cx="590621" cy="502028"/>
          </a:xfrm>
          <a:custGeom>
            <a:avLst/>
            <a:gdLst>
              <a:gd name="T0" fmla="*/ 1800 w 1852"/>
              <a:gd name="T1" fmla="*/ 1350 h 1575"/>
              <a:gd name="T2" fmla="*/ 1800 w 1852"/>
              <a:gd name="T3" fmla="*/ 1350 h 1575"/>
              <a:gd name="T4" fmla="*/ 1775 w 1852"/>
              <a:gd name="T5" fmla="*/ 1250 h 1575"/>
              <a:gd name="T6" fmla="*/ 1675 w 1852"/>
              <a:gd name="T7" fmla="*/ 1175 h 1575"/>
              <a:gd name="T8" fmla="*/ 1600 w 1852"/>
              <a:gd name="T9" fmla="*/ 1075 h 1575"/>
              <a:gd name="T10" fmla="*/ 1700 w 1852"/>
              <a:gd name="T11" fmla="*/ 950 h 1575"/>
              <a:gd name="T12" fmla="*/ 1600 w 1852"/>
              <a:gd name="T13" fmla="*/ 900 h 1575"/>
              <a:gd name="T14" fmla="*/ 1600 w 1852"/>
              <a:gd name="T15" fmla="*/ 800 h 1575"/>
              <a:gd name="T16" fmla="*/ 1600 w 1852"/>
              <a:gd name="T17" fmla="*/ 700 h 1575"/>
              <a:gd name="T18" fmla="*/ 1600 w 1852"/>
              <a:gd name="T19" fmla="*/ 625 h 1575"/>
              <a:gd name="T20" fmla="*/ 1651 w 1852"/>
              <a:gd name="T21" fmla="*/ 550 h 1575"/>
              <a:gd name="T22" fmla="*/ 1651 w 1852"/>
              <a:gd name="T23" fmla="*/ 500 h 1575"/>
              <a:gd name="T24" fmla="*/ 1651 w 1852"/>
              <a:gd name="T25" fmla="*/ 375 h 1575"/>
              <a:gd name="T26" fmla="*/ 1575 w 1852"/>
              <a:gd name="T27" fmla="*/ 375 h 1575"/>
              <a:gd name="T28" fmla="*/ 1525 w 1852"/>
              <a:gd name="T29" fmla="*/ 325 h 1575"/>
              <a:gd name="T30" fmla="*/ 1475 w 1852"/>
              <a:gd name="T31" fmla="*/ 275 h 1575"/>
              <a:gd name="T32" fmla="*/ 1400 w 1852"/>
              <a:gd name="T33" fmla="*/ 250 h 1575"/>
              <a:gd name="T34" fmla="*/ 1351 w 1852"/>
              <a:gd name="T35" fmla="*/ 250 h 1575"/>
              <a:gd name="T36" fmla="*/ 1275 w 1852"/>
              <a:gd name="T37" fmla="*/ 200 h 1575"/>
              <a:gd name="T38" fmla="*/ 1175 w 1852"/>
              <a:gd name="T39" fmla="*/ 200 h 1575"/>
              <a:gd name="T40" fmla="*/ 1100 w 1852"/>
              <a:gd name="T41" fmla="*/ 225 h 1575"/>
              <a:gd name="T42" fmla="*/ 1026 w 1852"/>
              <a:gd name="T43" fmla="*/ 275 h 1575"/>
              <a:gd name="T44" fmla="*/ 950 w 1852"/>
              <a:gd name="T45" fmla="*/ 275 h 1575"/>
              <a:gd name="T46" fmla="*/ 950 w 1852"/>
              <a:gd name="T47" fmla="*/ 325 h 1575"/>
              <a:gd name="T48" fmla="*/ 726 w 1852"/>
              <a:gd name="T49" fmla="*/ 375 h 1575"/>
              <a:gd name="T50" fmla="*/ 575 w 1852"/>
              <a:gd name="T51" fmla="*/ 275 h 1575"/>
              <a:gd name="T52" fmla="*/ 450 w 1852"/>
              <a:gd name="T53" fmla="*/ 175 h 1575"/>
              <a:gd name="T54" fmla="*/ 375 w 1852"/>
              <a:gd name="T55" fmla="*/ 125 h 1575"/>
              <a:gd name="T56" fmla="*/ 375 w 1852"/>
              <a:gd name="T57" fmla="*/ 25 h 1575"/>
              <a:gd name="T58" fmla="*/ 175 w 1852"/>
              <a:gd name="T59" fmla="*/ 125 h 1575"/>
              <a:gd name="T60" fmla="*/ 126 w 1852"/>
              <a:gd name="T61" fmla="*/ 75 h 1575"/>
              <a:gd name="T62" fmla="*/ 50 w 1852"/>
              <a:gd name="T63" fmla="*/ 0 h 1575"/>
              <a:gd name="T64" fmla="*/ 25 w 1852"/>
              <a:gd name="T65" fmla="*/ 50 h 1575"/>
              <a:gd name="T66" fmla="*/ 25 w 1852"/>
              <a:gd name="T67" fmla="*/ 125 h 1575"/>
              <a:gd name="T68" fmla="*/ 25 w 1852"/>
              <a:gd name="T69" fmla="*/ 225 h 1575"/>
              <a:gd name="T70" fmla="*/ 75 w 1852"/>
              <a:gd name="T71" fmla="*/ 300 h 1575"/>
              <a:gd name="T72" fmla="*/ 100 w 1852"/>
              <a:gd name="T73" fmla="*/ 375 h 1575"/>
              <a:gd name="T74" fmla="*/ 150 w 1852"/>
              <a:gd name="T75" fmla="*/ 425 h 1575"/>
              <a:gd name="T76" fmla="*/ 200 w 1852"/>
              <a:gd name="T77" fmla="*/ 475 h 1575"/>
              <a:gd name="T78" fmla="*/ 175 w 1852"/>
              <a:gd name="T79" fmla="*/ 525 h 1575"/>
              <a:gd name="T80" fmla="*/ 150 w 1852"/>
              <a:gd name="T81" fmla="*/ 600 h 1575"/>
              <a:gd name="T82" fmla="*/ 150 w 1852"/>
              <a:gd name="T83" fmla="*/ 675 h 1575"/>
              <a:gd name="T84" fmla="*/ 200 w 1852"/>
              <a:gd name="T85" fmla="*/ 725 h 1575"/>
              <a:gd name="T86" fmla="*/ 300 w 1852"/>
              <a:gd name="T87" fmla="*/ 800 h 1575"/>
              <a:gd name="T88" fmla="*/ 350 w 1852"/>
              <a:gd name="T89" fmla="*/ 850 h 1575"/>
              <a:gd name="T90" fmla="*/ 350 w 1852"/>
              <a:gd name="T91" fmla="*/ 925 h 1575"/>
              <a:gd name="T92" fmla="*/ 375 w 1852"/>
              <a:gd name="T93" fmla="*/ 1001 h 1575"/>
              <a:gd name="T94" fmla="*/ 426 w 1852"/>
              <a:gd name="T95" fmla="*/ 1050 h 1575"/>
              <a:gd name="T96" fmla="*/ 450 w 1852"/>
              <a:gd name="T97" fmla="*/ 1050 h 1575"/>
              <a:gd name="T98" fmla="*/ 500 w 1852"/>
              <a:gd name="T99" fmla="*/ 1050 h 1575"/>
              <a:gd name="T100" fmla="*/ 550 w 1852"/>
              <a:gd name="T101" fmla="*/ 1050 h 1575"/>
              <a:gd name="T102" fmla="*/ 650 w 1852"/>
              <a:gd name="T103" fmla="*/ 1201 h 1575"/>
              <a:gd name="T104" fmla="*/ 700 w 1852"/>
              <a:gd name="T105" fmla="*/ 1275 h 1575"/>
              <a:gd name="T106" fmla="*/ 826 w 1852"/>
              <a:gd name="T107" fmla="*/ 1325 h 1575"/>
              <a:gd name="T108" fmla="*/ 1051 w 1852"/>
              <a:gd name="T109" fmla="*/ 1425 h 1575"/>
              <a:gd name="T110" fmla="*/ 1200 w 1852"/>
              <a:gd name="T111" fmla="*/ 1375 h 1575"/>
              <a:gd name="T112" fmla="*/ 1251 w 1852"/>
              <a:gd name="T113" fmla="*/ 1501 h 1575"/>
              <a:gd name="T114" fmla="*/ 1600 w 1852"/>
              <a:gd name="T115" fmla="*/ 1550 h 1575"/>
              <a:gd name="T116" fmla="*/ 1700 w 1852"/>
              <a:gd name="T117" fmla="*/ 1574 h 1575"/>
              <a:gd name="T118" fmla="*/ 1675 w 1852"/>
              <a:gd name="T119" fmla="*/ 1550 h 1575"/>
              <a:gd name="T120" fmla="*/ 1751 w 1852"/>
              <a:gd name="T121" fmla="*/ 1450 h 1575"/>
              <a:gd name="T122" fmla="*/ 1826 w 1852"/>
              <a:gd name="T123" fmla="*/ 1425 h 1575"/>
              <a:gd name="T124" fmla="*/ 1800 w 1852"/>
              <a:gd name="T125" fmla="*/ 1350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2" h="1575">
                <a:moveTo>
                  <a:pt x="1800" y="1350"/>
                </a:moveTo>
                <a:lnTo>
                  <a:pt x="1800" y="1350"/>
                </a:lnTo>
                <a:cubicBezTo>
                  <a:pt x="1775" y="1350"/>
                  <a:pt x="1800" y="1275"/>
                  <a:pt x="1775" y="1250"/>
                </a:cubicBezTo>
                <a:cubicBezTo>
                  <a:pt x="1726" y="1225"/>
                  <a:pt x="1675" y="1201"/>
                  <a:pt x="1675" y="1175"/>
                </a:cubicBezTo>
                <a:cubicBezTo>
                  <a:pt x="1651" y="1125"/>
                  <a:pt x="1600" y="1101"/>
                  <a:pt x="1600" y="1075"/>
                </a:cubicBezTo>
                <a:cubicBezTo>
                  <a:pt x="1600" y="1075"/>
                  <a:pt x="1726" y="1001"/>
                  <a:pt x="1700" y="950"/>
                </a:cubicBezTo>
                <a:cubicBezTo>
                  <a:pt x="1675" y="900"/>
                  <a:pt x="1626" y="925"/>
                  <a:pt x="1600" y="900"/>
                </a:cubicBezTo>
                <a:cubicBezTo>
                  <a:pt x="1600" y="900"/>
                  <a:pt x="1600" y="825"/>
                  <a:pt x="1600" y="800"/>
                </a:cubicBezTo>
                <a:cubicBezTo>
                  <a:pt x="1575" y="750"/>
                  <a:pt x="1600" y="725"/>
                  <a:pt x="1600" y="700"/>
                </a:cubicBezTo>
                <a:cubicBezTo>
                  <a:pt x="1575" y="675"/>
                  <a:pt x="1600" y="625"/>
                  <a:pt x="1600" y="625"/>
                </a:cubicBezTo>
                <a:cubicBezTo>
                  <a:pt x="1600" y="600"/>
                  <a:pt x="1651" y="575"/>
                  <a:pt x="1651" y="550"/>
                </a:cubicBezTo>
                <a:cubicBezTo>
                  <a:pt x="1651" y="525"/>
                  <a:pt x="1651" y="500"/>
                  <a:pt x="1651" y="500"/>
                </a:cubicBezTo>
                <a:cubicBezTo>
                  <a:pt x="1651" y="450"/>
                  <a:pt x="1651" y="400"/>
                  <a:pt x="1651" y="375"/>
                </a:cubicBezTo>
                <a:cubicBezTo>
                  <a:pt x="1651" y="375"/>
                  <a:pt x="1600" y="375"/>
                  <a:pt x="1575" y="375"/>
                </a:cubicBezTo>
                <a:cubicBezTo>
                  <a:pt x="1551" y="375"/>
                  <a:pt x="1525" y="325"/>
                  <a:pt x="1525" y="325"/>
                </a:cubicBezTo>
                <a:cubicBezTo>
                  <a:pt x="1500" y="325"/>
                  <a:pt x="1475" y="300"/>
                  <a:pt x="1475" y="275"/>
                </a:cubicBezTo>
                <a:cubicBezTo>
                  <a:pt x="1475" y="275"/>
                  <a:pt x="1426" y="250"/>
                  <a:pt x="1400" y="250"/>
                </a:cubicBezTo>
                <a:cubicBezTo>
                  <a:pt x="1375" y="275"/>
                  <a:pt x="1351" y="250"/>
                  <a:pt x="1351" y="250"/>
                </a:cubicBezTo>
                <a:cubicBezTo>
                  <a:pt x="1326" y="250"/>
                  <a:pt x="1300" y="225"/>
                  <a:pt x="1275" y="200"/>
                </a:cubicBezTo>
                <a:cubicBezTo>
                  <a:pt x="1275" y="200"/>
                  <a:pt x="1175" y="175"/>
                  <a:pt x="1175" y="200"/>
                </a:cubicBezTo>
                <a:cubicBezTo>
                  <a:pt x="1151" y="225"/>
                  <a:pt x="1126" y="225"/>
                  <a:pt x="1100" y="225"/>
                </a:cubicBezTo>
                <a:cubicBezTo>
                  <a:pt x="1075" y="225"/>
                  <a:pt x="1026" y="250"/>
                  <a:pt x="1026" y="275"/>
                </a:cubicBezTo>
                <a:cubicBezTo>
                  <a:pt x="1000" y="275"/>
                  <a:pt x="975" y="275"/>
                  <a:pt x="950" y="275"/>
                </a:cubicBezTo>
                <a:cubicBezTo>
                  <a:pt x="950" y="300"/>
                  <a:pt x="950" y="325"/>
                  <a:pt x="950" y="325"/>
                </a:cubicBezTo>
                <a:cubicBezTo>
                  <a:pt x="926" y="350"/>
                  <a:pt x="826" y="375"/>
                  <a:pt x="726" y="375"/>
                </a:cubicBezTo>
                <a:cubicBezTo>
                  <a:pt x="650" y="375"/>
                  <a:pt x="650" y="275"/>
                  <a:pt x="575" y="275"/>
                </a:cubicBezTo>
                <a:cubicBezTo>
                  <a:pt x="500" y="275"/>
                  <a:pt x="450" y="225"/>
                  <a:pt x="450" y="175"/>
                </a:cubicBezTo>
                <a:cubicBezTo>
                  <a:pt x="426" y="150"/>
                  <a:pt x="375" y="125"/>
                  <a:pt x="375" y="125"/>
                </a:cubicBezTo>
                <a:cubicBezTo>
                  <a:pt x="400" y="100"/>
                  <a:pt x="400" y="0"/>
                  <a:pt x="375" y="25"/>
                </a:cubicBezTo>
                <a:cubicBezTo>
                  <a:pt x="326" y="50"/>
                  <a:pt x="250" y="125"/>
                  <a:pt x="175" y="125"/>
                </a:cubicBezTo>
                <a:cubicBezTo>
                  <a:pt x="100" y="100"/>
                  <a:pt x="150" y="100"/>
                  <a:pt x="126" y="75"/>
                </a:cubicBezTo>
                <a:cubicBezTo>
                  <a:pt x="75" y="50"/>
                  <a:pt x="100" y="25"/>
                  <a:pt x="50" y="0"/>
                </a:cubicBezTo>
                <a:cubicBezTo>
                  <a:pt x="25" y="0"/>
                  <a:pt x="50" y="50"/>
                  <a:pt x="25" y="50"/>
                </a:cubicBezTo>
                <a:cubicBezTo>
                  <a:pt x="0" y="50"/>
                  <a:pt x="25" y="125"/>
                  <a:pt x="25" y="125"/>
                </a:cubicBezTo>
                <a:cubicBezTo>
                  <a:pt x="25" y="150"/>
                  <a:pt x="25" y="225"/>
                  <a:pt x="25" y="225"/>
                </a:cubicBezTo>
                <a:cubicBezTo>
                  <a:pt x="50" y="225"/>
                  <a:pt x="75" y="300"/>
                  <a:pt x="75" y="300"/>
                </a:cubicBezTo>
                <a:cubicBezTo>
                  <a:pt x="75" y="325"/>
                  <a:pt x="100" y="350"/>
                  <a:pt x="100" y="375"/>
                </a:cubicBezTo>
                <a:cubicBezTo>
                  <a:pt x="100" y="400"/>
                  <a:pt x="150" y="425"/>
                  <a:pt x="150" y="425"/>
                </a:cubicBezTo>
                <a:cubicBezTo>
                  <a:pt x="175" y="425"/>
                  <a:pt x="200" y="450"/>
                  <a:pt x="200" y="475"/>
                </a:cubicBezTo>
                <a:cubicBezTo>
                  <a:pt x="175" y="500"/>
                  <a:pt x="200" y="525"/>
                  <a:pt x="175" y="525"/>
                </a:cubicBezTo>
                <a:cubicBezTo>
                  <a:pt x="150" y="525"/>
                  <a:pt x="175" y="600"/>
                  <a:pt x="150" y="600"/>
                </a:cubicBezTo>
                <a:cubicBezTo>
                  <a:pt x="126" y="600"/>
                  <a:pt x="150" y="675"/>
                  <a:pt x="150" y="675"/>
                </a:cubicBezTo>
                <a:cubicBezTo>
                  <a:pt x="175" y="700"/>
                  <a:pt x="200" y="700"/>
                  <a:pt x="200" y="725"/>
                </a:cubicBezTo>
                <a:cubicBezTo>
                  <a:pt x="200" y="750"/>
                  <a:pt x="275" y="800"/>
                  <a:pt x="300" y="800"/>
                </a:cubicBezTo>
                <a:cubicBezTo>
                  <a:pt x="326" y="800"/>
                  <a:pt x="326" y="850"/>
                  <a:pt x="350" y="850"/>
                </a:cubicBezTo>
                <a:cubicBezTo>
                  <a:pt x="375" y="875"/>
                  <a:pt x="350" y="900"/>
                  <a:pt x="350" y="925"/>
                </a:cubicBezTo>
                <a:cubicBezTo>
                  <a:pt x="350" y="950"/>
                  <a:pt x="375" y="950"/>
                  <a:pt x="375" y="1001"/>
                </a:cubicBezTo>
                <a:cubicBezTo>
                  <a:pt x="375" y="1001"/>
                  <a:pt x="400" y="1025"/>
                  <a:pt x="426" y="1050"/>
                </a:cubicBezTo>
                <a:lnTo>
                  <a:pt x="450" y="1050"/>
                </a:lnTo>
                <a:cubicBezTo>
                  <a:pt x="475" y="1050"/>
                  <a:pt x="475" y="1025"/>
                  <a:pt x="500" y="1050"/>
                </a:cubicBezTo>
                <a:cubicBezTo>
                  <a:pt x="526" y="1075"/>
                  <a:pt x="550" y="1050"/>
                  <a:pt x="550" y="1050"/>
                </a:cubicBezTo>
                <a:cubicBezTo>
                  <a:pt x="575" y="1050"/>
                  <a:pt x="626" y="1150"/>
                  <a:pt x="650" y="1201"/>
                </a:cubicBezTo>
                <a:cubicBezTo>
                  <a:pt x="675" y="1250"/>
                  <a:pt x="675" y="1250"/>
                  <a:pt x="700" y="1275"/>
                </a:cubicBezTo>
                <a:cubicBezTo>
                  <a:pt x="750" y="1301"/>
                  <a:pt x="775" y="1301"/>
                  <a:pt x="826" y="1325"/>
                </a:cubicBezTo>
                <a:cubicBezTo>
                  <a:pt x="875" y="1375"/>
                  <a:pt x="1000" y="1425"/>
                  <a:pt x="1051" y="1425"/>
                </a:cubicBezTo>
                <a:cubicBezTo>
                  <a:pt x="1100" y="1425"/>
                  <a:pt x="1126" y="1375"/>
                  <a:pt x="1200" y="1375"/>
                </a:cubicBezTo>
                <a:cubicBezTo>
                  <a:pt x="1251" y="1401"/>
                  <a:pt x="1251" y="1475"/>
                  <a:pt x="1251" y="1501"/>
                </a:cubicBezTo>
                <a:cubicBezTo>
                  <a:pt x="1275" y="1525"/>
                  <a:pt x="1551" y="1550"/>
                  <a:pt x="1600" y="1550"/>
                </a:cubicBezTo>
                <a:cubicBezTo>
                  <a:pt x="1600" y="1574"/>
                  <a:pt x="1651" y="1574"/>
                  <a:pt x="1700" y="1574"/>
                </a:cubicBezTo>
                <a:cubicBezTo>
                  <a:pt x="1675" y="1550"/>
                  <a:pt x="1675" y="1550"/>
                  <a:pt x="1675" y="1550"/>
                </a:cubicBezTo>
                <a:cubicBezTo>
                  <a:pt x="1675" y="1501"/>
                  <a:pt x="1726" y="1475"/>
                  <a:pt x="1751" y="1450"/>
                </a:cubicBezTo>
                <a:cubicBezTo>
                  <a:pt x="1775" y="1425"/>
                  <a:pt x="1800" y="1425"/>
                  <a:pt x="1826" y="1425"/>
                </a:cubicBezTo>
                <a:cubicBezTo>
                  <a:pt x="1851" y="1425"/>
                  <a:pt x="1826" y="1350"/>
                  <a:pt x="1800" y="13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0" name="Freeform 156">
            <a:extLst>
              <a:ext uri="{FF2B5EF4-FFF2-40B4-BE49-F238E27FC236}">
                <a16:creationId xmlns:a16="http://schemas.microsoft.com/office/drawing/2014/main" id="{34BDC3F9-9D0E-3446-ACA2-3FDC3266398E}"/>
              </a:ext>
            </a:extLst>
          </p:cNvPr>
          <p:cNvSpPr>
            <a:spLocks noChangeArrowheads="1"/>
          </p:cNvSpPr>
          <p:nvPr/>
        </p:nvSpPr>
        <p:spPr bwMode="auto">
          <a:xfrm>
            <a:off x="7152089" y="2971637"/>
            <a:ext cx="1220617" cy="573747"/>
          </a:xfrm>
          <a:custGeom>
            <a:avLst/>
            <a:gdLst>
              <a:gd name="T0" fmla="*/ 3776 w 3827"/>
              <a:gd name="T1" fmla="*/ 725 h 1801"/>
              <a:gd name="T2" fmla="*/ 3626 w 3827"/>
              <a:gd name="T3" fmla="*/ 649 h 1801"/>
              <a:gd name="T4" fmla="*/ 3401 w 3827"/>
              <a:gd name="T5" fmla="*/ 600 h 1801"/>
              <a:gd name="T6" fmla="*/ 3201 w 3827"/>
              <a:gd name="T7" fmla="*/ 575 h 1801"/>
              <a:gd name="T8" fmla="*/ 2901 w 3827"/>
              <a:gd name="T9" fmla="*/ 150 h 1801"/>
              <a:gd name="T10" fmla="*/ 2651 w 3827"/>
              <a:gd name="T11" fmla="*/ 224 h 1801"/>
              <a:gd name="T12" fmla="*/ 2551 w 3827"/>
              <a:gd name="T13" fmla="*/ 175 h 1801"/>
              <a:gd name="T14" fmla="*/ 2450 w 3827"/>
              <a:gd name="T15" fmla="*/ 150 h 1801"/>
              <a:gd name="T16" fmla="*/ 2350 w 3827"/>
              <a:gd name="T17" fmla="*/ 50 h 1801"/>
              <a:gd name="T18" fmla="*/ 2101 w 3827"/>
              <a:gd name="T19" fmla="*/ 24 h 1801"/>
              <a:gd name="T20" fmla="*/ 1750 w 3827"/>
              <a:gd name="T21" fmla="*/ 124 h 1801"/>
              <a:gd name="T22" fmla="*/ 1401 w 3827"/>
              <a:gd name="T23" fmla="*/ 175 h 1801"/>
              <a:gd name="T24" fmla="*/ 1401 w 3827"/>
              <a:gd name="T25" fmla="*/ 300 h 1801"/>
              <a:gd name="T26" fmla="*/ 1350 w 3827"/>
              <a:gd name="T27" fmla="*/ 475 h 1801"/>
              <a:gd name="T28" fmla="*/ 1376 w 3827"/>
              <a:gd name="T29" fmla="*/ 600 h 1801"/>
              <a:gd name="T30" fmla="*/ 1225 w 3827"/>
              <a:gd name="T31" fmla="*/ 575 h 1801"/>
              <a:gd name="T32" fmla="*/ 1025 w 3827"/>
              <a:gd name="T33" fmla="*/ 550 h 1801"/>
              <a:gd name="T34" fmla="*/ 776 w 3827"/>
              <a:gd name="T35" fmla="*/ 575 h 1801"/>
              <a:gd name="T36" fmla="*/ 576 w 3827"/>
              <a:gd name="T37" fmla="*/ 475 h 1801"/>
              <a:gd name="T38" fmla="*/ 376 w 3827"/>
              <a:gd name="T39" fmla="*/ 500 h 1801"/>
              <a:gd name="T40" fmla="*/ 200 w 3827"/>
              <a:gd name="T41" fmla="*/ 625 h 1801"/>
              <a:gd name="T42" fmla="*/ 76 w 3827"/>
              <a:gd name="T43" fmla="*/ 675 h 1801"/>
              <a:gd name="T44" fmla="*/ 25 w 3827"/>
              <a:gd name="T45" fmla="*/ 800 h 1801"/>
              <a:gd name="T46" fmla="*/ 76 w 3827"/>
              <a:gd name="T47" fmla="*/ 950 h 1801"/>
              <a:gd name="T48" fmla="*/ 200 w 3827"/>
              <a:gd name="T49" fmla="*/ 1075 h 1801"/>
              <a:gd name="T50" fmla="*/ 276 w 3827"/>
              <a:gd name="T51" fmla="*/ 1100 h 1801"/>
              <a:gd name="T52" fmla="*/ 625 w 3827"/>
              <a:gd name="T53" fmla="*/ 1225 h 1801"/>
              <a:gd name="T54" fmla="*/ 400 w 3827"/>
              <a:gd name="T55" fmla="*/ 1325 h 1801"/>
              <a:gd name="T56" fmla="*/ 450 w 3827"/>
              <a:gd name="T57" fmla="*/ 1500 h 1801"/>
              <a:gd name="T58" fmla="*/ 600 w 3827"/>
              <a:gd name="T59" fmla="*/ 1700 h 1801"/>
              <a:gd name="T60" fmla="*/ 825 w 3827"/>
              <a:gd name="T61" fmla="*/ 1675 h 1801"/>
              <a:gd name="T62" fmla="*/ 1150 w 3827"/>
              <a:gd name="T63" fmla="*/ 1200 h 1801"/>
              <a:gd name="T64" fmla="*/ 1275 w 3827"/>
              <a:gd name="T65" fmla="*/ 1150 h 1801"/>
              <a:gd name="T66" fmla="*/ 1450 w 3827"/>
              <a:gd name="T67" fmla="*/ 1450 h 1801"/>
              <a:gd name="T68" fmla="*/ 1850 w 3827"/>
              <a:gd name="T69" fmla="*/ 1500 h 1801"/>
              <a:gd name="T70" fmla="*/ 2001 w 3827"/>
              <a:gd name="T71" fmla="*/ 1700 h 1801"/>
              <a:gd name="T72" fmla="*/ 2226 w 3827"/>
              <a:gd name="T73" fmla="*/ 1675 h 1801"/>
              <a:gd name="T74" fmla="*/ 2350 w 3827"/>
              <a:gd name="T75" fmla="*/ 1550 h 1801"/>
              <a:gd name="T76" fmla="*/ 2676 w 3827"/>
              <a:gd name="T77" fmla="*/ 1500 h 1801"/>
              <a:gd name="T78" fmla="*/ 3126 w 3827"/>
              <a:gd name="T79" fmla="*/ 1575 h 1801"/>
              <a:gd name="T80" fmla="*/ 3251 w 3827"/>
              <a:gd name="T81" fmla="*/ 1500 h 1801"/>
              <a:gd name="T82" fmla="*/ 3251 w 3827"/>
              <a:gd name="T83" fmla="*/ 1275 h 1801"/>
              <a:gd name="T84" fmla="*/ 3401 w 3827"/>
              <a:gd name="T85" fmla="*/ 1225 h 1801"/>
              <a:gd name="T86" fmla="*/ 3601 w 3827"/>
              <a:gd name="T87" fmla="*/ 1050 h 1801"/>
              <a:gd name="T88" fmla="*/ 3751 w 3827"/>
              <a:gd name="T89" fmla="*/ 875 h 1801"/>
              <a:gd name="T90" fmla="*/ 3801 w 3827"/>
              <a:gd name="T91" fmla="*/ 725 h 1801"/>
              <a:gd name="T92" fmla="*/ 1301 w 3827"/>
              <a:gd name="T93" fmla="*/ 1100 h 1801"/>
              <a:gd name="T94" fmla="*/ 3001 w 3827"/>
              <a:gd name="T95" fmla="*/ 1125 h 1801"/>
              <a:gd name="T96" fmla="*/ 2626 w 3827"/>
              <a:gd name="T97" fmla="*/ 1125 h 1801"/>
              <a:gd name="T98" fmla="*/ 3001 w 3827"/>
              <a:gd name="T99" fmla="*/ 1125 h 1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27" h="1801">
                <a:moveTo>
                  <a:pt x="3801" y="725"/>
                </a:moveTo>
                <a:lnTo>
                  <a:pt x="3801" y="725"/>
                </a:lnTo>
                <a:cubicBezTo>
                  <a:pt x="3801" y="700"/>
                  <a:pt x="3776" y="725"/>
                  <a:pt x="3776" y="725"/>
                </a:cubicBezTo>
                <a:cubicBezTo>
                  <a:pt x="3751" y="725"/>
                  <a:pt x="3701" y="725"/>
                  <a:pt x="3701" y="725"/>
                </a:cubicBezTo>
                <a:cubicBezTo>
                  <a:pt x="3676" y="725"/>
                  <a:pt x="3651" y="725"/>
                  <a:pt x="3651" y="700"/>
                </a:cubicBezTo>
                <a:cubicBezTo>
                  <a:pt x="3651" y="675"/>
                  <a:pt x="3651" y="649"/>
                  <a:pt x="3626" y="649"/>
                </a:cubicBezTo>
                <a:cubicBezTo>
                  <a:pt x="3601" y="649"/>
                  <a:pt x="3576" y="649"/>
                  <a:pt x="3576" y="625"/>
                </a:cubicBezTo>
                <a:cubicBezTo>
                  <a:pt x="3551" y="575"/>
                  <a:pt x="3526" y="575"/>
                  <a:pt x="3501" y="575"/>
                </a:cubicBezTo>
                <a:cubicBezTo>
                  <a:pt x="3476" y="550"/>
                  <a:pt x="3426" y="575"/>
                  <a:pt x="3401" y="600"/>
                </a:cubicBezTo>
                <a:cubicBezTo>
                  <a:pt x="3376" y="600"/>
                  <a:pt x="3351" y="575"/>
                  <a:pt x="3326" y="575"/>
                </a:cubicBezTo>
                <a:cubicBezTo>
                  <a:pt x="3301" y="575"/>
                  <a:pt x="3276" y="525"/>
                  <a:pt x="3251" y="525"/>
                </a:cubicBezTo>
                <a:cubicBezTo>
                  <a:pt x="3226" y="525"/>
                  <a:pt x="3201" y="575"/>
                  <a:pt x="3201" y="575"/>
                </a:cubicBezTo>
                <a:cubicBezTo>
                  <a:pt x="3176" y="575"/>
                  <a:pt x="3126" y="475"/>
                  <a:pt x="3101" y="424"/>
                </a:cubicBezTo>
                <a:cubicBezTo>
                  <a:pt x="3051" y="350"/>
                  <a:pt x="2976" y="224"/>
                  <a:pt x="2926" y="200"/>
                </a:cubicBezTo>
                <a:cubicBezTo>
                  <a:pt x="2851" y="200"/>
                  <a:pt x="2876" y="150"/>
                  <a:pt x="2901" y="150"/>
                </a:cubicBezTo>
                <a:cubicBezTo>
                  <a:pt x="2901" y="124"/>
                  <a:pt x="2851" y="124"/>
                  <a:pt x="2826" y="124"/>
                </a:cubicBezTo>
                <a:cubicBezTo>
                  <a:pt x="2801" y="150"/>
                  <a:pt x="2775" y="175"/>
                  <a:pt x="2751" y="175"/>
                </a:cubicBezTo>
                <a:cubicBezTo>
                  <a:pt x="2726" y="200"/>
                  <a:pt x="2676" y="224"/>
                  <a:pt x="2651" y="224"/>
                </a:cubicBezTo>
                <a:cubicBezTo>
                  <a:pt x="2601" y="224"/>
                  <a:pt x="2601" y="275"/>
                  <a:pt x="2575" y="250"/>
                </a:cubicBezTo>
                <a:cubicBezTo>
                  <a:pt x="2551" y="224"/>
                  <a:pt x="2601" y="200"/>
                  <a:pt x="2601" y="175"/>
                </a:cubicBezTo>
                <a:cubicBezTo>
                  <a:pt x="2601" y="150"/>
                  <a:pt x="2575" y="175"/>
                  <a:pt x="2551" y="175"/>
                </a:cubicBezTo>
                <a:cubicBezTo>
                  <a:pt x="2551" y="150"/>
                  <a:pt x="2501" y="150"/>
                  <a:pt x="2501" y="175"/>
                </a:cubicBezTo>
                <a:cubicBezTo>
                  <a:pt x="2501" y="175"/>
                  <a:pt x="2476" y="175"/>
                  <a:pt x="2476" y="150"/>
                </a:cubicBezTo>
                <a:cubicBezTo>
                  <a:pt x="2476" y="150"/>
                  <a:pt x="2476" y="124"/>
                  <a:pt x="2450" y="150"/>
                </a:cubicBezTo>
                <a:cubicBezTo>
                  <a:pt x="2426" y="150"/>
                  <a:pt x="2376" y="175"/>
                  <a:pt x="2376" y="150"/>
                </a:cubicBezTo>
                <a:cubicBezTo>
                  <a:pt x="2350" y="150"/>
                  <a:pt x="2376" y="124"/>
                  <a:pt x="2376" y="124"/>
                </a:cubicBezTo>
                <a:cubicBezTo>
                  <a:pt x="2376" y="100"/>
                  <a:pt x="2350" y="75"/>
                  <a:pt x="2350" y="50"/>
                </a:cubicBezTo>
                <a:cubicBezTo>
                  <a:pt x="2350" y="24"/>
                  <a:pt x="2326" y="0"/>
                  <a:pt x="2301" y="0"/>
                </a:cubicBezTo>
                <a:cubicBezTo>
                  <a:pt x="2276" y="24"/>
                  <a:pt x="2250" y="0"/>
                  <a:pt x="2226" y="0"/>
                </a:cubicBezTo>
                <a:cubicBezTo>
                  <a:pt x="2201" y="0"/>
                  <a:pt x="2101" y="0"/>
                  <a:pt x="2101" y="24"/>
                </a:cubicBezTo>
                <a:cubicBezTo>
                  <a:pt x="2101" y="50"/>
                  <a:pt x="2001" y="75"/>
                  <a:pt x="1976" y="75"/>
                </a:cubicBezTo>
                <a:cubicBezTo>
                  <a:pt x="1950" y="75"/>
                  <a:pt x="1876" y="100"/>
                  <a:pt x="1826" y="100"/>
                </a:cubicBezTo>
                <a:cubicBezTo>
                  <a:pt x="1801" y="100"/>
                  <a:pt x="1776" y="124"/>
                  <a:pt x="1750" y="124"/>
                </a:cubicBezTo>
                <a:cubicBezTo>
                  <a:pt x="1701" y="124"/>
                  <a:pt x="1626" y="124"/>
                  <a:pt x="1601" y="150"/>
                </a:cubicBezTo>
                <a:cubicBezTo>
                  <a:pt x="1576" y="175"/>
                  <a:pt x="1501" y="150"/>
                  <a:pt x="1476" y="175"/>
                </a:cubicBezTo>
                <a:cubicBezTo>
                  <a:pt x="1450" y="175"/>
                  <a:pt x="1425" y="175"/>
                  <a:pt x="1401" y="175"/>
                </a:cubicBezTo>
                <a:cubicBezTo>
                  <a:pt x="1401" y="175"/>
                  <a:pt x="1401" y="224"/>
                  <a:pt x="1401" y="250"/>
                </a:cubicBezTo>
                <a:cubicBezTo>
                  <a:pt x="1425" y="275"/>
                  <a:pt x="1501" y="275"/>
                  <a:pt x="1501" y="300"/>
                </a:cubicBezTo>
                <a:cubicBezTo>
                  <a:pt x="1501" y="300"/>
                  <a:pt x="1425" y="300"/>
                  <a:pt x="1401" y="300"/>
                </a:cubicBezTo>
                <a:cubicBezTo>
                  <a:pt x="1350" y="324"/>
                  <a:pt x="1376" y="350"/>
                  <a:pt x="1376" y="375"/>
                </a:cubicBezTo>
                <a:cubicBezTo>
                  <a:pt x="1376" y="400"/>
                  <a:pt x="1350" y="424"/>
                  <a:pt x="1325" y="424"/>
                </a:cubicBezTo>
                <a:cubicBezTo>
                  <a:pt x="1301" y="424"/>
                  <a:pt x="1325" y="475"/>
                  <a:pt x="1350" y="475"/>
                </a:cubicBezTo>
                <a:cubicBezTo>
                  <a:pt x="1376" y="475"/>
                  <a:pt x="1401" y="500"/>
                  <a:pt x="1401" y="500"/>
                </a:cubicBezTo>
                <a:cubicBezTo>
                  <a:pt x="1425" y="500"/>
                  <a:pt x="1425" y="550"/>
                  <a:pt x="1425" y="575"/>
                </a:cubicBezTo>
                <a:cubicBezTo>
                  <a:pt x="1425" y="600"/>
                  <a:pt x="1401" y="600"/>
                  <a:pt x="1376" y="600"/>
                </a:cubicBezTo>
                <a:cubicBezTo>
                  <a:pt x="1350" y="600"/>
                  <a:pt x="1325" y="575"/>
                  <a:pt x="1301" y="575"/>
                </a:cubicBezTo>
                <a:cubicBezTo>
                  <a:pt x="1275" y="575"/>
                  <a:pt x="1301" y="600"/>
                  <a:pt x="1275" y="625"/>
                </a:cubicBezTo>
                <a:cubicBezTo>
                  <a:pt x="1250" y="625"/>
                  <a:pt x="1250" y="575"/>
                  <a:pt x="1225" y="575"/>
                </a:cubicBezTo>
                <a:cubicBezTo>
                  <a:pt x="1201" y="575"/>
                  <a:pt x="1176" y="575"/>
                  <a:pt x="1176" y="550"/>
                </a:cubicBezTo>
                <a:cubicBezTo>
                  <a:pt x="1150" y="525"/>
                  <a:pt x="1101" y="525"/>
                  <a:pt x="1076" y="550"/>
                </a:cubicBezTo>
                <a:cubicBezTo>
                  <a:pt x="1050" y="575"/>
                  <a:pt x="1050" y="575"/>
                  <a:pt x="1025" y="550"/>
                </a:cubicBezTo>
                <a:cubicBezTo>
                  <a:pt x="1001" y="525"/>
                  <a:pt x="925" y="550"/>
                  <a:pt x="925" y="575"/>
                </a:cubicBezTo>
                <a:cubicBezTo>
                  <a:pt x="925" y="600"/>
                  <a:pt x="876" y="600"/>
                  <a:pt x="850" y="575"/>
                </a:cubicBezTo>
                <a:cubicBezTo>
                  <a:pt x="801" y="575"/>
                  <a:pt x="776" y="550"/>
                  <a:pt x="776" y="575"/>
                </a:cubicBezTo>
                <a:cubicBezTo>
                  <a:pt x="776" y="625"/>
                  <a:pt x="750" y="600"/>
                  <a:pt x="750" y="575"/>
                </a:cubicBezTo>
                <a:cubicBezTo>
                  <a:pt x="750" y="550"/>
                  <a:pt x="700" y="525"/>
                  <a:pt x="676" y="500"/>
                </a:cubicBezTo>
                <a:cubicBezTo>
                  <a:pt x="650" y="500"/>
                  <a:pt x="576" y="500"/>
                  <a:pt x="576" y="475"/>
                </a:cubicBezTo>
                <a:cubicBezTo>
                  <a:pt x="576" y="450"/>
                  <a:pt x="525" y="450"/>
                  <a:pt x="500" y="475"/>
                </a:cubicBezTo>
                <a:cubicBezTo>
                  <a:pt x="500" y="500"/>
                  <a:pt x="476" y="475"/>
                  <a:pt x="450" y="475"/>
                </a:cubicBezTo>
                <a:cubicBezTo>
                  <a:pt x="450" y="475"/>
                  <a:pt x="400" y="475"/>
                  <a:pt x="376" y="500"/>
                </a:cubicBezTo>
                <a:cubicBezTo>
                  <a:pt x="376" y="500"/>
                  <a:pt x="325" y="550"/>
                  <a:pt x="276" y="550"/>
                </a:cubicBezTo>
                <a:cubicBezTo>
                  <a:pt x="250" y="550"/>
                  <a:pt x="276" y="575"/>
                  <a:pt x="225" y="575"/>
                </a:cubicBezTo>
                <a:cubicBezTo>
                  <a:pt x="200" y="600"/>
                  <a:pt x="200" y="625"/>
                  <a:pt x="200" y="625"/>
                </a:cubicBezTo>
                <a:cubicBezTo>
                  <a:pt x="225" y="649"/>
                  <a:pt x="225" y="675"/>
                  <a:pt x="200" y="700"/>
                </a:cubicBezTo>
                <a:cubicBezTo>
                  <a:pt x="176" y="700"/>
                  <a:pt x="150" y="649"/>
                  <a:pt x="125" y="625"/>
                </a:cubicBezTo>
                <a:cubicBezTo>
                  <a:pt x="100" y="600"/>
                  <a:pt x="76" y="625"/>
                  <a:pt x="76" y="675"/>
                </a:cubicBezTo>
                <a:cubicBezTo>
                  <a:pt x="76" y="700"/>
                  <a:pt x="50" y="700"/>
                  <a:pt x="25" y="725"/>
                </a:cubicBezTo>
                <a:cubicBezTo>
                  <a:pt x="0" y="749"/>
                  <a:pt x="50" y="749"/>
                  <a:pt x="50" y="775"/>
                </a:cubicBezTo>
                <a:lnTo>
                  <a:pt x="25" y="800"/>
                </a:lnTo>
                <a:cubicBezTo>
                  <a:pt x="0" y="800"/>
                  <a:pt x="0" y="850"/>
                  <a:pt x="0" y="850"/>
                </a:cubicBezTo>
                <a:cubicBezTo>
                  <a:pt x="0" y="875"/>
                  <a:pt x="50" y="875"/>
                  <a:pt x="50" y="900"/>
                </a:cubicBezTo>
                <a:cubicBezTo>
                  <a:pt x="50" y="925"/>
                  <a:pt x="50" y="950"/>
                  <a:pt x="76" y="950"/>
                </a:cubicBezTo>
                <a:cubicBezTo>
                  <a:pt x="100" y="925"/>
                  <a:pt x="125" y="950"/>
                  <a:pt x="125" y="950"/>
                </a:cubicBezTo>
                <a:cubicBezTo>
                  <a:pt x="150" y="950"/>
                  <a:pt x="176" y="975"/>
                  <a:pt x="200" y="1000"/>
                </a:cubicBezTo>
                <a:cubicBezTo>
                  <a:pt x="225" y="1050"/>
                  <a:pt x="225" y="1050"/>
                  <a:pt x="200" y="1075"/>
                </a:cubicBezTo>
                <a:cubicBezTo>
                  <a:pt x="176" y="1075"/>
                  <a:pt x="200" y="1100"/>
                  <a:pt x="225" y="1100"/>
                </a:cubicBezTo>
                <a:cubicBezTo>
                  <a:pt x="250" y="1100"/>
                  <a:pt x="250" y="1125"/>
                  <a:pt x="250" y="1125"/>
                </a:cubicBezTo>
                <a:cubicBezTo>
                  <a:pt x="276" y="1125"/>
                  <a:pt x="276" y="1125"/>
                  <a:pt x="276" y="1100"/>
                </a:cubicBezTo>
                <a:cubicBezTo>
                  <a:pt x="325" y="1075"/>
                  <a:pt x="400" y="1025"/>
                  <a:pt x="476" y="1050"/>
                </a:cubicBezTo>
                <a:cubicBezTo>
                  <a:pt x="525" y="1075"/>
                  <a:pt x="600" y="1025"/>
                  <a:pt x="625" y="1075"/>
                </a:cubicBezTo>
                <a:cubicBezTo>
                  <a:pt x="650" y="1125"/>
                  <a:pt x="625" y="1175"/>
                  <a:pt x="625" y="1225"/>
                </a:cubicBezTo>
                <a:cubicBezTo>
                  <a:pt x="650" y="1250"/>
                  <a:pt x="576" y="1250"/>
                  <a:pt x="525" y="1250"/>
                </a:cubicBezTo>
                <a:cubicBezTo>
                  <a:pt x="500" y="1225"/>
                  <a:pt x="400" y="1250"/>
                  <a:pt x="425" y="1275"/>
                </a:cubicBezTo>
                <a:cubicBezTo>
                  <a:pt x="425" y="1300"/>
                  <a:pt x="450" y="1375"/>
                  <a:pt x="400" y="1325"/>
                </a:cubicBezTo>
                <a:cubicBezTo>
                  <a:pt x="350" y="1300"/>
                  <a:pt x="325" y="1375"/>
                  <a:pt x="350" y="1375"/>
                </a:cubicBezTo>
                <a:cubicBezTo>
                  <a:pt x="400" y="1375"/>
                  <a:pt x="425" y="1400"/>
                  <a:pt x="425" y="1425"/>
                </a:cubicBezTo>
                <a:cubicBezTo>
                  <a:pt x="425" y="1450"/>
                  <a:pt x="425" y="1500"/>
                  <a:pt x="450" y="1500"/>
                </a:cubicBezTo>
                <a:cubicBezTo>
                  <a:pt x="500" y="1500"/>
                  <a:pt x="500" y="1550"/>
                  <a:pt x="525" y="1525"/>
                </a:cubicBezTo>
                <a:cubicBezTo>
                  <a:pt x="576" y="1525"/>
                  <a:pt x="600" y="1550"/>
                  <a:pt x="576" y="1575"/>
                </a:cubicBezTo>
                <a:cubicBezTo>
                  <a:pt x="550" y="1625"/>
                  <a:pt x="600" y="1725"/>
                  <a:pt x="600" y="1700"/>
                </a:cubicBezTo>
                <a:cubicBezTo>
                  <a:pt x="600" y="1675"/>
                  <a:pt x="600" y="1650"/>
                  <a:pt x="625" y="1625"/>
                </a:cubicBezTo>
                <a:cubicBezTo>
                  <a:pt x="600" y="1575"/>
                  <a:pt x="676" y="1575"/>
                  <a:pt x="700" y="1575"/>
                </a:cubicBezTo>
                <a:cubicBezTo>
                  <a:pt x="750" y="1575"/>
                  <a:pt x="801" y="1625"/>
                  <a:pt x="825" y="1675"/>
                </a:cubicBezTo>
                <a:cubicBezTo>
                  <a:pt x="850" y="1725"/>
                  <a:pt x="901" y="1675"/>
                  <a:pt x="901" y="1675"/>
                </a:cubicBezTo>
                <a:cubicBezTo>
                  <a:pt x="901" y="1275"/>
                  <a:pt x="901" y="1275"/>
                  <a:pt x="901" y="1275"/>
                </a:cubicBezTo>
                <a:cubicBezTo>
                  <a:pt x="1150" y="1200"/>
                  <a:pt x="1150" y="1200"/>
                  <a:pt x="1150" y="1200"/>
                </a:cubicBezTo>
                <a:lnTo>
                  <a:pt x="1150" y="1200"/>
                </a:lnTo>
                <a:cubicBezTo>
                  <a:pt x="1176" y="1150"/>
                  <a:pt x="1225" y="1175"/>
                  <a:pt x="1225" y="1200"/>
                </a:cubicBezTo>
                <a:cubicBezTo>
                  <a:pt x="1250" y="1200"/>
                  <a:pt x="1250" y="1150"/>
                  <a:pt x="1275" y="1150"/>
                </a:cubicBezTo>
                <a:cubicBezTo>
                  <a:pt x="1301" y="1150"/>
                  <a:pt x="1275" y="1200"/>
                  <a:pt x="1301" y="1200"/>
                </a:cubicBezTo>
                <a:cubicBezTo>
                  <a:pt x="1325" y="1200"/>
                  <a:pt x="1350" y="1275"/>
                  <a:pt x="1350" y="1325"/>
                </a:cubicBezTo>
                <a:cubicBezTo>
                  <a:pt x="1376" y="1350"/>
                  <a:pt x="1450" y="1425"/>
                  <a:pt x="1450" y="1450"/>
                </a:cubicBezTo>
                <a:cubicBezTo>
                  <a:pt x="1476" y="1475"/>
                  <a:pt x="1550" y="1425"/>
                  <a:pt x="1576" y="1450"/>
                </a:cubicBezTo>
                <a:cubicBezTo>
                  <a:pt x="1601" y="1450"/>
                  <a:pt x="1750" y="1450"/>
                  <a:pt x="1776" y="1450"/>
                </a:cubicBezTo>
                <a:cubicBezTo>
                  <a:pt x="1801" y="1450"/>
                  <a:pt x="1826" y="1500"/>
                  <a:pt x="1850" y="1500"/>
                </a:cubicBezTo>
                <a:cubicBezTo>
                  <a:pt x="1876" y="1500"/>
                  <a:pt x="1850" y="1550"/>
                  <a:pt x="1876" y="1600"/>
                </a:cubicBezTo>
                <a:cubicBezTo>
                  <a:pt x="1876" y="1625"/>
                  <a:pt x="1926" y="1650"/>
                  <a:pt x="1926" y="1700"/>
                </a:cubicBezTo>
                <a:cubicBezTo>
                  <a:pt x="1926" y="1725"/>
                  <a:pt x="1976" y="1700"/>
                  <a:pt x="2001" y="1700"/>
                </a:cubicBezTo>
                <a:cubicBezTo>
                  <a:pt x="2026" y="1725"/>
                  <a:pt x="2076" y="1725"/>
                  <a:pt x="2076" y="1750"/>
                </a:cubicBezTo>
                <a:cubicBezTo>
                  <a:pt x="2076" y="1800"/>
                  <a:pt x="2126" y="1775"/>
                  <a:pt x="2126" y="1750"/>
                </a:cubicBezTo>
                <a:cubicBezTo>
                  <a:pt x="2126" y="1725"/>
                  <a:pt x="2150" y="1700"/>
                  <a:pt x="2226" y="1675"/>
                </a:cubicBezTo>
                <a:cubicBezTo>
                  <a:pt x="2250" y="1650"/>
                  <a:pt x="2250" y="1650"/>
                  <a:pt x="2276" y="1675"/>
                </a:cubicBezTo>
                <a:cubicBezTo>
                  <a:pt x="2276" y="1650"/>
                  <a:pt x="2301" y="1625"/>
                  <a:pt x="2301" y="1625"/>
                </a:cubicBezTo>
                <a:cubicBezTo>
                  <a:pt x="2326" y="1600"/>
                  <a:pt x="2350" y="1575"/>
                  <a:pt x="2350" y="1550"/>
                </a:cubicBezTo>
                <a:cubicBezTo>
                  <a:pt x="2350" y="1525"/>
                  <a:pt x="2426" y="1525"/>
                  <a:pt x="2476" y="1550"/>
                </a:cubicBezTo>
                <a:cubicBezTo>
                  <a:pt x="2526" y="1575"/>
                  <a:pt x="2575" y="1575"/>
                  <a:pt x="2575" y="1525"/>
                </a:cubicBezTo>
                <a:cubicBezTo>
                  <a:pt x="2575" y="1500"/>
                  <a:pt x="2651" y="1475"/>
                  <a:pt x="2676" y="1500"/>
                </a:cubicBezTo>
                <a:cubicBezTo>
                  <a:pt x="2701" y="1500"/>
                  <a:pt x="2751" y="1550"/>
                  <a:pt x="2801" y="1525"/>
                </a:cubicBezTo>
                <a:cubicBezTo>
                  <a:pt x="2826" y="1525"/>
                  <a:pt x="3001" y="1525"/>
                  <a:pt x="3026" y="1550"/>
                </a:cubicBezTo>
                <a:cubicBezTo>
                  <a:pt x="3076" y="1550"/>
                  <a:pt x="3076" y="1525"/>
                  <a:pt x="3126" y="1575"/>
                </a:cubicBezTo>
                <a:cubicBezTo>
                  <a:pt x="3151" y="1600"/>
                  <a:pt x="3176" y="1575"/>
                  <a:pt x="3201" y="1600"/>
                </a:cubicBezTo>
                <a:cubicBezTo>
                  <a:pt x="3201" y="1600"/>
                  <a:pt x="3201" y="1575"/>
                  <a:pt x="3201" y="1550"/>
                </a:cubicBezTo>
                <a:cubicBezTo>
                  <a:pt x="3201" y="1525"/>
                  <a:pt x="3251" y="1500"/>
                  <a:pt x="3251" y="1500"/>
                </a:cubicBezTo>
                <a:cubicBezTo>
                  <a:pt x="3251" y="1475"/>
                  <a:pt x="3201" y="1400"/>
                  <a:pt x="3201" y="1375"/>
                </a:cubicBezTo>
                <a:cubicBezTo>
                  <a:pt x="3201" y="1375"/>
                  <a:pt x="3201" y="1325"/>
                  <a:pt x="3201" y="1300"/>
                </a:cubicBezTo>
                <a:cubicBezTo>
                  <a:pt x="3176" y="1300"/>
                  <a:pt x="3226" y="1275"/>
                  <a:pt x="3251" y="1275"/>
                </a:cubicBezTo>
                <a:cubicBezTo>
                  <a:pt x="3276" y="1275"/>
                  <a:pt x="3326" y="1225"/>
                  <a:pt x="3326" y="1250"/>
                </a:cubicBezTo>
                <a:cubicBezTo>
                  <a:pt x="3351" y="1275"/>
                  <a:pt x="3376" y="1275"/>
                  <a:pt x="3401" y="1275"/>
                </a:cubicBezTo>
                <a:cubicBezTo>
                  <a:pt x="3426" y="1275"/>
                  <a:pt x="3426" y="1225"/>
                  <a:pt x="3401" y="1225"/>
                </a:cubicBezTo>
                <a:cubicBezTo>
                  <a:pt x="3376" y="1200"/>
                  <a:pt x="3451" y="1075"/>
                  <a:pt x="3451" y="1050"/>
                </a:cubicBezTo>
                <a:cubicBezTo>
                  <a:pt x="3476" y="1000"/>
                  <a:pt x="3501" y="1050"/>
                  <a:pt x="3526" y="1050"/>
                </a:cubicBezTo>
                <a:cubicBezTo>
                  <a:pt x="3551" y="1050"/>
                  <a:pt x="3601" y="1050"/>
                  <a:pt x="3601" y="1050"/>
                </a:cubicBezTo>
                <a:cubicBezTo>
                  <a:pt x="3626" y="1050"/>
                  <a:pt x="3676" y="1050"/>
                  <a:pt x="3701" y="1025"/>
                </a:cubicBezTo>
                <a:cubicBezTo>
                  <a:pt x="3701" y="1000"/>
                  <a:pt x="3676" y="1000"/>
                  <a:pt x="3676" y="950"/>
                </a:cubicBezTo>
                <a:cubicBezTo>
                  <a:pt x="3676" y="900"/>
                  <a:pt x="3726" y="875"/>
                  <a:pt x="3751" y="875"/>
                </a:cubicBezTo>
                <a:cubicBezTo>
                  <a:pt x="3776" y="875"/>
                  <a:pt x="3776" y="850"/>
                  <a:pt x="3776" y="825"/>
                </a:cubicBezTo>
                <a:cubicBezTo>
                  <a:pt x="3776" y="800"/>
                  <a:pt x="3801" y="775"/>
                  <a:pt x="3826" y="749"/>
                </a:cubicBezTo>
                <a:cubicBezTo>
                  <a:pt x="3801" y="749"/>
                  <a:pt x="3801" y="725"/>
                  <a:pt x="3801" y="725"/>
                </a:cubicBezTo>
                <a:close/>
                <a:moveTo>
                  <a:pt x="1425" y="1125"/>
                </a:moveTo>
                <a:lnTo>
                  <a:pt x="1425" y="1125"/>
                </a:lnTo>
                <a:cubicBezTo>
                  <a:pt x="1401" y="1150"/>
                  <a:pt x="1301" y="1125"/>
                  <a:pt x="1301" y="1100"/>
                </a:cubicBezTo>
                <a:cubicBezTo>
                  <a:pt x="1275" y="1075"/>
                  <a:pt x="1450" y="1100"/>
                  <a:pt x="1425" y="1125"/>
                </a:cubicBezTo>
                <a:close/>
                <a:moveTo>
                  <a:pt x="3001" y="1125"/>
                </a:moveTo>
                <a:lnTo>
                  <a:pt x="3001" y="1125"/>
                </a:lnTo>
                <a:cubicBezTo>
                  <a:pt x="2926" y="1125"/>
                  <a:pt x="2751" y="1075"/>
                  <a:pt x="2676" y="1150"/>
                </a:cubicBezTo>
                <a:cubicBezTo>
                  <a:pt x="2601" y="1225"/>
                  <a:pt x="2651" y="1275"/>
                  <a:pt x="2626" y="1275"/>
                </a:cubicBezTo>
                <a:cubicBezTo>
                  <a:pt x="2601" y="1275"/>
                  <a:pt x="2575" y="1175"/>
                  <a:pt x="2626" y="1125"/>
                </a:cubicBezTo>
                <a:cubicBezTo>
                  <a:pt x="2651" y="1075"/>
                  <a:pt x="2775" y="1075"/>
                  <a:pt x="2851" y="1100"/>
                </a:cubicBezTo>
                <a:cubicBezTo>
                  <a:pt x="2926" y="1100"/>
                  <a:pt x="3076" y="1075"/>
                  <a:pt x="3101" y="1075"/>
                </a:cubicBezTo>
                <a:cubicBezTo>
                  <a:pt x="3126" y="1075"/>
                  <a:pt x="3076" y="1125"/>
                  <a:pt x="3001" y="1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1" name="Freeform 157">
            <a:extLst>
              <a:ext uri="{FF2B5EF4-FFF2-40B4-BE49-F238E27FC236}">
                <a16:creationId xmlns:a16="http://schemas.microsoft.com/office/drawing/2014/main" id="{1E4842C9-AAD9-804D-AA56-B77A7C2E68A9}"/>
              </a:ext>
            </a:extLst>
          </p:cNvPr>
          <p:cNvSpPr>
            <a:spLocks noChangeArrowheads="1"/>
          </p:cNvSpPr>
          <p:nvPr/>
        </p:nvSpPr>
        <p:spPr bwMode="auto">
          <a:xfrm>
            <a:off x="6347719" y="1551335"/>
            <a:ext cx="5120124" cy="1970144"/>
          </a:xfrm>
          <a:custGeom>
            <a:avLst/>
            <a:gdLst>
              <a:gd name="T0" fmla="*/ 7676 w 16054"/>
              <a:gd name="T1" fmla="*/ 750 h 6177"/>
              <a:gd name="T2" fmla="*/ 7426 w 16054"/>
              <a:gd name="T3" fmla="*/ 550 h 6177"/>
              <a:gd name="T4" fmla="*/ 6902 w 16054"/>
              <a:gd name="T5" fmla="*/ 175 h 6177"/>
              <a:gd name="T6" fmla="*/ 12052 w 16054"/>
              <a:gd name="T7" fmla="*/ 1300 h 6177"/>
              <a:gd name="T8" fmla="*/ 11027 w 16054"/>
              <a:gd name="T9" fmla="*/ 1350 h 6177"/>
              <a:gd name="T10" fmla="*/ 11477 w 16054"/>
              <a:gd name="T11" fmla="*/ 1601 h 6177"/>
              <a:gd name="T12" fmla="*/ 2425 w 16054"/>
              <a:gd name="T13" fmla="*/ 225 h 6177"/>
              <a:gd name="T14" fmla="*/ 11652 w 16054"/>
              <a:gd name="T15" fmla="*/ 5276 h 6177"/>
              <a:gd name="T16" fmla="*/ 15553 w 16054"/>
              <a:gd name="T17" fmla="*/ 2826 h 6177"/>
              <a:gd name="T18" fmla="*/ 14003 w 16054"/>
              <a:gd name="T19" fmla="*/ 2350 h 6177"/>
              <a:gd name="T20" fmla="*/ 12252 w 16054"/>
              <a:gd name="T21" fmla="*/ 2025 h 6177"/>
              <a:gd name="T22" fmla="*/ 11177 w 16054"/>
              <a:gd name="T23" fmla="*/ 1901 h 6177"/>
              <a:gd name="T24" fmla="*/ 10227 w 16054"/>
              <a:gd name="T25" fmla="*/ 2001 h 6177"/>
              <a:gd name="T26" fmla="*/ 9627 w 16054"/>
              <a:gd name="T27" fmla="*/ 1750 h 6177"/>
              <a:gd name="T28" fmla="*/ 8327 w 16054"/>
              <a:gd name="T29" fmla="*/ 1650 h 6177"/>
              <a:gd name="T30" fmla="*/ 8676 w 16054"/>
              <a:gd name="T31" fmla="*/ 1150 h 6177"/>
              <a:gd name="T32" fmla="*/ 7727 w 16054"/>
              <a:gd name="T33" fmla="*/ 850 h 6177"/>
              <a:gd name="T34" fmla="*/ 6951 w 16054"/>
              <a:gd name="T35" fmla="*/ 1200 h 6177"/>
              <a:gd name="T36" fmla="*/ 6376 w 16054"/>
              <a:gd name="T37" fmla="*/ 1550 h 6177"/>
              <a:gd name="T38" fmla="*/ 5551 w 16054"/>
              <a:gd name="T39" fmla="*/ 1901 h 6177"/>
              <a:gd name="T40" fmla="*/ 5151 w 16054"/>
              <a:gd name="T41" fmla="*/ 2301 h 6177"/>
              <a:gd name="T42" fmla="*/ 5100 w 16054"/>
              <a:gd name="T43" fmla="*/ 2775 h 6177"/>
              <a:gd name="T44" fmla="*/ 5100 w 16054"/>
              <a:gd name="T45" fmla="*/ 2526 h 6177"/>
              <a:gd name="T46" fmla="*/ 4526 w 16054"/>
              <a:gd name="T47" fmla="*/ 2201 h 6177"/>
              <a:gd name="T48" fmla="*/ 3875 w 16054"/>
              <a:gd name="T49" fmla="*/ 2350 h 6177"/>
              <a:gd name="T50" fmla="*/ 3075 w 16054"/>
              <a:gd name="T51" fmla="*/ 2500 h 6177"/>
              <a:gd name="T52" fmla="*/ 2300 w 16054"/>
              <a:gd name="T53" fmla="*/ 2726 h 6177"/>
              <a:gd name="T54" fmla="*/ 1700 w 16054"/>
              <a:gd name="T55" fmla="*/ 3150 h 6177"/>
              <a:gd name="T56" fmla="*/ 1750 w 16054"/>
              <a:gd name="T57" fmla="*/ 2875 h 6177"/>
              <a:gd name="T58" fmla="*/ 1075 w 16054"/>
              <a:gd name="T59" fmla="*/ 2275 h 6177"/>
              <a:gd name="T60" fmla="*/ 975 w 16054"/>
              <a:gd name="T61" fmla="*/ 3126 h 6177"/>
              <a:gd name="T62" fmla="*/ 725 w 16054"/>
              <a:gd name="T63" fmla="*/ 4026 h 6177"/>
              <a:gd name="T64" fmla="*/ 1175 w 16054"/>
              <a:gd name="T65" fmla="*/ 4726 h 6177"/>
              <a:gd name="T66" fmla="*/ 1775 w 16054"/>
              <a:gd name="T67" fmla="*/ 5126 h 6177"/>
              <a:gd name="T68" fmla="*/ 1600 w 16054"/>
              <a:gd name="T69" fmla="*/ 5701 h 6177"/>
              <a:gd name="T70" fmla="*/ 2601 w 16054"/>
              <a:gd name="T71" fmla="*/ 5951 h 6177"/>
              <a:gd name="T72" fmla="*/ 2725 w 16054"/>
              <a:gd name="T73" fmla="*/ 5151 h 6177"/>
              <a:gd name="T74" fmla="*/ 3750 w 16054"/>
              <a:gd name="T75" fmla="*/ 5026 h 6177"/>
              <a:gd name="T76" fmla="*/ 4351 w 16054"/>
              <a:gd name="T77" fmla="*/ 4551 h 6177"/>
              <a:gd name="T78" fmla="*/ 5351 w 16054"/>
              <a:gd name="T79" fmla="*/ 4575 h 6177"/>
              <a:gd name="T80" fmla="*/ 6426 w 16054"/>
              <a:gd name="T81" fmla="*/ 5226 h 6177"/>
              <a:gd name="T82" fmla="*/ 7351 w 16054"/>
              <a:gd name="T83" fmla="*/ 4901 h 6177"/>
              <a:gd name="T84" fmla="*/ 8502 w 16054"/>
              <a:gd name="T85" fmla="*/ 5226 h 6177"/>
              <a:gd name="T86" fmla="*/ 9652 w 16054"/>
              <a:gd name="T87" fmla="*/ 4701 h 6177"/>
              <a:gd name="T88" fmla="*/ 10727 w 16054"/>
              <a:gd name="T89" fmla="*/ 5476 h 6177"/>
              <a:gd name="T90" fmla="*/ 11327 w 16054"/>
              <a:gd name="T91" fmla="*/ 5051 h 6177"/>
              <a:gd name="T92" fmla="*/ 10952 w 16054"/>
              <a:gd name="T93" fmla="*/ 4551 h 6177"/>
              <a:gd name="T94" fmla="*/ 12328 w 16054"/>
              <a:gd name="T95" fmla="*/ 3875 h 6177"/>
              <a:gd name="T96" fmla="*/ 13153 w 16054"/>
              <a:gd name="T97" fmla="*/ 3650 h 6177"/>
              <a:gd name="T98" fmla="*/ 12877 w 16054"/>
              <a:gd name="T99" fmla="*/ 4126 h 6177"/>
              <a:gd name="T100" fmla="*/ 13477 w 16054"/>
              <a:gd name="T101" fmla="*/ 4351 h 6177"/>
              <a:gd name="T102" fmla="*/ 14328 w 16054"/>
              <a:gd name="T103" fmla="*/ 3701 h 6177"/>
              <a:gd name="T104" fmla="*/ 14978 w 16054"/>
              <a:gd name="T105" fmla="*/ 3126 h 6177"/>
              <a:gd name="T106" fmla="*/ 15753 w 16054"/>
              <a:gd name="T107" fmla="*/ 3126 h 6177"/>
              <a:gd name="T108" fmla="*/ 8251 w 16054"/>
              <a:gd name="T109" fmla="*/ 4601 h 6177"/>
              <a:gd name="T110" fmla="*/ 2825 w 16054"/>
              <a:gd name="T111" fmla="*/ 200 h 6177"/>
              <a:gd name="T112" fmla="*/ 3575 w 16054"/>
              <a:gd name="T113" fmla="*/ 1625 h 6177"/>
              <a:gd name="T114" fmla="*/ 3426 w 16054"/>
              <a:gd name="T115" fmla="*/ 1425 h 6177"/>
              <a:gd name="T116" fmla="*/ 3750 w 16054"/>
              <a:gd name="T117" fmla="*/ 50 h 6177"/>
              <a:gd name="T118" fmla="*/ 3450 w 16054"/>
              <a:gd name="T119" fmla="*/ 100 h 6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54" h="6177">
                <a:moveTo>
                  <a:pt x="250" y="4451"/>
                </a:moveTo>
                <a:lnTo>
                  <a:pt x="250" y="4451"/>
                </a:lnTo>
                <a:cubicBezTo>
                  <a:pt x="225" y="4475"/>
                  <a:pt x="200" y="4451"/>
                  <a:pt x="200" y="4451"/>
                </a:cubicBezTo>
                <a:cubicBezTo>
                  <a:pt x="174" y="4426"/>
                  <a:pt x="150" y="4426"/>
                  <a:pt x="125" y="4426"/>
                </a:cubicBezTo>
                <a:cubicBezTo>
                  <a:pt x="125" y="4451"/>
                  <a:pt x="150" y="4451"/>
                  <a:pt x="150" y="4451"/>
                </a:cubicBezTo>
                <a:cubicBezTo>
                  <a:pt x="150" y="4475"/>
                  <a:pt x="100" y="4475"/>
                  <a:pt x="125" y="4501"/>
                </a:cubicBezTo>
                <a:cubicBezTo>
                  <a:pt x="125" y="4526"/>
                  <a:pt x="74" y="4526"/>
                  <a:pt x="74" y="4501"/>
                </a:cubicBezTo>
                <a:cubicBezTo>
                  <a:pt x="74" y="4475"/>
                  <a:pt x="0" y="4475"/>
                  <a:pt x="0" y="4501"/>
                </a:cubicBezTo>
                <a:lnTo>
                  <a:pt x="0" y="4526"/>
                </a:lnTo>
                <a:cubicBezTo>
                  <a:pt x="25" y="4526"/>
                  <a:pt x="50" y="4551"/>
                  <a:pt x="50" y="4551"/>
                </a:cubicBezTo>
                <a:cubicBezTo>
                  <a:pt x="50" y="4551"/>
                  <a:pt x="225" y="4575"/>
                  <a:pt x="300" y="4551"/>
                </a:cubicBezTo>
                <a:lnTo>
                  <a:pt x="300" y="4501"/>
                </a:lnTo>
                <a:cubicBezTo>
                  <a:pt x="300" y="4475"/>
                  <a:pt x="250" y="4451"/>
                  <a:pt x="250" y="4451"/>
                </a:cubicBezTo>
                <a:close/>
                <a:moveTo>
                  <a:pt x="7426" y="775"/>
                </a:moveTo>
                <a:lnTo>
                  <a:pt x="7426" y="775"/>
                </a:lnTo>
                <a:cubicBezTo>
                  <a:pt x="7476" y="800"/>
                  <a:pt x="7602" y="750"/>
                  <a:pt x="7676" y="750"/>
                </a:cubicBezTo>
                <a:cubicBezTo>
                  <a:pt x="7751" y="750"/>
                  <a:pt x="8002" y="700"/>
                  <a:pt x="8002" y="650"/>
                </a:cubicBezTo>
                <a:cubicBezTo>
                  <a:pt x="8002" y="600"/>
                  <a:pt x="7927" y="600"/>
                  <a:pt x="7876" y="575"/>
                </a:cubicBezTo>
                <a:cubicBezTo>
                  <a:pt x="7851" y="525"/>
                  <a:pt x="7776" y="550"/>
                  <a:pt x="7751" y="600"/>
                </a:cubicBezTo>
                <a:cubicBezTo>
                  <a:pt x="7727" y="625"/>
                  <a:pt x="7702" y="600"/>
                  <a:pt x="7751" y="550"/>
                </a:cubicBezTo>
                <a:cubicBezTo>
                  <a:pt x="7802" y="500"/>
                  <a:pt x="7702" y="450"/>
                  <a:pt x="7702" y="475"/>
                </a:cubicBezTo>
                <a:cubicBezTo>
                  <a:pt x="7702" y="525"/>
                  <a:pt x="7602" y="475"/>
                  <a:pt x="7602" y="525"/>
                </a:cubicBezTo>
                <a:cubicBezTo>
                  <a:pt x="7602" y="550"/>
                  <a:pt x="7576" y="550"/>
                  <a:pt x="7576" y="600"/>
                </a:cubicBezTo>
                <a:cubicBezTo>
                  <a:pt x="7576" y="625"/>
                  <a:pt x="7502" y="575"/>
                  <a:pt x="7502" y="650"/>
                </a:cubicBezTo>
                <a:cubicBezTo>
                  <a:pt x="7502" y="725"/>
                  <a:pt x="7402" y="750"/>
                  <a:pt x="7426" y="775"/>
                </a:cubicBezTo>
                <a:close/>
                <a:moveTo>
                  <a:pt x="7002" y="375"/>
                </a:moveTo>
                <a:lnTo>
                  <a:pt x="7002" y="375"/>
                </a:lnTo>
                <a:cubicBezTo>
                  <a:pt x="7002" y="425"/>
                  <a:pt x="6902" y="450"/>
                  <a:pt x="6926" y="475"/>
                </a:cubicBezTo>
                <a:cubicBezTo>
                  <a:pt x="6951" y="500"/>
                  <a:pt x="6976" y="475"/>
                  <a:pt x="7002" y="500"/>
                </a:cubicBezTo>
                <a:cubicBezTo>
                  <a:pt x="7026" y="500"/>
                  <a:pt x="7051" y="575"/>
                  <a:pt x="7102" y="550"/>
                </a:cubicBezTo>
                <a:cubicBezTo>
                  <a:pt x="7151" y="550"/>
                  <a:pt x="7276" y="600"/>
                  <a:pt x="7376" y="600"/>
                </a:cubicBezTo>
                <a:cubicBezTo>
                  <a:pt x="7451" y="600"/>
                  <a:pt x="7451" y="550"/>
                  <a:pt x="7426" y="550"/>
                </a:cubicBezTo>
                <a:cubicBezTo>
                  <a:pt x="7402" y="525"/>
                  <a:pt x="7426" y="500"/>
                  <a:pt x="7476" y="425"/>
                </a:cubicBezTo>
                <a:cubicBezTo>
                  <a:pt x="7526" y="375"/>
                  <a:pt x="7326" y="325"/>
                  <a:pt x="7326" y="375"/>
                </a:cubicBezTo>
                <a:cubicBezTo>
                  <a:pt x="7326" y="425"/>
                  <a:pt x="7276" y="350"/>
                  <a:pt x="7251" y="325"/>
                </a:cubicBezTo>
                <a:cubicBezTo>
                  <a:pt x="7251" y="300"/>
                  <a:pt x="7002" y="350"/>
                  <a:pt x="7002" y="375"/>
                </a:cubicBezTo>
                <a:close/>
                <a:moveTo>
                  <a:pt x="6851" y="300"/>
                </a:moveTo>
                <a:lnTo>
                  <a:pt x="6851" y="300"/>
                </a:lnTo>
                <a:cubicBezTo>
                  <a:pt x="6902" y="325"/>
                  <a:pt x="6876" y="350"/>
                  <a:pt x="6826" y="350"/>
                </a:cubicBezTo>
                <a:cubicBezTo>
                  <a:pt x="6776" y="350"/>
                  <a:pt x="6726" y="350"/>
                  <a:pt x="6776" y="375"/>
                </a:cubicBezTo>
                <a:cubicBezTo>
                  <a:pt x="6801" y="400"/>
                  <a:pt x="6801" y="425"/>
                  <a:pt x="6851" y="425"/>
                </a:cubicBezTo>
                <a:cubicBezTo>
                  <a:pt x="6902" y="450"/>
                  <a:pt x="6976" y="400"/>
                  <a:pt x="6951" y="375"/>
                </a:cubicBezTo>
                <a:cubicBezTo>
                  <a:pt x="6951" y="325"/>
                  <a:pt x="7151" y="300"/>
                  <a:pt x="7226" y="300"/>
                </a:cubicBezTo>
                <a:cubicBezTo>
                  <a:pt x="7276" y="275"/>
                  <a:pt x="7176" y="225"/>
                  <a:pt x="7251" y="200"/>
                </a:cubicBezTo>
                <a:cubicBezTo>
                  <a:pt x="7302" y="200"/>
                  <a:pt x="7276" y="175"/>
                  <a:pt x="7202" y="175"/>
                </a:cubicBezTo>
                <a:cubicBezTo>
                  <a:pt x="7126" y="150"/>
                  <a:pt x="7151" y="100"/>
                  <a:pt x="7126" y="75"/>
                </a:cubicBezTo>
                <a:cubicBezTo>
                  <a:pt x="7102" y="50"/>
                  <a:pt x="7102" y="100"/>
                  <a:pt x="7002" y="125"/>
                </a:cubicBezTo>
                <a:cubicBezTo>
                  <a:pt x="6902" y="125"/>
                  <a:pt x="6851" y="150"/>
                  <a:pt x="6902" y="175"/>
                </a:cubicBezTo>
                <a:cubicBezTo>
                  <a:pt x="6926" y="200"/>
                  <a:pt x="6902" y="250"/>
                  <a:pt x="6851" y="250"/>
                </a:cubicBezTo>
                <a:cubicBezTo>
                  <a:pt x="6801" y="250"/>
                  <a:pt x="6801" y="275"/>
                  <a:pt x="6851" y="300"/>
                </a:cubicBezTo>
                <a:close/>
                <a:moveTo>
                  <a:pt x="5601" y="1775"/>
                </a:moveTo>
                <a:lnTo>
                  <a:pt x="5601" y="1775"/>
                </a:lnTo>
                <a:cubicBezTo>
                  <a:pt x="5651" y="1801"/>
                  <a:pt x="5701" y="1775"/>
                  <a:pt x="5676" y="1750"/>
                </a:cubicBezTo>
                <a:cubicBezTo>
                  <a:pt x="5676" y="1701"/>
                  <a:pt x="5576" y="1750"/>
                  <a:pt x="5601" y="1775"/>
                </a:cubicBezTo>
                <a:close/>
                <a:moveTo>
                  <a:pt x="6776" y="100"/>
                </a:moveTo>
                <a:lnTo>
                  <a:pt x="6776" y="100"/>
                </a:lnTo>
                <a:cubicBezTo>
                  <a:pt x="6801" y="75"/>
                  <a:pt x="6601" y="75"/>
                  <a:pt x="6651" y="125"/>
                </a:cubicBezTo>
                <a:cubicBezTo>
                  <a:pt x="6676" y="150"/>
                  <a:pt x="6776" y="150"/>
                  <a:pt x="6776" y="100"/>
                </a:cubicBezTo>
                <a:close/>
                <a:moveTo>
                  <a:pt x="11852" y="1350"/>
                </a:moveTo>
                <a:lnTo>
                  <a:pt x="11852" y="1350"/>
                </a:lnTo>
                <a:cubicBezTo>
                  <a:pt x="11927" y="1350"/>
                  <a:pt x="11952" y="1425"/>
                  <a:pt x="12077" y="1425"/>
                </a:cubicBezTo>
                <a:cubicBezTo>
                  <a:pt x="12203" y="1425"/>
                  <a:pt x="12303" y="1401"/>
                  <a:pt x="12303" y="1375"/>
                </a:cubicBezTo>
                <a:cubicBezTo>
                  <a:pt x="12303" y="1350"/>
                  <a:pt x="12203" y="1300"/>
                  <a:pt x="12152" y="1325"/>
                </a:cubicBezTo>
                <a:cubicBezTo>
                  <a:pt x="12127" y="1350"/>
                  <a:pt x="12103" y="1300"/>
                  <a:pt x="12052" y="1300"/>
                </a:cubicBezTo>
                <a:cubicBezTo>
                  <a:pt x="12003" y="1325"/>
                  <a:pt x="11952" y="1325"/>
                  <a:pt x="11927" y="1275"/>
                </a:cubicBezTo>
                <a:cubicBezTo>
                  <a:pt x="11903" y="1250"/>
                  <a:pt x="11827" y="1350"/>
                  <a:pt x="11852" y="1350"/>
                </a:cubicBezTo>
                <a:close/>
                <a:moveTo>
                  <a:pt x="14953" y="2125"/>
                </a:moveTo>
                <a:lnTo>
                  <a:pt x="14953" y="2125"/>
                </a:lnTo>
                <a:cubicBezTo>
                  <a:pt x="15003" y="2150"/>
                  <a:pt x="15053" y="2101"/>
                  <a:pt x="15103" y="2125"/>
                </a:cubicBezTo>
                <a:cubicBezTo>
                  <a:pt x="15128" y="2150"/>
                  <a:pt x="15253" y="2101"/>
                  <a:pt x="15278" y="2101"/>
                </a:cubicBezTo>
                <a:cubicBezTo>
                  <a:pt x="15328" y="2101"/>
                  <a:pt x="15303" y="2025"/>
                  <a:pt x="15178" y="2025"/>
                </a:cubicBezTo>
                <a:cubicBezTo>
                  <a:pt x="15053" y="2001"/>
                  <a:pt x="14903" y="2101"/>
                  <a:pt x="14953" y="2125"/>
                </a:cubicBezTo>
                <a:close/>
                <a:moveTo>
                  <a:pt x="4275" y="175"/>
                </a:moveTo>
                <a:lnTo>
                  <a:pt x="4275" y="175"/>
                </a:lnTo>
                <a:cubicBezTo>
                  <a:pt x="4375" y="175"/>
                  <a:pt x="4375" y="125"/>
                  <a:pt x="4301" y="100"/>
                </a:cubicBezTo>
                <a:cubicBezTo>
                  <a:pt x="4251" y="100"/>
                  <a:pt x="4251" y="125"/>
                  <a:pt x="4226" y="125"/>
                </a:cubicBezTo>
                <a:cubicBezTo>
                  <a:pt x="4201" y="125"/>
                  <a:pt x="4075" y="150"/>
                  <a:pt x="4101" y="175"/>
                </a:cubicBezTo>
                <a:cubicBezTo>
                  <a:pt x="4126" y="200"/>
                  <a:pt x="4201" y="200"/>
                  <a:pt x="4275" y="175"/>
                </a:cubicBezTo>
                <a:close/>
                <a:moveTo>
                  <a:pt x="11027" y="1350"/>
                </a:moveTo>
                <a:lnTo>
                  <a:pt x="11027" y="1350"/>
                </a:lnTo>
                <a:cubicBezTo>
                  <a:pt x="11052" y="1375"/>
                  <a:pt x="11077" y="1401"/>
                  <a:pt x="11102" y="1401"/>
                </a:cubicBezTo>
                <a:cubicBezTo>
                  <a:pt x="11102" y="1425"/>
                  <a:pt x="11202" y="1401"/>
                  <a:pt x="11227" y="1401"/>
                </a:cubicBezTo>
                <a:cubicBezTo>
                  <a:pt x="11252" y="1375"/>
                  <a:pt x="11277" y="1450"/>
                  <a:pt x="11327" y="1401"/>
                </a:cubicBezTo>
                <a:cubicBezTo>
                  <a:pt x="11377" y="1375"/>
                  <a:pt x="11427" y="1401"/>
                  <a:pt x="11477" y="1401"/>
                </a:cubicBezTo>
                <a:cubicBezTo>
                  <a:pt x="11552" y="1401"/>
                  <a:pt x="11477" y="1325"/>
                  <a:pt x="11477" y="1275"/>
                </a:cubicBezTo>
                <a:cubicBezTo>
                  <a:pt x="11477" y="1250"/>
                  <a:pt x="11552" y="1275"/>
                  <a:pt x="11527" y="1300"/>
                </a:cubicBezTo>
                <a:cubicBezTo>
                  <a:pt x="11503" y="1325"/>
                  <a:pt x="11552" y="1401"/>
                  <a:pt x="11652" y="1375"/>
                </a:cubicBezTo>
                <a:cubicBezTo>
                  <a:pt x="11727" y="1375"/>
                  <a:pt x="11677" y="1325"/>
                  <a:pt x="11727" y="1300"/>
                </a:cubicBezTo>
                <a:cubicBezTo>
                  <a:pt x="11752" y="1275"/>
                  <a:pt x="11752" y="1250"/>
                  <a:pt x="11703" y="1225"/>
                </a:cubicBezTo>
                <a:cubicBezTo>
                  <a:pt x="11627" y="1175"/>
                  <a:pt x="11552" y="1200"/>
                  <a:pt x="11477" y="1175"/>
                </a:cubicBezTo>
                <a:cubicBezTo>
                  <a:pt x="11427" y="1150"/>
                  <a:pt x="11352" y="1150"/>
                  <a:pt x="11352" y="1225"/>
                </a:cubicBezTo>
                <a:cubicBezTo>
                  <a:pt x="11352" y="1275"/>
                  <a:pt x="11227" y="1150"/>
                  <a:pt x="11177" y="1125"/>
                </a:cubicBezTo>
                <a:cubicBezTo>
                  <a:pt x="11102" y="1100"/>
                  <a:pt x="10927" y="1300"/>
                  <a:pt x="11027" y="1350"/>
                </a:cubicBezTo>
                <a:close/>
                <a:moveTo>
                  <a:pt x="11603" y="1701"/>
                </a:moveTo>
                <a:lnTo>
                  <a:pt x="11603" y="1701"/>
                </a:lnTo>
                <a:cubicBezTo>
                  <a:pt x="11652" y="1701"/>
                  <a:pt x="11552" y="1601"/>
                  <a:pt x="11477" y="1601"/>
                </a:cubicBezTo>
                <a:cubicBezTo>
                  <a:pt x="11377" y="1575"/>
                  <a:pt x="11303" y="1650"/>
                  <a:pt x="11327" y="1650"/>
                </a:cubicBezTo>
                <a:cubicBezTo>
                  <a:pt x="11352" y="1701"/>
                  <a:pt x="11552" y="1725"/>
                  <a:pt x="11603" y="1701"/>
                </a:cubicBezTo>
                <a:close/>
                <a:moveTo>
                  <a:pt x="11377" y="1525"/>
                </a:moveTo>
                <a:lnTo>
                  <a:pt x="11377" y="1525"/>
                </a:lnTo>
                <a:cubicBezTo>
                  <a:pt x="11377" y="1475"/>
                  <a:pt x="11227" y="1525"/>
                  <a:pt x="11277" y="1550"/>
                </a:cubicBezTo>
                <a:cubicBezTo>
                  <a:pt x="11327" y="1575"/>
                  <a:pt x="11377" y="1575"/>
                  <a:pt x="11377" y="1525"/>
                </a:cubicBezTo>
                <a:close/>
                <a:moveTo>
                  <a:pt x="4801" y="1725"/>
                </a:moveTo>
                <a:lnTo>
                  <a:pt x="4801" y="1725"/>
                </a:lnTo>
                <a:cubicBezTo>
                  <a:pt x="4826" y="1725"/>
                  <a:pt x="4926" y="1725"/>
                  <a:pt x="4951" y="1701"/>
                </a:cubicBezTo>
                <a:cubicBezTo>
                  <a:pt x="4951" y="1675"/>
                  <a:pt x="4901" y="1650"/>
                  <a:pt x="4851" y="1650"/>
                </a:cubicBezTo>
                <a:cubicBezTo>
                  <a:pt x="4775" y="1650"/>
                  <a:pt x="4775" y="1725"/>
                  <a:pt x="4801" y="1725"/>
                </a:cubicBezTo>
                <a:close/>
                <a:moveTo>
                  <a:pt x="2575" y="225"/>
                </a:moveTo>
                <a:lnTo>
                  <a:pt x="2575" y="225"/>
                </a:lnTo>
                <a:cubicBezTo>
                  <a:pt x="2650" y="150"/>
                  <a:pt x="2725" y="225"/>
                  <a:pt x="2725" y="200"/>
                </a:cubicBezTo>
                <a:cubicBezTo>
                  <a:pt x="2750" y="150"/>
                  <a:pt x="2625" y="150"/>
                  <a:pt x="2575" y="175"/>
                </a:cubicBezTo>
                <a:cubicBezTo>
                  <a:pt x="2525" y="200"/>
                  <a:pt x="2401" y="175"/>
                  <a:pt x="2425" y="225"/>
                </a:cubicBezTo>
                <a:cubicBezTo>
                  <a:pt x="2425" y="225"/>
                  <a:pt x="2500" y="275"/>
                  <a:pt x="2575" y="225"/>
                </a:cubicBezTo>
                <a:close/>
                <a:moveTo>
                  <a:pt x="11577" y="4926"/>
                </a:moveTo>
                <a:lnTo>
                  <a:pt x="11577" y="4926"/>
                </a:lnTo>
                <a:cubicBezTo>
                  <a:pt x="11552" y="4826"/>
                  <a:pt x="11627" y="4751"/>
                  <a:pt x="11552" y="4726"/>
                </a:cubicBezTo>
                <a:cubicBezTo>
                  <a:pt x="11503" y="4675"/>
                  <a:pt x="11527" y="4575"/>
                  <a:pt x="11503" y="4601"/>
                </a:cubicBezTo>
                <a:cubicBezTo>
                  <a:pt x="11477" y="4626"/>
                  <a:pt x="11503" y="4701"/>
                  <a:pt x="11452" y="4701"/>
                </a:cubicBezTo>
                <a:cubicBezTo>
                  <a:pt x="11403" y="4701"/>
                  <a:pt x="11452" y="4751"/>
                  <a:pt x="11427" y="4801"/>
                </a:cubicBezTo>
                <a:cubicBezTo>
                  <a:pt x="11427" y="4851"/>
                  <a:pt x="11452" y="4951"/>
                  <a:pt x="11477" y="5001"/>
                </a:cubicBezTo>
                <a:cubicBezTo>
                  <a:pt x="11503" y="5051"/>
                  <a:pt x="11427" y="5301"/>
                  <a:pt x="11452" y="5351"/>
                </a:cubicBezTo>
                <a:cubicBezTo>
                  <a:pt x="11477" y="5401"/>
                  <a:pt x="11427" y="5601"/>
                  <a:pt x="11452" y="5626"/>
                </a:cubicBezTo>
                <a:cubicBezTo>
                  <a:pt x="11477" y="5651"/>
                  <a:pt x="11452" y="5551"/>
                  <a:pt x="11503" y="5551"/>
                </a:cubicBezTo>
                <a:cubicBezTo>
                  <a:pt x="11552" y="5551"/>
                  <a:pt x="11552" y="5601"/>
                  <a:pt x="11577" y="5626"/>
                </a:cubicBezTo>
                <a:cubicBezTo>
                  <a:pt x="11627" y="5626"/>
                  <a:pt x="11603" y="5526"/>
                  <a:pt x="11577" y="5551"/>
                </a:cubicBezTo>
                <a:cubicBezTo>
                  <a:pt x="11552" y="5551"/>
                  <a:pt x="11527" y="5476"/>
                  <a:pt x="11503" y="5426"/>
                </a:cubicBezTo>
                <a:cubicBezTo>
                  <a:pt x="11503" y="5376"/>
                  <a:pt x="11527" y="5326"/>
                  <a:pt x="11527" y="5276"/>
                </a:cubicBezTo>
                <a:cubicBezTo>
                  <a:pt x="11527" y="5226"/>
                  <a:pt x="11603" y="5226"/>
                  <a:pt x="11652" y="5276"/>
                </a:cubicBezTo>
                <a:cubicBezTo>
                  <a:pt x="11677" y="5301"/>
                  <a:pt x="11703" y="5276"/>
                  <a:pt x="11677" y="5251"/>
                </a:cubicBezTo>
                <a:cubicBezTo>
                  <a:pt x="11652" y="5226"/>
                  <a:pt x="11603" y="5001"/>
                  <a:pt x="11577" y="4926"/>
                </a:cubicBezTo>
                <a:close/>
                <a:moveTo>
                  <a:pt x="2725" y="2450"/>
                </a:moveTo>
                <a:lnTo>
                  <a:pt x="2725" y="2450"/>
                </a:lnTo>
                <a:cubicBezTo>
                  <a:pt x="2801" y="2500"/>
                  <a:pt x="2850" y="2400"/>
                  <a:pt x="2901" y="2400"/>
                </a:cubicBezTo>
                <a:cubicBezTo>
                  <a:pt x="2925" y="2400"/>
                  <a:pt x="2875" y="2350"/>
                  <a:pt x="2801" y="2350"/>
                </a:cubicBezTo>
                <a:cubicBezTo>
                  <a:pt x="2750" y="2325"/>
                  <a:pt x="2650" y="2375"/>
                  <a:pt x="2725" y="2450"/>
                </a:cubicBezTo>
                <a:close/>
                <a:moveTo>
                  <a:pt x="16028" y="2901"/>
                </a:moveTo>
                <a:lnTo>
                  <a:pt x="16028" y="2901"/>
                </a:lnTo>
                <a:cubicBezTo>
                  <a:pt x="16004" y="2901"/>
                  <a:pt x="15904" y="2850"/>
                  <a:pt x="15878" y="2826"/>
                </a:cubicBezTo>
                <a:cubicBezTo>
                  <a:pt x="15878" y="2775"/>
                  <a:pt x="15753" y="2775"/>
                  <a:pt x="15753" y="2775"/>
                </a:cubicBezTo>
                <a:cubicBezTo>
                  <a:pt x="15753" y="2801"/>
                  <a:pt x="15728" y="2775"/>
                  <a:pt x="15728" y="2750"/>
                </a:cubicBezTo>
                <a:cubicBezTo>
                  <a:pt x="15703" y="2750"/>
                  <a:pt x="15603" y="2750"/>
                  <a:pt x="15603" y="2750"/>
                </a:cubicBezTo>
                <a:cubicBezTo>
                  <a:pt x="15603" y="2775"/>
                  <a:pt x="15628" y="2775"/>
                  <a:pt x="15628" y="2801"/>
                </a:cubicBezTo>
                <a:cubicBezTo>
                  <a:pt x="15653" y="2826"/>
                  <a:pt x="15603" y="2826"/>
                  <a:pt x="15628" y="2850"/>
                </a:cubicBezTo>
                <a:cubicBezTo>
                  <a:pt x="15628" y="2875"/>
                  <a:pt x="15578" y="2850"/>
                  <a:pt x="15553" y="2826"/>
                </a:cubicBezTo>
                <a:cubicBezTo>
                  <a:pt x="15553" y="2826"/>
                  <a:pt x="15553" y="2775"/>
                  <a:pt x="15553" y="2750"/>
                </a:cubicBezTo>
                <a:cubicBezTo>
                  <a:pt x="15553" y="2701"/>
                  <a:pt x="15528" y="2726"/>
                  <a:pt x="15528" y="2701"/>
                </a:cubicBezTo>
                <a:cubicBezTo>
                  <a:pt x="15528" y="2650"/>
                  <a:pt x="15403" y="2601"/>
                  <a:pt x="15353" y="2575"/>
                </a:cubicBezTo>
                <a:cubicBezTo>
                  <a:pt x="15278" y="2550"/>
                  <a:pt x="15228" y="2550"/>
                  <a:pt x="15203" y="2526"/>
                </a:cubicBezTo>
                <a:cubicBezTo>
                  <a:pt x="15178" y="2475"/>
                  <a:pt x="15078" y="2475"/>
                  <a:pt x="15053" y="2450"/>
                </a:cubicBezTo>
                <a:cubicBezTo>
                  <a:pt x="15028" y="2400"/>
                  <a:pt x="14853" y="2350"/>
                  <a:pt x="14803" y="2325"/>
                </a:cubicBezTo>
                <a:cubicBezTo>
                  <a:pt x="14728" y="2325"/>
                  <a:pt x="14728" y="2301"/>
                  <a:pt x="14703" y="2301"/>
                </a:cubicBezTo>
                <a:cubicBezTo>
                  <a:pt x="14678" y="2301"/>
                  <a:pt x="14528" y="2301"/>
                  <a:pt x="14478" y="2301"/>
                </a:cubicBezTo>
                <a:cubicBezTo>
                  <a:pt x="14428" y="2275"/>
                  <a:pt x="14428" y="2325"/>
                  <a:pt x="14403" y="2301"/>
                </a:cubicBezTo>
                <a:cubicBezTo>
                  <a:pt x="14378" y="2301"/>
                  <a:pt x="14203" y="2225"/>
                  <a:pt x="14178" y="2250"/>
                </a:cubicBezTo>
                <a:cubicBezTo>
                  <a:pt x="14153" y="2275"/>
                  <a:pt x="14178" y="2301"/>
                  <a:pt x="14153" y="2325"/>
                </a:cubicBezTo>
                <a:cubicBezTo>
                  <a:pt x="14128" y="2325"/>
                  <a:pt x="14153" y="2350"/>
                  <a:pt x="14203" y="2400"/>
                </a:cubicBezTo>
                <a:cubicBezTo>
                  <a:pt x="14253" y="2425"/>
                  <a:pt x="14203" y="2475"/>
                  <a:pt x="14178" y="2475"/>
                </a:cubicBezTo>
                <a:cubicBezTo>
                  <a:pt x="14128" y="2500"/>
                  <a:pt x="14053" y="2475"/>
                  <a:pt x="14053" y="2425"/>
                </a:cubicBezTo>
                <a:cubicBezTo>
                  <a:pt x="14028" y="2400"/>
                  <a:pt x="13978" y="2425"/>
                  <a:pt x="13953" y="2375"/>
                </a:cubicBezTo>
                <a:cubicBezTo>
                  <a:pt x="13928" y="2325"/>
                  <a:pt x="13978" y="2325"/>
                  <a:pt x="14003" y="2350"/>
                </a:cubicBezTo>
                <a:cubicBezTo>
                  <a:pt x="14028" y="2375"/>
                  <a:pt x="14053" y="2350"/>
                  <a:pt x="14078" y="2325"/>
                </a:cubicBezTo>
                <a:cubicBezTo>
                  <a:pt x="14078" y="2301"/>
                  <a:pt x="14003" y="2275"/>
                  <a:pt x="13953" y="2275"/>
                </a:cubicBezTo>
                <a:cubicBezTo>
                  <a:pt x="13902" y="2275"/>
                  <a:pt x="13877" y="2325"/>
                  <a:pt x="13828" y="2350"/>
                </a:cubicBezTo>
                <a:cubicBezTo>
                  <a:pt x="13803" y="2375"/>
                  <a:pt x="13628" y="2350"/>
                  <a:pt x="13603" y="2325"/>
                </a:cubicBezTo>
                <a:cubicBezTo>
                  <a:pt x="13577" y="2325"/>
                  <a:pt x="13353" y="2325"/>
                  <a:pt x="13328" y="2350"/>
                </a:cubicBezTo>
                <a:cubicBezTo>
                  <a:pt x="13303" y="2375"/>
                  <a:pt x="13303" y="2425"/>
                  <a:pt x="13303" y="2450"/>
                </a:cubicBezTo>
                <a:cubicBezTo>
                  <a:pt x="13277" y="2450"/>
                  <a:pt x="13277" y="2375"/>
                  <a:pt x="13277" y="2350"/>
                </a:cubicBezTo>
                <a:cubicBezTo>
                  <a:pt x="13277" y="2325"/>
                  <a:pt x="13253" y="2325"/>
                  <a:pt x="13203" y="2325"/>
                </a:cubicBezTo>
                <a:cubicBezTo>
                  <a:pt x="13153" y="2325"/>
                  <a:pt x="13128" y="2325"/>
                  <a:pt x="13153" y="2301"/>
                </a:cubicBezTo>
                <a:cubicBezTo>
                  <a:pt x="13177" y="2275"/>
                  <a:pt x="13128" y="2275"/>
                  <a:pt x="13177" y="2250"/>
                </a:cubicBezTo>
                <a:cubicBezTo>
                  <a:pt x="13203" y="2225"/>
                  <a:pt x="13103" y="2150"/>
                  <a:pt x="13028" y="2101"/>
                </a:cubicBezTo>
                <a:cubicBezTo>
                  <a:pt x="12928" y="2075"/>
                  <a:pt x="12728" y="2101"/>
                  <a:pt x="12652" y="2101"/>
                </a:cubicBezTo>
                <a:cubicBezTo>
                  <a:pt x="12602" y="2125"/>
                  <a:pt x="12503" y="2125"/>
                  <a:pt x="12452" y="2125"/>
                </a:cubicBezTo>
                <a:cubicBezTo>
                  <a:pt x="12377" y="2125"/>
                  <a:pt x="12428" y="2101"/>
                  <a:pt x="12428" y="2075"/>
                </a:cubicBezTo>
                <a:cubicBezTo>
                  <a:pt x="12402" y="2050"/>
                  <a:pt x="12303" y="2025"/>
                  <a:pt x="12303" y="2050"/>
                </a:cubicBezTo>
                <a:cubicBezTo>
                  <a:pt x="12277" y="2075"/>
                  <a:pt x="12252" y="2050"/>
                  <a:pt x="12252" y="2025"/>
                </a:cubicBezTo>
                <a:cubicBezTo>
                  <a:pt x="12252" y="2025"/>
                  <a:pt x="12177" y="1975"/>
                  <a:pt x="12152" y="2001"/>
                </a:cubicBezTo>
                <a:cubicBezTo>
                  <a:pt x="12103" y="2001"/>
                  <a:pt x="12103" y="1950"/>
                  <a:pt x="12127" y="1950"/>
                </a:cubicBezTo>
                <a:cubicBezTo>
                  <a:pt x="12177" y="1950"/>
                  <a:pt x="12228" y="1975"/>
                  <a:pt x="12203" y="1925"/>
                </a:cubicBezTo>
                <a:cubicBezTo>
                  <a:pt x="12177" y="1875"/>
                  <a:pt x="11927" y="1875"/>
                  <a:pt x="11903" y="1875"/>
                </a:cubicBezTo>
                <a:cubicBezTo>
                  <a:pt x="11877" y="1875"/>
                  <a:pt x="11903" y="1925"/>
                  <a:pt x="11852" y="1975"/>
                </a:cubicBezTo>
                <a:cubicBezTo>
                  <a:pt x="11803" y="2025"/>
                  <a:pt x="11752" y="1975"/>
                  <a:pt x="11752" y="1950"/>
                </a:cubicBezTo>
                <a:cubicBezTo>
                  <a:pt x="11752" y="1925"/>
                  <a:pt x="11827" y="1925"/>
                  <a:pt x="11827" y="1901"/>
                </a:cubicBezTo>
                <a:cubicBezTo>
                  <a:pt x="11827" y="1875"/>
                  <a:pt x="11727" y="1901"/>
                  <a:pt x="11727" y="1875"/>
                </a:cubicBezTo>
                <a:cubicBezTo>
                  <a:pt x="11703" y="1850"/>
                  <a:pt x="11727" y="1850"/>
                  <a:pt x="11777" y="1850"/>
                </a:cubicBezTo>
                <a:cubicBezTo>
                  <a:pt x="11803" y="1875"/>
                  <a:pt x="11852" y="1875"/>
                  <a:pt x="11877" y="1850"/>
                </a:cubicBezTo>
                <a:cubicBezTo>
                  <a:pt x="11877" y="1850"/>
                  <a:pt x="11827" y="1825"/>
                  <a:pt x="11777" y="1825"/>
                </a:cubicBezTo>
                <a:cubicBezTo>
                  <a:pt x="11727" y="1825"/>
                  <a:pt x="11577" y="1775"/>
                  <a:pt x="11527" y="1801"/>
                </a:cubicBezTo>
                <a:cubicBezTo>
                  <a:pt x="11452" y="1801"/>
                  <a:pt x="11403" y="1775"/>
                  <a:pt x="11377" y="1750"/>
                </a:cubicBezTo>
                <a:cubicBezTo>
                  <a:pt x="11327" y="1750"/>
                  <a:pt x="11327" y="1775"/>
                  <a:pt x="11352" y="1801"/>
                </a:cubicBezTo>
                <a:cubicBezTo>
                  <a:pt x="11377" y="1825"/>
                  <a:pt x="11327" y="1850"/>
                  <a:pt x="11277" y="1825"/>
                </a:cubicBezTo>
                <a:cubicBezTo>
                  <a:pt x="11227" y="1825"/>
                  <a:pt x="11152" y="1850"/>
                  <a:pt x="11177" y="1901"/>
                </a:cubicBezTo>
                <a:cubicBezTo>
                  <a:pt x="11202" y="1925"/>
                  <a:pt x="11227" y="1875"/>
                  <a:pt x="11252" y="1901"/>
                </a:cubicBezTo>
                <a:cubicBezTo>
                  <a:pt x="11277" y="1901"/>
                  <a:pt x="11202" y="1925"/>
                  <a:pt x="11227" y="1950"/>
                </a:cubicBezTo>
                <a:cubicBezTo>
                  <a:pt x="11277" y="1950"/>
                  <a:pt x="11252" y="2001"/>
                  <a:pt x="11252" y="2001"/>
                </a:cubicBezTo>
                <a:cubicBezTo>
                  <a:pt x="11252" y="2025"/>
                  <a:pt x="11202" y="2025"/>
                  <a:pt x="11177" y="2001"/>
                </a:cubicBezTo>
                <a:cubicBezTo>
                  <a:pt x="11177" y="1975"/>
                  <a:pt x="11127" y="2001"/>
                  <a:pt x="11102" y="2001"/>
                </a:cubicBezTo>
                <a:cubicBezTo>
                  <a:pt x="11052" y="2001"/>
                  <a:pt x="11027" y="2025"/>
                  <a:pt x="11077" y="2025"/>
                </a:cubicBezTo>
                <a:cubicBezTo>
                  <a:pt x="11102" y="2025"/>
                  <a:pt x="11127" y="2050"/>
                  <a:pt x="11077" y="2050"/>
                </a:cubicBezTo>
                <a:cubicBezTo>
                  <a:pt x="11027" y="2075"/>
                  <a:pt x="11027" y="2001"/>
                  <a:pt x="11002" y="2025"/>
                </a:cubicBezTo>
                <a:cubicBezTo>
                  <a:pt x="10952" y="2025"/>
                  <a:pt x="10902" y="2001"/>
                  <a:pt x="10852" y="2001"/>
                </a:cubicBezTo>
                <a:cubicBezTo>
                  <a:pt x="10802" y="2001"/>
                  <a:pt x="10802" y="2025"/>
                  <a:pt x="10752" y="2025"/>
                </a:cubicBezTo>
                <a:cubicBezTo>
                  <a:pt x="10702" y="2025"/>
                  <a:pt x="10627" y="2001"/>
                  <a:pt x="10602" y="1975"/>
                </a:cubicBezTo>
                <a:cubicBezTo>
                  <a:pt x="10577" y="1950"/>
                  <a:pt x="10577" y="1925"/>
                  <a:pt x="10552" y="1975"/>
                </a:cubicBezTo>
                <a:cubicBezTo>
                  <a:pt x="10527" y="2001"/>
                  <a:pt x="10527" y="2050"/>
                  <a:pt x="10502" y="2075"/>
                </a:cubicBezTo>
                <a:cubicBezTo>
                  <a:pt x="10477" y="2075"/>
                  <a:pt x="10452" y="2125"/>
                  <a:pt x="10427" y="2150"/>
                </a:cubicBezTo>
                <a:cubicBezTo>
                  <a:pt x="10402" y="2150"/>
                  <a:pt x="10402" y="2125"/>
                  <a:pt x="10377" y="2125"/>
                </a:cubicBezTo>
                <a:cubicBezTo>
                  <a:pt x="10352" y="2125"/>
                  <a:pt x="10252" y="2025"/>
                  <a:pt x="10227" y="2001"/>
                </a:cubicBezTo>
                <a:cubicBezTo>
                  <a:pt x="10227" y="1975"/>
                  <a:pt x="10177" y="1901"/>
                  <a:pt x="10152" y="1901"/>
                </a:cubicBezTo>
                <a:cubicBezTo>
                  <a:pt x="10127" y="1875"/>
                  <a:pt x="10177" y="1875"/>
                  <a:pt x="10202" y="1901"/>
                </a:cubicBezTo>
                <a:cubicBezTo>
                  <a:pt x="10202" y="1925"/>
                  <a:pt x="10227" y="1925"/>
                  <a:pt x="10252" y="1901"/>
                </a:cubicBezTo>
                <a:cubicBezTo>
                  <a:pt x="10277" y="1901"/>
                  <a:pt x="10277" y="1850"/>
                  <a:pt x="10252" y="1850"/>
                </a:cubicBezTo>
                <a:cubicBezTo>
                  <a:pt x="10202" y="1850"/>
                  <a:pt x="10227" y="1801"/>
                  <a:pt x="10227" y="1801"/>
                </a:cubicBezTo>
                <a:cubicBezTo>
                  <a:pt x="10252" y="1801"/>
                  <a:pt x="10202" y="1750"/>
                  <a:pt x="10227" y="1750"/>
                </a:cubicBezTo>
                <a:cubicBezTo>
                  <a:pt x="10227" y="1725"/>
                  <a:pt x="10227" y="1701"/>
                  <a:pt x="10202" y="1701"/>
                </a:cubicBezTo>
                <a:cubicBezTo>
                  <a:pt x="10177" y="1701"/>
                  <a:pt x="10127" y="1675"/>
                  <a:pt x="10127" y="1650"/>
                </a:cubicBezTo>
                <a:cubicBezTo>
                  <a:pt x="10127" y="1650"/>
                  <a:pt x="10002" y="1650"/>
                  <a:pt x="10002" y="1675"/>
                </a:cubicBezTo>
                <a:cubicBezTo>
                  <a:pt x="10027" y="1675"/>
                  <a:pt x="9977" y="1675"/>
                  <a:pt x="9977" y="1650"/>
                </a:cubicBezTo>
                <a:cubicBezTo>
                  <a:pt x="9977" y="1650"/>
                  <a:pt x="9927" y="1650"/>
                  <a:pt x="9877" y="1625"/>
                </a:cubicBezTo>
                <a:cubicBezTo>
                  <a:pt x="9802" y="1625"/>
                  <a:pt x="9802" y="1575"/>
                  <a:pt x="9777" y="1575"/>
                </a:cubicBezTo>
                <a:cubicBezTo>
                  <a:pt x="9752" y="1575"/>
                  <a:pt x="9777" y="1625"/>
                  <a:pt x="9752" y="1625"/>
                </a:cubicBezTo>
                <a:cubicBezTo>
                  <a:pt x="9702" y="1601"/>
                  <a:pt x="9677" y="1625"/>
                  <a:pt x="9702" y="1675"/>
                </a:cubicBezTo>
                <a:cubicBezTo>
                  <a:pt x="9702" y="1701"/>
                  <a:pt x="9702" y="1701"/>
                  <a:pt x="9702" y="1725"/>
                </a:cubicBezTo>
                <a:cubicBezTo>
                  <a:pt x="9677" y="1775"/>
                  <a:pt x="9677" y="1750"/>
                  <a:pt x="9627" y="1750"/>
                </a:cubicBezTo>
                <a:cubicBezTo>
                  <a:pt x="9601" y="1725"/>
                  <a:pt x="9601" y="1775"/>
                  <a:pt x="9527" y="1750"/>
                </a:cubicBezTo>
                <a:cubicBezTo>
                  <a:pt x="9452" y="1725"/>
                  <a:pt x="9401" y="1750"/>
                  <a:pt x="9401" y="1725"/>
                </a:cubicBezTo>
                <a:cubicBezTo>
                  <a:pt x="9376" y="1701"/>
                  <a:pt x="9352" y="1701"/>
                  <a:pt x="9352" y="1725"/>
                </a:cubicBezTo>
                <a:cubicBezTo>
                  <a:pt x="9352" y="1750"/>
                  <a:pt x="9227" y="1725"/>
                  <a:pt x="9227" y="1701"/>
                </a:cubicBezTo>
                <a:cubicBezTo>
                  <a:pt x="9202" y="1675"/>
                  <a:pt x="9252" y="1675"/>
                  <a:pt x="9252" y="1650"/>
                </a:cubicBezTo>
                <a:cubicBezTo>
                  <a:pt x="9276" y="1650"/>
                  <a:pt x="9252" y="1625"/>
                  <a:pt x="9176" y="1650"/>
                </a:cubicBezTo>
                <a:cubicBezTo>
                  <a:pt x="9102" y="1650"/>
                  <a:pt x="9076" y="1601"/>
                  <a:pt x="9002" y="1625"/>
                </a:cubicBezTo>
                <a:cubicBezTo>
                  <a:pt x="8927" y="1625"/>
                  <a:pt x="8776" y="1625"/>
                  <a:pt x="8776" y="1650"/>
                </a:cubicBezTo>
                <a:cubicBezTo>
                  <a:pt x="8752" y="1650"/>
                  <a:pt x="8776" y="1701"/>
                  <a:pt x="8752" y="1701"/>
                </a:cubicBezTo>
                <a:cubicBezTo>
                  <a:pt x="8727" y="1701"/>
                  <a:pt x="8752" y="1625"/>
                  <a:pt x="8752" y="1601"/>
                </a:cubicBezTo>
                <a:cubicBezTo>
                  <a:pt x="8727" y="1575"/>
                  <a:pt x="8676" y="1575"/>
                  <a:pt x="8702" y="1601"/>
                </a:cubicBezTo>
                <a:cubicBezTo>
                  <a:pt x="8702" y="1625"/>
                  <a:pt x="8627" y="1625"/>
                  <a:pt x="8602" y="1601"/>
                </a:cubicBezTo>
                <a:cubicBezTo>
                  <a:pt x="8576" y="1575"/>
                  <a:pt x="8551" y="1575"/>
                  <a:pt x="8476" y="1550"/>
                </a:cubicBezTo>
                <a:cubicBezTo>
                  <a:pt x="8427" y="1525"/>
                  <a:pt x="8376" y="1601"/>
                  <a:pt x="8376" y="1601"/>
                </a:cubicBezTo>
                <a:cubicBezTo>
                  <a:pt x="8402" y="1625"/>
                  <a:pt x="8427" y="1625"/>
                  <a:pt x="8427" y="1625"/>
                </a:cubicBezTo>
                <a:cubicBezTo>
                  <a:pt x="8451" y="1650"/>
                  <a:pt x="8327" y="1650"/>
                  <a:pt x="8327" y="1650"/>
                </a:cubicBezTo>
                <a:cubicBezTo>
                  <a:pt x="8327" y="1675"/>
                  <a:pt x="8202" y="1701"/>
                  <a:pt x="8176" y="1701"/>
                </a:cubicBezTo>
                <a:cubicBezTo>
                  <a:pt x="8076" y="1725"/>
                  <a:pt x="8076" y="1725"/>
                  <a:pt x="8027" y="1750"/>
                </a:cubicBezTo>
                <a:cubicBezTo>
                  <a:pt x="7976" y="1801"/>
                  <a:pt x="8027" y="1725"/>
                  <a:pt x="8051" y="1701"/>
                </a:cubicBezTo>
                <a:cubicBezTo>
                  <a:pt x="8076" y="1650"/>
                  <a:pt x="8127" y="1675"/>
                  <a:pt x="8127" y="1650"/>
                </a:cubicBezTo>
                <a:cubicBezTo>
                  <a:pt x="8151" y="1625"/>
                  <a:pt x="8176" y="1625"/>
                  <a:pt x="8251" y="1625"/>
                </a:cubicBezTo>
                <a:cubicBezTo>
                  <a:pt x="8302" y="1601"/>
                  <a:pt x="8302" y="1575"/>
                  <a:pt x="8327" y="1575"/>
                </a:cubicBezTo>
                <a:cubicBezTo>
                  <a:pt x="8351" y="1550"/>
                  <a:pt x="8402" y="1525"/>
                  <a:pt x="8402" y="1501"/>
                </a:cubicBezTo>
                <a:cubicBezTo>
                  <a:pt x="8427" y="1475"/>
                  <a:pt x="8551" y="1425"/>
                  <a:pt x="8576" y="1450"/>
                </a:cubicBezTo>
                <a:cubicBezTo>
                  <a:pt x="8602" y="1450"/>
                  <a:pt x="8602" y="1401"/>
                  <a:pt x="8627" y="1401"/>
                </a:cubicBezTo>
                <a:cubicBezTo>
                  <a:pt x="8627" y="1401"/>
                  <a:pt x="8702" y="1350"/>
                  <a:pt x="8727" y="1350"/>
                </a:cubicBezTo>
                <a:cubicBezTo>
                  <a:pt x="8752" y="1325"/>
                  <a:pt x="8776" y="1300"/>
                  <a:pt x="8776" y="1275"/>
                </a:cubicBezTo>
                <a:cubicBezTo>
                  <a:pt x="8776" y="1275"/>
                  <a:pt x="8727" y="1275"/>
                  <a:pt x="8727" y="1250"/>
                </a:cubicBezTo>
                <a:cubicBezTo>
                  <a:pt x="8727" y="1250"/>
                  <a:pt x="8752" y="1250"/>
                  <a:pt x="8776" y="1250"/>
                </a:cubicBezTo>
                <a:cubicBezTo>
                  <a:pt x="8802" y="1225"/>
                  <a:pt x="8776" y="1200"/>
                  <a:pt x="8752" y="1200"/>
                </a:cubicBezTo>
                <a:cubicBezTo>
                  <a:pt x="8727" y="1200"/>
                  <a:pt x="8776" y="1175"/>
                  <a:pt x="8752" y="1150"/>
                </a:cubicBezTo>
                <a:cubicBezTo>
                  <a:pt x="8727" y="1125"/>
                  <a:pt x="8676" y="1175"/>
                  <a:pt x="8676" y="1150"/>
                </a:cubicBezTo>
                <a:cubicBezTo>
                  <a:pt x="8676" y="1100"/>
                  <a:pt x="8676" y="1075"/>
                  <a:pt x="8676" y="1050"/>
                </a:cubicBezTo>
                <a:cubicBezTo>
                  <a:pt x="8652" y="1050"/>
                  <a:pt x="8627" y="1100"/>
                  <a:pt x="8576" y="1075"/>
                </a:cubicBezTo>
                <a:cubicBezTo>
                  <a:pt x="8551" y="1050"/>
                  <a:pt x="8451" y="1025"/>
                  <a:pt x="8451" y="1025"/>
                </a:cubicBezTo>
                <a:cubicBezTo>
                  <a:pt x="8451" y="1050"/>
                  <a:pt x="8402" y="1025"/>
                  <a:pt x="8402" y="1025"/>
                </a:cubicBezTo>
                <a:cubicBezTo>
                  <a:pt x="8376" y="1050"/>
                  <a:pt x="8302" y="1025"/>
                  <a:pt x="8276" y="1025"/>
                </a:cubicBezTo>
                <a:cubicBezTo>
                  <a:pt x="8251" y="1025"/>
                  <a:pt x="8227" y="1050"/>
                  <a:pt x="8227" y="1075"/>
                </a:cubicBezTo>
                <a:cubicBezTo>
                  <a:pt x="8202" y="1100"/>
                  <a:pt x="8127" y="1075"/>
                  <a:pt x="8101" y="1075"/>
                </a:cubicBezTo>
                <a:cubicBezTo>
                  <a:pt x="8076" y="1075"/>
                  <a:pt x="8176" y="1000"/>
                  <a:pt x="8176" y="1000"/>
                </a:cubicBezTo>
                <a:cubicBezTo>
                  <a:pt x="8176" y="975"/>
                  <a:pt x="8027" y="1000"/>
                  <a:pt x="8002" y="975"/>
                </a:cubicBezTo>
                <a:cubicBezTo>
                  <a:pt x="8002" y="975"/>
                  <a:pt x="7927" y="950"/>
                  <a:pt x="7902" y="950"/>
                </a:cubicBezTo>
                <a:cubicBezTo>
                  <a:pt x="7876" y="950"/>
                  <a:pt x="7902" y="950"/>
                  <a:pt x="7927" y="950"/>
                </a:cubicBezTo>
                <a:cubicBezTo>
                  <a:pt x="7951" y="950"/>
                  <a:pt x="7976" y="925"/>
                  <a:pt x="8027" y="925"/>
                </a:cubicBezTo>
                <a:cubicBezTo>
                  <a:pt x="8051" y="900"/>
                  <a:pt x="8051" y="900"/>
                  <a:pt x="8027" y="875"/>
                </a:cubicBezTo>
                <a:cubicBezTo>
                  <a:pt x="8002" y="850"/>
                  <a:pt x="7976" y="875"/>
                  <a:pt x="7951" y="850"/>
                </a:cubicBezTo>
                <a:cubicBezTo>
                  <a:pt x="7927" y="850"/>
                  <a:pt x="7876" y="825"/>
                  <a:pt x="7851" y="825"/>
                </a:cubicBezTo>
                <a:cubicBezTo>
                  <a:pt x="7827" y="825"/>
                  <a:pt x="7802" y="850"/>
                  <a:pt x="7727" y="850"/>
                </a:cubicBezTo>
                <a:cubicBezTo>
                  <a:pt x="7651" y="875"/>
                  <a:pt x="7651" y="925"/>
                  <a:pt x="7626" y="950"/>
                </a:cubicBezTo>
                <a:cubicBezTo>
                  <a:pt x="7576" y="950"/>
                  <a:pt x="7526" y="1025"/>
                  <a:pt x="7551" y="1025"/>
                </a:cubicBezTo>
                <a:cubicBezTo>
                  <a:pt x="7576" y="1025"/>
                  <a:pt x="7576" y="1050"/>
                  <a:pt x="7576" y="1050"/>
                </a:cubicBezTo>
                <a:cubicBezTo>
                  <a:pt x="7576" y="1075"/>
                  <a:pt x="7551" y="1075"/>
                  <a:pt x="7526" y="1075"/>
                </a:cubicBezTo>
                <a:cubicBezTo>
                  <a:pt x="7502" y="1075"/>
                  <a:pt x="7376" y="1075"/>
                  <a:pt x="7376" y="1100"/>
                </a:cubicBezTo>
                <a:cubicBezTo>
                  <a:pt x="7376" y="1125"/>
                  <a:pt x="7451" y="1125"/>
                  <a:pt x="7451" y="1150"/>
                </a:cubicBezTo>
                <a:cubicBezTo>
                  <a:pt x="7426" y="1150"/>
                  <a:pt x="7402" y="1150"/>
                  <a:pt x="7376" y="1125"/>
                </a:cubicBezTo>
                <a:cubicBezTo>
                  <a:pt x="7351" y="1125"/>
                  <a:pt x="7302" y="1125"/>
                  <a:pt x="7276" y="1150"/>
                </a:cubicBezTo>
                <a:cubicBezTo>
                  <a:pt x="7276" y="1175"/>
                  <a:pt x="7226" y="1175"/>
                  <a:pt x="7226" y="1150"/>
                </a:cubicBezTo>
                <a:cubicBezTo>
                  <a:pt x="7202" y="1150"/>
                  <a:pt x="7176" y="1175"/>
                  <a:pt x="7176" y="1175"/>
                </a:cubicBezTo>
                <a:cubicBezTo>
                  <a:pt x="7151" y="1150"/>
                  <a:pt x="7202" y="1125"/>
                  <a:pt x="7202" y="1125"/>
                </a:cubicBezTo>
                <a:cubicBezTo>
                  <a:pt x="7176" y="1100"/>
                  <a:pt x="7102" y="1100"/>
                  <a:pt x="7102" y="1125"/>
                </a:cubicBezTo>
                <a:cubicBezTo>
                  <a:pt x="7102" y="1150"/>
                  <a:pt x="7051" y="1125"/>
                  <a:pt x="7051" y="1125"/>
                </a:cubicBezTo>
                <a:cubicBezTo>
                  <a:pt x="7026" y="1125"/>
                  <a:pt x="7002" y="1150"/>
                  <a:pt x="6976" y="1150"/>
                </a:cubicBezTo>
                <a:cubicBezTo>
                  <a:pt x="6951" y="1175"/>
                  <a:pt x="6902" y="1150"/>
                  <a:pt x="6876" y="1175"/>
                </a:cubicBezTo>
                <a:cubicBezTo>
                  <a:pt x="6876" y="1200"/>
                  <a:pt x="6951" y="1200"/>
                  <a:pt x="6951" y="1200"/>
                </a:cubicBezTo>
                <a:cubicBezTo>
                  <a:pt x="6951" y="1225"/>
                  <a:pt x="6801" y="1225"/>
                  <a:pt x="6801" y="1225"/>
                </a:cubicBezTo>
                <a:cubicBezTo>
                  <a:pt x="6776" y="1250"/>
                  <a:pt x="6726" y="1250"/>
                  <a:pt x="6676" y="1250"/>
                </a:cubicBezTo>
                <a:cubicBezTo>
                  <a:pt x="6601" y="1250"/>
                  <a:pt x="6626" y="1275"/>
                  <a:pt x="6576" y="1275"/>
                </a:cubicBezTo>
                <a:cubicBezTo>
                  <a:pt x="6526" y="1300"/>
                  <a:pt x="6501" y="1300"/>
                  <a:pt x="6501" y="1325"/>
                </a:cubicBezTo>
                <a:cubicBezTo>
                  <a:pt x="6476" y="1350"/>
                  <a:pt x="6451" y="1350"/>
                  <a:pt x="6426" y="1325"/>
                </a:cubicBezTo>
                <a:cubicBezTo>
                  <a:pt x="6401" y="1325"/>
                  <a:pt x="6351" y="1350"/>
                  <a:pt x="6376" y="1350"/>
                </a:cubicBezTo>
                <a:cubicBezTo>
                  <a:pt x="6401" y="1350"/>
                  <a:pt x="6376" y="1375"/>
                  <a:pt x="6376" y="1375"/>
                </a:cubicBezTo>
                <a:cubicBezTo>
                  <a:pt x="6351" y="1350"/>
                  <a:pt x="6301" y="1401"/>
                  <a:pt x="6326" y="1401"/>
                </a:cubicBezTo>
                <a:cubicBezTo>
                  <a:pt x="6351" y="1401"/>
                  <a:pt x="6376" y="1401"/>
                  <a:pt x="6351" y="1425"/>
                </a:cubicBezTo>
                <a:cubicBezTo>
                  <a:pt x="6351" y="1450"/>
                  <a:pt x="6301" y="1401"/>
                  <a:pt x="6276" y="1425"/>
                </a:cubicBezTo>
                <a:cubicBezTo>
                  <a:pt x="6276" y="1425"/>
                  <a:pt x="6301" y="1450"/>
                  <a:pt x="6326" y="1450"/>
                </a:cubicBezTo>
                <a:cubicBezTo>
                  <a:pt x="6351" y="1450"/>
                  <a:pt x="6376" y="1475"/>
                  <a:pt x="6376" y="1475"/>
                </a:cubicBezTo>
                <a:cubicBezTo>
                  <a:pt x="6376" y="1501"/>
                  <a:pt x="6326" y="1475"/>
                  <a:pt x="6301" y="1475"/>
                </a:cubicBezTo>
                <a:cubicBezTo>
                  <a:pt x="6301" y="1501"/>
                  <a:pt x="6301" y="1501"/>
                  <a:pt x="6351" y="1501"/>
                </a:cubicBezTo>
                <a:cubicBezTo>
                  <a:pt x="6376" y="1525"/>
                  <a:pt x="6351" y="1525"/>
                  <a:pt x="6376" y="1550"/>
                </a:cubicBezTo>
                <a:lnTo>
                  <a:pt x="6376" y="1550"/>
                </a:lnTo>
                <a:cubicBezTo>
                  <a:pt x="6376" y="1575"/>
                  <a:pt x="6351" y="1575"/>
                  <a:pt x="6376" y="1601"/>
                </a:cubicBezTo>
                <a:cubicBezTo>
                  <a:pt x="6376" y="1601"/>
                  <a:pt x="6326" y="1625"/>
                  <a:pt x="6326" y="1601"/>
                </a:cubicBezTo>
                <a:cubicBezTo>
                  <a:pt x="6326" y="1575"/>
                  <a:pt x="6276" y="1575"/>
                  <a:pt x="6251" y="1601"/>
                </a:cubicBezTo>
                <a:cubicBezTo>
                  <a:pt x="6226" y="1601"/>
                  <a:pt x="6226" y="1625"/>
                  <a:pt x="6201" y="1601"/>
                </a:cubicBezTo>
                <a:cubicBezTo>
                  <a:pt x="6176" y="1601"/>
                  <a:pt x="6126" y="1601"/>
                  <a:pt x="6076" y="1625"/>
                </a:cubicBezTo>
                <a:cubicBezTo>
                  <a:pt x="6001" y="1625"/>
                  <a:pt x="5851" y="1625"/>
                  <a:pt x="5826" y="1625"/>
                </a:cubicBezTo>
                <a:cubicBezTo>
                  <a:pt x="5776" y="1650"/>
                  <a:pt x="5751" y="1701"/>
                  <a:pt x="5801" y="1725"/>
                </a:cubicBezTo>
                <a:cubicBezTo>
                  <a:pt x="5826" y="1750"/>
                  <a:pt x="5801" y="1775"/>
                  <a:pt x="5801" y="1801"/>
                </a:cubicBezTo>
                <a:cubicBezTo>
                  <a:pt x="5801" y="1825"/>
                  <a:pt x="5876" y="1850"/>
                  <a:pt x="5926" y="1875"/>
                </a:cubicBezTo>
                <a:cubicBezTo>
                  <a:pt x="5976" y="1875"/>
                  <a:pt x="6001" y="1925"/>
                  <a:pt x="5976" y="1950"/>
                </a:cubicBezTo>
                <a:cubicBezTo>
                  <a:pt x="5951" y="2001"/>
                  <a:pt x="5876" y="1950"/>
                  <a:pt x="5826" y="1901"/>
                </a:cubicBezTo>
                <a:cubicBezTo>
                  <a:pt x="5751" y="1850"/>
                  <a:pt x="5651" y="1850"/>
                  <a:pt x="5601" y="1850"/>
                </a:cubicBezTo>
                <a:cubicBezTo>
                  <a:pt x="5551" y="1850"/>
                  <a:pt x="5576" y="1801"/>
                  <a:pt x="5526" y="1825"/>
                </a:cubicBezTo>
                <a:cubicBezTo>
                  <a:pt x="5476" y="1825"/>
                  <a:pt x="5426" y="1850"/>
                  <a:pt x="5476" y="1850"/>
                </a:cubicBezTo>
                <a:cubicBezTo>
                  <a:pt x="5501" y="1850"/>
                  <a:pt x="5526" y="1850"/>
                  <a:pt x="5501" y="1875"/>
                </a:cubicBezTo>
                <a:cubicBezTo>
                  <a:pt x="5501" y="1901"/>
                  <a:pt x="5526" y="1875"/>
                  <a:pt x="5551" y="1901"/>
                </a:cubicBezTo>
                <a:cubicBezTo>
                  <a:pt x="5601" y="1925"/>
                  <a:pt x="5526" y="1950"/>
                  <a:pt x="5476" y="1925"/>
                </a:cubicBezTo>
                <a:cubicBezTo>
                  <a:pt x="5451" y="1901"/>
                  <a:pt x="5401" y="1925"/>
                  <a:pt x="5376" y="1950"/>
                </a:cubicBezTo>
                <a:cubicBezTo>
                  <a:pt x="5376" y="1950"/>
                  <a:pt x="5426" y="2025"/>
                  <a:pt x="5501" y="2025"/>
                </a:cubicBezTo>
                <a:cubicBezTo>
                  <a:pt x="5576" y="2050"/>
                  <a:pt x="5551" y="2075"/>
                  <a:pt x="5601" y="2075"/>
                </a:cubicBezTo>
                <a:cubicBezTo>
                  <a:pt x="5626" y="2101"/>
                  <a:pt x="5601" y="2101"/>
                  <a:pt x="5576" y="2101"/>
                </a:cubicBezTo>
                <a:cubicBezTo>
                  <a:pt x="5551" y="2125"/>
                  <a:pt x="5501" y="2075"/>
                  <a:pt x="5476" y="2050"/>
                </a:cubicBezTo>
                <a:cubicBezTo>
                  <a:pt x="5426" y="2025"/>
                  <a:pt x="5326" y="2075"/>
                  <a:pt x="5300" y="2050"/>
                </a:cubicBezTo>
                <a:cubicBezTo>
                  <a:pt x="5300" y="2025"/>
                  <a:pt x="5326" y="2001"/>
                  <a:pt x="5300" y="1975"/>
                </a:cubicBezTo>
                <a:cubicBezTo>
                  <a:pt x="5276" y="1975"/>
                  <a:pt x="5300" y="1925"/>
                  <a:pt x="5326" y="1901"/>
                </a:cubicBezTo>
                <a:cubicBezTo>
                  <a:pt x="5351" y="1850"/>
                  <a:pt x="5326" y="1775"/>
                  <a:pt x="5276" y="1775"/>
                </a:cubicBezTo>
                <a:cubicBezTo>
                  <a:pt x="5251" y="1750"/>
                  <a:pt x="5251" y="1801"/>
                  <a:pt x="5251" y="1801"/>
                </a:cubicBezTo>
                <a:cubicBezTo>
                  <a:pt x="5276" y="1825"/>
                  <a:pt x="5276" y="1875"/>
                  <a:pt x="5226" y="1901"/>
                </a:cubicBezTo>
                <a:cubicBezTo>
                  <a:pt x="5201" y="1950"/>
                  <a:pt x="5126" y="1950"/>
                  <a:pt x="5126" y="1975"/>
                </a:cubicBezTo>
                <a:cubicBezTo>
                  <a:pt x="5126" y="2001"/>
                  <a:pt x="5076" y="2001"/>
                  <a:pt x="5076" y="2025"/>
                </a:cubicBezTo>
                <a:cubicBezTo>
                  <a:pt x="5100" y="2050"/>
                  <a:pt x="5176" y="2125"/>
                  <a:pt x="5201" y="2150"/>
                </a:cubicBezTo>
                <a:cubicBezTo>
                  <a:pt x="5201" y="2175"/>
                  <a:pt x="5126" y="2275"/>
                  <a:pt x="5151" y="2301"/>
                </a:cubicBezTo>
                <a:cubicBezTo>
                  <a:pt x="5151" y="2350"/>
                  <a:pt x="5126" y="2375"/>
                  <a:pt x="5151" y="2400"/>
                </a:cubicBezTo>
                <a:cubicBezTo>
                  <a:pt x="5151" y="2425"/>
                  <a:pt x="5201" y="2400"/>
                  <a:pt x="5226" y="2425"/>
                </a:cubicBezTo>
                <a:cubicBezTo>
                  <a:pt x="5226" y="2425"/>
                  <a:pt x="5276" y="2400"/>
                  <a:pt x="5326" y="2400"/>
                </a:cubicBezTo>
                <a:cubicBezTo>
                  <a:pt x="5376" y="2375"/>
                  <a:pt x="5476" y="2450"/>
                  <a:pt x="5501" y="2450"/>
                </a:cubicBezTo>
                <a:cubicBezTo>
                  <a:pt x="5551" y="2475"/>
                  <a:pt x="5526" y="2500"/>
                  <a:pt x="5551" y="2526"/>
                </a:cubicBezTo>
                <a:cubicBezTo>
                  <a:pt x="5551" y="2550"/>
                  <a:pt x="5501" y="2550"/>
                  <a:pt x="5501" y="2601"/>
                </a:cubicBezTo>
                <a:cubicBezTo>
                  <a:pt x="5501" y="2650"/>
                  <a:pt x="5601" y="2650"/>
                  <a:pt x="5601" y="2675"/>
                </a:cubicBezTo>
                <a:cubicBezTo>
                  <a:pt x="5601" y="2675"/>
                  <a:pt x="5526" y="2675"/>
                  <a:pt x="5501" y="2650"/>
                </a:cubicBezTo>
                <a:cubicBezTo>
                  <a:pt x="5476" y="2650"/>
                  <a:pt x="5476" y="2601"/>
                  <a:pt x="5451" y="2601"/>
                </a:cubicBezTo>
                <a:cubicBezTo>
                  <a:pt x="5451" y="2601"/>
                  <a:pt x="5476" y="2550"/>
                  <a:pt x="5476" y="2526"/>
                </a:cubicBezTo>
                <a:cubicBezTo>
                  <a:pt x="5476" y="2500"/>
                  <a:pt x="5451" y="2500"/>
                  <a:pt x="5426" y="2475"/>
                </a:cubicBezTo>
                <a:cubicBezTo>
                  <a:pt x="5426" y="2450"/>
                  <a:pt x="5401" y="2425"/>
                  <a:pt x="5376" y="2425"/>
                </a:cubicBezTo>
                <a:cubicBezTo>
                  <a:pt x="5351" y="2450"/>
                  <a:pt x="5251" y="2450"/>
                  <a:pt x="5226" y="2475"/>
                </a:cubicBezTo>
                <a:cubicBezTo>
                  <a:pt x="5201" y="2500"/>
                  <a:pt x="5226" y="2575"/>
                  <a:pt x="5251" y="2601"/>
                </a:cubicBezTo>
                <a:cubicBezTo>
                  <a:pt x="5276" y="2650"/>
                  <a:pt x="5176" y="2701"/>
                  <a:pt x="5176" y="2726"/>
                </a:cubicBezTo>
                <a:cubicBezTo>
                  <a:pt x="5176" y="2750"/>
                  <a:pt x="5151" y="2750"/>
                  <a:pt x="5100" y="2775"/>
                </a:cubicBezTo>
                <a:cubicBezTo>
                  <a:pt x="5051" y="2801"/>
                  <a:pt x="5001" y="2826"/>
                  <a:pt x="5026" y="2850"/>
                </a:cubicBezTo>
                <a:cubicBezTo>
                  <a:pt x="5026" y="2901"/>
                  <a:pt x="4951" y="2875"/>
                  <a:pt x="4926" y="2850"/>
                </a:cubicBezTo>
                <a:cubicBezTo>
                  <a:pt x="4901" y="2826"/>
                  <a:pt x="4851" y="2875"/>
                  <a:pt x="4826" y="2850"/>
                </a:cubicBezTo>
                <a:cubicBezTo>
                  <a:pt x="4775" y="2850"/>
                  <a:pt x="4775" y="2826"/>
                  <a:pt x="4751" y="2850"/>
                </a:cubicBezTo>
                <a:cubicBezTo>
                  <a:pt x="4701" y="2850"/>
                  <a:pt x="4701" y="2826"/>
                  <a:pt x="4701" y="2801"/>
                </a:cubicBezTo>
                <a:cubicBezTo>
                  <a:pt x="4701" y="2775"/>
                  <a:pt x="4751" y="2801"/>
                  <a:pt x="4751" y="2801"/>
                </a:cubicBezTo>
                <a:cubicBezTo>
                  <a:pt x="4751" y="2826"/>
                  <a:pt x="4775" y="2826"/>
                  <a:pt x="4801" y="2801"/>
                </a:cubicBezTo>
                <a:cubicBezTo>
                  <a:pt x="4826" y="2801"/>
                  <a:pt x="4826" y="2826"/>
                  <a:pt x="4851" y="2826"/>
                </a:cubicBezTo>
                <a:cubicBezTo>
                  <a:pt x="4901" y="2826"/>
                  <a:pt x="4875" y="2801"/>
                  <a:pt x="4901" y="2801"/>
                </a:cubicBezTo>
                <a:cubicBezTo>
                  <a:pt x="4926" y="2801"/>
                  <a:pt x="4951" y="2801"/>
                  <a:pt x="4926" y="2775"/>
                </a:cubicBezTo>
                <a:cubicBezTo>
                  <a:pt x="4926" y="2775"/>
                  <a:pt x="4951" y="2750"/>
                  <a:pt x="4975" y="2750"/>
                </a:cubicBezTo>
                <a:cubicBezTo>
                  <a:pt x="5001" y="2750"/>
                  <a:pt x="4975" y="2701"/>
                  <a:pt x="5001" y="2701"/>
                </a:cubicBezTo>
                <a:cubicBezTo>
                  <a:pt x="5026" y="2701"/>
                  <a:pt x="5001" y="2675"/>
                  <a:pt x="5026" y="2675"/>
                </a:cubicBezTo>
                <a:cubicBezTo>
                  <a:pt x="5051" y="2675"/>
                  <a:pt x="5051" y="2650"/>
                  <a:pt x="5076" y="2650"/>
                </a:cubicBezTo>
                <a:cubicBezTo>
                  <a:pt x="5100" y="2650"/>
                  <a:pt x="5100" y="2601"/>
                  <a:pt x="5076" y="2601"/>
                </a:cubicBezTo>
                <a:cubicBezTo>
                  <a:pt x="5076" y="2575"/>
                  <a:pt x="5100" y="2550"/>
                  <a:pt x="5100" y="2526"/>
                </a:cubicBezTo>
                <a:cubicBezTo>
                  <a:pt x="5126" y="2526"/>
                  <a:pt x="5126" y="2500"/>
                  <a:pt x="5126" y="2500"/>
                </a:cubicBezTo>
                <a:cubicBezTo>
                  <a:pt x="5100" y="2475"/>
                  <a:pt x="5026" y="2450"/>
                  <a:pt x="5051" y="2425"/>
                </a:cubicBezTo>
                <a:cubicBezTo>
                  <a:pt x="5051" y="2400"/>
                  <a:pt x="5026" y="2350"/>
                  <a:pt x="5051" y="2325"/>
                </a:cubicBezTo>
                <a:cubicBezTo>
                  <a:pt x="5051" y="2301"/>
                  <a:pt x="5051" y="2250"/>
                  <a:pt x="5026" y="2225"/>
                </a:cubicBezTo>
                <a:cubicBezTo>
                  <a:pt x="5026" y="2201"/>
                  <a:pt x="5051" y="2175"/>
                  <a:pt x="5051" y="2125"/>
                </a:cubicBezTo>
                <a:cubicBezTo>
                  <a:pt x="5076" y="2101"/>
                  <a:pt x="5001" y="2050"/>
                  <a:pt x="4975" y="2025"/>
                </a:cubicBezTo>
                <a:cubicBezTo>
                  <a:pt x="4951" y="2025"/>
                  <a:pt x="4975" y="2001"/>
                  <a:pt x="5026" y="1950"/>
                </a:cubicBezTo>
                <a:cubicBezTo>
                  <a:pt x="5051" y="1925"/>
                  <a:pt x="5051" y="1825"/>
                  <a:pt x="5051" y="1801"/>
                </a:cubicBezTo>
                <a:cubicBezTo>
                  <a:pt x="5051" y="1775"/>
                  <a:pt x="4975" y="1750"/>
                  <a:pt x="4951" y="1750"/>
                </a:cubicBezTo>
                <a:cubicBezTo>
                  <a:pt x="4901" y="1750"/>
                  <a:pt x="4801" y="1750"/>
                  <a:pt x="4751" y="1750"/>
                </a:cubicBezTo>
                <a:cubicBezTo>
                  <a:pt x="4726" y="1750"/>
                  <a:pt x="4726" y="1775"/>
                  <a:pt x="4701" y="1801"/>
                </a:cubicBezTo>
                <a:cubicBezTo>
                  <a:pt x="4701" y="1825"/>
                  <a:pt x="4651" y="1875"/>
                  <a:pt x="4651" y="1925"/>
                </a:cubicBezTo>
                <a:cubicBezTo>
                  <a:pt x="4626" y="2001"/>
                  <a:pt x="4551" y="2025"/>
                  <a:pt x="4526" y="2025"/>
                </a:cubicBezTo>
                <a:cubicBezTo>
                  <a:pt x="4475" y="2050"/>
                  <a:pt x="4475" y="2101"/>
                  <a:pt x="4475" y="2125"/>
                </a:cubicBezTo>
                <a:cubicBezTo>
                  <a:pt x="4501" y="2125"/>
                  <a:pt x="4526" y="2125"/>
                  <a:pt x="4526" y="2125"/>
                </a:cubicBezTo>
                <a:cubicBezTo>
                  <a:pt x="4551" y="2125"/>
                  <a:pt x="4526" y="2201"/>
                  <a:pt x="4526" y="2201"/>
                </a:cubicBezTo>
                <a:cubicBezTo>
                  <a:pt x="4501" y="2201"/>
                  <a:pt x="4551" y="2225"/>
                  <a:pt x="4526" y="2250"/>
                </a:cubicBezTo>
                <a:cubicBezTo>
                  <a:pt x="4501" y="2250"/>
                  <a:pt x="4475" y="2301"/>
                  <a:pt x="4475" y="2301"/>
                </a:cubicBezTo>
                <a:cubicBezTo>
                  <a:pt x="4501" y="2325"/>
                  <a:pt x="4575" y="2325"/>
                  <a:pt x="4601" y="2350"/>
                </a:cubicBezTo>
                <a:cubicBezTo>
                  <a:pt x="4626" y="2375"/>
                  <a:pt x="4626" y="2400"/>
                  <a:pt x="4626" y="2425"/>
                </a:cubicBezTo>
                <a:cubicBezTo>
                  <a:pt x="4651" y="2450"/>
                  <a:pt x="4675" y="2450"/>
                  <a:pt x="4701" y="2450"/>
                </a:cubicBezTo>
                <a:cubicBezTo>
                  <a:pt x="4701" y="2475"/>
                  <a:pt x="4651" y="2550"/>
                  <a:pt x="4626" y="2550"/>
                </a:cubicBezTo>
                <a:cubicBezTo>
                  <a:pt x="4626" y="2550"/>
                  <a:pt x="4551" y="2475"/>
                  <a:pt x="4526" y="2450"/>
                </a:cubicBezTo>
                <a:cubicBezTo>
                  <a:pt x="4501" y="2450"/>
                  <a:pt x="4401" y="2425"/>
                  <a:pt x="4375" y="2400"/>
                </a:cubicBezTo>
                <a:cubicBezTo>
                  <a:pt x="4326" y="2375"/>
                  <a:pt x="4301" y="2375"/>
                  <a:pt x="4251" y="2350"/>
                </a:cubicBezTo>
                <a:cubicBezTo>
                  <a:pt x="4201" y="2301"/>
                  <a:pt x="4151" y="2301"/>
                  <a:pt x="4075" y="2301"/>
                </a:cubicBezTo>
                <a:cubicBezTo>
                  <a:pt x="3975" y="2301"/>
                  <a:pt x="3926" y="2275"/>
                  <a:pt x="3901" y="2275"/>
                </a:cubicBezTo>
                <a:cubicBezTo>
                  <a:pt x="3875" y="2275"/>
                  <a:pt x="3875" y="2250"/>
                  <a:pt x="3826" y="2225"/>
                </a:cubicBezTo>
                <a:cubicBezTo>
                  <a:pt x="3775" y="2201"/>
                  <a:pt x="3750" y="2175"/>
                  <a:pt x="3726" y="2201"/>
                </a:cubicBezTo>
                <a:cubicBezTo>
                  <a:pt x="3675" y="2201"/>
                  <a:pt x="3701" y="2275"/>
                  <a:pt x="3750" y="2275"/>
                </a:cubicBezTo>
                <a:cubicBezTo>
                  <a:pt x="3775" y="2275"/>
                  <a:pt x="3775" y="2301"/>
                  <a:pt x="3800" y="2301"/>
                </a:cubicBezTo>
                <a:cubicBezTo>
                  <a:pt x="3850" y="2301"/>
                  <a:pt x="3875" y="2325"/>
                  <a:pt x="3875" y="2350"/>
                </a:cubicBezTo>
                <a:cubicBezTo>
                  <a:pt x="3875" y="2375"/>
                  <a:pt x="3901" y="2400"/>
                  <a:pt x="3926" y="2425"/>
                </a:cubicBezTo>
                <a:cubicBezTo>
                  <a:pt x="3926" y="2450"/>
                  <a:pt x="3926" y="2475"/>
                  <a:pt x="3875" y="2475"/>
                </a:cubicBezTo>
                <a:cubicBezTo>
                  <a:pt x="3850" y="2475"/>
                  <a:pt x="3800" y="2475"/>
                  <a:pt x="3826" y="2500"/>
                </a:cubicBezTo>
                <a:cubicBezTo>
                  <a:pt x="3850" y="2526"/>
                  <a:pt x="3800" y="2526"/>
                  <a:pt x="3775" y="2526"/>
                </a:cubicBezTo>
                <a:cubicBezTo>
                  <a:pt x="3726" y="2500"/>
                  <a:pt x="3750" y="2475"/>
                  <a:pt x="3775" y="2475"/>
                </a:cubicBezTo>
                <a:cubicBezTo>
                  <a:pt x="3800" y="2450"/>
                  <a:pt x="3750" y="2425"/>
                  <a:pt x="3726" y="2425"/>
                </a:cubicBezTo>
                <a:cubicBezTo>
                  <a:pt x="3701" y="2425"/>
                  <a:pt x="3601" y="2475"/>
                  <a:pt x="3575" y="2500"/>
                </a:cubicBezTo>
                <a:cubicBezTo>
                  <a:pt x="3550" y="2500"/>
                  <a:pt x="3475" y="2475"/>
                  <a:pt x="3426" y="2500"/>
                </a:cubicBezTo>
                <a:cubicBezTo>
                  <a:pt x="3350" y="2526"/>
                  <a:pt x="3350" y="2575"/>
                  <a:pt x="3326" y="2550"/>
                </a:cubicBezTo>
                <a:cubicBezTo>
                  <a:pt x="3301" y="2550"/>
                  <a:pt x="3225" y="2575"/>
                  <a:pt x="3201" y="2550"/>
                </a:cubicBezTo>
                <a:cubicBezTo>
                  <a:pt x="3175" y="2526"/>
                  <a:pt x="3201" y="2526"/>
                  <a:pt x="3225" y="2526"/>
                </a:cubicBezTo>
                <a:cubicBezTo>
                  <a:pt x="3250" y="2526"/>
                  <a:pt x="3250" y="2526"/>
                  <a:pt x="3250" y="2500"/>
                </a:cubicBezTo>
                <a:cubicBezTo>
                  <a:pt x="3225" y="2475"/>
                  <a:pt x="3275" y="2450"/>
                  <a:pt x="3275" y="2425"/>
                </a:cubicBezTo>
                <a:cubicBezTo>
                  <a:pt x="3275" y="2425"/>
                  <a:pt x="3150" y="2450"/>
                  <a:pt x="3150" y="2475"/>
                </a:cubicBezTo>
                <a:cubicBezTo>
                  <a:pt x="3125" y="2475"/>
                  <a:pt x="3150" y="2526"/>
                  <a:pt x="3125" y="2526"/>
                </a:cubicBezTo>
                <a:cubicBezTo>
                  <a:pt x="3101" y="2526"/>
                  <a:pt x="3101" y="2500"/>
                  <a:pt x="3075" y="2500"/>
                </a:cubicBezTo>
                <a:cubicBezTo>
                  <a:pt x="3050" y="2500"/>
                  <a:pt x="2901" y="2526"/>
                  <a:pt x="2875" y="2575"/>
                </a:cubicBezTo>
                <a:cubicBezTo>
                  <a:pt x="2825" y="2601"/>
                  <a:pt x="2775" y="2601"/>
                  <a:pt x="2775" y="2626"/>
                </a:cubicBezTo>
                <a:cubicBezTo>
                  <a:pt x="2775" y="2650"/>
                  <a:pt x="2701" y="2626"/>
                  <a:pt x="2675" y="2650"/>
                </a:cubicBezTo>
                <a:cubicBezTo>
                  <a:pt x="2650" y="2675"/>
                  <a:pt x="2650" y="2726"/>
                  <a:pt x="2650" y="2750"/>
                </a:cubicBezTo>
                <a:cubicBezTo>
                  <a:pt x="2650" y="2775"/>
                  <a:pt x="2525" y="2775"/>
                  <a:pt x="2500" y="2775"/>
                </a:cubicBezTo>
                <a:cubicBezTo>
                  <a:pt x="2450" y="2775"/>
                  <a:pt x="2450" y="2701"/>
                  <a:pt x="2425" y="2701"/>
                </a:cubicBezTo>
                <a:cubicBezTo>
                  <a:pt x="2375" y="2701"/>
                  <a:pt x="2401" y="2650"/>
                  <a:pt x="2401" y="2650"/>
                </a:cubicBezTo>
                <a:cubicBezTo>
                  <a:pt x="2425" y="2626"/>
                  <a:pt x="2450" y="2626"/>
                  <a:pt x="2475" y="2626"/>
                </a:cubicBezTo>
                <a:cubicBezTo>
                  <a:pt x="2500" y="2601"/>
                  <a:pt x="2550" y="2626"/>
                  <a:pt x="2550" y="2601"/>
                </a:cubicBezTo>
                <a:cubicBezTo>
                  <a:pt x="2575" y="2601"/>
                  <a:pt x="2500" y="2550"/>
                  <a:pt x="2500" y="2526"/>
                </a:cubicBezTo>
                <a:cubicBezTo>
                  <a:pt x="2500" y="2475"/>
                  <a:pt x="2425" y="2475"/>
                  <a:pt x="2375" y="2475"/>
                </a:cubicBezTo>
                <a:cubicBezTo>
                  <a:pt x="2350" y="2500"/>
                  <a:pt x="2300" y="2500"/>
                  <a:pt x="2275" y="2475"/>
                </a:cubicBezTo>
                <a:cubicBezTo>
                  <a:pt x="2250" y="2450"/>
                  <a:pt x="2250" y="2500"/>
                  <a:pt x="2275" y="2500"/>
                </a:cubicBezTo>
                <a:cubicBezTo>
                  <a:pt x="2325" y="2526"/>
                  <a:pt x="2300" y="2550"/>
                  <a:pt x="2300" y="2575"/>
                </a:cubicBezTo>
                <a:cubicBezTo>
                  <a:pt x="2325" y="2601"/>
                  <a:pt x="2300" y="2650"/>
                  <a:pt x="2275" y="2675"/>
                </a:cubicBezTo>
                <a:cubicBezTo>
                  <a:pt x="2250" y="2726"/>
                  <a:pt x="2275" y="2726"/>
                  <a:pt x="2300" y="2726"/>
                </a:cubicBezTo>
                <a:cubicBezTo>
                  <a:pt x="2350" y="2701"/>
                  <a:pt x="2350" y="2750"/>
                  <a:pt x="2350" y="2801"/>
                </a:cubicBezTo>
                <a:cubicBezTo>
                  <a:pt x="2350" y="2826"/>
                  <a:pt x="2300" y="2850"/>
                  <a:pt x="2300" y="2875"/>
                </a:cubicBezTo>
                <a:cubicBezTo>
                  <a:pt x="2300" y="2901"/>
                  <a:pt x="2275" y="2850"/>
                  <a:pt x="2275" y="2875"/>
                </a:cubicBezTo>
                <a:cubicBezTo>
                  <a:pt x="2250" y="2875"/>
                  <a:pt x="2250" y="2850"/>
                  <a:pt x="2250" y="2850"/>
                </a:cubicBezTo>
                <a:cubicBezTo>
                  <a:pt x="2250" y="2826"/>
                  <a:pt x="2175" y="2826"/>
                  <a:pt x="2150" y="2826"/>
                </a:cubicBezTo>
                <a:cubicBezTo>
                  <a:pt x="2125" y="2826"/>
                  <a:pt x="2100" y="2826"/>
                  <a:pt x="2100" y="2850"/>
                </a:cubicBezTo>
                <a:cubicBezTo>
                  <a:pt x="2075" y="2875"/>
                  <a:pt x="2025" y="2875"/>
                  <a:pt x="2000" y="2875"/>
                </a:cubicBezTo>
                <a:cubicBezTo>
                  <a:pt x="1975" y="2901"/>
                  <a:pt x="1950" y="2926"/>
                  <a:pt x="1925" y="2950"/>
                </a:cubicBezTo>
                <a:cubicBezTo>
                  <a:pt x="1900" y="2975"/>
                  <a:pt x="1875" y="3001"/>
                  <a:pt x="1925" y="3026"/>
                </a:cubicBezTo>
                <a:cubicBezTo>
                  <a:pt x="1950" y="3075"/>
                  <a:pt x="1975" y="3101"/>
                  <a:pt x="1950" y="3101"/>
                </a:cubicBezTo>
                <a:cubicBezTo>
                  <a:pt x="1950" y="3126"/>
                  <a:pt x="1875" y="3126"/>
                  <a:pt x="1850" y="3101"/>
                </a:cubicBezTo>
                <a:cubicBezTo>
                  <a:pt x="1825" y="3075"/>
                  <a:pt x="1775" y="3075"/>
                  <a:pt x="1750" y="3075"/>
                </a:cubicBezTo>
                <a:cubicBezTo>
                  <a:pt x="1725" y="3075"/>
                  <a:pt x="1675" y="3026"/>
                  <a:pt x="1650" y="3026"/>
                </a:cubicBezTo>
                <a:cubicBezTo>
                  <a:pt x="1625" y="3026"/>
                  <a:pt x="1600" y="3050"/>
                  <a:pt x="1575" y="3075"/>
                </a:cubicBezTo>
                <a:cubicBezTo>
                  <a:pt x="1575" y="3075"/>
                  <a:pt x="1600" y="3101"/>
                  <a:pt x="1625" y="3126"/>
                </a:cubicBezTo>
                <a:cubicBezTo>
                  <a:pt x="1625" y="3150"/>
                  <a:pt x="1675" y="3150"/>
                  <a:pt x="1700" y="3150"/>
                </a:cubicBezTo>
                <a:cubicBezTo>
                  <a:pt x="1725" y="3150"/>
                  <a:pt x="1725" y="3201"/>
                  <a:pt x="1725" y="3201"/>
                </a:cubicBezTo>
                <a:cubicBezTo>
                  <a:pt x="1700" y="3226"/>
                  <a:pt x="1650" y="3250"/>
                  <a:pt x="1650" y="3226"/>
                </a:cubicBezTo>
                <a:cubicBezTo>
                  <a:pt x="1625" y="3201"/>
                  <a:pt x="1575" y="3226"/>
                  <a:pt x="1575" y="3201"/>
                </a:cubicBezTo>
                <a:cubicBezTo>
                  <a:pt x="1575" y="3175"/>
                  <a:pt x="1525" y="3150"/>
                  <a:pt x="1475" y="3150"/>
                </a:cubicBezTo>
                <a:cubicBezTo>
                  <a:pt x="1450" y="3150"/>
                  <a:pt x="1425" y="3126"/>
                  <a:pt x="1425" y="3101"/>
                </a:cubicBezTo>
                <a:cubicBezTo>
                  <a:pt x="1450" y="3075"/>
                  <a:pt x="1400" y="3050"/>
                  <a:pt x="1425" y="3026"/>
                </a:cubicBezTo>
                <a:cubicBezTo>
                  <a:pt x="1425" y="3026"/>
                  <a:pt x="1400" y="2975"/>
                  <a:pt x="1425" y="2975"/>
                </a:cubicBezTo>
                <a:cubicBezTo>
                  <a:pt x="1450" y="2950"/>
                  <a:pt x="1425" y="2926"/>
                  <a:pt x="1425" y="2901"/>
                </a:cubicBezTo>
                <a:cubicBezTo>
                  <a:pt x="1425" y="2875"/>
                  <a:pt x="1375" y="2850"/>
                  <a:pt x="1350" y="2850"/>
                </a:cubicBezTo>
                <a:cubicBezTo>
                  <a:pt x="1325" y="2850"/>
                  <a:pt x="1325" y="2826"/>
                  <a:pt x="1300" y="2826"/>
                </a:cubicBezTo>
                <a:cubicBezTo>
                  <a:pt x="1275" y="2801"/>
                  <a:pt x="1200" y="2750"/>
                  <a:pt x="1200" y="2726"/>
                </a:cubicBezTo>
                <a:cubicBezTo>
                  <a:pt x="1200" y="2726"/>
                  <a:pt x="1150" y="2726"/>
                  <a:pt x="1175" y="2701"/>
                </a:cubicBezTo>
                <a:cubicBezTo>
                  <a:pt x="1175" y="2701"/>
                  <a:pt x="1225" y="2701"/>
                  <a:pt x="1250" y="2726"/>
                </a:cubicBezTo>
                <a:cubicBezTo>
                  <a:pt x="1275" y="2750"/>
                  <a:pt x="1300" y="2775"/>
                  <a:pt x="1375" y="2801"/>
                </a:cubicBezTo>
                <a:cubicBezTo>
                  <a:pt x="1450" y="2801"/>
                  <a:pt x="1475" y="2826"/>
                  <a:pt x="1550" y="2850"/>
                </a:cubicBezTo>
                <a:cubicBezTo>
                  <a:pt x="1600" y="2850"/>
                  <a:pt x="1650" y="2850"/>
                  <a:pt x="1750" y="2875"/>
                </a:cubicBezTo>
                <a:cubicBezTo>
                  <a:pt x="1850" y="2901"/>
                  <a:pt x="2000" y="2775"/>
                  <a:pt x="2025" y="2750"/>
                </a:cubicBezTo>
                <a:cubicBezTo>
                  <a:pt x="2050" y="2726"/>
                  <a:pt x="2025" y="2675"/>
                  <a:pt x="2025" y="2650"/>
                </a:cubicBezTo>
                <a:cubicBezTo>
                  <a:pt x="2025" y="2626"/>
                  <a:pt x="1975" y="2626"/>
                  <a:pt x="1975" y="2601"/>
                </a:cubicBezTo>
                <a:cubicBezTo>
                  <a:pt x="1950" y="2601"/>
                  <a:pt x="1925" y="2550"/>
                  <a:pt x="1900" y="2550"/>
                </a:cubicBezTo>
                <a:cubicBezTo>
                  <a:pt x="1850" y="2550"/>
                  <a:pt x="1850" y="2500"/>
                  <a:pt x="1800" y="2526"/>
                </a:cubicBezTo>
                <a:cubicBezTo>
                  <a:pt x="1775" y="2526"/>
                  <a:pt x="1750" y="2500"/>
                  <a:pt x="1675" y="2450"/>
                </a:cubicBezTo>
                <a:cubicBezTo>
                  <a:pt x="1600" y="2400"/>
                  <a:pt x="1475" y="2350"/>
                  <a:pt x="1450" y="2350"/>
                </a:cubicBezTo>
                <a:cubicBezTo>
                  <a:pt x="1425" y="2375"/>
                  <a:pt x="1425" y="2375"/>
                  <a:pt x="1400" y="2350"/>
                </a:cubicBezTo>
                <a:cubicBezTo>
                  <a:pt x="1400" y="2325"/>
                  <a:pt x="1350" y="2325"/>
                  <a:pt x="1350" y="2350"/>
                </a:cubicBezTo>
                <a:cubicBezTo>
                  <a:pt x="1325" y="2375"/>
                  <a:pt x="1300" y="2325"/>
                  <a:pt x="1250" y="2350"/>
                </a:cubicBezTo>
                <a:cubicBezTo>
                  <a:pt x="1200" y="2350"/>
                  <a:pt x="1200" y="2325"/>
                  <a:pt x="1200" y="2325"/>
                </a:cubicBezTo>
                <a:cubicBezTo>
                  <a:pt x="1200" y="2301"/>
                  <a:pt x="1275" y="2325"/>
                  <a:pt x="1275" y="2301"/>
                </a:cubicBezTo>
                <a:cubicBezTo>
                  <a:pt x="1275" y="2275"/>
                  <a:pt x="1250" y="2301"/>
                  <a:pt x="1200" y="2275"/>
                </a:cubicBezTo>
                <a:cubicBezTo>
                  <a:pt x="1175" y="2250"/>
                  <a:pt x="1150" y="2250"/>
                  <a:pt x="1150" y="2275"/>
                </a:cubicBezTo>
                <a:cubicBezTo>
                  <a:pt x="1125" y="2301"/>
                  <a:pt x="1100" y="2301"/>
                  <a:pt x="1075" y="2275"/>
                </a:cubicBezTo>
                <a:lnTo>
                  <a:pt x="1075" y="2275"/>
                </a:lnTo>
                <a:cubicBezTo>
                  <a:pt x="1075" y="2301"/>
                  <a:pt x="1050" y="2301"/>
                  <a:pt x="1025" y="2301"/>
                </a:cubicBezTo>
                <a:cubicBezTo>
                  <a:pt x="999" y="2301"/>
                  <a:pt x="975" y="2350"/>
                  <a:pt x="950" y="2350"/>
                </a:cubicBezTo>
                <a:cubicBezTo>
                  <a:pt x="925" y="2350"/>
                  <a:pt x="900" y="2375"/>
                  <a:pt x="875" y="2400"/>
                </a:cubicBezTo>
                <a:cubicBezTo>
                  <a:pt x="875" y="2425"/>
                  <a:pt x="850" y="2400"/>
                  <a:pt x="850" y="2425"/>
                </a:cubicBezTo>
                <a:cubicBezTo>
                  <a:pt x="850" y="2450"/>
                  <a:pt x="850" y="2450"/>
                  <a:pt x="825" y="2475"/>
                </a:cubicBezTo>
                <a:cubicBezTo>
                  <a:pt x="825" y="2500"/>
                  <a:pt x="825" y="2500"/>
                  <a:pt x="850" y="2526"/>
                </a:cubicBezTo>
                <a:cubicBezTo>
                  <a:pt x="875" y="2550"/>
                  <a:pt x="900" y="2550"/>
                  <a:pt x="900" y="2575"/>
                </a:cubicBezTo>
                <a:cubicBezTo>
                  <a:pt x="925" y="2575"/>
                  <a:pt x="975" y="2626"/>
                  <a:pt x="975" y="2626"/>
                </a:cubicBezTo>
                <a:cubicBezTo>
                  <a:pt x="975" y="2650"/>
                  <a:pt x="925" y="2701"/>
                  <a:pt x="925" y="2701"/>
                </a:cubicBezTo>
                <a:cubicBezTo>
                  <a:pt x="900" y="2726"/>
                  <a:pt x="875" y="2750"/>
                  <a:pt x="900" y="2750"/>
                </a:cubicBezTo>
                <a:cubicBezTo>
                  <a:pt x="900" y="2775"/>
                  <a:pt x="950" y="2850"/>
                  <a:pt x="975" y="2901"/>
                </a:cubicBezTo>
                <a:cubicBezTo>
                  <a:pt x="999" y="2950"/>
                  <a:pt x="975" y="2926"/>
                  <a:pt x="950" y="2950"/>
                </a:cubicBezTo>
                <a:cubicBezTo>
                  <a:pt x="925" y="2975"/>
                  <a:pt x="950" y="3001"/>
                  <a:pt x="950" y="3026"/>
                </a:cubicBezTo>
                <a:cubicBezTo>
                  <a:pt x="975" y="3050"/>
                  <a:pt x="925" y="3050"/>
                  <a:pt x="950" y="3050"/>
                </a:cubicBezTo>
                <a:cubicBezTo>
                  <a:pt x="950" y="3075"/>
                  <a:pt x="975" y="3075"/>
                  <a:pt x="975" y="3075"/>
                </a:cubicBezTo>
                <a:cubicBezTo>
                  <a:pt x="999" y="3101"/>
                  <a:pt x="950" y="3101"/>
                  <a:pt x="975" y="3126"/>
                </a:cubicBezTo>
                <a:cubicBezTo>
                  <a:pt x="975" y="3150"/>
                  <a:pt x="1025" y="3150"/>
                  <a:pt x="1025" y="3175"/>
                </a:cubicBezTo>
                <a:cubicBezTo>
                  <a:pt x="1025" y="3201"/>
                  <a:pt x="950" y="3226"/>
                  <a:pt x="975" y="3226"/>
                </a:cubicBezTo>
                <a:cubicBezTo>
                  <a:pt x="975" y="3250"/>
                  <a:pt x="1050" y="3275"/>
                  <a:pt x="1075" y="3326"/>
                </a:cubicBezTo>
                <a:cubicBezTo>
                  <a:pt x="1125" y="3375"/>
                  <a:pt x="1125" y="3375"/>
                  <a:pt x="1100" y="3401"/>
                </a:cubicBezTo>
                <a:cubicBezTo>
                  <a:pt x="1100" y="3450"/>
                  <a:pt x="999" y="3475"/>
                  <a:pt x="975" y="3526"/>
                </a:cubicBezTo>
                <a:cubicBezTo>
                  <a:pt x="950" y="3575"/>
                  <a:pt x="875" y="3626"/>
                  <a:pt x="825" y="3650"/>
                </a:cubicBezTo>
                <a:cubicBezTo>
                  <a:pt x="799" y="3675"/>
                  <a:pt x="799" y="3701"/>
                  <a:pt x="775" y="3701"/>
                </a:cubicBezTo>
                <a:cubicBezTo>
                  <a:pt x="799" y="3701"/>
                  <a:pt x="799" y="3701"/>
                  <a:pt x="825" y="3701"/>
                </a:cubicBezTo>
                <a:cubicBezTo>
                  <a:pt x="850" y="3675"/>
                  <a:pt x="850" y="3751"/>
                  <a:pt x="875" y="3751"/>
                </a:cubicBezTo>
                <a:cubicBezTo>
                  <a:pt x="900" y="3775"/>
                  <a:pt x="950" y="3751"/>
                  <a:pt x="950" y="3775"/>
                </a:cubicBezTo>
                <a:cubicBezTo>
                  <a:pt x="975" y="3800"/>
                  <a:pt x="950" y="3800"/>
                  <a:pt x="925" y="3775"/>
                </a:cubicBezTo>
                <a:cubicBezTo>
                  <a:pt x="875" y="3775"/>
                  <a:pt x="875" y="3800"/>
                  <a:pt x="825" y="3826"/>
                </a:cubicBezTo>
                <a:cubicBezTo>
                  <a:pt x="799" y="3826"/>
                  <a:pt x="799" y="3851"/>
                  <a:pt x="775" y="3851"/>
                </a:cubicBezTo>
                <a:cubicBezTo>
                  <a:pt x="799" y="3875"/>
                  <a:pt x="775" y="3901"/>
                  <a:pt x="750" y="3926"/>
                </a:cubicBezTo>
                <a:cubicBezTo>
                  <a:pt x="750" y="3951"/>
                  <a:pt x="725" y="3951"/>
                  <a:pt x="725" y="3975"/>
                </a:cubicBezTo>
                <a:cubicBezTo>
                  <a:pt x="725" y="3975"/>
                  <a:pt x="725" y="4001"/>
                  <a:pt x="725" y="4026"/>
                </a:cubicBezTo>
                <a:cubicBezTo>
                  <a:pt x="750" y="4051"/>
                  <a:pt x="750" y="4051"/>
                  <a:pt x="750" y="4075"/>
                </a:cubicBezTo>
                <a:cubicBezTo>
                  <a:pt x="775" y="4101"/>
                  <a:pt x="750" y="4101"/>
                  <a:pt x="725" y="4101"/>
                </a:cubicBezTo>
                <a:cubicBezTo>
                  <a:pt x="725" y="4101"/>
                  <a:pt x="725" y="4126"/>
                  <a:pt x="750" y="4151"/>
                </a:cubicBezTo>
                <a:cubicBezTo>
                  <a:pt x="750" y="4175"/>
                  <a:pt x="750" y="4175"/>
                  <a:pt x="750" y="4201"/>
                </a:cubicBezTo>
                <a:cubicBezTo>
                  <a:pt x="750" y="4226"/>
                  <a:pt x="775" y="4251"/>
                  <a:pt x="775" y="4251"/>
                </a:cubicBezTo>
                <a:cubicBezTo>
                  <a:pt x="799" y="4275"/>
                  <a:pt x="799" y="4301"/>
                  <a:pt x="799" y="4326"/>
                </a:cubicBezTo>
                <a:cubicBezTo>
                  <a:pt x="825" y="4326"/>
                  <a:pt x="825" y="4351"/>
                  <a:pt x="850" y="4326"/>
                </a:cubicBezTo>
                <a:cubicBezTo>
                  <a:pt x="875" y="4326"/>
                  <a:pt x="900" y="4351"/>
                  <a:pt x="900" y="4351"/>
                </a:cubicBezTo>
                <a:cubicBezTo>
                  <a:pt x="925" y="4375"/>
                  <a:pt x="925" y="4375"/>
                  <a:pt x="950" y="4351"/>
                </a:cubicBezTo>
                <a:cubicBezTo>
                  <a:pt x="975" y="4351"/>
                  <a:pt x="1025" y="4375"/>
                  <a:pt x="1050" y="4375"/>
                </a:cubicBezTo>
                <a:cubicBezTo>
                  <a:pt x="1050" y="4401"/>
                  <a:pt x="1050" y="4426"/>
                  <a:pt x="1050" y="4451"/>
                </a:cubicBezTo>
                <a:cubicBezTo>
                  <a:pt x="1050" y="4475"/>
                  <a:pt x="1050" y="4501"/>
                  <a:pt x="1075" y="4526"/>
                </a:cubicBezTo>
                <a:cubicBezTo>
                  <a:pt x="1075" y="4526"/>
                  <a:pt x="1075" y="4551"/>
                  <a:pt x="1100" y="4575"/>
                </a:cubicBezTo>
                <a:cubicBezTo>
                  <a:pt x="1125" y="4575"/>
                  <a:pt x="1150" y="4626"/>
                  <a:pt x="1150" y="4626"/>
                </a:cubicBezTo>
                <a:cubicBezTo>
                  <a:pt x="1175" y="4626"/>
                  <a:pt x="1200" y="4651"/>
                  <a:pt x="1225" y="4675"/>
                </a:cubicBezTo>
                <a:cubicBezTo>
                  <a:pt x="1225" y="4701"/>
                  <a:pt x="1175" y="4701"/>
                  <a:pt x="1175" y="4726"/>
                </a:cubicBezTo>
                <a:cubicBezTo>
                  <a:pt x="1150" y="4726"/>
                  <a:pt x="1100" y="4701"/>
                  <a:pt x="1100" y="4701"/>
                </a:cubicBezTo>
                <a:cubicBezTo>
                  <a:pt x="1075" y="4726"/>
                  <a:pt x="1100" y="4751"/>
                  <a:pt x="1125" y="4801"/>
                </a:cubicBezTo>
                <a:cubicBezTo>
                  <a:pt x="1125" y="4851"/>
                  <a:pt x="1125" y="4851"/>
                  <a:pt x="1150" y="4851"/>
                </a:cubicBezTo>
                <a:cubicBezTo>
                  <a:pt x="1175" y="4851"/>
                  <a:pt x="1175" y="4826"/>
                  <a:pt x="1200" y="4826"/>
                </a:cubicBezTo>
                <a:cubicBezTo>
                  <a:pt x="1200" y="4801"/>
                  <a:pt x="1250" y="4826"/>
                  <a:pt x="1250" y="4826"/>
                </a:cubicBezTo>
                <a:cubicBezTo>
                  <a:pt x="1275" y="4801"/>
                  <a:pt x="1325" y="4801"/>
                  <a:pt x="1325" y="4826"/>
                </a:cubicBezTo>
                <a:cubicBezTo>
                  <a:pt x="1350" y="4851"/>
                  <a:pt x="1350" y="4875"/>
                  <a:pt x="1350" y="4901"/>
                </a:cubicBezTo>
                <a:cubicBezTo>
                  <a:pt x="1350" y="4901"/>
                  <a:pt x="1350" y="4926"/>
                  <a:pt x="1375" y="4951"/>
                </a:cubicBezTo>
                <a:cubicBezTo>
                  <a:pt x="1375" y="4976"/>
                  <a:pt x="1425" y="4951"/>
                  <a:pt x="1450" y="4976"/>
                </a:cubicBezTo>
                <a:cubicBezTo>
                  <a:pt x="1450" y="4976"/>
                  <a:pt x="1475" y="5026"/>
                  <a:pt x="1475" y="5051"/>
                </a:cubicBezTo>
                <a:cubicBezTo>
                  <a:pt x="1475" y="5051"/>
                  <a:pt x="1500" y="5076"/>
                  <a:pt x="1525" y="5051"/>
                </a:cubicBezTo>
                <a:lnTo>
                  <a:pt x="1550" y="5076"/>
                </a:lnTo>
                <a:cubicBezTo>
                  <a:pt x="1575" y="5100"/>
                  <a:pt x="1600" y="5076"/>
                  <a:pt x="1600" y="5076"/>
                </a:cubicBezTo>
                <a:cubicBezTo>
                  <a:pt x="1625" y="5076"/>
                  <a:pt x="1650" y="5051"/>
                  <a:pt x="1650" y="5076"/>
                </a:cubicBezTo>
                <a:cubicBezTo>
                  <a:pt x="1675" y="5076"/>
                  <a:pt x="1700" y="5100"/>
                  <a:pt x="1700" y="5126"/>
                </a:cubicBezTo>
                <a:cubicBezTo>
                  <a:pt x="1700" y="5126"/>
                  <a:pt x="1750" y="5126"/>
                  <a:pt x="1775" y="5126"/>
                </a:cubicBezTo>
                <a:cubicBezTo>
                  <a:pt x="1800" y="5151"/>
                  <a:pt x="1825" y="5151"/>
                  <a:pt x="1850" y="5151"/>
                </a:cubicBezTo>
                <a:cubicBezTo>
                  <a:pt x="1875" y="5176"/>
                  <a:pt x="1900" y="5176"/>
                  <a:pt x="1925" y="5176"/>
                </a:cubicBezTo>
                <a:cubicBezTo>
                  <a:pt x="1925" y="5200"/>
                  <a:pt x="1875" y="5226"/>
                  <a:pt x="1875" y="5226"/>
                </a:cubicBezTo>
                <a:lnTo>
                  <a:pt x="1900" y="5251"/>
                </a:lnTo>
                <a:cubicBezTo>
                  <a:pt x="1900" y="5276"/>
                  <a:pt x="1875" y="5276"/>
                  <a:pt x="1875" y="5276"/>
                </a:cubicBezTo>
                <a:lnTo>
                  <a:pt x="1900" y="5301"/>
                </a:lnTo>
                <a:cubicBezTo>
                  <a:pt x="1900" y="5326"/>
                  <a:pt x="1875" y="5351"/>
                  <a:pt x="1875" y="5376"/>
                </a:cubicBezTo>
                <a:cubicBezTo>
                  <a:pt x="1875" y="5376"/>
                  <a:pt x="1825" y="5376"/>
                  <a:pt x="1800" y="5376"/>
                </a:cubicBezTo>
                <a:cubicBezTo>
                  <a:pt x="1800" y="5376"/>
                  <a:pt x="1750" y="5426"/>
                  <a:pt x="1725" y="5426"/>
                </a:cubicBezTo>
                <a:lnTo>
                  <a:pt x="1725" y="5451"/>
                </a:lnTo>
                <a:cubicBezTo>
                  <a:pt x="1775" y="5451"/>
                  <a:pt x="1825" y="5451"/>
                  <a:pt x="1825" y="5451"/>
                </a:cubicBezTo>
                <a:cubicBezTo>
                  <a:pt x="1825" y="5476"/>
                  <a:pt x="1725" y="5526"/>
                  <a:pt x="1700" y="5526"/>
                </a:cubicBezTo>
                <a:cubicBezTo>
                  <a:pt x="1700" y="5526"/>
                  <a:pt x="1750" y="5551"/>
                  <a:pt x="1750" y="5576"/>
                </a:cubicBezTo>
                <a:cubicBezTo>
                  <a:pt x="1750" y="5601"/>
                  <a:pt x="1675" y="5601"/>
                  <a:pt x="1700" y="5626"/>
                </a:cubicBezTo>
                <a:cubicBezTo>
                  <a:pt x="1700" y="5676"/>
                  <a:pt x="1675" y="5676"/>
                  <a:pt x="1625" y="5676"/>
                </a:cubicBezTo>
                <a:cubicBezTo>
                  <a:pt x="1600" y="5676"/>
                  <a:pt x="1600" y="5701"/>
                  <a:pt x="1600" y="5701"/>
                </a:cubicBezTo>
                <a:cubicBezTo>
                  <a:pt x="1625" y="5701"/>
                  <a:pt x="1625" y="5751"/>
                  <a:pt x="1675" y="5751"/>
                </a:cubicBezTo>
                <a:cubicBezTo>
                  <a:pt x="1750" y="5776"/>
                  <a:pt x="1800" y="5826"/>
                  <a:pt x="1850" y="5876"/>
                </a:cubicBezTo>
                <a:cubicBezTo>
                  <a:pt x="1875" y="5901"/>
                  <a:pt x="1875" y="5901"/>
                  <a:pt x="1875" y="5901"/>
                </a:cubicBezTo>
                <a:cubicBezTo>
                  <a:pt x="1900" y="5901"/>
                  <a:pt x="1900" y="5876"/>
                  <a:pt x="1925" y="5876"/>
                </a:cubicBezTo>
                <a:cubicBezTo>
                  <a:pt x="1950" y="5876"/>
                  <a:pt x="2000" y="5901"/>
                  <a:pt x="2025" y="5926"/>
                </a:cubicBezTo>
                <a:cubicBezTo>
                  <a:pt x="2050" y="5951"/>
                  <a:pt x="2175" y="5926"/>
                  <a:pt x="2175" y="5926"/>
                </a:cubicBezTo>
                <a:cubicBezTo>
                  <a:pt x="2200" y="5951"/>
                  <a:pt x="2225" y="5976"/>
                  <a:pt x="2225" y="5976"/>
                </a:cubicBezTo>
                <a:cubicBezTo>
                  <a:pt x="2250" y="5976"/>
                  <a:pt x="2275" y="6001"/>
                  <a:pt x="2300" y="6001"/>
                </a:cubicBezTo>
                <a:cubicBezTo>
                  <a:pt x="2300" y="5976"/>
                  <a:pt x="2375" y="5976"/>
                  <a:pt x="2401" y="5976"/>
                </a:cubicBezTo>
                <a:cubicBezTo>
                  <a:pt x="2401" y="5976"/>
                  <a:pt x="2401" y="6001"/>
                  <a:pt x="2425" y="6001"/>
                </a:cubicBezTo>
                <a:cubicBezTo>
                  <a:pt x="2450" y="6001"/>
                  <a:pt x="2450" y="6051"/>
                  <a:pt x="2450" y="6051"/>
                </a:cubicBezTo>
                <a:cubicBezTo>
                  <a:pt x="2475" y="6051"/>
                  <a:pt x="2500" y="6101"/>
                  <a:pt x="2550" y="6101"/>
                </a:cubicBezTo>
                <a:cubicBezTo>
                  <a:pt x="2575" y="6101"/>
                  <a:pt x="2601" y="6151"/>
                  <a:pt x="2601" y="6151"/>
                </a:cubicBezTo>
                <a:cubicBezTo>
                  <a:pt x="2625" y="6151"/>
                  <a:pt x="2650" y="6176"/>
                  <a:pt x="2650" y="6151"/>
                </a:cubicBezTo>
                <a:cubicBezTo>
                  <a:pt x="2650" y="6126"/>
                  <a:pt x="2701" y="6126"/>
                  <a:pt x="2725" y="6101"/>
                </a:cubicBezTo>
                <a:cubicBezTo>
                  <a:pt x="2650" y="6026"/>
                  <a:pt x="2601" y="5976"/>
                  <a:pt x="2601" y="5951"/>
                </a:cubicBezTo>
                <a:cubicBezTo>
                  <a:pt x="2601" y="5901"/>
                  <a:pt x="2625" y="5851"/>
                  <a:pt x="2575" y="5801"/>
                </a:cubicBezTo>
                <a:cubicBezTo>
                  <a:pt x="2500" y="5751"/>
                  <a:pt x="2575" y="5726"/>
                  <a:pt x="2625" y="5676"/>
                </a:cubicBezTo>
                <a:cubicBezTo>
                  <a:pt x="2650" y="5626"/>
                  <a:pt x="2725" y="5601"/>
                  <a:pt x="2775" y="5576"/>
                </a:cubicBezTo>
                <a:cubicBezTo>
                  <a:pt x="2775" y="5576"/>
                  <a:pt x="2775" y="5551"/>
                  <a:pt x="2750" y="5551"/>
                </a:cubicBezTo>
                <a:cubicBezTo>
                  <a:pt x="2725" y="5551"/>
                  <a:pt x="2701" y="5526"/>
                  <a:pt x="2725" y="5526"/>
                </a:cubicBezTo>
                <a:cubicBezTo>
                  <a:pt x="2750" y="5501"/>
                  <a:pt x="2750" y="5501"/>
                  <a:pt x="2725" y="5451"/>
                </a:cubicBezTo>
                <a:cubicBezTo>
                  <a:pt x="2701" y="5426"/>
                  <a:pt x="2675" y="5401"/>
                  <a:pt x="2650" y="5401"/>
                </a:cubicBezTo>
                <a:cubicBezTo>
                  <a:pt x="2650" y="5401"/>
                  <a:pt x="2625" y="5376"/>
                  <a:pt x="2601" y="5401"/>
                </a:cubicBezTo>
                <a:cubicBezTo>
                  <a:pt x="2575" y="5401"/>
                  <a:pt x="2575" y="5376"/>
                  <a:pt x="2575" y="5351"/>
                </a:cubicBezTo>
                <a:cubicBezTo>
                  <a:pt x="2575" y="5326"/>
                  <a:pt x="2525" y="5326"/>
                  <a:pt x="2525" y="5301"/>
                </a:cubicBezTo>
                <a:cubicBezTo>
                  <a:pt x="2525" y="5301"/>
                  <a:pt x="2525" y="5251"/>
                  <a:pt x="2550" y="5251"/>
                </a:cubicBezTo>
                <a:lnTo>
                  <a:pt x="2575" y="5226"/>
                </a:lnTo>
                <a:cubicBezTo>
                  <a:pt x="2575" y="5200"/>
                  <a:pt x="2525" y="5200"/>
                  <a:pt x="2550" y="5176"/>
                </a:cubicBezTo>
                <a:cubicBezTo>
                  <a:pt x="2575" y="5151"/>
                  <a:pt x="2601" y="5151"/>
                  <a:pt x="2601" y="5126"/>
                </a:cubicBezTo>
                <a:cubicBezTo>
                  <a:pt x="2601" y="5076"/>
                  <a:pt x="2625" y="5051"/>
                  <a:pt x="2650" y="5076"/>
                </a:cubicBezTo>
                <a:cubicBezTo>
                  <a:pt x="2675" y="5100"/>
                  <a:pt x="2701" y="5151"/>
                  <a:pt x="2725" y="5151"/>
                </a:cubicBezTo>
                <a:cubicBezTo>
                  <a:pt x="2750" y="5126"/>
                  <a:pt x="2750" y="5100"/>
                  <a:pt x="2725" y="5076"/>
                </a:cubicBezTo>
                <a:cubicBezTo>
                  <a:pt x="2725" y="5076"/>
                  <a:pt x="2725" y="5051"/>
                  <a:pt x="2750" y="5026"/>
                </a:cubicBezTo>
                <a:cubicBezTo>
                  <a:pt x="2801" y="5026"/>
                  <a:pt x="2775" y="5001"/>
                  <a:pt x="2801" y="5001"/>
                </a:cubicBezTo>
                <a:cubicBezTo>
                  <a:pt x="2850" y="5001"/>
                  <a:pt x="2901" y="4951"/>
                  <a:pt x="2901" y="4951"/>
                </a:cubicBezTo>
                <a:cubicBezTo>
                  <a:pt x="2925" y="4926"/>
                  <a:pt x="2975" y="4926"/>
                  <a:pt x="2975" y="4926"/>
                </a:cubicBezTo>
                <a:cubicBezTo>
                  <a:pt x="3001" y="4926"/>
                  <a:pt x="3025" y="4951"/>
                  <a:pt x="3025" y="4926"/>
                </a:cubicBezTo>
                <a:cubicBezTo>
                  <a:pt x="3050" y="4901"/>
                  <a:pt x="3101" y="4901"/>
                  <a:pt x="3101" y="4926"/>
                </a:cubicBezTo>
                <a:cubicBezTo>
                  <a:pt x="3101" y="4951"/>
                  <a:pt x="3175" y="4951"/>
                  <a:pt x="3201" y="4951"/>
                </a:cubicBezTo>
                <a:cubicBezTo>
                  <a:pt x="3225" y="4976"/>
                  <a:pt x="3275" y="5001"/>
                  <a:pt x="3275" y="5026"/>
                </a:cubicBezTo>
                <a:cubicBezTo>
                  <a:pt x="3275" y="5051"/>
                  <a:pt x="3301" y="5076"/>
                  <a:pt x="3301" y="5026"/>
                </a:cubicBezTo>
                <a:cubicBezTo>
                  <a:pt x="3301" y="5001"/>
                  <a:pt x="3326" y="5026"/>
                  <a:pt x="3375" y="5026"/>
                </a:cubicBezTo>
                <a:cubicBezTo>
                  <a:pt x="3401" y="5051"/>
                  <a:pt x="3450" y="5051"/>
                  <a:pt x="3450" y="5026"/>
                </a:cubicBezTo>
                <a:cubicBezTo>
                  <a:pt x="3450" y="5001"/>
                  <a:pt x="3526" y="4976"/>
                  <a:pt x="3550" y="5001"/>
                </a:cubicBezTo>
                <a:cubicBezTo>
                  <a:pt x="3575" y="5026"/>
                  <a:pt x="3575" y="5026"/>
                  <a:pt x="3601" y="5001"/>
                </a:cubicBezTo>
                <a:cubicBezTo>
                  <a:pt x="3626" y="4976"/>
                  <a:pt x="3675" y="4976"/>
                  <a:pt x="3701" y="5001"/>
                </a:cubicBezTo>
                <a:cubicBezTo>
                  <a:pt x="3701" y="5026"/>
                  <a:pt x="3726" y="5026"/>
                  <a:pt x="3750" y="5026"/>
                </a:cubicBezTo>
                <a:cubicBezTo>
                  <a:pt x="3775" y="5026"/>
                  <a:pt x="3775" y="5076"/>
                  <a:pt x="3800" y="5076"/>
                </a:cubicBezTo>
                <a:cubicBezTo>
                  <a:pt x="3826" y="5051"/>
                  <a:pt x="3800" y="5026"/>
                  <a:pt x="3826" y="5026"/>
                </a:cubicBezTo>
                <a:cubicBezTo>
                  <a:pt x="3850" y="5026"/>
                  <a:pt x="3875" y="5051"/>
                  <a:pt x="3901" y="5051"/>
                </a:cubicBezTo>
                <a:cubicBezTo>
                  <a:pt x="3926" y="5051"/>
                  <a:pt x="3950" y="5051"/>
                  <a:pt x="3950" y="5026"/>
                </a:cubicBezTo>
                <a:cubicBezTo>
                  <a:pt x="3950" y="5001"/>
                  <a:pt x="3950" y="4951"/>
                  <a:pt x="3926" y="4951"/>
                </a:cubicBezTo>
                <a:cubicBezTo>
                  <a:pt x="3926" y="4951"/>
                  <a:pt x="3901" y="4926"/>
                  <a:pt x="3875" y="4926"/>
                </a:cubicBezTo>
                <a:cubicBezTo>
                  <a:pt x="3850" y="4926"/>
                  <a:pt x="3826" y="4875"/>
                  <a:pt x="3850" y="4875"/>
                </a:cubicBezTo>
                <a:cubicBezTo>
                  <a:pt x="3875" y="4875"/>
                  <a:pt x="3901" y="4851"/>
                  <a:pt x="3901" y="4826"/>
                </a:cubicBezTo>
                <a:cubicBezTo>
                  <a:pt x="3901" y="4801"/>
                  <a:pt x="3875" y="4775"/>
                  <a:pt x="3926" y="4751"/>
                </a:cubicBezTo>
                <a:cubicBezTo>
                  <a:pt x="3950" y="4751"/>
                  <a:pt x="4026" y="4751"/>
                  <a:pt x="4026" y="4751"/>
                </a:cubicBezTo>
                <a:cubicBezTo>
                  <a:pt x="4026" y="4726"/>
                  <a:pt x="3950" y="4726"/>
                  <a:pt x="3926" y="4701"/>
                </a:cubicBezTo>
                <a:cubicBezTo>
                  <a:pt x="3926" y="4675"/>
                  <a:pt x="3926" y="4626"/>
                  <a:pt x="3926" y="4626"/>
                </a:cubicBezTo>
                <a:cubicBezTo>
                  <a:pt x="3950" y="4626"/>
                  <a:pt x="3975" y="4626"/>
                  <a:pt x="4001" y="4626"/>
                </a:cubicBezTo>
                <a:cubicBezTo>
                  <a:pt x="4026" y="4601"/>
                  <a:pt x="4101" y="4626"/>
                  <a:pt x="4126" y="4601"/>
                </a:cubicBezTo>
                <a:cubicBezTo>
                  <a:pt x="4151" y="4575"/>
                  <a:pt x="4226" y="4575"/>
                  <a:pt x="4275" y="4575"/>
                </a:cubicBezTo>
                <a:cubicBezTo>
                  <a:pt x="4301" y="4575"/>
                  <a:pt x="4326" y="4551"/>
                  <a:pt x="4351" y="4551"/>
                </a:cubicBezTo>
                <a:cubicBezTo>
                  <a:pt x="4401" y="4551"/>
                  <a:pt x="4475" y="4526"/>
                  <a:pt x="4501" y="4526"/>
                </a:cubicBezTo>
                <a:cubicBezTo>
                  <a:pt x="4526" y="4526"/>
                  <a:pt x="4626" y="4501"/>
                  <a:pt x="4626" y="4475"/>
                </a:cubicBezTo>
                <a:cubicBezTo>
                  <a:pt x="4626" y="4451"/>
                  <a:pt x="4726" y="4451"/>
                  <a:pt x="4751" y="4451"/>
                </a:cubicBezTo>
                <a:cubicBezTo>
                  <a:pt x="4775" y="4451"/>
                  <a:pt x="4801" y="4475"/>
                  <a:pt x="4826" y="4451"/>
                </a:cubicBezTo>
                <a:cubicBezTo>
                  <a:pt x="4851" y="4451"/>
                  <a:pt x="4875" y="4475"/>
                  <a:pt x="4875" y="4501"/>
                </a:cubicBezTo>
                <a:cubicBezTo>
                  <a:pt x="4875" y="4526"/>
                  <a:pt x="4901" y="4551"/>
                  <a:pt x="4901" y="4575"/>
                </a:cubicBezTo>
                <a:cubicBezTo>
                  <a:pt x="4901" y="4575"/>
                  <a:pt x="4875" y="4601"/>
                  <a:pt x="4901" y="4601"/>
                </a:cubicBezTo>
                <a:cubicBezTo>
                  <a:pt x="4901" y="4626"/>
                  <a:pt x="4951" y="4601"/>
                  <a:pt x="4975" y="4601"/>
                </a:cubicBezTo>
                <a:cubicBezTo>
                  <a:pt x="5001" y="4575"/>
                  <a:pt x="5001" y="4601"/>
                  <a:pt x="5001" y="4601"/>
                </a:cubicBezTo>
                <a:cubicBezTo>
                  <a:pt x="5001" y="4626"/>
                  <a:pt x="5026" y="4626"/>
                  <a:pt x="5026" y="4626"/>
                </a:cubicBezTo>
                <a:cubicBezTo>
                  <a:pt x="5026" y="4601"/>
                  <a:pt x="5076" y="4601"/>
                  <a:pt x="5076" y="4626"/>
                </a:cubicBezTo>
                <a:cubicBezTo>
                  <a:pt x="5100" y="4626"/>
                  <a:pt x="5126" y="4601"/>
                  <a:pt x="5126" y="4626"/>
                </a:cubicBezTo>
                <a:cubicBezTo>
                  <a:pt x="5126" y="4651"/>
                  <a:pt x="5076" y="4675"/>
                  <a:pt x="5100" y="4701"/>
                </a:cubicBezTo>
                <a:cubicBezTo>
                  <a:pt x="5126" y="4726"/>
                  <a:pt x="5126" y="4675"/>
                  <a:pt x="5176" y="4675"/>
                </a:cubicBezTo>
                <a:cubicBezTo>
                  <a:pt x="5201" y="4675"/>
                  <a:pt x="5251" y="4651"/>
                  <a:pt x="5276" y="4626"/>
                </a:cubicBezTo>
                <a:cubicBezTo>
                  <a:pt x="5300" y="4626"/>
                  <a:pt x="5326" y="4601"/>
                  <a:pt x="5351" y="4575"/>
                </a:cubicBezTo>
                <a:cubicBezTo>
                  <a:pt x="5376" y="4575"/>
                  <a:pt x="5426" y="4575"/>
                  <a:pt x="5426" y="4601"/>
                </a:cubicBezTo>
                <a:cubicBezTo>
                  <a:pt x="5401" y="4601"/>
                  <a:pt x="5376" y="4651"/>
                  <a:pt x="5451" y="4651"/>
                </a:cubicBezTo>
                <a:cubicBezTo>
                  <a:pt x="5501" y="4675"/>
                  <a:pt x="5576" y="4801"/>
                  <a:pt x="5626" y="4875"/>
                </a:cubicBezTo>
                <a:cubicBezTo>
                  <a:pt x="5651" y="4926"/>
                  <a:pt x="5701" y="5026"/>
                  <a:pt x="5726" y="5026"/>
                </a:cubicBezTo>
                <a:cubicBezTo>
                  <a:pt x="5726" y="5026"/>
                  <a:pt x="5751" y="4976"/>
                  <a:pt x="5776" y="4976"/>
                </a:cubicBezTo>
                <a:cubicBezTo>
                  <a:pt x="5801" y="4976"/>
                  <a:pt x="5826" y="5026"/>
                  <a:pt x="5851" y="5026"/>
                </a:cubicBezTo>
                <a:cubicBezTo>
                  <a:pt x="5876" y="5026"/>
                  <a:pt x="5901" y="5051"/>
                  <a:pt x="5926" y="5051"/>
                </a:cubicBezTo>
                <a:cubicBezTo>
                  <a:pt x="5951" y="5026"/>
                  <a:pt x="6001" y="5001"/>
                  <a:pt x="6026" y="5026"/>
                </a:cubicBezTo>
                <a:cubicBezTo>
                  <a:pt x="6051" y="5026"/>
                  <a:pt x="6076" y="5026"/>
                  <a:pt x="6101" y="5076"/>
                </a:cubicBezTo>
                <a:cubicBezTo>
                  <a:pt x="6101" y="5100"/>
                  <a:pt x="6126" y="5100"/>
                  <a:pt x="6151" y="5100"/>
                </a:cubicBezTo>
                <a:cubicBezTo>
                  <a:pt x="6176" y="5100"/>
                  <a:pt x="6176" y="5126"/>
                  <a:pt x="6176" y="5151"/>
                </a:cubicBezTo>
                <a:cubicBezTo>
                  <a:pt x="6176" y="5176"/>
                  <a:pt x="6201" y="5176"/>
                  <a:pt x="6226" y="5176"/>
                </a:cubicBezTo>
                <a:cubicBezTo>
                  <a:pt x="6226" y="5176"/>
                  <a:pt x="6276" y="5176"/>
                  <a:pt x="6301" y="5176"/>
                </a:cubicBezTo>
                <a:cubicBezTo>
                  <a:pt x="6301" y="5176"/>
                  <a:pt x="6326" y="5151"/>
                  <a:pt x="6326" y="5176"/>
                </a:cubicBezTo>
                <a:cubicBezTo>
                  <a:pt x="6326" y="5200"/>
                  <a:pt x="6351" y="5226"/>
                  <a:pt x="6376" y="5226"/>
                </a:cubicBezTo>
                <a:cubicBezTo>
                  <a:pt x="6376" y="5226"/>
                  <a:pt x="6426" y="5251"/>
                  <a:pt x="6426" y="5226"/>
                </a:cubicBezTo>
                <a:cubicBezTo>
                  <a:pt x="6426" y="5200"/>
                  <a:pt x="6476" y="5200"/>
                  <a:pt x="6476" y="5200"/>
                </a:cubicBezTo>
                <a:cubicBezTo>
                  <a:pt x="6501" y="5200"/>
                  <a:pt x="6551" y="5176"/>
                  <a:pt x="6576" y="5151"/>
                </a:cubicBezTo>
                <a:cubicBezTo>
                  <a:pt x="6576" y="5126"/>
                  <a:pt x="6626" y="5126"/>
                  <a:pt x="6651" y="5126"/>
                </a:cubicBezTo>
                <a:cubicBezTo>
                  <a:pt x="6651" y="5100"/>
                  <a:pt x="6701" y="5100"/>
                  <a:pt x="6701" y="5076"/>
                </a:cubicBezTo>
                <a:cubicBezTo>
                  <a:pt x="6701" y="5051"/>
                  <a:pt x="6751" y="5076"/>
                  <a:pt x="6776" y="5051"/>
                </a:cubicBezTo>
                <a:cubicBezTo>
                  <a:pt x="6776" y="5026"/>
                  <a:pt x="6826" y="5026"/>
                  <a:pt x="6826" y="5051"/>
                </a:cubicBezTo>
                <a:cubicBezTo>
                  <a:pt x="6851" y="5051"/>
                  <a:pt x="6951" y="5076"/>
                  <a:pt x="6976" y="5051"/>
                </a:cubicBezTo>
                <a:cubicBezTo>
                  <a:pt x="6976" y="5051"/>
                  <a:pt x="6976" y="5100"/>
                  <a:pt x="7002" y="5126"/>
                </a:cubicBezTo>
                <a:cubicBezTo>
                  <a:pt x="7002" y="5126"/>
                  <a:pt x="7051" y="5151"/>
                  <a:pt x="7076" y="5151"/>
                </a:cubicBezTo>
                <a:cubicBezTo>
                  <a:pt x="7076" y="5126"/>
                  <a:pt x="7126" y="5126"/>
                  <a:pt x="7151" y="5151"/>
                </a:cubicBezTo>
                <a:cubicBezTo>
                  <a:pt x="7176" y="5151"/>
                  <a:pt x="7202" y="5176"/>
                  <a:pt x="7226" y="5151"/>
                </a:cubicBezTo>
                <a:cubicBezTo>
                  <a:pt x="7226" y="5151"/>
                  <a:pt x="7276" y="5126"/>
                  <a:pt x="7302" y="5126"/>
                </a:cubicBezTo>
                <a:cubicBezTo>
                  <a:pt x="7302" y="5100"/>
                  <a:pt x="7302" y="5076"/>
                  <a:pt x="7302" y="5076"/>
                </a:cubicBezTo>
                <a:cubicBezTo>
                  <a:pt x="7276" y="5051"/>
                  <a:pt x="7276" y="5001"/>
                  <a:pt x="7251" y="4976"/>
                </a:cubicBezTo>
                <a:lnTo>
                  <a:pt x="7302" y="4951"/>
                </a:lnTo>
                <a:cubicBezTo>
                  <a:pt x="7302" y="4926"/>
                  <a:pt x="7351" y="4926"/>
                  <a:pt x="7351" y="4901"/>
                </a:cubicBezTo>
                <a:lnTo>
                  <a:pt x="7376" y="4875"/>
                </a:lnTo>
                <a:cubicBezTo>
                  <a:pt x="7402" y="4875"/>
                  <a:pt x="7451" y="4901"/>
                  <a:pt x="7451" y="4901"/>
                </a:cubicBezTo>
                <a:lnTo>
                  <a:pt x="7502" y="4926"/>
                </a:lnTo>
                <a:cubicBezTo>
                  <a:pt x="7526" y="4926"/>
                  <a:pt x="7551" y="4926"/>
                  <a:pt x="7576" y="4951"/>
                </a:cubicBezTo>
                <a:cubicBezTo>
                  <a:pt x="7602" y="4951"/>
                  <a:pt x="7651" y="4951"/>
                  <a:pt x="7676" y="4976"/>
                </a:cubicBezTo>
                <a:cubicBezTo>
                  <a:pt x="7676" y="5001"/>
                  <a:pt x="7676" y="5026"/>
                  <a:pt x="7676" y="5051"/>
                </a:cubicBezTo>
                <a:cubicBezTo>
                  <a:pt x="7702" y="5076"/>
                  <a:pt x="7727" y="5100"/>
                  <a:pt x="7751" y="5100"/>
                </a:cubicBezTo>
                <a:cubicBezTo>
                  <a:pt x="7751" y="5100"/>
                  <a:pt x="7802" y="5126"/>
                  <a:pt x="7827" y="5126"/>
                </a:cubicBezTo>
                <a:cubicBezTo>
                  <a:pt x="7851" y="5126"/>
                  <a:pt x="7876" y="5100"/>
                  <a:pt x="7902" y="5100"/>
                </a:cubicBezTo>
                <a:cubicBezTo>
                  <a:pt x="7902" y="5100"/>
                  <a:pt x="7951" y="5076"/>
                  <a:pt x="7976" y="5076"/>
                </a:cubicBezTo>
                <a:cubicBezTo>
                  <a:pt x="8002" y="5076"/>
                  <a:pt x="8051" y="5100"/>
                  <a:pt x="8076" y="5100"/>
                </a:cubicBezTo>
                <a:cubicBezTo>
                  <a:pt x="8076" y="5100"/>
                  <a:pt x="8127" y="5100"/>
                  <a:pt x="8127" y="5126"/>
                </a:cubicBezTo>
                <a:cubicBezTo>
                  <a:pt x="8151" y="5126"/>
                  <a:pt x="8227" y="5126"/>
                  <a:pt x="8227" y="5151"/>
                </a:cubicBezTo>
                <a:cubicBezTo>
                  <a:pt x="8227" y="5176"/>
                  <a:pt x="8251" y="5176"/>
                  <a:pt x="8276" y="5200"/>
                </a:cubicBezTo>
                <a:cubicBezTo>
                  <a:pt x="8276" y="5226"/>
                  <a:pt x="8376" y="5226"/>
                  <a:pt x="8376" y="5226"/>
                </a:cubicBezTo>
                <a:cubicBezTo>
                  <a:pt x="8402" y="5251"/>
                  <a:pt x="8502" y="5251"/>
                  <a:pt x="8502" y="5226"/>
                </a:cubicBezTo>
                <a:cubicBezTo>
                  <a:pt x="8502" y="5226"/>
                  <a:pt x="8602" y="5200"/>
                  <a:pt x="8627" y="5200"/>
                </a:cubicBezTo>
                <a:cubicBezTo>
                  <a:pt x="8652" y="5176"/>
                  <a:pt x="8702" y="5200"/>
                  <a:pt x="8702" y="5176"/>
                </a:cubicBezTo>
                <a:cubicBezTo>
                  <a:pt x="8702" y="5151"/>
                  <a:pt x="8752" y="5126"/>
                  <a:pt x="8776" y="5126"/>
                </a:cubicBezTo>
                <a:cubicBezTo>
                  <a:pt x="8802" y="5100"/>
                  <a:pt x="8902" y="5100"/>
                  <a:pt x="8902" y="5126"/>
                </a:cubicBezTo>
                <a:cubicBezTo>
                  <a:pt x="8902" y="5151"/>
                  <a:pt x="8952" y="5151"/>
                  <a:pt x="8976" y="5151"/>
                </a:cubicBezTo>
                <a:cubicBezTo>
                  <a:pt x="9002" y="5126"/>
                  <a:pt x="9052" y="5151"/>
                  <a:pt x="9076" y="5176"/>
                </a:cubicBezTo>
                <a:lnTo>
                  <a:pt x="9152" y="5200"/>
                </a:lnTo>
                <a:cubicBezTo>
                  <a:pt x="9176" y="5176"/>
                  <a:pt x="9227" y="5151"/>
                  <a:pt x="9252" y="5151"/>
                </a:cubicBezTo>
                <a:cubicBezTo>
                  <a:pt x="9276" y="5151"/>
                  <a:pt x="9302" y="5126"/>
                  <a:pt x="9302" y="5100"/>
                </a:cubicBezTo>
                <a:cubicBezTo>
                  <a:pt x="9276" y="5076"/>
                  <a:pt x="9327" y="5026"/>
                  <a:pt x="9327" y="5001"/>
                </a:cubicBezTo>
                <a:cubicBezTo>
                  <a:pt x="9352" y="4976"/>
                  <a:pt x="9376" y="4926"/>
                  <a:pt x="9401" y="4926"/>
                </a:cubicBezTo>
                <a:cubicBezTo>
                  <a:pt x="9401" y="4901"/>
                  <a:pt x="9427" y="4875"/>
                  <a:pt x="9427" y="4875"/>
                </a:cubicBezTo>
                <a:cubicBezTo>
                  <a:pt x="9427" y="4851"/>
                  <a:pt x="9427" y="4801"/>
                  <a:pt x="9401" y="4801"/>
                </a:cubicBezTo>
                <a:cubicBezTo>
                  <a:pt x="9401" y="4801"/>
                  <a:pt x="9352" y="4801"/>
                  <a:pt x="9401" y="4751"/>
                </a:cubicBezTo>
                <a:cubicBezTo>
                  <a:pt x="9427" y="4701"/>
                  <a:pt x="9502" y="4701"/>
                  <a:pt x="9527" y="4701"/>
                </a:cubicBezTo>
                <a:cubicBezTo>
                  <a:pt x="9527" y="4701"/>
                  <a:pt x="9627" y="4701"/>
                  <a:pt x="9652" y="4701"/>
                </a:cubicBezTo>
                <a:cubicBezTo>
                  <a:pt x="9702" y="4701"/>
                  <a:pt x="9727" y="4701"/>
                  <a:pt x="9752" y="4726"/>
                </a:cubicBezTo>
                <a:cubicBezTo>
                  <a:pt x="9802" y="4751"/>
                  <a:pt x="9852" y="4726"/>
                  <a:pt x="9877" y="4751"/>
                </a:cubicBezTo>
                <a:cubicBezTo>
                  <a:pt x="9902" y="4775"/>
                  <a:pt x="9952" y="4775"/>
                  <a:pt x="9927" y="4826"/>
                </a:cubicBezTo>
                <a:cubicBezTo>
                  <a:pt x="9927" y="4851"/>
                  <a:pt x="9977" y="4826"/>
                  <a:pt x="9977" y="4901"/>
                </a:cubicBezTo>
                <a:cubicBezTo>
                  <a:pt x="10002" y="4976"/>
                  <a:pt x="10027" y="4976"/>
                  <a:pt x="10027" y="5026"/>
                </a:cubicBezTo>
                <a:cubicBezTo>
                  <a:pt x="10052" y="5051"/>
                  <a:pt x="10102" y="5100"/>
                  <a:pt x="10077" y="5126"/>
                </a:cubicBezTo>
                <a:cubicBezTo>
                  <a:pt x="10077" y="5151"/>
                  <a:pt x="10077" y="5176"/>
                  <a:pt x="10127" y="5176"/>
                </a:cubicBezTo>
                <a:cubicBezTo>
                  <a:pt x="10177" y="5176"/>
                  <a:pt x="10202" y="5226"/>
                  <a:pt x="10202" y="5226"/>
                </a:cubicBezTo>
                <a:cubicBezTo>
                  <a:pt x="10227" y="5200"/>
                  <a:pt x="10277" y="5226"/>
                  <a:pt x="10302" y="5251"/>
                </a:cubicBezTo>
                <a:cubicBezTo>
                  <a:pt x="10327" y="5276"/>
                  <a:pt x="10377" y="5276"/>
                  <a:pt x="10377" y="5301"/>
                </a:cubicBezTo>
                <a:cubicBezTo>
                  <a:pt x="10377" y="5326"/>
                  <a:pt x="10402" y="5351"/>
                  <a:pt x="10402" y="5376"/>
                </a:cubicBezTo>
                <a:cubicBezTo>
                  <a:pt x="10402" y="5401"/>
                  <a:pt x="10452" y="5426"/>
                  <a:pt x="10477" y="5426"/>
                </a:cubicBezTo>
                <a:cubicBezTo>
                  <a:pt x="10527" y="5426"/>
                  <a:pt x="10552" y="5426"/>
                  <a:pt x="10577" y="5401"/>
                </a:cubicBezTo>
                <a:cubicBezTo>
                  <a:pt x="10577" y="5376"/>
                  <a:pt x="10652" y="5376"/>
                  <a:pt x="10652" y="5376"/>
                </a:cubicBezTo>
                <a:cubicBezTo>
                  <a:pt x="10677" y="5351"/>
                  <a:pt x="10727" y="5326"/>
                  <a:pt x="10727" y="5376"/>
                </a:cubicBezTo>
                <a:cubicBezTo>
                  <a:pt x="10727" y="5426"/>
                  <a:pt x="10777" y="5451"/>
                  <a:pt x="10727" y="5476"/>
                </a:cubicBezTo>
                <a:cubicBezTo>
                  <a:pt x="10702" y="5476"/>
                  <a:pt x="10702" y="5551"/>
                  <a:pt x="10677" y="5576"/>
                </a:cubicBezTo>
                <a:cubicBezTo>
                  <a:pt x="10677" y="5626"/>
                  <a:pt x="10627" y="5626"/>
                  <a:pt x="10627" y="5651"/>
                </a:cubicBezTo>
                <a:cubicBezTo>
                  <a:pt x="10627" y="5701"/>
                  <a:pt x="10577" y="5701"/>
                  <a:pt x="10577" y="5726"/>
                </a:cubicBezTo>
                <a:cubicBezTo>
                  <a:pt x="10577" y="5751"/>
                  <a:pt x="10527" y="5726"/>
                  <a:pt x="10502" y="5726"/>
                </a:cubicBezTo>
                <a:cubicBezTo>
                  <a:pt x="10477" y="5701"/>
                  <a:pt x="10452" y="5751"/>
                  <a:pt x="10427" y="5751"/>
                </a:cubicBezTo>
                <a:cubicBezTo>
                  <a:pt x="10402" y="5751"/>
                  <a:pt x="10402" y="5801"/>
                  <a:pt x="10402" y="5826"/>
                </a:cubicBezTo>
                <a:cubicBezTo>
                  <a:pt x="10427" y="5851"/>
                  <a:pt x="10402" y="5876"/>
                  <a:pt x="10427" y="5901"/>
                </a:cubicBezTo>
                <a:cubicBezTo>
                  <a:pt x="10427" y="5926"/>
                  <a:pt x="10427" y="5951"/>
                  <a:pt x="10427" y="5976"/>
                </a:cubicBezTo>
                <a:cubicBezTo>
                  <a:pt x="10452" y="5951"/>
                  <a:pt x="10502" y="5951"/>
                  <a:pt x="10502" y="5951"/>
                </a:cubicBezTo>
                <a:cubicBezTo>
                  <a:pt x="10527" y="5951"/>
                  <a:pt x="10577" y="6001"/>
                  <a:pt x="10602" y="6001"/>
                </a:cubicBezTo>
                <a:cubicBezTo>
                  <a:pt x="10652" y="6001"/>
                  <a:pt x="10827" y="5901"/>
                  <a:pt x="10827" y="5876"/>
                </a:cubicBezTo>
                <a:cubicBezTo>
                  <a:pt x="10827" y="5851"/>
                  <a:pt x="10927" y="5751"/>
                  <a:pt x="10977" y="5701"/>
                </a:cubicBezTo>
                <a:cubicBezTo>
                  <a:pt x="11027" y="5651"/>
                  <a:pt x="11102" y="5576"/>
                  <a:pt x="11127" y="5526"/>
                </a:cubicBezTo>
                <a:cubicBezTo>
                  <a:pt x="11127" y="5476"/>
                  <a:pt x="11202" y="5401"/>
                  <a:pt x="11227" y="5376"/>
                </a:cubicBezTo>
                <a:cubicBezTo>
                  <a:pt x="11227" y="5351"/>
                  <a:pt x="11252" y="5351"/>
                  <a:pt x="11277" y="5276"/>
                </a:cubicBezTo>
                <a:cubicBezTo>
                  <a:pt x="11303" y="5226"/>
                  <a:pt x="11303" y="5051"/>
                  <a:pt x="11327" y="5051"/>
                </a:cubicBezTo>
                <a:cubicBezTo>
                  <a:pt x="11327" y="5026"/>
                  <a:pt x="11327" y="5001"/>
                  <a:pt x="11327" y="4976"/>
                </a:cubicBezTo>
                <a:cubicBezTo>
                  <a:pt x="11352" y="4951"/>
                  <a:pt x="11352" y="4926"/>
                  <a:pt x="11377" y="4926"/>
                </a:cubicBezTo>
                <a:cubicBezTo>
                  <a:pt x="11403" y="4901"/>
                  <a:pt x="11403" y="4875"/>
                  <a:pt x="11377" y="4851"/>
                </a:cubicBezTo>
                <a:cubicBezTo>
                  <a:pt x="11377" y="4826"/>
                  <a:pt x="11377" y="4801"/>
                  <a:pt x="11377" y="4775"/>
                </a:cubicBezTo>
                <a:cubicBezTo>
                  <a:pt x="11377" y="4775"/>
                  <a:pt x="11377" y="4751"/>
                  <a:pt x="11403" y="4751"/>
                </a:cubicBezTo>
                <a:cubicBezTo>
                  <a:pt x="11403" y="4751"/>
                  <a:pt x="11377" y="4726"/>
                  <a:pt x="11352" y="4701"/>
                </a:cubicBezTo>
                <a:cubicBezTo>
                  <a:pt x="11327" y="4701"/>
                  <a:pt x="11303" y="4675"/>
                  <a:pt x="11303" y="4651"/>
                </a:cubicBezTo>
                <a:cubicBezTo>
                  <a:pt x="11303" y="4626"/>
                  <a:pt x="11252" y="4601"/>
                  <a:pt x="11227" y="4601"/>
                </a:cubicBezTo>
                <a:cubicBezTo>
                  <a:pt x="11202" y="4601"/>
                  <a:pt x="11127" y="4575"/>
                  <a:pt x="11152" y="4601"/>
                </a:cubicBezTo>
                <a:cubicBezTo>
                  <a:pt x="11152" y="4626"/>
                  <a:pt x="11152" y="4651"/>
                  <a:pt x="11127" y="4651"/>
                </a:cubicBezTo>
                <a:cubicBezTo>
                  <a:pt x="11102" y="4626"/>
                  <a:pt x="11102" y="4651"/>
                  <a:pt x="11077" y="4675"/>
                </a:cubicBezTo>
                <a:cubicBezTo>
                  <a:pt x="11077" y="4701"/>
                  <a:pt x="11002" y="4701"/>
                  <a:pt x="11027" y="4675"/>
                </a:cubicBezTo>
                <a:cubicBezTo>
                  <a:pt x="11052" y="4651"/>
                  <a:pt x="11027" y="4651"/>
                  <a:pt x="11027" y="4626"/>
                </a:cubicBezTo>
                <a:cubicBezTo>
                  <a:pt x="11027" y="4601"/>
                  <a:pt x="11052" y="4575"/>
                  <a:pt x="11027" y="4575"/>
                </a:cubicBezTo>
                <a:cubicBezTo>
                  <a:pt x="11002" y="4601"/>
                  <a:pt x="11002" y="4651"/>
                  <a:pt x="10977" y="4651"/>
                </a:cubicBezTo>
                <a:cubicBezTo>
                  <a:pt x="10952" y="4651"/>
                  <a:pt x="10952" y="4575"/>
                  <a:pt x="10952" y="4551"/>
                </a:cubicBezTo>
                <a:cubicBezTo>
                  <a:pt x="10977" y="4526"/>
                  <a:pt x="10902" y="4551"/>
                  <a:pt x="10852" y="4551"/>
                </a:cubicBezTo>
                <a:cubicBezTo>
                  <a:pt x="10802" y="4551"/>
                  <a:pt x="10802" y="4501"/>
                  <a:pt x="10852" y="4475"/>
                </a:cubicBezTo>
                <a:cubicBezTo>
                  <a:pt x="10902" y="4451"/>
                  <a:pt x="10902" y="4426"/>
                  <a:pt x="10927" y="4426"/>
                </a:cubicBezTo>
                <a:cubicBezTo>
                  <a:pt x="10952" y="4426"/>
                  <a:pt x="11002" y="4375"/>
                  <a:pt x="11027" y="4351"/>
                </a:cubicBezTo>
                <a:cubicBezTo>
                  <a:pt x="11077" y="4326"/>
                  <a:pt x="11077" y="4301"/>
                  <a:pt x="11102" y="4275"/>
                </a:cubicBezTo>
                <a:cubicBezTo>
                  <a:pt x="11102" y="4275"/>
                  <a:pt x="11177" y="4226"/>
                  <a:pt x="11227" y="4175"/>
                </a:cubicBezTo>
                <a:cubicBezTo>
                  <a:pt x="11277" y="4126"/>
                  <a:pt x="11303" y="4101"/>
                  <a:pt x="11327" y="4075"/>
                </a:cubicBezTo>
                <a:cubicBezTo>
                  <a:pt x="11352" y="4051"/>
                  <a:pt x="11427" y="4026"/>
                  <a:pt x="11427" y="4001"/>
                </a:cubicBezTo>
                <a:cubicBezTo>
                  <a:pt x="11427" y="3975"/>
                  <a:pt x="11527" y="3926"/>
                  <a:pt x="11603" y="3901"/>
                </a:cubicBezTo>
                <a:cubicBezTo>
                  <a:pt x="11677" y="3875"/>
                  <a:pt x="11803" y="3901"/>
                  <a:pt x="11803" y="3926"/>
                </a:cubicBezTo>
                <a:cubicBezTo>
                  <a:pt x="11827" y="3951"/>
                  <a:pt x="11852" y="3951"/>
                  <a:pt x="11852" y="3926"/>
                </a:cubicBezTo>
                <a:cubicBezTo>
                  <a:pt x="11877" y="3901"/>
                  <a:pt x="11903" y="3926"/>
                  <a:pt x="11952" y="3926"/>
                </a:cubicBezTo>
                <a:cubicBezTo>
                  <a:pt x="12003" y="3926"/>
                  <a:pt x="12003" y="3901"/>
                  <a:pt x="12027" y="3901"/>
                </a:cubicBezTo>
                <a:cubicBezTo>
                  <a:pt x="12077" y="3926"/>
                  <a:pt x="12103" y="3926"/>
                  <a:pt x="12127" y="3901"/>
                </a:cubicBezTo>
                <a:cubicBezTo>
                  <a:pt x="12127" y="3851"/>
                  <a:pt x="12228" y="3851"/>
                  <a:pt x="12252" y="3875"/>
                </a:cubicBezTo>
                <a:cubicBezTo>
                  <a:pt x="12277" y="3901"/>
                  <a:pt x="12277" y="3901"/>
                  <a:pt x="12328" y="3875"/>
                </a:cubicBezTo>
                <a:cubicBezTo>
                  <a:pt x="12352" y="3875"/>
                  <a:pt x="12352" y="3926"/>
                  <a:pt x="12377" y="3926"/>
                </a:cubicBezTo>
                <a:cubicBezTo>
                  <a:pt x="12428" y="3926"/>
                  <a:pt x="12402" y="3951"/>
                  <a:pt x="12377" y="3951"/>
                </a:cubicBezTo>
                <a:cubicBezTo>
                  <a:pt x="12352" y="3951"/>
                  <a:pt x="12303" y="3975"/>
                  <a:pt x="12328" y="3975"/>
                </a:cubicBezTo>
                <a:cubicBezTo>
                  <a:pt x="12377" y="4001"/>
                  <a:pt x="12402" y="3975"/>
                  <a:pt x="12428" y="3975"/>
                </a:cubicBezTo>
                <a:cubicBezTo>
                  <a:pt x="12452" y="3975"/>
                  <a:pt x="12503" y="3975"/>
                  <a:pt x="12528" y="3951"/>
                </a:cubicBezTo>
                <a:cubicBezTo>
                  <a:pt x="12577" y="3926"/>
                  <a:pt x="12577" y="3975"/>
                  <a:pt x="12602" y="3951"/>
                </a:cubicBezTo>
                <a:cubicBezTo>
                  <a:pt x="12628" y="3926"/>
                  <a:pt x="12677" y="3926"/>
                  <a:pt x="12703" y="3926"/>
                </a:cubicBezTo>
                <a:cubicBezTo>
                  <a:pt x="12728" y="3926"/>
                  <a:pt x="12703" y="3901"/>
                  <a:pt x="12652" y="3901"/>
                </a:cubicBezTo>
                <a:cubicBezTo>
                  <a:pt x="12628" y="3901"/>
                  <a:pt x="12628" y="3875"/>
                  <a:pt x="12652" y="3826"/>
                </a:cubicBezTo>
                <a:cubicBezTo>
                  <a:pt x="12677" y="3751"/>
                  <a:pt x="12752" y="3726"/>
                  <a:pt x="12777" y="3701"/>
                </a:cubicBezTo>
                <a:cubicBezTo>
                  <a:pt x="12828" y="3650"/>
                  <a:pt x="12852" y="3675"/>
                  <a:pt x="12852" y="3650"/>
                </a:cubicBezTo>
                <a:cubicBezTo>
                  <a:pt x="12852" y="3626"/>
                  <a:pt x="12877" y="3575"/>
                  <a:pt x="12903" y="3575"/>
                </a:cubicBezTo>
                <a:cubicBezTo>
                  <a:pt x="12928" y="3575"/>
                  <a:pt x="13003" y="3575"/>
                  <a:pt x="13053" y="3550"/>
                </a:cubicBezTo>
                <a:cubicBezTo>
                  <a:pt x="13103" y="3526"/>
                  <a:pt x="13103" y="3575"/>
                  <a:pt x="13128" y="3575"/>
                </a:cubicBezTo>
                <a:cubicBezTo>
                  <a:pt x="13153" y="3601"/>
                  <a:pt x="13177" y="3550"/>
                  <a:pt x="13203" y="3550"/>
                </a:cubicBezTo>
                <a:cubicBezTo>
                  <a:pt x="13203" y="3575"/>
                  <a:pt x="13153" y="3601"/>
                  <a:pt x="13153" y="3650"/>
                </a:cubicBezTo>
                <a:cubicBezTo>
                  <a:pt x="13128" y="3675"/>
                  <a:pt x="13177" y="3675"/>
                  <a:pt x="13203" y="3675"/>
                </a:cubicBezTo>
                <a:cubicBezTo>
                  <a:pt x="13228" y="3701"/>
                  <a:pt x="13177" y="3701"/>
                  <a:pt x="13177" y="3726"/>
                </a:cubicBezTo>
                <a:cubicBezTo>
                  <a:pt x="13177" y="3726"/>
                  <a:pt x="13228" y="3726"/>
                  <a:pt x="13277" y="3675"/>
                </a:cubicBezTo>
                <a:cubicBezTo>
                  <a:pt x="13353" y="3601"/>
                  <a:pt x="13403" y="3601"/>
                  <a:pt x="13453" y="3601"/>
                </a:cubicBezTo>
                <a:cubicBezTo>
                  <a:pt x="13477" y="3601"/>
                  <a:pt x="13453" y="3550"/>
                  <a:pt x="13453" y="3501"/>
                </a:cubicBezTo>
                <a:cubicBezTo>
                  <a:pt x="13477" y="3450"/>
                  <a:pt x="13577" y="3426"/>
                  <a:pt x="13628" y="3450"/>
                </a:cubicBezTo>
                <a:cubicBezTo>
                  <a:pt x="13653" y="3450"/>
                  <a:pt x="13653" y="3475"/>
                  <a:pt x="13628" y="3475"/>
                </a:cubicBezTo>
                <a:cubicBezTo>
                  <a:pt x="13577" y="3450"/>
                  <a:pt x="13553" y="3501"/>
                  <a:pt x="13553" y="3550"/>
                </a:cubicBezTo>
                <a:cubicBezTo>
                  <a:pt x="13553" y="3575"/>
                  <a:pt x="13528" y="3601"/>
                  <a:pt x="13528" y="3626"/>
                </a:cubicBezTo>
                <a:cubicBezTo>
                  <a:pt x="13553" y="3626"/>
                  <a:pt x="13503" y="3650"/>
                  <a:pt x="13503" y="3650"/>
                </a:cubicBezTo>
                <a:cubicBezTo>
                  <a:pt x="13503" y="3675"/>
                  <a:pt x="13503" y="3701"/>
                  <a:pt x="13477" y="3701"/>
                </a:cubicBezTo>
                <a:cubicBezTo>
                  <a:pt x="13453" y="3701"/>
                  <a:pt x="13353" y="3726"/>
                  <a:pt x="13353" y="3751"/>
                </a:cubicBezTo>
                <a:cubicBezTo>
                  <a:pt x="13353" y="3800"/>
                  <a:pt x="13303" y="3800"/>
                  <a:pt x="13277" y="3851"/>
                </a:cubicBezTo>
                <a:cubicBezTo>
                  <a:pt x="13253" y="3875"/>
                  <a:pt x="13177" y="3926"/>
                  <a:pt x="13103" y="4001"/>
                </a:cubicBezTo>
                <a:cubicBezTo>
                  <a:pt x="13053" y="4101"/>
                  <a:pt x="12952" y="4101"/>
                  <a:pt x="12952" y="4101"/>
                </a:cubicBezTo>
                <a:cubicBezTo>
                  <a:pt x="12952" y="4126"/>
                  <a:pt x="12877" y="4126"/>
                  <a:pt x="12877" y="4126"/>
                </a:cubicBezTo>
                <a:cubicBezTo>
                  <a:pt x="12852" y="4126"/>
                  <a:pt x="12877" y="4175"/>
                  <a:pt x="12828" y="4251"/>
                </a:cubicBezTo>
                <a:cubicBezTo>
                  <a:pt x="12777" y="4301"/>
                  <a:pt x="12752" y="4375"/>
                  <a:pt x="12752" y="4451"/>
                </a:cubicBezTo>
                <a:cubicBezTo>
                  <a:pt x="12752" y="4526"/>
                  <a:pt x="12777" y="4751"/>
                  <a:pt x="12803" y="4801"/>
                </a:cubicBezTo>
                <a:cubicBezTo>
                  <a:pt x="12828" y="4851"/>
                  <a:pt x="12803" y="4951"/>
                  <a:pt x="12828" y="4951"/>
                </a:cubicBezTo>
                <a:cubicBezTo>
                  <a:pt x="12852" y="4976"/>
                  <a:pt x="12852" y="5026"/>
                  <a:pt x="12852" y="5026"/>
                </a:cubicBezTo>
                <a:cubicBezTo>
                  <a:pt x="12877" y="5051"/>
                  <a:pt x="12928" y="4976"/>
                  <a:pt x="12952" y="4951"/>
                </a:cubicBezTo>
                <a:cubicBezTo>
                  <a:pt x="12977" y="4926"/>
                  <a:pt x="12977" y="4901"/>
                  <a:pt x="13003" y="4901"/>
                </a:cubicBezTo>
                <a:cubicBezTo>
                  <a:pt x="13028" y="4875"/>
                  <a:pt x="13003" y="4801"/>
                  <a:pt x="13028" y="4801"/>
                </a:cubicBezTo>
                <a:cubicBezTo>
                  <a:pt x="13028" y="4775"/>
                  <a:pt x="13077" y="4775"/>
                  <a:pt x="13077" y="4751"/>
                </a:cubicBezTo>
                <a:cubicBezTo>
                  <a:pt x="13103" y="4726"/>
                  <a:pt x="13128" y="4751"/>
                  <a:pt x="13153" y="4751"/>
                </a:cubicBezTo>
                <a:cubicBezTo>
                  <a:pt x="13177" y="4726"/>
                  <a:pt x="13153" y="4675"/>
                  <a:pt x="13153" y="4651"/>
                </a:cubicBezTo>
                <a:cubicBezTo>
                  <a:pt x="13128" y="4626"/>
                  <a:pt x="13203" y="4601"/>
                  <a:pt x="13228" y="4575"/>
                </a:cubicBezTo>
                <a:cubicBezTo>
                  <a:pt x="13277" y="4551"/>
                  <a:pt x="13303" y="4601"/>
                  <a:pt x="13353" y="4551"/>
                </a:cubicBezTo>
                <a:cubicBezTo>
                  <a:pt x="13377" y="4526"/>
                  <a:pt x="13353" y="4475"/>
                  <a:pt x="13328" y="4451"/>
                </a:cubicBezTo>
                <a:cubicBezTo>
                  <a:pt x="13328" y="4451"/>
                  <a:pt x="13377" y="4351"/>
                  <a:pt x="13403" y="4351"/>
                </a:cubicBezTo>
                <a:cubicBezTo>
                  <a:pt x="13428" y="4351"/>
                  <a:pt x="13453" y="4375"/>
                  <a:pt x="13477" y="4351"/>
                </a:cubicBezTo>
                <a:cubicBezTo>
                  <a:pt x="13503" y="4326"/>
                  <a:pt x="13453" y="4275"/>
                  <a:pt x="13428" y="4275"/>
                </a:cubicBezTo>
                <a:cubicBezTo>
                  <a:pt x="13403" y="4275"/>
                  <a:pt x="13403" y="4201"/>
                  <a:pt x="13453" y="4175"/>
                </a:cubicBezTo>
                <a:cubicBezTo>
                  <a:pt x="13503" y="4151"/>
                  <a:pt x="13477" y="4126"/>
                  <a:pt x="13453" y="4126"/>
                </a:cubicBezTo>
                <a:cubicBezTo>
                  <a:pt x="13403" y="4126"/>
                  <a:pt x="13403" y="4126"/>
                  <a:pt x="13377" y="4126"/>
                </a:cubicBezTo>
                <a:cubicBezTo>
                  <a:pt x="13353" y="4126"/>
                  <a:pt x="13328" y="4075"/>
                  <a:pt x="13377" y="4026"/>
                </a:cubicBezTo>
                <a:cubicBezTo>
                  <a:pt x="13403" y="3975"/>
                  <a:pt x="13453" y="4001"/>
                  <a:pt x="13453" y="3951"/>
                </a:cubicBezTo>
                <a:cubicBezTo>
                  <a:pt x="13453" y="3901"/>
                  <a:pt x="13503" y="3851"/>
                  <a:pt x="13528" y="3826"/>
                </a:cubicBezTo>
                <a:cubicBezTo>
                  <a:pt x="13528" y="3800"/>
                  <a:pt x="13577" y="3826"/>
                  <a:pt x="13603" y="3826"/>
                </a:cubicBezTo>
                <a:cubicBezTo>
                  <a:pt x="13628" y="3826"/>
                  <a:pt x="13628" y="3875"/>
                  <a:pt x="13628" y="3851"/>
                </a:cubicBezTo>
                <a:cubicBezTo>
                  <a:pt x="13653" y="3826"/>
                  <a:pt x="13703" y="3751"/>
                  <a:pt x="13728" y="3751"/>
                </a:cubicBezTo>
                <a:cubicBezTo>
                  <a:pt x="13777" y="3751"/>
                  <a:pt x="13753" y="3800"/>
                  <a:pt x="13753" y="3826"/>
                </a:cubicBezTo>
                <a:cubicBezTo>
                  <a:pt x="13753" y="3875"/>
                  <a:pt x="13777" y="3826"/>
                  <a:pt x="13853" y="3775"/>
                </a:cubicBezTo>
                <a:cubicBezTo>
                  <a:pt x="13902" y="3751"/>
                  <a:pt x="14028" y="3751"/>
                  <a:pt x="14078" y="3775"/>
                </a:cubicBezTo>
                <a:cubicBezTo>
                  <a:pt x="14128" y="3775"/>
                  <a:pt x="14128" y="3826"/>
                  <a:pt x="14153" y="3826"/>
                </a:cubicBezTo>
                <a:cubicBezTo>
                  <a:pt x="14178" y="3826"/>
                  <a:pt x="14153" y="3775"/>
                  <a:pt x="14178" y="3775"/>
                </a:cubicBezTo>
                <a:cubicBezTo>
                  <a:pt x="14228" y="3751"/>
                  <a:pt x="14278" y="3726"/>
                  <a:pt x="14328" y="3701"/>
                </a:cubicBezTo>
                <a:cubicBezTo>
                  <a:pt x="14353" y="3650"/>
                  <a:pt x="14353" y="3675"/>
                  <a:pt x="14378" y="3650"/>
                </a:cubicBezTo>
                <a:cubicBezTo>
                  <a:pt x="14403" y="3626"/>
                  <a:pt x="14428" y="3650"/>
                  <a:pt x="14428" y="3626"/>
                </a:cubicBezTo>
                <a:cubicBezTo>
                  <a:pt x="14428" y="3601"/>
                  <a:pt x="14503" y="3575"/>
                  <a:pt x="14578" y="3550"/>
                </a:cubicBezTo>
                <a:cubicBezTo>
                  <a:pt x="14678" y="3526"/>
                  <a:pt x="14778" y="3475"/>
                  <a:pt x="14778" y="3450"/>
                </a:cubicBezTo>
                <a:cubicBezTo>
                  <a:pt x="14778" y="3426"/>
                  <a:pt x="14828" y="3426"/>
                  <a:pt x="14828" y="3450"/>
                </a:cubicBezTo>
                <a:cubicBezTo>
                  <a:pt x="14828" y="3475"/>
                  <a:pt x="14853" y="3450"/>
                  <a:pt x="14903" y="3475"/>
                </a:cubicBezTo>
                <a:cubicBezTo>
                  <a:pt x="14953" y="3475"/>
                  <a:pt x="14978" y="3501"/>
                  <a:pt x="15003" y="3450"/>
                </a:cubicBezTo>
                <a:cubicBezTo>
                  <a:pt x="15053" y="3426"/>
                  <a:pt x="15003" y="3401"/>
                  <a:pt x="15003" y="3375"/>
                </a:cubicBezTo>
                <a:cubicBezTo>
                  <a:pt x="15003" y="3350"/>
                  <a:pt x="14953" y="3326"/>
                  <a:pt x="14953" y="3301"/>
                </a:cubicBezTo>
                <a:cubicBezTo>
                  <a:pt x="14953" y="3275"/>
                  <a:pt x="14903" y="3201"/>
                  <a:pt x="14878" y="3201"/>
                </a:cubicBezTo>
                <a:cubicBezTo>
                  <a:pt x="14878" y="3226"/>
                  <a:pt x="14828" y="3201"/>
                  <a:pt x="14828" y="3175"/>
                </a:cubicBezTo>
                <a:cubicBezTo>
                  <a:pt x="14828" y="3150"/>
                  <a:pt x="14828" y="3126"/>
                  <a:pt x="14803" y="3126"/>
                </a:cubicBezTo>
                <a:cubicBezTo>
                  <a:pt x="14778" y="3150"/>
                  <a:pt x="14728" y="3150"/>
                  <a:pt x="14728" y="3126"/>
                </a:cubicBezTo>
                <a:cubicBezTo>
                  <a:pt x="14703" y="3101"/>
                  <a:pt x="14778" y="3075"/>
                  <a:pt x="14828" y="3101"/>
                </a:cubicBezTo>
                <a:cubicBezTo>
                  <a:pt x="14853" y="3101"/>
                  <a:pt x="14853" y="3126"/>
                  <a:pt x="14878" y="3150"/>
                </a:cubicBezTo>
                <a:cubicBezTo>
                  <a:pt x="14878" y="3150"/>
                  <a:pt x="14953" y="3150"/>
                  <a:pt x="14978" y="3126"/>
                </a:cubicBezTo>
                <a:cubicBezTo>
                  <a:pt x="15003" y="3126"/>
                  <a:pt x="15078" y="3101"/>
                  <a:pt x="15103" y="3075"/>
                </a:cubicBezTo>
                <a:cubicBezTo>
                  <a:pt x="15103" y="3050"/>
                  <a:pt x="15103" y="3026"/>
                  <a:pt x="15128" y="3026"/>
                </a:cubicBezTo>
                <a:cubicBezTo>
                  <a:pt x="15153" y="3001"/>
                  <a:pt x="15128" y="2975"/>
                  <a:pt x="15103" y="2975"/>
                </a:cubicBezTo>
                <a:cubicBezTo>
                  <a:pt x="15078" y="2950"/>
                  <a:pt x="15078" y="2926"/>
                  <a:pt x="15103" y="2926"/>
                </a:cubicBezTo>
                <a:cubicBezTo>
                  <a:pt x="15128" y="2926"/>
                  <a:pt x="15128" y="2901"/>
                  <a:pt x="15153" y="2901"/>
                </a:cubicBezTo>
                <a:cubicBezTo>
                  <a:pt x="15178" y="2875"/>
                  <a:pt x="15178" y="2901"/>
                  <a:pt x="15203" y="2875"/>
                </a:cubicBezTo>
                <a:cubicBezTo>
                  <a:pt x="15228" y="2875"/>
                  <a:pt x="15203" y="2901"/>
                  <a:pt x="15178" y="2926"/>
                </a:cubicBezTo>
                <a:cubicBezTo>
                  <a:pt x="15178" y="2950"/>
                  <a:pt x="15228" y="2975"/>
                  <a:pt x="15228" y="3001"/>
                </a:cubicBezTo>
                <a:cubicBezTo>
                  <a:pt x="15228" y="3026"/>
                  <a:pt x="15278" y="3026"/>
                  <a:pt x="15328" y="3001"/>
                </a:cubicBezTo>
                <a:cubicBezTo>
                  <a:pt x="15353" y="2975"/>
                  <a:pt x="15453" y="3026"/>
                  <a:pt x="15453" y="3050"/>
                </a:cubicBezTo>
                <a:cubicBezTo>
                  <a:pt x="15478" y="3075"/>
                  <a:pt x="15478" y="3101"/>
                  <a:pt x="15528" y="3126"/>
                </a:cubicBezTo>
                <a:cubicBezTo>
                  <a:pt x="15578" y="3150"/>
                  <a:pt x="15628" y="3150"/>
                  <a:pt x="15628" y="3175"/>
                </a:cubicBezTo>
                <a:cubicBezTo>
                  <a:pt x="15628" y="3175"/>
                  <a:pt x="15653" y="3201"/>
                  <a:pt x="15678" y="3201"/>
                </a:cubicBezTo>
                <a:cubicBezTo>
                  <a:pt x="15703" y="3175"/>
                  <a:pt x="15703" y="3226"/>
                  <a:pt x="15728" y="3201"/>
                </a:cubicBezTo>
                <a:cubicBezTo>
                  <a:pt x="15753" y="3175"/>
                  <a:pt x="15753" y="3201"/>
                  <a:pt x="15778" y="3175"/>
                </a:cubicBezTo>
                <a:cubicBezTo>
                  <a:pt x="15804" y="3175"/>
                  <a:pt x="15728" y="3150"/>
                  <a:pt x="15753" y="3126"/>
                </a:cubicBezTo>
                <a:lnTo>
                  <a:pt x="15778" y="3150"/>
                </a:lnTo>
                <a:cubicBezTo>
                  <a:pt x="15804" y="3150"/>
                  <a:pt x="15778" y="3101"/>
                  <a:pt x="15804" y="3101"/>
                </a:cubicBezTo>
                <a:cubicBezTo>
                  <a:pt x="15804" y="3101"/>
                  <a:pt x="15804" y="3001"/>
                  <a:pt x="15778" y="3001"/>
                </a:cubicBezTo>
                <a:cubicBezTo>
                  <a:pt x="15778" y="3001"/>
                  <a:pt x="15778" y="2975"/>
                  <a:pt x="15804" y="3001"/>
                </a:cubicBezTo>
                <a:cubicBezTo>
                  <a:pt x="15853" y="3026"/>
                  <a:pt x="15904" y="3026"/>
                  <a:pt x="15928" y="3026"/>
                </a:cubicBezTo>
                <a:cubicBezTo>
                  <a:pt x="15953" y="3026"/>
                  <a:pt x="15928" y="3001"/>
                  <a:pt x="15904" y="3001"/>
                </a:cubicBezTo>
                <a:cubicBezTo>
                  <a:pt x="15878" y="2975"/>
                  <a:pt x="15904" y="2975"/>
                  <a:pt x="15928" y="2975"/>
                </a:cubicBezTo>
                <a:cubicBezTo>
                  <a:pt x="15928" y="3001"/>
                  <a:pt x="15953" y="3001"/>
                  <a:pt x="15978" y="3001"/>
                </a:cubicBezTo>
                <a:cubicBezTo>
                  <a:pt x="15978" y="2975"/>
                  <a:pt x="15978" y="2926"/>
                  <a:pt x="16028" y="2926"/>
                </a:cubicBezTo>
                <a:cubicBezTo>
                  <a:pt x="16053" y="2950"/>
                  <a:pt x="16053" y="2926"/>
                  <a:pt x="16028" y="2901"/>
                </a:cubicBezTo>
                <a:close/>
                <a:moveTo>
                  <a:pt x="8276" y="4726"/>
                </a:moveTo>
                <a:lnTo>
                  <a:pt x="8276" y="4726"/>
                </a:lnTo>
                <a:cubicBezTo>
                  <a:pt x="8202" y="4801"/>
                  <a:pt x="8051" y="4826"/>
                  <a:pt x="8051" y="4875"/>
                </a:cubicBezTo>
                <a:cubicBezTo>
                  <a:pt x="8051" y="4951"/>
                  <a:pt x="7851" y="4976"/>
                  <a:pt x="7827" y="4951"/>
                </a:cubicBezTo>
                <a:cubicBezTo>
                  <a:pt x="7827" y="4926"/>
                  <a:pt x="7976" y="4926"/>
                  <a:pt x="8002" y="4826"/>
                </a:cubicBezTo>
                <a:cubicBezTo>
                  <a:pt x="8051" y="4751"/>
                  <a:pt x="8202" y="4701"/>
                  <a:pt x="8251" y="4601"/>
                </a:cubicBezTo>
                <a:cubicBezTo>
                  <a:pt x="8302" y="4526"/>
                  <a:pt x="8351" y="4401"/>
                  <a:pt x="8376" y="4401"/>
                </a:cubicBezTo>
                <a:cubicBezTo>
                  <a:pt x="8402" y="4401"/>
                  <a:pt x="8351" y="4675"/>
                  <a:pt x="8276" y="4726"/>
                </a:cubicBezTo>
                <a:close/>
                <a:moveTo>
                  <a:pt x="8627" y="1475"/>
                </a:moveTo>
                <a:lnTo>
                  <a:pt x="8627" y="1475"/>
                </a:lnTo>
                <a:cubicBezTo>
                  <a:pt x="8627" y="1501"/>
                  <a:pt x="8551" y="1501"/>
                  <a:pt x="8576" y="1525"/>
                </a:cubicBezTo>
                <a:cubicBezTo>
                  <a:pt x="8602" y="1550"/>
                  <a:pt x="8752" y="1525"/>
                  <a:pt x="8752" y="1501"/>
                </a:cubicBezTo>
                <a:cubicBezTo>
                  <a:pt x="8752" y="1450"/>
                  <a:pt x="8652" y="1450"/>
                  <a:pt x="8627" y="1475"/>
                </a:cubicBezTo>
                <a:close/>
                <a:moveTo>
                  <a:pt x="2825" y="200"/>
                </a:moveTo>
                <a:lnTo>
                  <a:pt x="2825" y="200"/>
                </a:lnTo>
                <a:cubicBezTo>
                  <a:pt x="2875" y="225"/>
                  <a:pt x="2725" y="225"/>
                  <a:pt x="2701" y="250"/>
                </a:cubicBezTo>
                <a:cubicBezTo>
                  <a:pt x="2701" y="275"/>
                  <a:pt x="2601" y="250"/>
                  <a:pt x="2625" y="300"/>
                </a:cubicBezTo>
                <a:cubicBezTo>
                  <a:pt x="2625" y="325"/>
                  <a:pt x="2775" y="325"/>
                  <a:pt x="2775" y="300"/>
                </a:cubicBezTo>
                <a:cubicBezTo>
                  <a:pt x="2775" y="275"/>
                  <a:pt x="2850" y="300"/>
                  <a:pt x="2850" y="275"/>
                </a:cubicBezTo>
                <a:cubicBezTo>
                  <a:pt x="2850" y="250"/>
                  <a:pt x="2875" y="225"/>
                  <a:pt x="2950" y="225"/>
                </a:cubicBezTo>
                <a:cubicBezTo>
                  <a:pt x="3050" y="200"/>
                  <a:pt x="3050" y="175"/>
                  <a:pt x="2975" y="150"/>
                </a:cubicBezTo>
                <a:cubicBezTo>
                  <a:pt x="2901" y="125"/>
                  <a:pt x="2801" y="175"/>
                  <a:pt x="2825" y="200"/>
                </a:cubicBezTo>
                <a:close/>
                <a:moveTo>
                  <a:pt x="3201" y="1701"/>
                </a:moveTo>
                <a:lnTo>
                  <a:pt x="3201" y="1701"/>
                </a:lnTo>
                <a:cubicBezTo>
                  <a:pt x="3201" y="1725"/>
                  <a:pt x="3201" y="1750"/>
                  <a:pt x="3150" y="1750"/>
                </a:cubicBezTo>
                <a:cubicBezTo>
                  <a:pt x="3075" y="1750"/>
                  <a:pt x="3175" y="1775"/>
                  <a:pt x="3175" y="1801"/>
                </a:cubicBezTo>
                <a:cubicBezTo>
                  <a:pt x="3175" y="1825"/>
                  <a:pt x="3125" y="1825"/>
                  <a:pt x="3125" y="1850"/>
                </a:cubicBezTo>
                <a:cubicBezTo>
                  <a:pt x="3101" y="1901"/>
                  <a:pt x="3001" y="1850"/>
                  <a:pt x="3001" y="1925"/>
                </a:cubicBezTo>
                <a:cubicBezTo>
                  <a:pt x="2975" y="1975"/>
                  <a:pt x="3050" y="1975"/>
                  <a:pt x="3101" y="1975"/>
                </a:cubicBezTo>
                <a:cubicBezTo>
                  <a:pt x="3125" y="1975"/>
                  <a:pt x="3075" y="2025"/>
                  <a:pt x="3101" y="2050"/>
                </a:cubicBezTo>
                <a:cubicBezTo>
                  <a:pt x="3150" y="2075"/>
                  <a:pt x="3175" y="2075"/>
                  <a:pt x="3150" y="2025"/>
                </a:cubicBezTo>
                <a:cubicBezTo>
                  <a:pt x="3125" y="1975"/>
                  <a:pt x="3250" y="2025"/>
                  <a:pt x="3225" y="2075"/>
                </a:cubicBezTo>
                <a:cubicBezTo>
                  <a:pt x="3175" y="2101"/>
                  <a:pt x="3275" y="2125"/>
                  <a:pt x="3350" y="2125"/>
                </a:cubicBezTo>
                <a:cubicBezTo>
                  <a:pt x="3401" y="2150"/>
                  <a:pt x="3575" y="2175"/>
                  <a:pt x="3575" y="2125"/>
                </a:cubicBezTo>
                <a:cubicBezTo>
                  <a:pt x="3575" y="2101"/>
                  <a:pt x="3526" y="2075"/>
                  <a:pt x="3450" y="2025"/>
                </a:cubicBezTo>
                <a:cubicBezTo>
                  <a:pt x="3401" y="1950"/>
                  <a:pt x="3350" y="1850"/>
                  <a:pt x="3426" y="1825"/>
                </a:cubicBezTo>
                <a:cubicBezTo>
                  <a:pt x="3501" y="1775"/>
                  <a:pt x="3426" y="1750"/>
                  <a:pt x="3501" y="1701"/>
                </a:cubicBezTo>
                <a:cubicBezTo>
                  <a:pt x="3575" y="1675"/>
                  <a:pt x="3526" y="1625"/>
                  <a:pt x="3575" y="1625"/>
                </a:cubicBezTo>
                <a:cubicBezTo>
                  <a:pt x="3626" y="1601"/>
                  <a:pt x="3575" y="1550"/>
                  <a:pt x="3626" y="1550"/>
                </a:cubicBezTo>
                <a:cubicBezTo>
                  <a:pt x="3675" y="1550"/>
                  <a:pt x="3701" y="1475"/>
                  <a:pt x="3701" y="1450"/>
                </a:cubicBezTo>
                <a:cubicBezTo>
                  <a:pt x="3675" y="1425"/>
                  <a:pt x="3750" y="1450"/>
                  <a:pt x="3775" y="1425"/>
                </a:cubicBezTo>
                <a:cubicBezTo>
                  <a:pt x="3800" y="1401"/>
                  <a:pt x="3875" y="1425"/>
                  <a:pt x="3901" y="1375"/>
                </a:cubicBezTo>
                <a:cubicBezTo>
                  <a:pt x="3926" y="1325"/>
                  <a:pt x="4251" y="1225"/>
                  <a:pt x="4426" y="1175"/>
                </a:cubicBezTo>
                <a:cubicBezTo>
                  <a:pt x="4601" y="1125"/>
                  <a:pt x="4726" y="1050"/>
                  <a:pt x="4675" y="1000"/>
                </a:cubicBezTo>
                <a:cubicBezTo>
                  <a:pt x="4601" y="950"/>
                  <a:pt x="4426" y="1025"/>
                  <a:pt x="4375" y="1050"/>
                </a:cubicBezTo>
                <a:cubicBezTo>
                  <a:pt x="4326" y="1100"/>
                  <a:pt x="4275" y="1075"/>
                  <a:pt x="4226" y="1100"/>
                </a:cubicBezTo>
                <a:cubicBezTo>
                  <a:pt x="4175" y="1125"/>
                  <a:pt x="4075" y="1150"/>
                  <a:pt x="4050" y="1125"/>
                </a:cubicBezTo>
                <a:cubicBezTo>
                  <a:pt x="4001" y="1075"/>
                  <a:pt x="3926" y="1150"/>
                  <a:pt x="3901" y="1150"/>
                </a:cubicBezTo>
                <a:cubicBezTo>
                  <a:pt x="3875" y="1150"/>
                  <a:pt x="3826" y="1175"/>
                  <a:pt x="3775" y="1175"/>
                </a:cubicBezTo>
                <a:cubicBezTo>
                  <a:pt x="3750" y="1175"/>
                  <a:pt x="3675" y="1200"/>
                  <a:pt x="3650" y="1225"/>
                </a:cubicBezTo>
                <a:cubicBezTo>
                  <a:pt x="3650" y="1250"/>
                  <a:pt x="3601" y="1250"/>
                  <a:pt x="3601" y="1275"/>
                </a:cubicBezTo>
                <a:cubicBezTo>
                  <a:pt x="3601" y="1300"/>
                  <a:pt x="3526" y="1325"/>
                  <a:pt x="3501" y="1300"/>
                </a:cubicBezTo>
                <a:cubicBezTo>
                  <a:pt x="3475" y="1275"/>
                  <a:pt x="3450" y="1325"/>
                  <a:pt x="3475" y="1375"/>
                </a:cubicBezTo>
                <a:cubicBezTo>
                  <a:pt x="3526" y="1401"/>
                  <a:pt x="3426" y="1401"/>
                  <a:pt x="3426" y="1425"/>
                </a:cubicBezTo>
                <a:cubicBezTo>
                  <a:pt x="3450" y="1450"/>
                  <a:pt x="3401" y="1475"/>
                  <a:pt x="3401" y="1501"/>
                </a:cubicBezTo>
                <a:cubicBezTo>
                  <a:pt x="3426" y="1525"/>
                  <a:pt x="3375" y="1525"/>
                  <a:pt x="3326" y="1525"/>
                </a:cubicBezTo>
                <a:cubicBezTo>
                  <a:pt x="3275" y="1550"/>
                  <a:pt x="3250" y="1601"/>
                  <a:pt x="3326" y="1601"/>
                </a:cubicBezTo>
                <a:cubicBezTo>
                  <a:pt x="3375" y="1601"/>
                  <a:pt x="3275" y="1601"/>
                  <a:pt x="3301" y="1650"/>
                </a:cubicBezTo>
                <a:cubicBezTo>
                  <a:pt x="3301" y="1701"/>
                  <a:pt x="3201" y="1675"/>
                  <a:pt x="3201" y="1701"/>
                </a:cubicBezTo>
                <a:close/>
                <a:moveTo>
                  <a:pt x="3575" y="250"/>
                </a:moveTo>
                <a:lnTo>
                  <a:pt x="3575" y="250"/>
                </a:lnTo>
                <a:cubicBezTo>
                  <a:pt x="3601" y="275"/>
                  <a:pt x="3575" y="275"/>
                  <a:pt x="3526" y="275"/>
                </a:cubicBezTo>
                <a:cubicBezTo>
                  <a:pt x="3450" y="275"/>
                  <a:pt x="3426" y="300"/>
                  <a:pt x="3450" y="325"/>
                </a:cubicBezTo>
                <a:cubicBezTo>
                  <a:pt x="3501" y="350"/>
                  <a:pt x="3650" y="350"/>
                  <a:pt x="3675" y="325"/>
                </a:cubicBezTo>
                <a:cubicBezTo>
                  <a:pt x="3701" y="275"/>
                  <a:pt x="3750" y="300"/>
                  <a:pt x="3775" y="275"/>
                </a:cubicBezTo>
                <a:cubicBezTo>
                  <a:pt x="3775" y="250"/>
                  <a:pt x="3575" y="225"/>
                  <a:pt x="3575" y="250"/>
                </a:cubicBezTo>
                <a:close/>
                <a:moveTo>
                  <a:pt x="3575" y="100"/>
                </a:moveTo>
                <a:lnTo>
                  <a:pt x="3575" y="100"/>
                </a:lnTo>
                <a:cubicBezTo>
                  <a:pt x="3650" y="100"/>
                  <a:pt x="3626" y="50"/>
                  <a:pt x="3675" y="75"/>
                </a:cubicBezTo>
                <a:cubicBezTo>
                  <a:pt x="3701" y="75"/>
                  <a:pt x="3775" y="75"/>
                  <a:pt x="3750" y="50"/>
                </a:cubicBezTo>
                <a:cubicBezTo>
                  <a:pt x="3726" y="0"/>
                  <a:pt x="3550" y="25"/>
                  <a:pt x="3575" y="50"/>
                </a:cubicBezTo>
                <a:cubicBezTo>
                  <a:pt x="3601" y="75"/>
                  <a:pt x="3450" y="50"/>
                  <a:pt x="3450" y="75"/>
                </a:cubicBezTo>
                <a:cubicBezTo>
                  <a:pt x="3450" y="75"/>
                  <a:pt x="3501" y="100"/>
                  <a:pt x="3575" y="100"/>
                </a:cubicBezTo>
                <a:close/>
                <a:moveTo>
                  <a:pt x="4050" y="200"/>
                </a:moveTo>
                <a:lnTo>
                  <a:pt x="4050" y="200"/>
                </a:lnTo>
                <a:cubicBezTo>
                  <a:pt x="4075" y="175"/>
                  <a:pt x="4026" y="175"/>
                  <a:pt x="4026" y="150"/>
                </a:cubicBezTo>
                <a:cubicBezTo>
                  <a:pt x="4026" y="125"/>
                  <a:pt x="3850" y="125"/>
                  <a:pt x="3875" y="150"/>
                </a:cubicBezTo>
                <a:cubicBezTo>
                  <a:pt x="3875" y="175"/>
                  <a:pt x="3750" y="200"/>
                  <a:pt x="3800" y="225"/>
                </a:cubicBezTo>
                <a:cubicBezTo>
                  <a:pt x="3850" y="275"/>
                  <a:pt x="4050" y="225"/>
                  <a:pt x="4050" y="200"/>
                </a:cubicBezTo>
                <a:close/>
                <a:moveTo>
                  <a:pt x="3225" y="275"/>
                </a:moveTo>
                <a:lnTo>
                  <a:pt x="3225" y="275"/>
                </a:lnTo>
                <a:cubicBezTo>
                  <a:pt x="3225" y="250"/>
                  <a:pt x="3075" y="300"/>
                  <a:pt x="3101" y="300"/>
                </a:cubicBezTo>
                <a:cubicBezTo>
                  <a:pt x="3125" y="300"/>
                  <a:pt x="3225" y="325"/>
                  <a:pt x="3225" y="275"/>
                </a:cubicBezTo>
                <a:close/>
                <a:moveTo>
                  <a:pt x="3626" y="150"/>
                </a:moveTo>
                <a:lnTo>
                  <a:pt x="3626" y="150"/>
                </a:lnTo>
                <a:cubicBezTo>
                  <a:pt x="3626" y="100"/>
                  <a:pt x="3526" y="150"/>
                  <a:pt x="3450" y="100"/>
                </a:cubicBezTo>
                <a:cubicBezTo>
                  <a:pt x="3375" y="75"/>
                  <a:pt x="3350" y="75"/>
                  <a:pt x="3401" y="125"/>
                </a:cubicBezTo>
                <a:cubicBezTo>
                  <a:pt x="3426" y="150"/>
                  <a:pt x="3275" y="150"/>
                  <a:pt x="3301" y="175"/>
                </a:cubicBezTo>
                <a:cubicBezTo>
                  <a:pt x="3350" y="225"/>
                  <a:pt x="3601" y="200"/>
                  <a:pt x="3626" y="1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2" name="Freeform 158">
            <a:extLst>
              <a:ext uri="{FF2B5EF4-FFF2-40B4-BE49-F238E27FC236}">
                <a16:creationId xmlns:a16="http://schemas.microsoft.com/office/drawing/2014/main" id="{B0D431E0-449F-F54F-9C26-2184277121D1}"/>
              </a:ext>
            </a:extLst>
          </p:cNvPr>
          <p:cNvSpPr>
            <a:spLocks noChangeArrowheads="1"/>
          </p:cNvSpPr>
          <p:nvPr/>
        </p:nvSpPr>
        <p:spPr bwMode="auto">
          <a:xfrm>
            <a:off x="6347719" y="1551335"/>
            <a:ext cx="5120124" cy="1970144"/>
          </a:xfrm>
          <a:custGeom>
            <a:avLst/>
            <a:gdLst>
              <a:gd name="T0" fmla="*/ 7676 w 16054"/>
              <a:gd name="T1" fmla="*/ 750 h 6177"/>
              <a:gd name="T2" fmla="*/ 7426 w 16054"/>
              <a:gd name="T3" fmla="*/ 550 h 6177"/>
              <a:gd name="T4" fmla="*/ 6902 w 16054"/>
              <a:gd name="T5" fmla="*/ 175 h 6177"/>
              <a:gd name="T6" fmla="*/ 12052 w 16054"/>
              <a:gd name="T7" fmla="*/ 1300 h 6177"/>
              <a:gd name="T8" fmla="*/ 11027 w 16054"/>
              <a:gd name="T9" fmla="*/ 1350 h 6177"/>
              <a:gd name="T10" fmla="*/ 11477 w 16054"/>
              <a:gd name="T11" fmla="*/ 1601 h 6177"/>
              <a:gd name="T12" fmla="*/ 2425 w 16054"/>
              <a:gd name="T13" fmla="*/ 225 h 6177"/>
              <a:gd name="T14" fmla="*/ 11652 w 16054"/>
              <a:gd name="T15" fmla="*/ 5276 h 6177"/>
              <a:gd name="T16" fmla="*/ 15553 w 16054"/>
              <a:gd name="T17" fmla="*/ 2826 h 6177"/>
              <a:gd name="T18" fmla="*/ 14003 w 16054"/>
              <a:gd name="T19" fmla="*/ 2350 h 6177"/>
              <a:gd name="T20" fmla="*/ 12252 w 16054"/>
              <a:gd name="T21" fmla="*/ 2025 h 6177"/>
              <a:gd name="T22" fmla="*/ 11177 w 16054"/>
              <a:gd name="T23" fmla="*/ 1901 h 6177"/>
              <a:gd name="T24" fmla="*/ 10227 w 16054"/>
              <a:gd name="T25" fmla="*/ 2001 h 6177"/>
              <a:gd name="T26" fmla="*/ 9627 w 16054"/>
              <a:gd name="T27" fmla="*/ 1750 h 6177"/>
              <a:gd name="T28" fmla="*/ 8327 w 16054"/>
              <a:gd name="T29" fmla="*/ 1650 h 6177"/>
              <a:gd name="T30" fmla="*/ 8676 w 16054"/>
              <a:gd name="T31" fmla="*/ 1150 h 6177"/>
              <a:gd name="T32" fmla="*/ 7727 w 16054"/>
              <a:gd name="T33" fmla="*/ 850 h 6177"/>
              <a:gd name="T34" fmla="*/ 6951 w 16054"/>
              <a:gd name="T35" fmla="*/ 1200 h 6177"/>
              <a:gd name="T36" fmla="*/ 6376 w 16054"/>
              <a:gd name="T37" fmla="*/ 1550 h 6177"/>
              <a:gd name="T38" fmla="*/ 5551 w 16054"/>
              <a:gd name="T39" fmla="*/ 1901 h 6177"/>
              <a:gd name="T40" fmla="*/ 5151 w 16054"/>
              <a:gd name="T41" fmla="*/ 2301 h 6177"/>
              <a:gd name="T42" fmla="*/ 5100 w 16054"/>
              <a:gd name="T43" fmla="*/ 2775 h 6177"/>
              <a:gd name="T44" fmla="*/ 5100 w 16054"/>
              <a:gd name="T45" fmla="*/ 2526 h 6177"/>
              <a:gd name="T46" fmla="*/ 4526 w 16054"/>
              <a:gd name="T47" fmla="*/ 2201 h 6177"/>
              <a:gd name="T48" fmla="*/ 3875 w 16054"/>
              <a:gd name="T49" fmla="*/ 2350 h 6177"/>
              <a:gd name="T50" fmla="*/ 3075 w 16054"/>
              <a:gd name="T51" fmla="*/ 2500 h 6177"/>
              <a:gd name="T52" fmla="*/ 2300 w 16054"/>
              <a:gd name="T53" fmla="*/ 2726 h 6177"/>
              <a:gd name="T54" fmla="*/ 1700 w 16054"/>
              <a:gd name="T55" fmla="*/ 3150 h 6177"/>
              <a:gd name="T56" fmla="*/ 1750 w 16054"/>
              <a:gd name="T57" fmla="*/ 2875 h 6177"/>
              <a:gd name="T58" fmla="*/ 1075 w 16054"/>
              <a:gd name="T59" fmla="*/ 2275 h 6177"/>
              <a:gd name="T60" fmla="*/ 975 w 16054"/>
              <a:gd name="T61" fmla="*/ 3126 h 6177"/>
              <a:gd name="T62" fmla="*/ 725 w 16054"/>
              <a:gd name="T63" fmla="*/ 4026 h 6177"/>
              <a:gd name="T64" fmla="*/ 1175 w 16054"/>
              <a:gd name="T65" fmla="*/ 4726 h 6177"/>
              <a:gd name="T66" fmla="*/ 1775 w 16054"/>
              <a:gd name="T67" fmla="*/ 5126 h 6177"/>
              <a:gd name="T68" fmla="*/ 1600 w 16054"/>
              <a:gd name="T69" fmla="*/ 5701 h 6177"/>
              <a:gd name="T70" fmla="*/ 2601 w 16054"/>
              <a:gd name="T71" fmla="*/ 5951 h 6177"/>
              <a:gd name="T72" fmla="*/ 2725 w 16054"/>
              <a:gd name="T73" fmla="*/ 5151 h 6177"/>
              <a:gd name="T74" fmla="*/ 3750 w 16054"/>
              <a:gd name="T75" fmla="*/ 5026 h 6177"/>
              <a:gd name="T76" fmla="*/ 4351 w 16054"/>
              <a:gd name="T77" fmla="*/ 4551 h 6177"/>
              <a:gd name="T78" fmla="*/ 5351 w 16054"/>
              <a:gd name="T79" fmla="*/ 4575 h 6177"/>
              <a:gd name="T80" fmla="*/ 6426 w 16054"/>
              <a:gd name="T81" fmla="*/ 5226 h 6177"/>
              <a:gd name="T82" fmla="*/ 7351 w 16054"/>
              <a:gd name="T83" fmla="*/ 4901 h 6177"/>
              <a:gd name="T84" fmla="*/ 8502 w 16054"/>
              <a:gd name="T85" fmla="*/ 5226 h 6177"/>
              <a:gd name="T86" fmla="*/ 9652 w 16054"/>
              <a:gd name="T87" fmla="*/ 4701 h 6177"/>
              <a:gd name="T88" fmla="*/ 10727 w 16054"/>
              <a:gd name="T89" fmla="*/ 5476 h 6177"/>
              <a:gd name="T90" fmla="*/ 11327 w 16054"/>
              <a:gd name="T91" fmla="*/ 5051 h 6177"/>
              <a:gd name="T92" fmla="*/ 10952 w 16054"/>
              <a:gd name="T93" fmla="*/ 4551 h 6177"/>
              <a:gd name="T94" fmla="*/ 12328 w 16054"/>
              <a:gd name="T95" fmla="*/ 3875 h 6177"/>
              <a:gd name="T96" fmla="*/ 13153 w 16054"/>
              <a:gd name="T97" fmla="*/ 3650 h 6177"/>
              <a:gd name="T98" fmla="*/ 12877 w 16054"/>
              <a:gd name="T99" fmla="*/ 4126 h 6177"/>
              <a:gd name="T100" fmla="*/ 13477 w 16054"/>
              <a:gd name="T101" fmla="*/ 4351 h 6177"/>
              <a:gd name="T102" fmla="*/ 14328 w 16054"/>
              <a:gd name="T103" fmla="*/ 3701 h 6177"/>
              <a:gd name="T104" fmla="*/ 14978 w 16054"/>
              <a:gd name="T105" fmla="*/ 3126 h 6177"/>
              <a:gd name="T106" fmla="*/ 15753 w 16054"/>
              <a:gd name="T107" fmla="*/ 3126 h 6177"/>
              <a:gd name="T108" fmla="*/ 8251 w 16054"/>
              <a:gd name="T109" fmla="*/ 4601 h 6177"/>
              <a:gd name="T110" fmla="*/ 2825 w 16054"/>
              <a:gd name="T111" fmla="*/ 200 h 6177"/>
              <a:gd name="T112" fmla="*/ 3575 w 16054"/>
              <a:gd name="T113" fmla="*/ 1625 h 6177"/>
              <a:gd name="T114" fmla="*/ 3426 w 16054"/>
              <a:gd name="T115" fmla="*/ 1425 h 6177"/>
              <a:gd name="T116" fmla="*/ 3750 w 16054"/>
              <a:gd name="T117" fmla="*/ 50 h 6177"/>
              <a:gd name="T118" fmla="*/ 3450 w 16054"/>
              <a:gd name="T119" fmla="*/ 100 h 6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54" h="6177">
                <a:moveTo>
                  <a:pt x="250" y="4451"/>
                </a:moveTo>
                <a:lnTo>
                  <a:pt x="250" y="4451"/>
                </a:lnTo>
                <a:cubicBezTo>
                  <a:pt x="225" y="4475"/>
                  <a:pt x="200" y="4451"/>
                  <a:pt x="200" y="4451"/>
                </a:cubicBezTo>
                <a:cubicBezTo>
                  <a:pt x="174" y="4426"/>
                  <a:pt x="150" y="4426"/>
                  <a:pt x="125" y="4426"/>
                </a:cubicBezTo>
                <a:cubicBezTo>
                  <a:pt x="125" y="4451"/>
                  <a:pt x="150" y="4451"/>
                  <a:pt x="150" y="4451"/>
                </a:cubicBezTo>
                <a:cubicBezTo>
                  <a:pt x="150" y="4475"/>
                  <a:pt x="100" y="4475"/>
                  <a:pt x="125" y="4501"/>
                </a:cubicBezTo>
                <a:cubicBezTo>
                  <a:pt x="125" y="4526"/>
                  <a:pt x="74" y="4526"/>
                  <a:pt x="74" y="4501"/>
                </a:cubicBezTo>
                <a:cubicBezTo>
                  <a:pt x="74" y="4475"/>
                  <a:pt x="0" y="4475"/>
                  <a:pt x="0" y="4501"/>
                </a:cubicBezTo>
                <a:lnTo>
                  <a:pt x="0" y="4526"/>
                </a:lnTo>
                <a:cubicBezTo>
                  <a:pt x="25" y="4526"/>
                  <a:pt x="50" y="4551"/>
                  <a:pt x="50" y="4551"/>
                </a:cubicBezTo>
                <a:cubicBezTo>
                  <a:pt x="50" y="4551"/>
                  <a:pt x="225" y="4575"/>
                  <a:pt x="300" y="4551"/>
                </a:cubicBezTo>
                <a:lnTo>
                  <a:pt x="300" y="4501"/>
                </a:lnTo>
                <a:cubicBezTo>
                  <a:pt x="300" y="4475"/>
                  <a:pt x="250" y="4451"/>
                  <a:pt x="250" y="4451"/>
                </a:cubicBezTo>
                <a:close/>
                <a:moveTo>
                  <a:pt x="7426" y="775"/>
                </a:moveTo>
                <a:lnTo>
                  <a:pt x="7426" y="775"/>
                </a:lnTo>
                <a:cubicBezTo>
                  <a:pt x="7476" y="800"/>
                  <a:pt x="7602" y="750"/>
                  <a:pt x="7676" y="750"/>
                </a:cubicBezTo>
                <a:cubicBezTo>
                  <a:pt x="7751" y="750"/>
                  <a:pt x="8002" y="700"/>
                  <a:pt x="8002" y="650"/>
                </a:cubicBezTo>
                <a:cubicBezTo>
                  <a:pt x="8002" y="600"/>
                  <a:pt x="7927" y="600"/>
                  <a:pt x="7876" y="575"/>
                </a:cubicBezTo>
                <a:cubicBezTo>
                  <a:pt x="7851" y="525"/>
                  <a:pt x="7776" y="550"/>
                  <a:pt x="7751" y="600"/>
                </a:cubicBezTo>
                <a:cubicBezTo>
                  <a:pt x="7727" y="625"/>
                  <a:pt x="7702" y="600"/>
                  <a:pt x="7751" y="550"/>
                </a:cubicBezTo>
                <a:cubicBezTo>
                  <a:pt x="7802" y="500"/>
                  <a:pt x="7702" y="450"/>
                  <a:pt x="7702" y="475"/>
                </a:cubicBezTo>
                <a:cubicBezTo>
                  <a:pt x="7702" y="525"/>
                  <a:pt x="7602" y="475"/>
                  <a:pt x="7602" y="525"/>
                </a:cubicBezTo>
                <a:cubicBezTo>
                  <a:pt x="7602" y="550"/>
                  <a:pt x="7576" y="550"/>
                  <a:pt x="7576" y="600"/>
                </a:cubicBezTo>
                <a:cubicBezTo>
                  <a:pt x="7576" y="625"/>
                  <a:pt x="7502" y="575"/>
                  <a:pt x="7502" y="650"/>
                </a:cubicBezTo>
                <a:cubicBezTo>
                  <a:pt x="7502" y="725"/>
                  <a:pt x="7402" y="750"/>
                  <a:pt x="7426" y="775"/>
                </a:cubicBezTo>
                <a:close/>
                <a:moveTo>
                  <a:pt x="7002" y="375"/>
                </a:moveTo>
                <a:lnTo>
                  <a:pt x="7002" y="375"/>
                </a:lnTo>
                <a:cubicBezTo>
                  <a:pt x="7002" y="425"/>
                  <a:pt x="6902" y="450"/>
                  <a:pt x="6926" y="475"/>
                </a:cubicBezTo>
                <a:cubicBezTo>
                  <a:pt x="6951" y="500"/>
                  <a:pt x="6976" y="475"/>
                  <a:pt x="7002" y="500"/>
                </a:cubicBezTo>
                <a:cubicBezTo>
                  <a:pt x="7026" y="500"/>
                  <a:pt x="7051" y="575"/>
                  <a:pt x="7102" y="550"/>
                </a:cubicBezTo>
                <a:cubicBezTo>
                  <a:pt x="7151" y="550"/>
                  <a:pt x="7276" y="600"/>
                  <a:pt x="7376" y="600"/>
                </a:cubicBezTo>
                <a:cubicBezTo>
                  <a:pt x="7451" y="600"/>
                  <a:pt x="7451" y="550"/>
                  <a:pt x="7426" y="550"/>
                </a:cubicBezTo>
                <a:cubicBezTo>
                  <a:pt x="7402" y="525"/>
                  <a:pt x="7426" y="500"/>
                  <a:pt x="7476" y="425"/>
                </a:cubicBezTo>
                <a:cubicBezTo>
                  <a:pt x="7526" y="375"/>
                  <a:pt x="7326" y="325"/>
                  <a:pt x="7326" y="375"/>
                </a:cubicBezTo>
                <a:cubicBezTo>
                  <a:pt x="7326" y="425"/>
                  <a:pt x="7276" y="350"/>
                  <a:pt x="7251" y="325"/>
                </a:cubicBezTo>
                <a:cubicBezTo>
                  <a:pt x="7251" y="300"/>
                  <a:pt x="7002" y="350"/>
                  <a:pt x="7002" y="375"/>
                </a:cubicBezTo>
                <a:close/>
                <a:moveTo>
                  <a:pt x="6851" y="300"/>
                </a:moveTo>
                <a:lnTo>
                  <a:pt x="6851" y="300"/>
                </a:lnTo>
                <a:cubicBezTo>
                  <a:pt x="6902" y="325"/>
                  <a:pt x="6876" y="350"/>
                  <a:pt x="6826" y="350"/>
                </a:cubicBezTo>
                <a:cubicBezTo>
                  <a:pt x="6776" y="350"/>
                  <a:pt x="6726" y="350"/>
                  <a:pt x="6776" y="375"/>
                </a:cubicBezTo>
                <a:cubicBezTo>
                  <a:pt x="6801" y="400"/>
                  <a:pt x="6801" y="425"/>
                  <a:pt x="6851" y="425"/>
                </a:cubicBezTo>
                <a:cubicBezTo>
                  <a:pt x="6902" y="450"/>
                  <a:pt x="6976" y="400"/>
                  <a:pt x="6951" y="375"/>
                </a:cubicBezTo>
                <a:cubicBezTo>
                  <a:pt x="6951" y="325"/>
                  <a:pt x="7151" y="300"/>
                  <a:pt x="7226" y="300"/>
                </a:cubicBezTo>
                <a:cubicBezTo>
                  <a:pt x="7276" y="275"/>
                  <a:pt x="7176" y="225"/>
                  <a:pt x="7251" y="200"/>
                </a:cubicBezTo>
                <a:cubicBezTo>
                  <a:pt x="7302" y="200"/>
                  <a:pt x="7276" y="175"/>
                  <a:pt x="7202" y="175"/>
                </a:cubicBezTo>
                <a:cubicBezTo>
                  <a:pt x="7126" y="150"/>
                  <a:pt x="7151" y="100"/>
                  <a:pt x="7126" y="75"/>
                </a:cubicBezTo>
                <a:cubicBezTo>
                  <a:pt x="7102" y="50"/>
                  <a:pt x="7102" y="100"/>
                  <a:pt x="7002" y="125"/>
                </a:cubicBezTo>
                <a:cubicBezTo>
                  <a:pt x="6902" y="125"/>
                  <a:pt x="6851" y="150"/>
                  <a:pt x="6902" y="175"/>
                </a:cubicBezTo>
                <a:cubicBezTo>
                  <a:pt x="6926" y="200"/>
                  <a:pt x="6902" y="250"/>
                  <a:pt x="6851" y="250"/>
                </a:cubicBezTo>
                <a:cubicBezTo>
                  <a:pt x="6801" y="250"/>
                  <a:pt x="6801" y="275"/>
                  <a:pt x="6851" y="300"/>
                </a:cubicBezTo>
                <a:close/>
                <a:moveTo>
                  <a:pt x="5601" y="1775"/>
                </a:moveTo>
                <a:lnTo>
                  <a:pt x="5601" y="1775"/>
                </a:lnTo>
                <a:cubicBezTo>
                  <a:pt x="5651" y="1801"/>
                  <a:pt x="5701" y="1775"/>
                  <a:pt x="5676" y="1750"/>
                </a:cubicBezTo>
                <a:cubicBezTo>
                  <a:pt x="5676" y="1701"/>
                  <a:pt x="5576" y="1750"/>
                  <a:pt x="5601" y="1775"/>
                </a:cubicBezTo>
                <a:close/>
                <a:moveTo>
                  <a:pt x="6776" y="100"/>
                </a:moveTo>
                <a:lnTo>
                  <a:pt x="6776" y="100"/>
                </a:lnTo>
                <a:cubicBezTo>
                  <a:pt x="6801" y="75"/>
                  <a:pt x="6601" y="75"/>
                  <a:pt x="6651" y="125"/>
                </a:cubicBezTo>
                <a:cubicBezTo>
                  <a:pt x="6676" y="150"/>
                  <a:pt x="6776" y="150"/>
                  <a:pt x="6776" y="100"/>
                </a:cubicBezTo>
                <a:close/>
                <a:moveTo>
                  <a:pt x="11852" y="1350"/>
                </a:moveTo>
                <a:lnTo>
                  <a:pt x="11852" y="1350"/>
                </a:lnTo>
                <a:cubicBezTo>
                  <a:pt x="11927" y="1350"/>
                  <a:pt x="11952" y="1425"/>
                  <a:pt x="12077" y="1425"/>
                </a:cubicBezTo>
                <a:cubicBezTo>
                  <a:pt x="12203" y="1425"/>
                  <a:pt x="12303" y="1401"/>
                  <a:pt x="12303" y="1375"/>
                </a:cubicBezTo>
                <a:cubicBezTo>
                  <a:pt x="12303" y="1350"/>
                  <a:pt x="12203" y="1300"/>
                  <a:pt x="12152" y="1325"/>
                </a:cubicBezTo>
                <a:cubicBezTo>
                  <a:pt x="12127" y="1350"/>
                  <a:pt x="12103" y="1300"/>
                  <a:pt x="12052" y="1300"/>
                </a:cubicBezTo>
                <a:cubicBezTo>
                  <a:pt x="12003" y="1325"/>
                  <a:pt x="11952" y="1325"/>
                  <a:pt x="11927" y="1275"/>
                </a:cubicBezTo>
                <a:cubicBezTo>
                  <a:pt x="11903" y="1250"/>
                  <a:pt x="11827" y="1350"/>
                  <a:pt x="11852" y="1350"/>
                </a:cubicBezTo>
                <a:close/>
                <a:moveTo>
                  <a:pt x="14953" y="2125"/>
                </a:moveTo>
                <a:lnTo>
                  <a:pt x="14953" y="2125"/>
                </a:lnTo>
                <a:cubicBezTo>
                  <a:pt x="15003" y="2150"/>
                  <a:pt x="15053" y="2101"/>
                  <a:pt x="15103" y="2125"/>
                </a:cubicBezTo>
                <a:cubicBezTo>
                  <a:pt x="15128" y="2150"/>
                  <a:pt x="15253" y="2101"/>
                  <a:pt x="15278" y="2101"/>
                </a:cubicBezTo>
                <a:cubicBezTo>
                  <a:pt x="15328" y="2101"/>
                  <a:pt x="15303" y="2025"/>
                  <a:pt x="15178" y="2025"/>
                </a:cubicBezTo>
                <a:cubicBezTo>
                  <a:pt x="15053" y="2001"/>
                  <a:pt x="14903" y="2101"/>
                  <a:pt x="14953" y="2125"/>
                </a:cubicBezTo>
                <a:close/>
                <a:moveTo>
                  <a:pt x="4275" y="175"/>
                </a:moveTo>
                <a:lnTo>
                  <a:pt x="4275" y="175"/>
                </a:lnTo>
                <a:cubicBezTo>
                  <a:pt x="4375" y="175"/>
                  <a:pt x="4375" y="125"/>
                  <a:pt x="4301" y="100"/>
                </a:cubicBezTo>
                <a:cubicBezTo>
                  <a:pt x="4251" y="100"/>
                  <a:pt x="4251" y="125"/>
                  <a:pt x="4226" y="125"/>
                </a:cubicBezTo>
                <a:cubicBezTo>
                  <a:pt x="4201" y="125"/>
                  <a:pt x="4075" y="150"/>
                  <a:pt x="4101" y="175"/>
                </a:cubicBezTo>
                <a:cubicBezTo>
                  <a:pt x="4126" y="200"/>
                  <a:pt x="4201" y="200"/>
                  <a:pt x="4275" y="175"/>
                </a:cubicBezTo>
                <a:close/>
                <a:moveTo>
                  <a:pt x="11027" y="1350"/>
                </a:moveTo>
                <a:lnTo>
                  <a:pt x="11027" y="1350"/>
                </a:lnTo>
                <a:cubicBezTo>
                  <a:pt x="11052" y="1375"/>
                  <a:pt x="11077" y="1401"/>
                  <a:pt x="11102" y="1401"/>
                </a:cubicBezTo>
                <a:cubicBezTo>
                  <a:pt x="11102" y="1425"/>
                  <a:pt x="11202" y="1401"/>
                  <a:pt x="11227" y="1401"/>
                </a:cubicBezTo>
                <a:cubicBezTo>
                  <a:pt x="11252" y="1375"/>
                  <a:pt x="11277" y="1450"/>
                  <a:pt x="11327" y="1401"/>
                </a:cubicBezTo>
                <a:cubicBezTo>
                  <a:pt x="11377" y="1375"/>
                  <a:pt x="11427" y="1401"/>
                  <a:pt x="11477" y="1401"/>
                </a:cubicBezTo>
                <a:cubicBezTo>
                  <a:pt x="11552" y="1401"/>
                  <a:pt x="11477" y="1325"/>
                  <a:pt x="11477" y="1275"/>
                </a:cubicBezTo>
                <a:cubicBezTo>
                  <a:pt x="11477" y="1250"/>
                  <a:pt x="11552" y="1275"/>
                  <a:pt x="11527" y="1300"/>
                </a:cubicBezTo>
                <a:cubicBezTo>
                  <a:pt x="11503" y="1325"/>
                  <a:pt x="11552" y="1401"/>
                  <a:pt x="11652" y="1375"/>
                </a:cubicBezTo>
                <a:cubicBezTo>
                  <a:pt x="11727" y="1375"/>
                  <a:pt x="11677" y="1325"/>
                  <a:pt x="11727" y="1300"/>
                </a:cubicBezTo>
                <a:cubicBezTo>
                  <a:pt x="11752" y="1275"/>
                  <a:pt x="11752" y="1250"/>
                  <a:pt x="11703" y="1225"/>
                </a:cubicBezTo>
                <a:cubicBezTo>
                  <a:pt x="11627" y="1175"/>
                  <a:pt x="11552" y="1200"/>
                  <a:pt x="11477" y="1175"/>
                </a:cubicBezTo>
                <a:cubicBezTo>
                  <a:pt x="11427" y="1150"/>
                  <a:pt x="11352" y="1150"/>
                  <a:pt x="11352" y="1225"/>
                </a:cubicBezTo>
                <a:cubicBezTo>
                  <a:pt x="11352" y="1275"/>
                  <a:pt x="11227" y="1150"/>
                  <a:pt x="11177" y="1125"/>
                </a:cubicBezTo>
                <a:cubicBezTo>
                  <a:pt x="11102" y="1100"/>
                  <a:pt x="10927" y="1300"/>
                  <a:pt x="11027" y="1350"/>
                </a:cubicBezTo>
                <a:close/>
                <a:moveTo>
                  <a:pt x="11603" y="1701"/>
                </a:moveTo>
                <a:lnTo>
                  <a:pt x="11603" y="1701"/>
                </a:lnTo>
                <a:cubicBezTo>
                  <a:pt x="11652" y="1701"/>
                  <a:pt x="11552" y="1601"/>
                  <a:pt x="11477" y="1601"/>
                </a:cubicBezTo>
                <a:cubicBezTo>
                  <a:pt x="11377" y="1575"/>
                  <a:pt x="11303" y="1650"/>
                  <a:pt x="11327" y="1650"/>
                </a:cubicBezTo>
                <a:cubicBezTo>
                  <a:pt x="11352" y="1701"/>
                  <a:pt x="11552" y="1725"/>
                  <a:pt x="11603" y="1701"/>
                </a:cubicBezTo>
                <a:close/>
                <a:moveTo>
                  <a:pt x="11377" y="1525"/>
                </a:moveTo>
                <a:lnTo>
                  <a:pt x="11377" y="1525"/>
                </a:lnTo>
                <a:cubicBezTo>
                  <a:pt x="11377" y="1475"/>
                  <a:pt x="11227" y="1525"/>
                  <a:pt x="11277" y="1550"/>
                </a:cubicBezTo>
                <a:cubicBezTo>
                  <a:pt x="11327" y="1575"/>
                  <a:pt x="11377" y="1575"/>
                  <a:pt x="11377" y="1525"/>
                </a:cubicBezTo>
                <a:close/>
                <a:moveTo>
                  <a:pt x="4801" y="1725"/>
                </a:moveTo>
                <a:lnTo>
                  <a:pt x="4801" y="1725"/>
                </a:lnTo>
                <a:cubicBezTo>
                  <a:pt x="4826" y="1725"/>
                  <a:pt x="4926" y="1725"/>
                  <a:pt x="4951" y="1701"/>
                </a:cubicBezTo>
                <a:cubicBezTo>
                  <a:pt x="4951" y="1675"/>
                  <a:pt x="4901" y="1650"/>
                  <a:pt x="4851" y="1650"/>
                </a:cubicBezTo>
                <a:cubicBezTo>
                  <a:pt x="4775" y="1650"/>
                  <a:pt x="4775" y="1725"/>
                  <a:pt x="4801" y="1725"/>
                </a:cubicBezTo>
                <a:close/>
                <a:moveTo>
                  <a:pt x="2575" y="225"/>
                </a:moveTo>
                <a:lnTo>
                  <a:pt x="2575" y="225"/>
                </a:lnTo>
                <a:cubicBezTo>
                  <a:pt x="2650" y="150"/>
                  <a:pt x="2725" y="225"/>
                  <a:pt x="2725" y="200"/>
                </a:cubicBezTo>
                <a:cubicBezTo>
                  <a:pt x="2750" y="150"/>
                  <a:pt x="2625" y="150"/>
                  <a:pt x="2575" y="175"/>
                </a:cubicBezTo>
                <a:cubicBezTo>
                  <a:pt x="2525" y="200"/>
                  <a:pt x="2401" y="175"/>
                  <a:pt x="2425" y="225"/>
                </a:cubicBezTo>
                <a:cubicBezTo>
                  <a:pt x="2425" y="225"/>
                  <a:pt x="2500" y="275"/>
                  <a:pt x="2575" y="225"/>
                </a:cubicBezTo>
                <a:close/>
                <a:moveTo>
                  <a:pt x="11577" y="4926"/>
                </a:moveTo>
                <a:lnTo>
                  <a:pt x="11577" y="4926"/>
                </a:lnTo>
                <a:cubicBezTo>
                  <a:pt x="11552" y="4826"/>
                  <a:pt x="11627" y="4751"/>
                  <a:pt x="11552" y="4726"/>
                </a:cubicBezTo>
                <a:cubicBezTo>
                  <a:pt x="11503" y="4675"/>
                  <a:pt x="11527" y="4575"/>
                  <a:pt x="11503" y="4601"/>
                </a:cubicBezTo>
                <a:cubicBezTo>
                  <a:pt x="11477" y="4626"/>
                  <a:pt x="11503" y="4701"/>
                  <a:pt x="11452" y="4701"/>
                </a:cubicBezTo>
                <a:cubicBezTo>
                  <a:pt x="11403" y="4701"/>
                  <a:pt x="11452" y="4751"/>
                  <a:pt x="11427" y="4801"/>
                </a:cubicBezTo>
                <a:cubicBezTo>
                  <a:pt x="11427" y="4851"/>
                  <a:pt x="11452" y="4951"/>
                  <a:pt x="11477" y="5001"/>
                </a:cubicBezTo>
                <a:cubicBezTo>
                  <a:pt x="11503" y="5051"/>
                  <a:pt x="11427" y="5301"/>
                  <a:pt x="11452" y="5351"/>
                </a:cubicBezTo>
                <a:cubicBezTo>
                  <a:pt x="11477" y="5401"/>
                  <a:pt x="11427" y="5601"/>
                  <a:pt x="11452" y="5626"/>
                </a:cubicBezTo>
                <a:cubicBezTo>
                  <a:pt x="11477" y="5651"/>
                  <a:pt x="11452" y="5551"/>
                  <a:pt x="11503" y="5551"/>
                </a:cubicBezTo>
                <a:cubicBezTo>
                  <a:pt x="11552" y="5551"/>
                  <a:pt x="11552" y="5601"/>
                  <a:pt x="11577" y="5626"/>
                </a:cubicBezTo>
                <a:cubicBezTo>
                  <a:pt x="11627" y="5626"/>
                  <a:pt x="11603" y="5526"/>
                  <a:pt x="11577" y="5551"/>
                </a:cubicBezTo>
                <a:cubicBezTo>
                  <a:pt x="11552" y="5551"/>
                  <a:pt x="11527" y="5476"/>
                  <a:pt x="11503" y="5426"/>
                </a:cubicBezTo>
                <a:cubicBezTo>
                  <a:pt x="11503" y="5376"/>
                  <a:pt x="11527" y="5326"/>
                  <a:pt x="11527" y="5276"/>
                </a:cubicBezTo>
                <a:cubicBezTo>
                  <a:pt x="11527" y="5226"/>
                  <a:pt x="11603" y="5226"/>
                  <a:pt x="11652" y="5276"/>
                </a:cubicBezTo>
                <a:cubicBezTo>
                  <a:pt x="11677" y="5301"/>
                  <a:pt x="11703" y="5276"/>
                  <a:pt x="11677" y="5251"/>
                </a:cubicBezTo>
                <a:cubicBezTo>
                  <a:pt x="11652" y="5226"/>
                  <a:pt x="11603" y="5001"/>
                  <a:pt x="11577" y="4926"/>
                </a:cubicBezTo>
                <a:close/>
                <a:moveTo>
                  <a:pt x="2725" y="2450"/>
                </a:moveTo>
                <a:lnTo>
                  <a:pt x="2725" y="2450"/>
                </a:lnTo>
                <a:cubicBezTo>
                  <a:pt x="2801" y="2500"/>
                  <a:pt x="2850" y="2400"/>
                  <a:pt x="2901" y="2400"/>
                </a:cubicBezTo>
                <a:cubicBezTo>
                  <a:pt x="2925" y="2400"/>
                  <a:pt x="2875" y="2350"/>
                  <a:pt x="2801" y="2350"/>
                </a:cubicBezTo>
                <a:cubicBezTo>
                  <a:pt x="2750" y="2325"/>
                  <a:pt x="2650" y="2375"/>
                  <a:pt x="2725" y="2450"/>
                </a:cubicBezTo>
                <a:close/>
                <a:moveTo>
                  <a:pt x="16028" y="2901"/>
                </a:moveTo>
                <a:lnTo>
                  <a:pt x="16028" y="2901"/>
                </a:lnTo>
                <a:cubicBezTo>
                  <a:pt x="16004" y="2901"/>
                  <a:pt x="15904" y="2850"/>
                  <a:pt x="15878" y="2826"/>
                </a:cubicBezTo>
                <a:cubicBezTo>
                  <a:pt x="15878" y="2775"/>
                  <a:pt x="15753" y="2775"/>
                  <a:pt x="15753" y="2775"/>
                </a:cubicBezTo>
                <a:cubicBezTo>
                  <a:pt x="15753" y="2801"/>
                  <a:pt x="15728" y="2775"/>
                  <a:pt x="15728" y="2750"/>
                </a:cubicBezTo>
                <a:cubicBezTo>
                  <a:pt x="15703" y="2750"/>
                  <a:pt x="15603" y="2750"/>
                  <a:pt x="15603" y="2750"/>
                </a:cubicBezTo>
                <a:cubicBezTo>
                  <a:pt x="15603" y="2775"/>
                  <a:pt x="15628" y="2775"/>
                  <a:pt x="15628" y="2801"/>
                </a:cubicBezTo>
                <a:cubicBezTo>
                  <a:pt x="15653" y="2826"/>
                  <a:pt x="15603" y="2826"/>
                  <a:pt x="15628" y="2850"/>
                </a:cubicBezTo>
                <a:cubicBezTo>
                  <a:pt x="15628" y="2875"/>
                  <a:pt x="15578" y="2850"/>
                  <a:pt x="15553" y="2826"/>
                </a:cubicBezTo>
                <a:cubicBezTo>
                  <a:pt x="15553" y="2826"/>
                  <a:pt x="15553" y="2775"/>
                  <a:pt x="15553" y="2750"/>
                </a:cubicBezTo>
                <a:cubicBezTo>
                  <a:pt x="15553" y="2701"/>
                  <a:pt x="15528" y="2726"/>
                  <a:pt x="15528" y="2701"/>
                </a:cubicBezTo>
                <a:cubicBezTo>
                  <a:pt x="15528" y="2650"/>
                  <a:pt x="15403" y="2601"/>
                  <a:pt x="15353" y="2575"/>
                </a:cubicBezTo>
                <a:cubicBezTo>
                  <a:pt x="15278" y="2550"/>
                  <a:pt x="15228" y="2550"/>
                  <a:pt x="15203" y="2526"/>
                </a:cubicBezTo>
                <a:cubicBezTo>
                  <a:pt x="15178" y="2475"/>
                  <a:pt x="15078" y="2475"/>
                  <a:pt x="15053" y="2450"/>
                </a:cubicBezTo>
                <a:cubicBezTo>
                  <a:pt x="15028" y="2400"/>
                  <a:pt x="14853" y="2350"/>
                  <a:pt x="14803" y="2325"/>
                </a:cubicBezTo>
                <a:cubicBezTo>
                  <a:pt x="14728" y="2325"/>
                  <a:pt x="14728" y="2301"/>
                  <a:pt x="14703" y="2301"/>
                </a:cubicBezTo>
                <a:cubicBezTo>
                  <a:pt x="14678" y="2301"/>
                  <a:pt x="14528" y="2301"/>
                  <a:pt x="14478" y="2301"/>
                </a:cubicBezTo>
                <a:cubicBezTo>
                  <a:pt x="14428" y="2275"/>
                  <a:pt x="14428" y="2325"/>
                  <a:pt x="14403" y="2301"/>
                </a:cubicBezTo>
                <a:cubicBezTo>
                  <a:pt x="14378" y="2301"/>
                  <a:pt x="14203" y="2225"/>
                  <a:pt x="14178" y="2250"/>
                </a:cubicBezTo>
                <a:cubicBezTo>
                  <a:pt x="14153" y="2275"/>
                  <a:pt x="14178" y="2301"/>
                  <a:pt x="14153" y="2325"/>
                </a:cubicBezTo>
                <a:cubicBezTo>
                  <a:pt x="14128" y="2325"/>
                  <a:pt x="14153" y="2350"/>
                  <a:pt x="14203" y="2400"/>
                </a:cubicBezTo>
                <a:cubicBezTo>
                  <a:pt x="14253" y="2425"/>
                  <a:pt x="14203" y="2475"/>
                  <a:pt x="14178" y="2475"/>
                </a:cubicBezTo>
                <a:cubicBezTo>
                  <a:pt x="14128" y="2500"/>
                  <a:pt x="14053" y="2475"/>
                  <a:pt x="14053" y="2425"/>
                </a:cubicBezTo>
                <a:cubicBezTo>
                  <a:pt x="14028" y="2400"/>
                  <a:pt x="13978" y="2425"/>
                  <a:pt x="13953" y="2375"/>
                </a:cubicBezTo>
                <a:cubicBezTo>
                  <a:pt x="13928" y="2325"/>
                  <a:pt x="13978" y="2325"/>
                  <a:pt x="14003" y="2350"/>
                </a:cubicBezTo>
                <a:cubicBezTo>
                  <a:pt x="14028" y="2375"/>
                  <a:pt x="14053" y="2350"/>
                  <a:pt x="14078" y="2325"/>
                </a:cubicBezTo>
                <a:cubicBezTo>
                  <a:pt x="14078" y="2301"/>
                  <a:pt x="14003" y="2275"/>
                  <a:pt x="13953" y="2275"/>
                </a:cubicBezTo>
                <a:cubicBezTo>
                  <a:pt x="13902" y="2275"/>
                  <a:pt x="13877" y="2325"/>
                  <a:pt x="13828" y="2350"/>
                </a:cubicBezTo>
                <a:cubicBezTo>
                  <a:pt x="13803" y="2375"/>
                  <a:pt x="13628" y="2350"/>
                  <a:pt x="13603" y="2325"/>
                </a:cubicBezTo>
                <a:cubicBezTo>
                  <a:pt x="13577" y="2325"/>
                  <a:pt x="13353" y="2325"/>
                  <a:pt x="13328" y="2350"/>
                </a:cubicBezTo>
                <a:cubicBezTo>
                  <a:pt x="13303" y="2375"/>
                  <a:pt x="13303" y="2425"/>
                  <a:pt x="13303" y="2450"/>
                </a:cubicBezTo>
                <a:cubicBezTo>
                  <a:pt x="13277" y="2450"/>
                  <a:pt x="13277" y="2375"/>
                  <a:pt x="13277" y="2350"/>
                </a:cubicBezTo>
                <a:cubicBezTo>
                  <a:pt x="13277" y="2325"/>
                  <a:pt x="13253" y="2325"/>
                  <a:pt x="13203" y="2325"/>
                </a:cubicBezTo>
                <a:cubicBezTo>
                  <a:pt x="13153" y="2325"/>
                  <a:pt x="13128" y="2325"/>
                  <a:pt x="13153" y="2301"/>
                </a:cubicBezTo>
                <a:cubicBezTo>
                  <a:pt x="13177" y="2275"/>
                  <a:pt x="13128" y="2275"/>
                  <a:pt x="13177" y="2250"/>
                </a:cubicBezTo>
                <a:cubicBezTo>
                  <a:pt x="13203" y="2225"/>
                  <a:pt x="13103" y="2150"/>
                  <a:pt x="13028" y="2101"/>
                </a:cubicBezTo>
                <a:cubicBezTo>
                  <a:pt x="12928" y="2075"/>
                  <a:pt x="12728" y="2101"/>
                  <a:pt x="12652" y="2101"/>
                </a:cubicBezTo>
                <a:cubicBezTo>
                  <a:pt x="12602" y="2125"/>
                  <a:pt x="12503" y="2125"/>
                  <a:pt x="12452" y="2125"/>
                </a:cubicBezTo>
                <a:cubicBezTo>
                  <a:pt x="12377" y="2125"/>
                  <a:pt x="12428" y="2101"/>
                  <a:pt x="12428" y="2075"/>
                </a:cubicBezTo>
                <a:cubicBezTo>
                  <a:pt x="12402" y="2050"/>
                  <a:pt x="12303" y="2025"/>
                  <a:pt x="12303" y="2050"/>
                </a:cubicBezTo>
                <a:cubicBezTo>
                  <a:pt x="12277" y="2075"/>
                  <a:pt x="12252" y="2050"/>
                  <a:pt x="12252" y="2025"/>
                </a:cubicBezTo>
                <a:cubicBezTo>
                  <a:pt x="12252" y="2025"/>
                  <a:pt x="12177" y="1975"/>
                  <a:pt x="12152" y="2001"/>
                </a:cubicBezTo>
                <a:cubicBezTo>
                  <a:pt x="12103" y="2001"/>
                  <a:pt x="12103" y="1950"/>
                  <a:pt x="12127" y="1950"/>
                </a:cubicBezTo>
                <a:cubicBezTo>
                  <a:pt x="12177" y="1950"/>
                  <a:pt x="12228" y="1975"/>
                  <a:pt x="12203" y="1925"/>
                </a:cubicBezTo>
                <a:cubicBezTo>
                  <a:pt x="12177" y="1875"/>
                  <a:pt x="11927" y="1875"/>
                  <a:pt x="11903" y="1875"/>
                </a:cubicBezTo>
                <a:cubicBezTo>
                  <a:pt x="11877" y="1875"/>
                  <a:pt x="11903" y="1925"/>
                  <a:pt x="11852" y="1975"/>
                </a:cubicBezTo>
                <a:cubicBezTo>
                  <a:pt x="11803" y="2025"/>
                  <a:pt x="11752" y="1975"/>
                  <a:pt x="11752" y="1950"/>
                </a:cubicBezTo>
                <a:cubicBezTo>
                  <a:pt x="11752" y="1925"/>
                  <a:pt x="11827" y="1925"/>
                  <a:pt x="11827" y="1901"/>
                </a:cubicBezTo>
                <a:cubicBezTo>
                  <a:pt x="11827" y="1875"/>
                  <a:pt x="11727" y="1901"/>
                  <a:pt x="11727" y="1875"/>
                </a:cubicBezTo>
                <a:cubicBezTo>
                  <a:pt x="11703" y="1850"/>
                  <a:pt x="11727" y="1850"/>
                  <a:pt x="11777" y="1850"/>
                </a:cubicBezTo>
                <a:cubicBezTo>
                  <a:pt x="11803" y="1875"/>
                  <a:pt x="11852" y="1875"/>
                  <a:pt x="11877" y="1850"/>
                </a:cubicBezTo>
                <a:cubicBezTo>
                  <a:pt x="11877" y="1850"/>
                  <a:pt x="11827" y="1825"/>
                  <a:pt x="11777" y="1825"/>
                </a:cubicBezTo>
                <a:cubicBezTo>
                  <a:pt x="11727" y="1825"/>
                  <a:pt x="11577" y="1775"/>
                  <a:pt x="11527" y="1801"/>
                </a:cubicBezTo>
                <a:cubicBezTo>
                  <a:pt x="11452" y="1801"/>
                  <a:pt x="11403" y="1775"/>
                  <a:pt x="11377" y="1750"/>
                </a:cubicBezTo>
                <a:cubicBezTo>
                  <a:pt x="11327" y="1750"/>
                  <a:pt x="11327" y="1775"/>
                  <a:pt x="11352" y="1801"/>
                </a:cubicBezTo>
                <a:cubicBezTo>
                  <a:pt x="11377" y="1825"/>
                  <a:pt x="11327" y="1850"/>
                  <a:pt x="11277" y="1825"/>
                </a:cubicBezTo>
                <a:cubicBezTo>
                  <a:pt x="11227" y="1825"/>
                  <a:pt x="11152" y="1850"/>
                  <a:pt x="11177" y="1901"/>
                </a:cubicBezTo>
                <a:cubicBezTo>
                  <a:pt x="11202" y="1925"/>
                  <a:pt x="11227" y="1875"/>
                  <a:pt x="11252" y="1901"/>
                </a:cubicBezTo>
                <a:cubicBezTo>
                  <a:pt x="11277" y="1901"/>
                  <a:pt x="11202" y="1925"/>
                  <a:pt x="11227" y="1950"/>
                </a:cubicBezTo>
                <a:cubicBezTo>
                  <a:pt x="11277" y="1950"/>
                  <a:pt x="11252" y="2001"/>
                  <a:pt x="11252" y="2001"/>
                </a:cubicBezTo>
                <a:cubicBezTo>
                  <a:pt x="11252" y="2025"/>
                  <a:pt x="11202" y="2025"/>
                  <a:pt x="11177" y="2001"/>
                </a:cubicBezTo>
                <a:cubicBezTo>
                  <a:pt x="11177" y="1975"/>
                  <a:pt x="11127" y="2001"/>
                  <a:pt x="11102" y="2001"/>
                </a:cubicBezTo>
                <a:cubicBezTo>
                  <a:pt x="11052" y="2001"/>
                  <a:pt x="11027" y="2025"/>
                  <a:pt x="11077" y="2025"/>
                </a:cubicBezTo>
                <a:cubicBezTo>
                  <a:pt x="11102" y="2025"/>
                  <a:pt x="11127" y="2050"/>
                  <a:pt x="11077" y="2050"/>
                </a:cubicBezTo>
                <a:cubicBezTo>
                  <a:pt x="11027" y="2075"/>
                  <a:pt x="11027" y="2001"/>
                  <a:pt x="11002" y="2025"/>
                </a:cubicBezTo>
                <a:cubicBezTo>
                  <a:pt x="10952" y="2025"/>
                  <a:pt x="10902" y="2001"/>
                  <a:pt x="10852" y="2001"/>
                </a:cubicBezTo>
                <a:cubicBezTo>
                  <a:pt x="10802" y="2001"/>
                  <a:pt x="10802" y="2025"/>
                  <a:pt x="10752" y="2025"/>
                </a:cubicBezTo>
                <a:cubicBezTo>
                  <a:pt x="10702" y="2025"/>
                  <a:pt x="10627" y="2001"/>
                  <a:pt x="10602" y="1975"/>
                </a:cubicBezTo>
                <a:cubicBezTo>
                  <a:pt x="10577" y="1950"/>
                  <a:pt x="10577" y="1925"/>
                  <a:pt x="10552" y="1975"/>
                </a:cubicBezTo>
                <a:cubicBezTo>
                  <a:pt x="10527" y="2001"/>
                  <a:pt x="10527" y="2050"/>
                  <a:pt x="10502" y="2075"/>
                </a:cubicBezTo>
                <a:cubicBezTo>
                  <a:pt x="10477" y="2075"/>
                  <a:pt x="10452" y="2125"/>
                  <a:pt x="10427" y="2150"/>
                </a:cubicBezTo>
                <a:cubicBezTo>
                  <a:pt x="10402" y="2150"/>
                  <a:pt x="10402" y="2125"/>
                  <a:pt x="10377" y="2125"/>
                </a:cubicBezTo>
                <a:cubicBezTo>
                  <a:pt x="10352" y="2125"/>
                  <a:pt x="10252" y="2025"/>
                  <a:pt x="10227" y="2001"/>
                </a:cubicBezTo>
                <a:cubicBezTo>
                  <a:pt x="10227" y="1975"/>
                  <a:pt x="10177" y="1901"/>
                  <a:pt x="10152" y="1901"/>
                </a:cubicBezTo>
                <a:cubicBezTo>
                  <a:pt x="10127" y="1875"/>
                  <a:pt x="10177" y="1875"/>
                  <a:pt x="10202" y="1901"/>
                </a:cubicBezTo>
                <a:cubicBezTo>
                  <a:pt x="10202" y="1925"/>
                  <a:pt x="10227" y="1925"/>
                  <a:pt x="10252" y="1901"/>
                </a:cubicBezTo>
                <a:cubicBezTo>
                  <a:pt x="10277" y="1901"/>
                  <a:pt x="10277" y="1850"/>
                  <a:pt x="10252" y="1850"/>
                </a:cubicBezTo>
                <a:cubicBezTo>
                  <a:pt x="10202" y="1850"/>
                  <a:pt x="10227" y="1801"/>
                  <a:pt x="10227" y="1801"/>
                </a:cubicBezTo>
                <a:cubicBezTo>
                  <a:pt x="10252" y="1801"/>
                  <a:pt x="10202" y="1750"/>
                  <a:pt x="10227" y="1750"/>
                </a:cubicBezTo>
                <a:cubicBezTo>
                  <a:pt x="10227" y="1725"/>
                  <a:pt x="10227" y="1701"/>
                  <a:pt x="10202" y="1701"/>
                </a:cubicBezTo>
                <a:cubicBezTo>
                  <a:pt x="10177" y="1701"/>
                  <a:pt x="10127" y="1675"/>
                  <a:pt x="10127" y="1650"/>
                </a:cubicBezTo>
                <a:cubicBezTo>
                  <a:pt x="10127" y="1650"/>
                  <a:pt x="10002" y="1650"/>
                  <a:pt x="10002" y="1675"/>
                </a:cubicBezTo>
                <a:cubicBezTo>
                  <a:pt x="10027" y="1675"/>
                  <a:pt x="9977" y="1675"/>
                  <a:pt x="9977" y="1650"/>
                </a:cubicBezTo>
                <a:cubicBezTo>
                  <a:pt x="9977" y="1650"/>
                  <a:pt x="9927" y="1650"/>
                  <a:pt x="9877" y="1625"/>
                </a:cubicBezTo>
                <a:cubicBezTo>
                  <a:pt x="9802" y="1625"/>
                  <a:pt x="9802" y="1575"/>
                  <a:pt x="9777" y="1575"/>
                </a:cubicBezTo>
                <a:cubicBezTo>
                  <a:pt x="9752" y="1575"/>
                  <a:pt x="9777" y="1625"/>
                  <a:pt x="9752" y="1625"/>
                </a:cubicBezTo>
                <a:cubicBezTo>
                  <a:pt x="9702" y="1601"/>
                  <a:pt x="9677" y="1625"/>
                  <a:pt x="9702" y="1675"/>
                </a:cubicBezTo>
                <a:cubicBezTo>
                  <a:pt x="9702" y="1701"/>
                  <a:pt x="9702" y="1701"/>
                  <a:pt x="9702" y="1725"/>
                </a:cubicBezTo>
                <a:cubicBezTo>
                  <a:pt x="9677" y="1775"/>
                  <a:pt x="9677" y="1750"/>
                  <a:pt x="9627" y="1750"/>
                </a:cubicBezTo>
                <a:cubicBezTo>
                  <a:pt x="9601" y="1725"/>
                  <a:pt x="9601" y="1775"/>
                  <a:pt x="9527" y="1750"/>
                </a:cubicBezTo>
                <a:cubicBezTo>
                  <a:pt x="9452" y="1725"/>
                  <a:pt x="9401" y="1750"/>
                  <a:pt x="9401" y="1725"/>
                </a:cubicBezTo>
                <a:cubicBezTo>
                  <a:pt x="9376" y="1701"/>
                  <a:pt x="9352" y="1701"/>
                  <a:pt x="9352" y="1725"/>
                </a:cubicBezTo>
                <a:cubicBezTo>
                  <a:pt x="9352" y="1750"/>
                  <a:pt x="9227" y="1725"/>
                  <a:pt x="9227" y="1701"/>
                </a:cubicBezTo>
                <a:cubicBezTo>
                  <a:pt x="9202" y="1675"/>
                  <a:pt x="9252" y="1675"/>
                  <a:pt x="9252" y="1650"/>
                </a:cubicBezTo>
                <a:cubicBezTo>
                  <a:pt x="9276" y="1650"/>
                  <a:pt x="9252" y="1625"/>
                  <a:pt x="9176" y="1650"/>
                </a:cubicBezTo>
                <a:cubicBezTo>
                  <a:pt x="9102" y="1650"/>
                  <a:pt x="9076" y="1601"/>
                  <a:pt x="9002" y="1625"/>
                </a:cubicBezTo>
                <a:cubicBezTo>
                  <a:pt x="8927" y="1625"/>
                  <a:pt x="8776" y="1625"/>
                  <a:pt x="8776" y="1650"/>
                </a:cubicBezTo>
                <a:cubicBezTo>
                  <a:pt x="8752" y="1650"/>
                  <a:pt x="8776" y="1701"/>
                  <a:pt x="8752" y="1701"/>
                </a:cubicBezTo>
                <a:cubicBezTo>
                  <a:pt x="8727" y="1701"/>
                  <a:pt x="8752" y="1625"/>
                  <a:pt x="8752" y="1601"/>
                </a:cubicBezTo>
                <a:cubicBezTo>
                  <a:pt x="8727" y="1575"/>
                  <a:pt x="8676" y="1575"/>
                  <a:pt x="8702" y="1601"/>
                </a:cubicBezTo>
                <a:cubicBezTo>
                  <a:pt x="8702" y="1625"/>
                  <a:pt x="8627" y="1625"/>
                  <a:pt x="8602" y="1601"/>
                </a:cubicBezTo>
                <a:cubicBezTo>
                  <a:pt x="8576" y="1575"/>
                  <a:pt x="8551" y="1575"/>
                  <a:pt x="8476" y="1550"/>
                </a:cubicBezTo>
                <a:cubicBezTo>
                  <a:pt x="8427" y="1525"/>
                  <a:pt x="8376" y="1601"/>
                  <a:pt x="8376" y="1601"/>
                </a:cubicBezTo>
                <a:cubicBezTo>
                  <a:pt x="8402" y="1625"/>
                  <a:pt x="8427" y="1625"/>
                  <a:pt x="8427" y="1625"/>
                </a:cubicBezTo>
                <a:cubicBezTo>
                  <a:pt x="8451" y="1650"/>
                  <a:pt x="8327" y="1650"/>
                  <a:pt x="8327" y="1650"/>
                </a:cubicBezTo>
                <a:cubicBezTo>
                  <a:pt x="8327" y="1675"/>
                  <a:pt x="8202" y="1701"/>
                  <a:pt x="8176" y="1701"/>
                </a:cubicBezTo>
                <a:cubicBezTo>
                  <a:pt x="8076" y="1725"/>
                  <a:pt x="8076" y="1725"/>
                  <a:pt x="8027" y="1750"/>
                </a:cubicBezTo>
                <a:cubicBezTo>
                  <a:pt x="7976" y="1801"/>
                  <a:pt x="8027" y="1725"/>
                  <a:pt x="8051" y="1701"/>
                </a:cubicBezTo>
                <a:cubicBezTo>
                  <a:pt x="8076" y="1650"/>
                  <a:pt x="8127" y="1675"/>
                  <a:pt x="8127" y="1650"/>
                </a:cubicBezTo>
                <a:cubicBezTo>
                  <a:pt x="8151" y="1625"/>
                  <a:pt x="8176" y="1625"/>
                  <a:pt x="8251" y="1625"/>
                </a:cubicBezTo>
                <a:cubicBezTo>
                  <a:pt x="8302" y="1601"/>
                  <a:pt x="8302" y="1575"/>
                  <a:pt x="8327" y="1575"/>
                </a:cubicBezTo>
                <a:cubicBezTo>
                  <a:pt x="8351" y="1550"/>
                  <a:pt x="8402" y="1525"/>
                  <a:pt x="8402" y="1501"/>
                </a:cubicBezTo>
                <a:cubicBezTo>
                  <a:pt x="8427" y="1475"/>
                  <a:pt x="8551" y="1425"/>
                  <a:pt x="8576" y="1450"/>
                </a:cubicBezTo>
                <a:cubicBezTo>
                  <a:pt x="8602" y="1450"/>
                  <a:pt x="8602" y="1401"/>
                  <a:pt x="8627" y="1401"/>
                </a:cubicBezTo>
                <a:cubicBezTo>
                  <a:pt x="8627" y="1401"/>
                  <a:pt x="8702" y="1350"/>
                  <a:pt x="8727" y="1350"/>
                </a:cubicBezTo>
                <a:cubicBezTo>
                  <a:pt x="8752" y="1325"/>
                  <a:pt x="8776" y="1300"/>
                  <a:pt x="8776" y="1275"/>
                </a:cubicBezTo>
                <a:cubicBezTo>
                  <a:pt x="8776" y="1275"/>
                  <a:pt x="8727" y="1275"/>
                  <a:pt x="8727" y="1250"/>
                </a:cubicBezTo>
                <a:cubicBezTo>
                  <a:pt x="8727" y="1250"/>
                  <a:pt x="8752" y="1250"/>
                  <a:pt x="8776" y="1250"/>
                </a:cubicBezTo>
                <a:cubicBezTo>
                  <a:pt x="8802" y="1225"/>
                  <a:pt x="8776" y="1200"/>
                  <a:pt x="8752" y="1200"/>
                </a:cubicBezTo>
                <a:cubicBezTo>
                  <a:pt x="8727" y="1200"/>
                  <a:pt x="8776" y="1175"/>
                  <a:pt x="8752" y="1150"/>
                </a:cubicBezTo>
                <a:cubicBezTo>
                  <a:pt x="8727" y="1125"/>
                  <a:pt x="8676" y="1175"/>
                  <a:pt x="8676" y="1150"/>
                </a:cubicBezTo>
                <a:cubicBezTo>
                  <a:pt x="8676" y="1100"/>
                  <a:pt x="8676" y="1075"/>
                  <a:pt x="8676" y="1050"/>
                </a:cubicBezTo>
                <a:cubicBezTo>
                  <a:pt x="8652" y="1050"/>
                  <a:pt x="8627" y="1100"/>
                  <a:pt x="8576" y="1075"/>
                </a:cubicBezTo>
                <a:cubicBezTo>
                  <a:pt x="8551" y="1050"/>
                  <a:pt x="8451" y="1025"/>
                  <a:pt x="8451" y="1025"/>
                </a:cubicBezTo>
                <a:cubicBezTo>
                  <a:pt x="8451" y="1050"/>
                  <a:pt x="8402" y="1025"/>
                  <a:pt x="8402" y="1025"/>
                </a:cubicBezTo>
                <a:cubicBezTo>
                  <a:pt x="8376" y="1050"/>
                  <a:pt x="8302" y="1025"/>
                  <a:pt x="8276" y="1025"/>
                </a:cubicBezTo>
                <a:cubicBezTo>
                  <a:pt x="8251" y="1025"/>
                  <a:pt x="8227" y="1050"/>
                  <a:pt x="8227" y="1075"/>
                </a:cubicBezTo>
                <a:cubicBezTo>
                  <a:pt x="8202" y="1100"/>
                  <a:pt x="8127" y="1075"/>
                  <a:pt x="8101" y="1075"/>
                </a:cubicBezTo>
                <a:cubicBezTo>
                  <a:pt x="8076" y="1075"/>
                  <a:pt x="8176" y="1000"/>
                  <a:pt x="8176" y="1000"/>
                </a:cubicBezTo>
                <a:cubicBezTo>
                  <a:pt x="8176" y="975"/>
                  <a:pt x="8027" y="1000"/>
                  <a:pt x="8002" y="975"/>
                </a:cubicBezTo>
                <a:cubicBezTo>
                  <a:pt x="8002" y="975"/>
                  <a:pt x="7927" y="950"/>
                  <a:pt x="7902" y="950"/>
                </a:cubicBezTo>
                <a:cubicBezTo>
                  <a:pt x="7876" y="950"/>
                  <a:pt x="7902" y="950"/>
                  <a:pt x="7927" y="950"/>
                </a:cubicBezTo>
                <a:cubicBezTo>
                  <a:pt x="7951" y="950"/>
                  <a:pt x="7976" y="925"/>
                  <a:pt x="8027" y="925"/>
                </a:cubicBezTo>
                <a:cubicBezTo>
                  <a:pt x="8051" y="900"/>
                  <a:pt x="8051" y="900"/>
                  <a:pt x="8027" y="875"/>
                </a:cubicBezTo>
                <a:cubicBezTo>
                  <a:pt x="8002" y="850"/>
                  <a:pt x="7976" y="875"/>
                  <a:pt x="7951" y="850"/>
                </a:cubicBezTo>
                <a:cubicBezTo>
                  <a:pt x="7927" y="850"/>
                  <a:pt x="7876" y="825"/>
                  <a:pt x="7851" y="825"/>
                </a:cubicBezTo>
                <a:cubicBezTo>
                  <a:pt x="7827" y="825"/>
                  <a:pt x="7802" y="850"/>
                  <a:pt x="7727" y="850"/>
                </a:cubicBezTo>
                <a:cubicBezTo>
                  <a:pt x="7651" y="875"/>
                  <a:pt x="7651" y="925"/>
                  <a:pt x="7626" y="950"/>
                </a:cubicBezTo>
                <a:cubicBezTo>
                  <a:pt x="7576" y="950"/>
                  <a:pt x="7526" y="1025"/>
                  <a:pt x="7551" y="1025"/>
                </a:cubicBezTo>
                <a:cubicBezTo>
                  <a:pt x="7576" y="1025"/>
                  <a:pt x="7576" y="1050"/>
                  <a:pt x="7576" y="1050"/>
                </a:cubicBezTo>
                <a:cubicBezTo>
                  <a:pt x="7576" y="1075"/>
                  <a:pt x="7551" y="1075"/>
                  <a:pt x="7526" y="1075"/>
                </a:cubicBezTo>
                <a:cubicBezTo>
                  <a:pt x="7502" y="1075"/>
                  <a:pt x="7376" y="1075"/>
                  <a:pt x="7376" y="1100"/>
                </a:cubicBezTo>
                <a:cubicBezTo>
                  <a:pt x="7376" y="1125"/>
                  <a:pt x="7451" y="1125"/>
                  <a:pt x="7451" y="1150"/>
                </a:cubicBezTo>
                <a:cubicBezTo>
                  <a:pt x="7426" y="1150"/>
                  <a:pt x="7402" y="1150"/>
                  <a:pt x="7376" y="1125"/>
                </a:cubicBezTo>
                <a:cubicBezTo>
                  <a:pt x="7351" y="1125"/>
                  <a:pt x="7302" y="1125"/>
                  <a:pt x="7276" y="1150"/>
                </a:cubicBezTo>
                <a:cubicBezTo>
                  <a:pt x="7276" y="1175"/>
                  <a:pt x="7226" y="1175"/>
                  <a:pt x="7226" y="1150"/>
                </a:cubicBezTo>
                <a:cubicBezTo>
                  <a:pt x="7202" y="1150"/>
                  <a:pt x="7176" y="1175"/>
                  <a:pt x="7176" y="1175"/>
                </a:cubicBezTo>
                <a:cubicBezTo>
                  <a:pt x="7151" y="1150"/>
                  <a:pt x="7202" y="1125"/>
                  <a:pt x="7202" y="1125"/>
                </a:cubicBezTo>
                <a:cubicBezTo>
                  <a:pt x="7176" y="1100"/>
                  <a:pt x="7102" y="1100"/>
                  <a:pt x="7102" y="1125"/>
                </a:cubicBezTo>
                <a:cubicBezTo>
                  <a:pt x="7102" y="1150"/>
                  <a:pt x="7051" y="1125"/>
                  <a:pt x="7051" y="1125"/>
                </a:cubicBezTo>
                <a:cubicBezTo>
                  <a:pt x="7026" y="1125"/>
                  <a:pt x="7002" y="1150"/>
                  <a:pt x="6976" y="1150"/>
                </a:cubicBezTo>
                <a:cubicBezTo>
                  <a:pt x="6951" y="1175"/>
                  <a:pt x="6902" y="1150"/>
                  <a:pt x="6876" y="1175"/>
                </a:cubicBezTo>
                <a:cubicBezTo>
                  <a:pt x="6876" y="1200"/>
                  <a:pt x="6951" y="1200"/>
                  <a:pt x="6951" y="1200"/>
                </a:cubicBezTo>
                <a:cubicBezTo>
                  <a:pt x="6951" y="1225"/>
                  <a:pt x="6801" y="1225"/>
                  <a:pt x="6801" y="1225"/>
                </a:cubicBezTo>
                <a:cubicBezTo>
                  <a:pt x="6776" y="1250"/>
                  <a:pt x="6726" y="1250"/>
                  <a:pt x="6676" y="1250"/>
                </a:cubicBezTo>
                <a:cubicBezTo>
                  <a:pt x="6601" y="1250"/>
                  <a:pt x="6626" y="1275"/>
                  <a:pt x="6576" y="1275"/>
                </a:cubicBezTo>
                <a:cubicBezTo>
                  <a:pt x="6526" y="1300"/>
                  <a:pt x="6501" y="1300"/>
                  <a:pt x="6501" y="1325"/>
                </a:cubicBezTo>
                <a:cubicBezTo>
                  <a:pt x="6476" y="1350"/>
                  <a:pt x="6451" y="1350"/>
                  <a:pt x="6426" y="1325"/>
                </a:cubicBezTo>
                <a:cubicBezTo>
                  <a:pt x="6401" y="1325"/>
                  <a:pt x="6351" y="1350"/>
                  <a:pt x="6376" y="1350"/>
                </a:cubicBezTo>
                <a:cubicBezTo>
                  <a:pt x="6401" y="1350"/>
                  <a:pt x="6376" y="1375"/>
                  <a:pt x="6376" y="1375"/>
                </a:cubicBezTo>
                <a:cubicBezTo>
                  <a:pt x="6351" y="1350"/>
                  <a:pt x="6301" y="1401"/>
                  <a:pt x="6326" y="1401"/>
                </a:cubicBezTo>
                <a:cubicBezTo>
                  <a:pt x="6351" y="1401"/>
                  <a:pt x="6376" y="1401"/>
                  <a:pt x="6351" y="1425"/>
                </a:cubicBezTo>
                <a:cubicBezTo>
                  <a:pt x="6351" y="1450"/>
                  <a:pt x="6301" y="1401"/>
                  <a:pt x="6276" y="1425"/>
                </a:cubicBezTo>
                <a:cubicBezTo>
                  <a:pt x="6276" y="1425"/>
                  <a:pt x="6301" y="1450"/>
                  <a:pt x="6326" y="1450"/>
                </a:cubicBezTo>
                <a:cubicBezTo>
                  <a:pt x="6351" y="1450"/>
                  <a:pt x="6376" y="1475"/>
                  <a:pt x="6376" y="1475"/>
                </a:cubicBezTo>
                <a:cubicBezTo>
                  <a:pt x="6376" y="1501"/>
                  <a:pt x="6326" y="1475"/>
                  <a:pt x="6301" y="1475"/>
                </a:cubicBezTo>
                <a:cubicBezTo>
                  <a:pt x="6301" y="1501"/>
                  <a:pt x="6301" y="1501"/>
                  <a:pt x="6351" y="1501"/>
                </a:cubicBezTo>
                <a:cubicBezTo>
                  <a:pt x="6376" y="1525"/>
                  <a:pt x="6351" y="1525"/>
                  <a:pt x="6376" y="1550"/>
                </a:cubicBezTo>
                <a:lnTo>
                  <a:pt x="6376" y="1550"/>
                </a:lnTo>
                <a:cubicBezTo>
                  <a:pt x="6376" y="1575"/>
                  <a:pt x="6351" y="1575"/>
                  <a:pt x="6376" y="1601"/>
                </a:cubicBezTo>
                <a:cubicBezTo>
                  <a:pt x="6376" y="1601"/>
                  <a:pt x="6326" y="1625"/>
                  <a:pt x="6326" y="1601"/>
                </a:cubicBezTo>
                <a:cubicBezTo>
                  <a:pt x="6326" y="1575"/>
                  <a:pt x="6276" y="1575"/>
                  <a:pt x="6251" y="1601"/>
                </a:cubicBezTo>
                <a:cubicBezTo>
                  <a:pt x="6226" y="1601"/>
                  <a:pt x="6226" y="1625"/>
                  <a:pt x="6201" y="1601"/>
                </a:cubicBezTo>
                <a:cubicBezTo>
                  <a:pt x="6176" y="1601"/>
                  <a:pt x="6126" y="1601"/>
                  <a:pt x="6076" y="1625"/>
                </a:cubicBezTo>
                <a:cubicBezTo>
                  <a:pt x="6001" y="1625"/>
                  <a:pt x="5851" y="1625"/>
                  <a:pt x="5826" y="1625"/>
                </a:cubicBezTo>
                <a:cubicBezTo>
                  <a:pt x="5776" y="1650"/>
                  <a:pt x="5751" y="1701"/>
                  <a:pt x="5801" y="1725"/>
                </a:cubicBezTo>
                <a:cubicBezTo>
                  <a:pt x="5826" y="1750"/>
                  <a:pt x="5801" y="1775"/>
                  <a:pt x="5801" y="1801"/>
                </a:cubicBezTo>
                <a:cubicBezTo>
                  <a:pt x="5801" y="1825"/>
                  <a:pt x="5876" y="1850"/>
                  <a:pt x="5926" y="1875"/>
                </a:cubicBezTo>
                <a:cubicBezTo>
                  <a:pt x="5976" y="1875"/>
                  <a:pt x="6001" y="1925"/>
                  <a:pt x="5976" y="1950"/>
                </a:cubicBezTo>
                <a:cubicBezTo>
                  <a:pt x="5951" y="2001"/>
                  <a:pt x="5876" y="1950"/>
                  <a:pt x="5826" y="1901"/>
                </a:cubicBezTo>
                <a:cubicBezTo>
                  <a:pt x="5751" y="1850"/>
                  <a:pt x="5651" y="1850"/>
                  <a:pt x="5601" y="1850"/>
                </a:cubicBezTo>
                <a:cubicBezTo>
                  <a:pt x="5551" y="1850"/>
                  <a:pt x="5576" y="1801"/>
                  <a:pt x="5526" y="1825"/>
                </a:cubicBezTo>
                <a:cubicBezTo>
                  <a:pt x="5476" y="1825"/>
                  <a:pt x="5426" y="1850"/>
                  <a:pt x="5476" y="1850"/>
                </a:cubicBezTo>
                <a:cubicBezTo>
                  <a:pt x="5501" y="1850"/>
                  <a:pt x="5526" y="1850"/>
                  <a:pt x="5501" y="1875"/>
                </a:cubicBezTo>
                <a:cubicBezTo>
                  <a:pt x="5501" y="1901"/>
                  <a:pt x="5526" y="1875"/>
                  <a:pt x="5551" y="1901"/>
                </a:cubicBezTo>
                <a:cubicBezTo>
                  <a:pt x="5601" y="1925"/>
                  <a:pt x="5526" y="1950"/>
                  <a:pt x="5476" y="1925"/>
                </a:cubicBezTo>
                <a:cubicBezTo>
                  <a:pt x="5451" y="1901"/>
                  <a:pt x="5401" y="1925"/>
                  <a:pt x="5376" y="1950"/>
                </a:cubicBezTo>
                <a:cubicBezTo>
                  <a:pt x="5376" y="1950"/>
                  <a:pt x="5426" y="2025"/>
                  <a:pt x="5501" y="2025"/>
                </a:cubicBezTo>
                <a:cubicBezTo>
                  <a:pt x="5576" y="2050"/>
                  <a:pt x="5551" y="2075"/>
                  <a:pt x="5601" y="2075"/>
                </a:cubicBezTo>
                <a:cubicBezTo>
                  <a:pt x="5626" y="2101"/>
                  <a:pt x="5601" y="2101"/>
                  <a:pt x="5576" y="2101"/>
                </a:cubicBezTo>
                <a:cubicBezTo>
                  <a:pt x="5551" y="2125"/>
                  <a:pt x="5501" y="2075"/>
                  <a:pt x="5476" y="2050"/>
                </a:cubicBezTo>
                <a:cubicBezTo>
                  <a:pt x="5426" y="2025"/>
                  <a:pt x="5326" y="2075"/>
                  <a:pt x="5300" y="2050"/>
                </a:cubicBezTo>
                <a:cubicBezTo>
                  <a:pt x="5300" y="2025"/>
                  <a:pt x="5326" y="2001"/>
                  <a:pt x="5300" y="1975"/>
                </a:cubicBezTo>
                <a:cubicBezTo>
                  <a:pt x="5276" y="1975"/>
                  <a:pt x="5300" y="1925"/>
                  <a:pt x="5326" y="1901"/>
                </a:cubicBezTo>
                <a:cubicBezTo>
                  <a:pt x="5351" y="1850"/>
                  <a:pt x="5326" y="1775"/>
                  <a:pt x="5276" y="1775"/>
                </a:cubicBezTo>
                <a:cubicBezTo>
                  <a:pt x="5251" y="1750"/>
                  <a:pt x="5251" y="1801"/>
                  <a:pt x="5251" y="1801"/>
                </a:cubicBezTo>
                <a:cubicBezTo>
                  <a:pt x="5276" y="1825"/>
                  <a:pt x="5276" y="1875"/>
                  <a:pt x="5226" y="1901"/>
                </a:cubicBezTo>
                <a:cubicBezTo>
                  <a:pt x="5201" y="1950"/>
                  <a:pt x="5126" y="1950"/>
                  <a:pt x="5126" y="1975"/>
                </a:cubicBezTo>
                <a:cubicBezTo>
                  <a:pt x="5126" y="2001"/>
                  <a:pt x="5076" y="2001"/>
                  <a:pt x="5076" y="2025"/>
                </a:cubicBezTo>
                <a:cubicBezTo>
                  <a:pt x="5100" y="2050"/>
                  <a:pt x="5176" y="2125"/>
                  <a:pt x="5201" y="2150"/>
                </a:cubicBezTo>
                <a:cubicBezTo>
                  <a:pt x="5201" y="2175"/>
                  <a:pt x="5126" y="2275"/>
                  <a:pt x="5151" y="2301"/>
                </a:cubicBezTo>
                <a:cubicBezTo>
                  <a:pt x="5151" y="2350"/>
                  <a:pt x="5126" y="2375"/>
                  <a:pt x="5151" y="2400"/>
                </a:cubicBezTo>
                <a:cubicBezTo>
                  <a:pt x="5151" y="2425"/>
                  <a:pt x="5201" y="2400"/>
                  <a:pt x="5226" y="2425"/>
                </a:cubicBezTo>
                <a:cubicBezTo>
                  <a:pt x="5226" y="2425"/>
                  <a:pt x="5276" y="2400"/>
                  <a:pt x="5326" y="2400"/>
                </a:cubicBezTo>
                <a:cubicBezTo>
                  <a:pt x="5376" y="2375"/>
                  <a:pt x="5476" y="2450"/>
                  <a:pt x="5501" y="2450"/>
                </a:cubicBezTo>
                <a:cubicBezTo>
                  <a:pt x="5551" y="2475"/>
                  <a:pt x="5526" y="2500"/>
                  <a:pt x="5551" y="2526"/>
                </a:cubicBezTo>
                <a:cubicBezTo>
                  <a:pt x="5551" y="2550"/>
                  <a:pt x="5501" y="2550"/>
                  <a:pt x="5501" y="2601"/>
                </a:cubicBezTo>
                <a:cubicBezTo>
                  <a:pt x="5501" y="2650"/>
                  <a:pt x="5601" y="2650"/>
                  <a:pt x="5601" y="2675"/>
                </a:cubicBezTo>
                <a:cubicBezTo>
                  <a:pt x="5601" y="2675"/>
                  <a:pt x="5526" y="2675"/>
                  <a:pt x="5501" y="2650"/>
                </a:cubicBezTo>
                <a:cubicBezTo>
                  <a:pt x="5476" y="2650"/>
                  <a:pt x="5476" y="2601"/>
                  <a:pt x="5451" y="2601"/>
                </a:cubicBezTo>
                <a:cubicBezTo>
                  <a:pt x="5451" y="2601"/>
                  <a:pt x="5476" y="2550"/>
                  <a:pt x="5476" y="2526"/>
                </a:cubicBezTo>
                <a:cubicBezTo>
                  <a:pt x="5476" y="2500"/>
                  <a:pt x="5451" y="2500"/>
                  <a:pt x="5426" y="2475"/>
                </a:cubicBezTo>
                <a:cubicBezTo>
                  <a:pt x="5426" y="2450"/>
                  <a:pt x="5401" y="2425"/>
                  <a:pt x="5376" y="2425"/>
                </a:cubicBezTo>
                <a:cubicBezTo>
                  <a:pt x="5351" y="2450"/>
                  <a:pt x="5251" y="2450"/>
                  <a:pt x="5226" y="2475"/>
                </a:cubicBezTo>
                <a:cubicBezTo>
                  <a:pt x="5201" y="2500"/>
                  <a:pt x="5226" y="2575"/>
                  <a:pt x="5251" y="2601"/>
                </a:cubicBezTo>
                <a:cubicBezTo>
                  <a:pt x="5276" y="2650"/>
                  <a:pt x="5176" y="2701"/>
                  <a:pt x="5176" y="2726"/>
                </a:cubicBezTo>
                <a:cubicBezTo>
                  <a:pt x="5176" y="2750"/>
                  <a:pt x="5151" y="2750"/>
                  <a:pt x="5100" y="2775"/>
                </a:cubicBezTo>
                <a:cubicBezTo>
                  <a:pt x="5051" y="2801"/>
                  <a:pt x="5001" y="2826"/>
                  <a:pt x="5026" y="2850"/>
                </a:cubicBezTo>
                <a:cubicBezTo>
                  <a:pt x="5026" y="2901"/>
                  <a:pt x="4951" y="2875"/>
                  <a:pt x="4926" y="2850"/>
                </a:cubicBezTo>
                <a:cubicBezTo>
                  <a:pt x="4901" y="2826"/>
                  <a:pt x="4851" y="2875"/>
                  <a:pt x="4826" y="2850"/>
                </a:cubicBezTo>
                <a:cubicBezTo>
                  <a:pt x="4775" y="2850"/>
                  <a:pt x="4775" y="2826"/>
                  <a:pt x="4751" y="2850"/>
                </a:cubicBezTo>
                <a:cubicBezTo>
                  <a:pt x="4701" y="2850"/>
                  <a:pt x="4701" y="2826"/>
                  <a:pt x="4701" y="2801"/>
                </a:cubicBezTo>
                <a:cubicBezTo>
                  <a:pt x="4701" y="2775"/>
                  <a:pt x="4751" y="2801"/>
                  <a:pt x="4751" y="2801"/>
                </a:cubicBezTo>
                <a:cubicBezTo>
                  <a:pt x="4751" y="2826"/>
                  <a:pt x="4775" y="2826"/>
                  <a:pt x="4801" y="2801"/>
                </a:cubicBezTo>
                <a:cubicBezTo>
                  <a:pt x="4826" y="2801"/>
                  <a:pt x="4826" y="2826"/>
                  <a:pt x="4851" y="2826"/>
                </a:cubicBezTo>
                <a:cubicBezTo>
                  <a:pt x="4901" y="2826"/>
                  <a:pt x="4875" y="2801"/>
                  <a:pt x="4901" y="2801"/>
                </a:cubicBezTo>
                <a:cubicBezTo>
                  <a:pt x="4926" y="2801"/>
                  <a:pt x="4951" y="2801"/>
                  <a:pt x="4926" y="2775"/>
                </a:cubicBezTo>
                <a:cubicBezTo>
                  <a:pt x="4926" y="2775"/>
                  <a:pt x="4951" y="2750"/>
                  <a:pt x="4975" y="2750"/>
                </a:cubicBezTo>
                <a:cubicBezTo>
                  <a:pt x="5001" y="2750"/>
                  <a:pt x="4975" y="2701"/>
                  <a:pt x="5001" y="2701"/>
                </a:cubicBezTo>
                <a:cubicBezTo>
                  <a:pt x="5026" y="2701"/>
                  <a:pt x="5001" y="2675"/>
                  <a:pt x="5026" y="2675"/>
                </a:cubicBezTo>
                <a:cubicBezTo>
                  <a:pt x="5051" y="2675"/>
                  <a:pt x="5051" y="2650"/>
                  <a:pt x="5076" y="2650"/>
                </a:cubicBezTo>
                <a:cubicBezTo>
                  <a:pt x="5100" y="2650"/>
                  <a:pt x="5100" y="2601"/>
                  <a:pt x="5076" y="2601"/>
                </a:cubicBezTo>
                <a:cubicBezTo>
                  <a:pt x="5076" y="2575"/>
                  <a:pt x="5100" y="2550"/>
                  <a:pt x="5100" y="2526"/>
                </a:cubicBezTo>
                <a:cubicBezTo>
                  <a:pt x="5126" y="2526"/>
                  <a:pt x="5126" y="2500"/>
                  <a:pt x="5126" y="2500"/>
                </a:cubicBezTo>
                <a:cubicBezTo>
                  <a:pt x="5100" y="2475"/>
                  <a:pt x="5026" y="2450"/>
                  <a:pt x="5051" y="2425"/>
                </a:cubicBezTo>
                <a:cubicBezTo>
                  <a:pt x="5051" y="2400"/>
                  <a:pt x="5026" y="2350"/>
                  <a:pt x="5051" y="2325"/>
                </a:cubicBezTo>
                <a:cubicBezTo>
                  <a:pt x="5051" y="2301"/>
                  <a:pt x="5051" y="2250"/>
                  <a:pt x="5026" y="2225"/>
                </a:cubicBezTo>
                <a:cubicBezTo>
                  <a:pt x="5026" y="2201"/>
                  <a:pt x="5051" y="2175"/>
                  <a:pt x="5051" y="2125"/>
                </a:cubicBezTo>
                <a:cubicBezTo>
                  <a:pt x="5076" y="2101"/>
                  <a:pt x="5001" y="2050"/>
                  <a:pt x="4975" y="2025"/>
                </a:cubicBezTo>
                <a:cubicBezTo>
                  <a:pt x="4951" y="2025"/>
                  <a:pt x="4975" y="2001"/>
                  <a:pt x="5026" y="1950"/>
                </a:cubicBezTo>
                <a:cubicBezTo>
                  <a:pt x="5051" y="1925"/>
                  <a:pt x="5051" y="1825"/>
                  <a:pt x="5051" y="1801"/>
                </a:cubicBezTo>
                <a:cubicBezTo>
                  <a:pt x="5051" y="1775"/>
                  <a:pt x="4975" y="1750"/>
                  <a:pt x="4951" y="1750"/>
                </a:cubicBezTo>
                <a:cubicBezTo>
                  <a:pt x="4901" y="1750"/>
                  <a:pt x="4801" y="1750"/>
                  <a:pt x="4751" y="1750"/>
                </a:cubicBezTo>
                <a:cubicBezTo>
                  <a:pt x="4726" y="1750"/>
                  <a:pt x="4726" y="1775"/>
                  <a:pt x="4701" y="1801"/>
                </a:cubicBezTo>
                <a:cubicBezTo>
                  <a:pt x="4701" y="1825"/>
                  <a:pt x="4651" y="1875"/>
                  <a:pt x="4651" y="1925"/>
                </a:cubicBezTo>
                <a:cubicBezTo>
                  <a:pt x="4626" y="2001"/>
                  <a:pt x="4551" y="2025"/>
                  <a:pt x="4526" y="2025"/>
                </a:cubicBezTo>
                <a:cubicBezTo>
                  <a:pt x="4475" y="2050"/>
                  <a:pt x="4475" y="2101"/>
                  <a:pt x="4475" y="2125"/>
                </a:cubicBezTo>
                <a:cubicBezTo>
                  <a:pt x="4501" y="2125"/>
                  <a:pt x="4526" y="2125"/>
                  <a:pt x="4526" y="2125"/>
                </a:cubicBezTo>
                <a:cubicBezTo>
                  <a:pt x="4551" y="2125"/>
                  <a:pt x="4526" y="2201"/>
                  <a:pt x="4526" y="2201"/>
                </a:cubicBezTo>
                <a:cubicBezTo>
                  <a:pt x="4501" y="2201"/>
                  <a:pt x="4551" y="2225"/>
                  <a:pt x="4526" y="2250"/>
                </a:cubicBezTo>
                <a:cubicBezTo>
                  <a:pt x="4501" y="2250"/>
                  <a:pt x="4475" y="2301"/>
                  <a:pt x="4475" y="2301"/>
                </a:cubicBezTo>
                <a:cubicBezTo>
                  <a:pt x="4501" y="2325"/>
                  <a:pt x="4575" y="2325"/>
                  <a:pt x="4601" y="2350"/>
                </a:cubicBezTo>
                <a:cubicBezTo>
                  <a:pt x="4626" y="2375"/>
                  <a:pt x="4626" y="2400"/>
                  <a:pt x="4626" y="2425"/>
                </a:cubicBezTo>
                <a:cubicBezTo>
                  <a:pt x="4651" y="2450"/>
                  <a:pt x="4675" y="2450"/>
                  <a:pt x="4701" y="2450"/>
                </a:cubicBezTo>
                <a:cubicBezTo>
                  <a:pt x="4701" y="2475"/>
                  <a:pt x="4651" y="2550"/>
                  <a:pt x="4626" y="2550"/>
                </a:cubicBezTo>
                <a:cubicBezTo>
                  <a:pt x="4626" y="2550"/>
                  <a:pt x="4551" y="2475"/>
                  <a:pt x="4526" y="2450"/>
                </a:cubicBezTo>
                <a:cubicBezTo>
                  <a:pt x="4501" y="2450"/>
                  <a:pt x="4401" y="2425"/>
                  <a:pt x="4375" y="2400"/>
                </a:cubicBezTo>
                <a:cubicBezTo>
                  <a:pt x="4326" y="2375"/>
                  <a:pt x="4301" y="2375"/>
                  <a:pt x="4251" y="2350"/>
                </a:cubicBezTo>
                <a:cubicBezTo>
                  <a:pt x="4201" y="2301"/>
                  <a:pt x="4151" y="2301"/>
                  <a:pt x="4075" y="2301"/>
                </a:cubicBezTo>
                <a:cubicBezTo>
                  <a:pt x="3975" y="2301"/>
                  <a:pt x="3926" y="2275"/>
                  <a:pt x="3901" y="2275"/>
                </a:cubicBezTo>
                <a:cubicBezTo>
                  <a:pt x="3875" y="2275"/>
                  <a:pt x="3875" y="2250"/>
                  <a:pt x="3826" y="2225"/>
                </a:cubicBezTo>
                <a:cubicBezTo>
                  <a:pt x="3775" y="2201"/>
                  <a:pt x="3750" y="2175"/>
                  <a:pt x="3726" y="2201"/>
                </a:cubicBezTo>
                <a:cubicBezTo>
                  <a:pt x="3675" y="2201"/>
                  <a:pt x="3701" y="2275"/>
                  <a:pt x="3750" y="2275"/>
                </a:cubicBezTo>
                <a:cubicBezTo>
                  <a:pt x="3775" y="2275"/>
                  <a:pt x="3775" y="2301"/>
                  <a:pt x="3800" y="2301"/>
                </a:cubicBezTo>
                <a:cubicBezTo>
                  <a:pt x="3850" y="2301"/>
                  <a:pt x="3875" y="2325"/>
                  <a:pt x="3875" y="2350"/>
                </a:cubicBezTo>
                <a:cubicBezTo>
                  <a:pt x="3875" y="2375"/>
                  <a:pt x="3901" y="2400"/>
                  <a:pt x="3926" y="2425"/>
                </a:cubicBezTo>
                <a:cubicBezTo>
                  <a:pt x="3926" y="2450"/>
                  <a:pt x="3926" y="2475"/>
                  <a:pt x="3875" y="2475"/>
                </a:cubicBezTo>
                <a:cubicBezTo>
                  <a:pt x="3850" y="2475"/>
                  <a:pt x="3800" y="2475"/>
                  <a:pt x="3826" y="2500"/>
                </a:cubicBezTo>
                <a:cubicBezTo>
                  <a:pt x="3850" y="2526"/>
                  <a:pt x="3800" y="2526"/>
                  <a:pt x="3775" y="2526"/>
                </a:cubicBezTo>
                <a:cubicBezTo>
                  <a:pt x="3726" y="2500"/>
                  <a:pt x="3750" y="2475"/>
                  <a:pt x="3775" y="2475"/>
                </a:cubicBezTo>
                <a:cubicBezTo>
                  <a:pt x="3800" y="2450"/>
                  <a:pt x="3750" y="2425"/>
                  <a:pt x="3726" y="2425"/>
                </a:cubicBezTo>
                <a:cubicBezTo>
                  <a:pt x="3701" y="2425"/>
                  <a:pt x="3601" y="2475"/>
                  <a:pt x="3575" y="2500"/>
                </a:cubicBezTo>
                <a:cubicBezTo>
                  <a:pt x="3550" y="2500"/>
                  <a:pt x="3475" y="2475"/>
                  <a:pt x="3426" y="2500"/>
                </a:cubicBezTo>
                <a:cubicBezTo>
                  <a:pt x="3350" y="2526"/>
                  <a:pt x="3350" y="2575"/>
                  <a:pt x="3326" y="2550"/>
                </a:cubicBezTo>
                <a:cubicBezTo>
                  <a:pt x="3301" y="2550"/>
                  <a:pt x="3225" y="2575"/>
                  <a:pt x="3201" y="2550"/>
                </a:cubicBezTo>
                <a:cubicBezTo>
                  <a:pt x="3175" y="2526"/>
                  <a:pt x="3201" y="2526"/>
                  <a:pt x="3225" y="2526"/>
                </a:cubicBezTo>
                <a:cubicBezTo>
                  <a:pt x="3250" y="2526"/>
                  <a:pt x="3250" y="2526"/>
                  <a:pt x="3250" y="2500"/>
                </a:cubicBezTo>
                <a:cubicBezTo>
                  <a:pt x="3225" y="2475"/>
                  <a:pt x="3275" y="2450"/>
                  <a:pt x="3275" y="2425"/>
                </a:cubicBezTo>
                <a:cubicBezTo>
                  <a:pt x="3275" y="2425"/>
                  <a:pt x="3150" y="2450"/>
                  <a:pt x="3150" y="2475"/>
                </a:cubicBezTo>
                <a:cubicBezTo>
                  <a:pt x="3125" y="2475"/>
                  <a:pt x="3150" y="2526"/>
                  <a:pt x="3125" y="2526"/>
                </a:cubicBezTo>
                <a:cubicBezTo>
                  <a:pt x="3101" y="2526"/>
                  <a:pt x="3101" y="2500"/>
                  <a:pt x="3075" y="2500"/>
                </a:cubicBezTo>
                <a:cubicBezTo>
                  <a:pt x="3050" y="2500"/>
                  <a:pt x="2901" y="2526"/>
                  <a:pt x="2875" y="2575"/>
                </a:cubicBezTo>
                <a:cubicBezTo>
                  <a:pt x="2825" y="2601"/>
                  <a:pt x="2775" y="2601"/>
                  <a:pt x="2775" y="2626"/>
                </a:cubicBezTo>
                <a:cubicBezTo>
                  <a:pt x="2775" y="2650"/>
                  <a:pt x="2701" y="2626"/>
                  <a:pt x="2675" y="2650"/>
                </a:cubicBezTo>
                <a:cubicBezTo>
                  <a:pt x="2650" y="2675"/>
                  <a:pt x="2650" y="2726"/>
                  <a:pt x="2650" y="2750"/>
                </a:cubicBezTo>
                <a:cubicBezTo>
                  <a:pt x="2650" y="2775"/>
                  <a:pt x="2525" y="2775"/>
                  <a:pt x="2500" y="2775"/>
                </a:cubicBezTo>
                <a:cubicBezTo>
                  <a:pt x="2450" y="2775"/>
                  <a:pt x="2450" y="2701"/>
                  <a:pt x="2425" y="2701"/>
                </a:cubicBezTo>
                <a:cubicBezTo>
                  <a:pt x="2375" y="2701"/>
                  <a:pt x="2401" y="2650"/>
                  <a:pt x="2401" y="2650"/>
                </a:cubicBezTo>
                <a:cubicBezTo>
                  <a:pt x="2425" y="2626"/>
                  <a:pt x="2450" y="2626"/>
                  <a:pt x="2475" y="2626"/>
                </a:cubicBezTo>
                <a:cubicBezTo>
                  <a:pt x="2500" y="2601"/>
                  <a:pt x="2550" y="2626"/>
                  <a:pt x="2550" y="2601"/>
                </a:cubicBezTo>
                <a:cubicBezTo>
                  <a:pt x="2575" y="2601"/>
                  <a:pt x="2500" y="2550"/>
                  <a:pt x="2500" y="2526"/>
                </a:cubicBezTo>
                <a:cubicBezTo>
                  <a:pt x="2500" y="2475"/>
                  <a:pt x="2425" y="2475"/>
                  <a:pt x="2375" y="2475"/>
                </a:cubicBezTo>
                <a:cubicBezTo>
                  <a:pt x="2350" y="2500"/>
                  <a:pt x="2300" y="2500"/>
                  <a:pt x="2275" y="2475"/>
                </a:cubicBezTo>
                <a:cubicBezTo>
                  <a:pt x="2250" y="2450"/>
                  <a:pt x="2250" y="2500"/>
                  <a:pt x="2275" y="2500"/>
                </a:cubicBezTo>
                <a:cubicBezTo>
                  <a:pt x="2325" y="2526"/>
                  <a:pt x="2300" y="2550"/>
                  <a:pt x="2300" y="2575"/>
                </a:cubicBezTo>
                <a:cubicBezTo>
                  <a:pt x="2325" y="2601"/>
                  <a:pt x="2300" y="2650"/>
                  <a:pt x="2275" y="2675"/>
                </a:cubicBezTo>
                <a:cubicBezTo>
                  <a:pt x="2250" y="2726"/>
                  <a:pt x="2275" y="2726"/>
                  <a:pt x="2300" y="2726"/>
                </a:cubicBezTo>
                <a:cubicBezTo>
                  <a:pt x="2350" y="2701"/>
                  <a:pt x="2350" y="2750"/>
                  <a:pt x="2350" y="2801"/>
                </a:cubicBezTo>
                <a:cubicBezTo>
                  <a:pt x="2350" y="2826"/>
                  <a:pt x="2300" y="2850"/>
                  <a:pt x="2300" y="2875"/>
                </a:cubicBezTo>
                <a:cubicBezTo>
                  <a:pt x="2300" y="2901"/>
                  <a:pt x="2275" y="2850"/>
                  <a:pt x="2275" y="2875"/>
                </a:cubicBezTo>
                <a:cubicBezTo>
                  <a:pt x="2250" y="2875"/>
                  <a:pt x="2250" y="2850"/>
                  <a:pt x="2250" y="2850"/>
                </a:cubicBezTo>
                <a:cubicBezTo>
                  <a:pt x="2250" y="2826"/>
                  <a:pt x="2175" y="2826"/>
                  <a:pt x="2150" y="2826"/>
                </a:cubicBezTo>
                <a:cubicBezTo>
                  <a:pt x="2125" y="2826"/>
                  <a:pt x="2100" y="2826"/>
                  <a:pt x="2100" y="2850"/>
                </a:cubicBezTo>
                <a:cubicBezTo>
                  <a:pt x="2075" y="2875"/>
                  <a:pt x="2025" y="2875"/>
                  <a:pt x="2000" y="2875"/>
                </a:cubicBezTo>
                <a:cubicBezTo>
                  <a:pt x="1975" y="2901"/>
                  <a:pt x="1950" y="2926"/>
                  <a:pt x="1925" y="2950"/>
                </a:cubicBezTo>
                <a:cubicBezTo>
                  <a:pt x="1900" y="2975"/>
                  <a:pt x="1875" y="3001"/>
                  <a:pt x="1925" y="3026"/>
                </a:cubicBezTo>
                <a:cubicBezTo>
                  <a:pt x="1950" y="3075"/>
                  <a:pt x="1975" y="3101"/>
                  <a:pt x="1950" y="3101"/>
                </a:cubicBezTo>
                <a:cubicBezTo>
                  <a:pt x="1950" y="3126"/>
                  <a:pt x="1875" y="3126"/>
                  <a:pt x="1850" y="3101"/>
                </a:cubicBezTo>
                <a:cubicBezTo>
                  <a:pt x="1825" y="3075"/>
                  <a:pt x="1775" y="3075"/>
                  <a:pt x="1750" y="3075"/>
                </a:cubicBezTo>
                <a:cubicBezTo>
                  <a:pt x="1725" y="3075"/>
                  <a:pt x="1675" y="3026"/>
                  <a:pt x="1650" y="3026"/>
                </a:cubicBezTo>
                <a:cubicBezTo>
                  <a:pt x="1625" y="3026"/>
                  <a:pt x="1600" y="3050"/>
                  <a:pt x="1575" y="3075"/>
                </a:cubicBezTo>
                <a:cubicBezTo>
                  <a:pt x="1575" y="3075"/>
                  <a:pt x="1600" y="3101"/>
                  <a:pt x="1625" y="3126"/>
                </a:cubicBezTo>
                <a:cubicBezTo>
                  <a:pt x="1625" y="3150"/>
                  <a:pt x="1675" y="3150"/>
                  <a:pt x="1700" y="3150"/>
                </a:cubicBezTo>
                <a:cubicBezTo>
                  <a:pt x="1725" y="3150"/>
                  <a:pt x="1725" y="3201"/>
                  <a:pt x="1725" y="3201"/>
                </a:cubicBezTo>
                <a:cubicBezTo>
                  <a:pt x="1700" y="3226"/>
                  <a:pt x="1650" y="3250"/>
                  <a:pt x="1650" y="3226"/>
                </a:cubicBezTo>
                <a:cubicBezTo>
                  <a:pt x="1625" y="3201"/>
                  <a:pt x="1575" y="3226"/>
                  <a:pt x="1575" y="3201"/>
                </a:cubicBezTo>
                <a:cubicBezTo>
                  <a:pt x="1575" y="3175"/>
                  <a:pt x="1525" y="3150"/>
                  <a:pt x="1475" y="3150"/>
                </a:cubicBezTo>
                <a:cubicBezTo>
                  <a:pt x="1450" y="3150"/>
                  <a:pt x="1425" y="3126"/>
                  <a:pt x="1425" y="3101"/>
                </a:cubicBezTo>
                <a:cubicBezTo>
                  <a:pt x="1450" y="3075"/>
                  <a:pt x="1400" y="3050"/>
                  <a:pt x="1425" y="3026"/>
                </a:cubicBezTo>
                <a:cubicBezTo>
                  <a:pt x="1425" y="3026"/>
                  <a:pt x="1400" y="2975"/>
                  <a:pt x="1425" y="2975"/>
                </a:cubicBezTo>
                <a:cubicBezTo>
                  <a:pt x="1450" y="2950"/>
                  <a:pt x="1425" y="2926"/>
                  <a:pt x="1425" y="2901"/>
                </a:cubicBezTo>
                <a:cubicBezTo>
                  <a:pt x="1425" y="2875"/>
                  <a:pt x="1375" y="2850"/>
                  <a:pt x="1350" y="2850"/>
                </a:cubicBezTo>
                <a:cubicBezTo>
                  <a:pt x="1325" y="2850"/>
                  <a:pt x="1325" y="2826"/>
                  <a:pt x="1300" y="2826"/>
                </a:cubicBezTo>
                <a:cubicBezTo>
                  <a:pt x="1275" y="2801"/>
                  <a:pt x="1200" y="2750"/>
                  <a:pt x="1200" y="2726"/>
                </a:cubicBezTo>
                <a:cubicBezTo>
                  <a:pt x="1200" y="2726"/>
                  <a:pt x="1150" y="2726"/>
                  <a:pt x="1175" y="2701"/>
                </a:cubicBezTo>
                <a:cubicBezTo>
                  <a:pt x="1175" y="2701"/>
                  <a:pt x="1225" y="2701"/>
                  <a:pt x="1250" y="2726"/>
                </a:cubicBezTo>
                <a:cubicBezTo>
                  <a:pt x="1275" y="2750"/>
                  <a:pt x="1300" y="2775"/>
                  <a:pt x="1375" y="2801"/>
                </a:cubicBezTo>
                <a:cubicBezTo>
                  <a:pt x="1450" y="2801"/>
                  <a:pt x="1475" y="2826"/>
                  <a:pt x="1550" y="2850"/>
                </a:cubicBezTo>
                <a:cubicBezTo>
                  <a:pt x="1600" y="2850"/>
                  <a:pt x="1650" y="2850"/>
                  <a:pt x="1750" y="2875"/>
                </a:cubicBezTo>
                <a:cubicBezTo>
                  <a:pt x="1850" y="2901"/>
                  <a:pt x="2000" y="2775"/>
                  <a:pt x="2025" y="2750"/>
                </a:cubicBezTo>
                <a:cubicBezTo>
                  <a:pt x="2050" y="2726"/>
                  <a:pt x="2025" y="2675"/>
                  <a:pt x="2025" y="2650"/>
                </a:cubicBezTo>
                <a:cubicBezTo>
                  <a:pt x="2025" y="2626"/>
                  <a:pt x="1975" y="2626"/>
                  <a:pt x="1975" y="2601"/>
                </a:cubicBezTo>
                <a:cubicBezTo>
                  <a:pt x="1950" y="2601"/>
                  <a:pt x="1925" y="2550"/>
                  <a:pt x="1900" y="2550"/>
                </a:cubicBezTo>
                <a:cubicBezTo>
                  <a:pt x="1850" y="2550"/>
                  <a:pt x="1850" y="2500"/>
                  <a:pt x="1800" y="2526"/>
                </a:cubicBezTo>
                <a:cubicBezTo>
                  <a:pt x="1775" y="2526"/>
                  <a:pt x="1750" y="2500"/>
                  <a:pt x="1675" y="2450"/>
                </a:cubicBezTo>
                <a:cubicBezTo>
                  <a:pt x="1600" y="2400"/>
                  <a:pt x="1475" y="2350"/>
                  <a:pt x="1450" y="2350"/>
                </a:cubicBezTo>
                <a:cubicBezTo>
                  <a:pt x="1425" y="2375"/>
                  <a:pt x="1425" y="2375"/>
                  <a:pt x="1400" y="2350"/>
                </a:cubicBezTo>
                <a:cubicBezTo>
                  <a:pt x="1400" y="2325"/>
                  <a:pt x="1350" y="2325"/>
                  <a:pt x="1350" y="2350"/>
                </a:cubicBezTo>
                <a:cubicBezTo>
                  <a:pt x="1325" y="2375"/>
                  <a:pt x="1300" y="2325"/>
                  <a:pt x="1250" y="2350"/>
                </a:cubicBezTo>
                <a:cubicBezTo>
                  <a:pt x="1200" y="2350"/>
                  <a:pt x="1200" y="2325"/>
                  <a:pt x="1200" y="2325"/>
                </a:cubicBezTo>
                <a:cubicBezTo>
                  <a:pt x="1200" y="2301"/>
                  <a:pt x="1275" y="2325"/>
                  <a:pt x="1275" y="2301"/>
                </a:cubicBezTo>
                <a:cubicBezTo>
                  <a:pt x="1275" y="2275"/>
                  <a:pt x="1250" y="2301"/>
                  <a:pt x="1200" y="2275"/>
                </a:cubicBezTo>
                <a:cubicBezTo>
                  <a:pt x="1175" y="2250"/>
                  <a:pt x="1150" y="2250"/>
                  <a:pt x="1150" y="2275"/>
                </a:cubicBezTo>
                <a:cubicBezTo>
                  <a:pt x="1125" y="2301"/>
                  <a:pt x="1100" y="2301"/>
                  <a:pt x="1075" y="2275"/>
                </a:cubicBezTo>
                <a:lnTo>
                  <a:pt x="1075" y="2275"/>
                </a:lnTo>
                <a:cubicBezTo>
                  <a:pt x="1075" y="2301"/>
                  <a:pt x="1050" y="2301"/>
                  <a:pt x="1025" y="2301"/>
                </a:cubicBezTo>
                <a:cubicBezTo>
                  <a:pt x="999" y="2301"/>
                  <a:pt x="975" y="2350"/>
                  <a:pt x="950" y="2350"/>
                </a:cubicBezTo>
                <a:cubicBezTo>
                  <a:pt x="925" y="2350"/>
                  <a:pt x="900" y="2375"/>
                  <a:pt x="875" y="2400"/>
                </a:cubicBezTo>
                <a:cubicBezTo>
                  <a:pt x="875" y="2425"/>
                  <a:pt x="850" y="2400"/>
                  <a:pt x="850" y="2425"/>
                </a:cubicBezTo>
                <a:cubicBezTo>
                  <a:pt x="850" y="2450"/>
                  <a:pt x="850" y="2450"/>
                  <a:pt x="825" y="2475"/>
                </a:cubicBezTo>
                <a:cubicBezTo>
                  <a:pt x="825" y="2500"/>
                  <a:pt x="825" y="2500"/>
                  <a:pt x="850" y="2526"/>
                </a:cubicBezTo>
                <a:cubicBezTo>
                  <a:pt x="875" y="2550"/>
                  <a:pt x="900" y="2550"/>
                  <a:pt x="900" y="2575"/>
                </a:cubicBezTo>
                <a:cubicBezTo>
                  <a:pt x="925" y="2575"/>
                  <a:pt x="975" y="2626"/>
                  <a:pt x="975" y="2626"/>
                </a:cubicBezTo>
                <a:cubicBezTo>
                  <a:pt x="975" y="2650"/>
                  <a:pt x="925" y="2701"/>
                  <a:pt x="925" y="2701"/>
                </a:cubicBezTo>
                <a:cubicBezTo>
                  <a:pt x="900" y="2726"/>
                  <a:pt x="875" y="2750"/>
                  <a:pt x="900" y="2750"/>
                </a:cubicBezTo>
                <a:cubicBezTo>
                  <a:pt x="900" y="2775"/>
                  <a:pt x="950" y="2850"/>
                  <a:pt x="975" y="2901"/>
                </a:cubicBezTo>
                <a:cubicBezTo>
                  <a:pt x="999" y="2950"/>
                  <a:pt x="975" y="2926"/>
                  <a:pt x="950" y="2950"/>
                </a:cubicBezTo>
                <a:cubicBezTo>
                  <a:pt x="925" y="2975"/>
                  <a:pt x="950" y="3001"/>
                  <a:pt x="950" y="3026"/>
                </a:cubicBezTo>
                <a:cubicBezTo>
                  <a:pt x="975" y="3050"/>
                  <a:pt x="925" y="3050"/>
                  <a:pt x="950" y="3050"/>
                </a:cubicBezTo>
                <a:cubicBezTo>
                  <a:pt x="950" y="3075"/>
                  <a:pt x="975" y="3075"/>
                  <a:pt x="975" y="3075"/>
                </a:cubicBezTo>
                <a:cubicBezTo>
                  <a:pt x="999" y="3101"/>
                  <a:pt x="950" y="3101"/>
                  <a:pt x="975" y="3126"/>
                </a:cubicBezTo>
                <a:cubicBezTo>
                  <a:pt x="975" y="3150"/>
                  <a:pt x="1025" y="3150"/>
                  <a:pt x="1025" y="3175"/>
                </a:cubicBezTo>
                <a:cubicBezTo>
                  <a:pt x="1025" y="3201"/>
                  <a:pt x="950" y="3226"/>
                  <a:pt x="975" y="3226"/>
                </a:cubicBezTo>
                <a:cubicBezTo>
                  <a:pt x="975" y="3250"/>
                  <a:pt x="1050" y="3275"/>
                  <a:pt x="1075" y="3326"/>
                </a:cubicBezTo>
                <a:cubicBezTo>
                  <a:pt x="1125" y="3375"/>
                  <a:pt x="1125" y="3375"/>
                  <a:pt x="1100" y="3401"/>
                </a:cubicBezTo>
                <a:cubicBezTo>
                  <a:pt x="1100" y="3450"/>
                  <a:pt x="999" y="3475"/>
                  <a:pt x="975" y="3526"/>
                </a:cubicBezTo>
                <a:cubicBezTo>
                  <a:pt x="950" y="3575"/>
                  <a:pt x="875" y="3626"/>
                  <a:pt x="825" y="3650"/>
                </a:cubicBezTo>
                <a:cubicBezTo>
                  <a:pt x="799" y="3675"/>
                  <a:pt x="799" y="3701"/>
                  <a:pt x="775" y="3701"/>
                </a:cubicBezTo>
                <a:cubicBezTo>
                  <a:pt x="799" y="3701"/>
                  <a:pt x="799" y="3701"/>
                  <a:pt x="825" y="3701"/>
                </a:cubicBezTo>
                <a:cubicBezTo>
                  <a:pt x="850" y="3675"/>
                  <a:pt x="850" y="3751"/>
                  <a:pt x="875" y="3751"/>
                </a:cubicBezTo>
                <a:cubicBezTo>
                  <a:pt x="900" y="3775"/>
                  <a:pt x="950" y="3751"/>
                  <a:pt x="950" y="3775"/>
                </a:cubicBezTo>
                <a:cubicBezTo>
                  <a:pt x="975" y="3800"/>
                  <a:pt x="950" y="3800"/>
                  <a:pt x="925" y="3775"/>
                </a:cubicBezTo>
                <a:cubicBezTo>
                  <a:pt x="875" y="3775"/>
                  <a:pt x="875" y="3800"/>
                  <a:pt x="825" y="3826"/>
                </a:cubicBezTo>
                <a:cubicBezTo>
                  <a:pt x="799" y="3826"/>
                  <a:pt x="799" y="3851"/>
                  <a:pt x="775" y="3851"/>
                </a:cubicBezTo>
                <a:cubicBezTo>
                  <a:pt x="799" y="3875"/>
                  <a:pt x="775" y="3901"/>
                  <a:pt x="750" y="3926"/>
                </a:cubicBezTo>
                <a:cubicBezTo>
                  <a:pt x="750" y="3951"/>
                  <a:pt x="725" y="3951"/>
                  <a:pt x="725" y="3975"/>
                </a:cubicBezTo>
                <a:cubicBezTo>
                  <a:pt x="725" y="3975"/>
                  <a:pt x="725" y="4001"/>
                  <a:pt x="725" y="4026"/>
                </a:cubicBezTo>
                <a:cubicBezTo>
                  <a:pt x="750" y="4051"/>
                  <a:pt x="750" y="4051"/>
                  <a:pt x="750" y="4075"/>
                </a:cubicBezTo>
                <a:cubicBezTo>
                  <a:pt x="775" y="4101"/>
                  <a:pt x="750" y="4101"/>
                  <a:pt x="725" y="4101"/>
                </a:cubicBezTo>
                <a:cubicBezTo>
                  <a:pt x="725" y="4101"/>
                  <a:pt x="725" y="4126"/>
                  <a:pt x="750" y="4151"/>
                </a:cubicBezTo>
                <a:cubicBezTo>
                  <a:pt x="750" y="4175"/>
                  <a:pt x="750" y="4175"/>
                  <a:pt x="750" y="4201"/>
                </a:cubicBezTo>
                <a:cubicBezTo>
                  <a:pt x="750" y="4226"/>
                  <a:pt x="775" y="4251"/>
                  <a:pt x="775" y="4251"/>
                </a:cubicBezTo>
                <a:cubicBezTo>
                  <a:pt x="799" y="4275"/>
                  <a:pt x="799" y="4301"/>
                  <a:pt x="799" y="4326"/>
                </a:cubicBezTo>
                <a:cubicBezTo>
                  <a:pt x="825" y="4326"/>
                  <a:pt x="825" y="4351"/>
                  <a:pt x="850" y="4326"/>
                </a:cubicBezTo>
                <a:cubicBezTo>
                  <a:pt x="875" y="4326"/>
                  <a:pt x="900" y="4351"/>
                  <a:pt x="900" y="4351"/>
                </a:cubicBezTo>
                <a:cubicBezTo>
                  <a:pt x="925" y="4375"/>
                  <a:pt x="925" y="4375"/>
                  <a:pt x="950" y="4351"/>
                </a:cubicBezTo>
                <a:cubicBezTo>
                  <a:pt x="975" y="4351"/>
                  <a:pt x="1025" y="4375"/>
                  <a:pt x="1050" y="4375"/>
                </a:cubicBezTo>
                <a:cubicBezTo>
                  <a:pt x="1050" y="4401"/>
                  <a:pt x="1050" y="4426"/>
                  <a:pt x="1050" y="4451"/>
                </a:cubicBezTo>
                <a:cubicBezTo>
                  <a:pt x="1050" y="4475"/>
                  <a:pt x="1050" y="4501"/>
                  <a:pt x="1075" y="4526"/>
                </a:cubicBezTo>
                <a:cubicBezTo>
                  <a:pt x="1075" y="4526"/>
                  <a:pt x="1075" y="4551"/>
                  <a:pt x="1100" y="4575"/>
                </a:cubicBezTo>
                <a:cubicBezTo>
                  <a:pt x="1125" y="4575"/>
                  <a:pt x="1150" y="4626"/>
                  <a:pt x="1150" y="4626"/>
                </a:cubicBezTo>
                <a:cubicBezTo>
                  <a:pt x="1175" y="4626"/>
                  <a:pt x="1200" y="4651"/>
                  <a:pt x="1225" y="4675"/>
                </a:cubicBezTo>
                <a:cubicBezTo>
                  <a:pt x="1225" y="4701"/>
                  <a:pt x="1175" y="4701"/>
                  <a:pt x="1175" y="4726"/>
                </a:cubicBezTo>
                <a:cubicBezTo>
                  <a:pt x="1150" y="4726"/>
                  <a:pt x="1100" y="4701"/>
                  <a:pt x="1100" y="4701"/>
                </a:cubicBezTo>
                <a:cubicBezTo>
                  <a:pt x="1075" y="4726"/>
                  <a:pt x="1100" y="4751"/>
                  <a:pt x="1125" y="4801"/>
                </a:cubicBezTo>
                <a:cubicBezTo>
                  <a:pt x="1125" y="4851"/>
                  <a:pt x="1125" y="4851"/>
                  <a:pt x="1150" y="4851"/>
                </a:cubicBezTo>
                <a:cubicBezTo>
                  <a:pt x="1175" y="4851"/>
                  <a:pt x="1175" y="4826"/>
                  <a:pt x="1200" y="4826"/>
                </a:cubicBezTo>
                <a:cubicBezTo>
                  <a:pt x="1200" y="4801"/>
                  <a:pt x="1250" y="4826"/>
                  <a:pt x="1250" y="4826"/>
                </a:cubicBezTo>
                <a:cubicBezTo>
                  <a:pt x="1275" y="4801"/>
                  <a:pt x="1325" y="4801"/>
                  <a:pt x="1325" y="4826"/>
                </a:cubicBezTo>
                <a:cubicBezTo>
                  <a:pt x="1350" y="4851"/>
                  <a:pt x="1350" y="4875"/>
                  <a:pt x="1350" y="4901"/>
                </a:cubicBezTo>
                <a:cubicBezTo>
                  <a:pt x="1350" y="4901"/>
                  <a:pt x="1350" y="4926"/>
                  <a:pt x="1375" y="4951"/>
                </a:cubicBezTo>
                <a:cubicBezTo>
                  <a:pt x="1375" y="4976"/>
                  <a:pt x="1425" y="4951"/>
                  <a:pt x="1450" y="4976"/>
                </a:cubicBezTo>
                <a:cubicBezTo>
                  <a:pt x="1450" y="4976"/>
                  <a:pt x="1475" y="5026"/>
                  <a:pt x="1475" y="5051"/>
                </a:cubicBezTo>
                <a:cubicBezTo>
                  <a:pt x="1475" y="5051"/>
                  <a:pt x="1500" y="5076"/>
                  <a:pt x="1525" y="5051"/>
                </a:cubicBezTo>
                <a:lnTo>
                  <a:pt x="1550" y="5076"/>
                </a:lnTo>
                <a:cubicBezTo>
                  <a:pt x="1575" y="5100"/>
                  <a:pt x="1600" y="5076"/>
                  <a:pt x="1600" y="5076"/>
                </a:cubicBezTo>
                <a:cubicBezTo>
                  <a:pt x="1625" y="5076"/>
                  <a:pt x="1650" y="5051"/>
                  <a:pt x="1650" y="5076"/>
                </a:cubicBezTo>
                <a:cubicBezTo>
                  <a:pt x="1675" y="5076"/>
                  <a:pt x="1700" y="5100"/>
                  <a:pt x="1700" y="5126"/>
                </a:cubicBezTo>
                <a:cubicBezTo>
                  <a:pt x="1700" y="5126"/>
                  <a:pt x="1750" y="5126"/>
                  <a:pt x="1775" y="5126"/>
                </a:cubicBezTo>
                <a:cubicBezTo>
                  <a:pt x="1800" y="5151"/>
                  <a:pt x="1825" y="5151"/>
                  <a:pt x="1850" y="5151"/>
                </a:cubicBezTo>
                <a:cubicBezTo>
                  <a:pt x="1875" y="5176"/>
                  <a:pt x="1900" y="5176"/>
                  <a:pt x="1925" y="5176"/>
                </a:cubicBezTo>
                <a:cubicBezTo>
                  <a:pt x="1925" y="5200"/>
                  <a:pt x="1875" y="5226"/>
                  <a:pt x="1875" y="5226"/>
                </a:cubicBezTo>
                <a:lnTo>
                  <a:pt x="1900" y="5251"/>
                </a:lnTo>
                <a:cubicBezTo>
                  <a:pt x="1900" y="5276"/>
                  <a:pt x="1875" y="5276"/>
                  <a:pt x="1875" y="5276"/>
                </a:cubicBezTo>
                <a:lnTo>
                  <a:pt x="1900" y="5301"/>
                </a:lnTo>
                <a:cubicBezTo>
                  <a:pt x="1900" y="5326"/>
                  <a:pt x="1875" y="5351"/>
                  <a:pt x="1875" y="5376"/>
                </a:cubicBezTo>
                <a:cubicBezTo>
                  <a:pt x="1875" y="5376"/>
                  <a:pt x="1825" y="5376"/>
                  <a:pt x="1800" y="5376"/>
                </a:cubicBezTo>
                <a:cubicBezTo>
                  <a:pt x="1800" y="5376"/>
                  <a:pt x="1750" y="5426"/>
                  <a:pt x="1725" y="5426"/>
                </a:cubicBezTo>
                <a:lnTo>
                  <a:pt x="1725" y="5451"/>
                </a:lnTo>
                <a:cubicBezTo>
                  <a:pt x="1775" y="5451"/>
                  <a:pt x="1825" y="5451"/>
                  <a:pt x="1825" y="5451"/>
                </a:cubicBezTo>
                <a:cubicBezTo>
                  <a:pt x="1825" y="5476"/>
                  <a:pt x="1725" y="5526"/>
                  <a:pt x="1700" y="5526"/>
                </a:cubicBezTo>
                <a:cubicBezTo>
                  <a:pt x="1700" y="5526"/>
                  <a:pt x="1750" y="5551"/>
                  <a:pt x="1750" y="5576"/>
                </a:cubicBezTo>
                <a:cubicBezTo>
                  <a:pt x="1750" y="5601"/>
                  <a:pt x="1675" y="5601"/>
                  <a:pt x="1700" y="5626"/>
                </a:cubicBezTo>
                <a:cubicBezTo>
                  <a:pt x="1700" y="5676"/>
                  <a:pt x="1675" y="5676"/>
                  <a:pt x="1625" y="5676"/>
                </a:cubicBezTo>
                <a:cubicBezTo>
                  <a:pt x="1600" y="5676"/>
                  <a:pt x="1600" y="5701"/>
                  <a:pt x="1600" y="5701"/>
                </a:cubicBezTo>
                <a:cubicBezTo>
                  <a:pt x="1625" y="5701"/>
                  <a:pt x="1625" y="5751"/>
                  <a:pt x="1675" y="5751"/>
                </a:cubicBezTo>
                <a:cubicBezTo>
                  <a:pt x="1750" y="5776"/>
                  <a:pt x="1800" y="5826"/>
                  <a:pt x="1850" y="5876"/>
                </a:cubicBezTo>
                <a:cubicBezTo>
                  <a:pt x="1875" y="5901"/>
                  <a:pt x="1875" y="5901"/>
                  <a:pt x="1875" y="5901"/>
                </a:cubicBezTo>
                <a:cubicBezTo>
                  <a:pt x="1900" y="5901"/>
                  <a:pt x="1900" y="5876"/>
                  <a:pt x="1925" y="5876"/>
                </a:cubicBezTo>
                <a:cubicBezTo>
                  <a:pt x="1950" y="5876"/>
                  <a:pt x="2000" y="5901"/>
                  <a:pt x="2025" y="5926"/>
                </a:cubicBezTo>
                <a:cubicBezTo>
                  <a:pt x="2050" y="5951"/>
                  <a:pt x="2175" y="5926"/>
                  <a:pt x="2175" y="5926"/>
                </a:cubicBezTo>
                <a:cubicBezTo>
                  <a:pt x="2200" y="5951"/>
                  <a:pt x="2225" y="5976"/>
                  <a:pt x="2225" y="5976"/>
                </a:cubicBezTo>
                <a:cubicBezTo>
                  <a:pt x="2250" y="5976"/>
                  <a:pt x="2275" y="6001"/>
                  <a:pt x="2300" y="6001"/>
                </a:cubicBezTo>
                <a:cubicBezTo>
                  <a:pt x="2300" y="5976"/>
                  <a:pt x="2375" y="5976"/>
                  <a:pt x="2401" y="5976"/>
                </a:cubicBezTo>
                <a:cubicBezTo>
                  <a:pt x="2401" y="5976"/>
                  <a:pt x="2401" y="6001"/>
                  <a:pt x="2425" y="6001"/>
                </a:cubicBezTo>
                <a:cubicBezTo>
                  <a:pt x="2450" y="6001"/>
                  <a:pt x="2450" y="6051"/>
                  <a:pt x="2450" y="6051"/>
                </a:cubicBezTo>
                <a:cubicBezTo>
                  <a:pt x="2475" y="6051"/>
                  <a:pt x="2500" y="6101"/>
                  <a:pt x="2550" y="6101"/>
                </a:cubicBezTo>
                <a:cubicBezTo>
                  <a:pt x="2575" y="6101"/>
                  <a:pt x="2601" y="6151"/>
                  <a:pt x="2601" y="6151"/>
                </a:cubicBezTo>
                <a:cubicBezTo>
                  <a:pt x="2625" y="6151"/>
                  <a:pt x="2650" y="6176"/>
                  <a:pt x="2650" y="6151"/>
                </a:cubicBezTo>
                <a:cubicBezTo>
                  <a:pt x="2650" y="6126"/>
                  <a:pt x="2701" y="6126"/>
                  <a:pt x="2725" y="6101"/>
                </a:cubicBezTo>
                <a:cubicBezTo>
                  <a:pt x="2650" y="6026"/>
                  <a:pt x="2601" y="5976"/>
                  <a:pt x="2601" y="5951"/>
                </a:cubicBezTo>
                <a:cubicBezTo>
                  <a:pt x="2601" y="5901"/>
                  <a:pt x="2625" y="5851"/>
                  <a:pt x="2575" y="5801"/>
                </a:cubicBezTo>
                <a:cubicBezTo>
                  <a:pt x="2500" y="5751"/>
                  <a:pt x="2575" y="5726"/>
                  <a:pt x="2625" y="5676"/>
                </a:cubicBezTo>
                <a:cubicBezTo>
                  <a:pt x="2650" y="5626"/>
                  <a:pt x="2725" y="5601"/>
                  <a:pt x="2775" y="5576"/>
                </a:cubicBezTo>
                <a:cubicBezTo>
                  <a:pt x="2775" y="5576"/>
                  <a:pt x="2775" y="5551"/>
                  <a:pt x="2750" y="5551"/>
                </a:cubicBezTo>
                <a:cubicBezTo>
                  <a:pt x="2725" y="5551"/>
                  <a:pt x="2701" y="5526"/>
                  <a:pt x="2725" y="5526"/>
                </a:cubicBezTo>
                <a:cubicBezTo>
                  <a:pt x="2750" y="5501"/>
                  <a:pt x="2750" y="5501"/>
                  <a:pt x="2725" y="5451"/>
                </a:cubicBezTo>
                <a:cubicBezTo>
                  <a:pt x="2701" y="5426"/>
                  <a:pt x="2675" y="5401"/>
                  <a:pt x="2650" y="5401"/>
                </a:cubicBezTo>
                <a:cubicBezTo>
                  <a:pt x="2650" y="5401"/>
                  <a:pt x="2625" y="5376"/>
                  <a:pt x="2601" y="5401"/>
                </a:cubicBezTo>
                <a:cubicBezTo>
                  <a:pt x="2575" y="5401"/>
                  <a:pt x="2575" y="5376"/>
                  <a:pt x="2575" y="5351"/>
                </a:cubicBezTo>
                <a:cubicBezTo>
                  <a:pt x="2575" y="5326"/>
                  <a:pt x="2525" y="5326"/>
                  <a:pt x="2525" y="5301"/>
                </a:cubicBezTo>
                <a:cubicBezTo>
                  <a:pt x="2525" y="5301"/>
                  <a:pt x="2525" y="5251"/>
                  <a:pt x="2550" y="5251"/>
                </a:cubicBezTo>
                <a:lnTo>
                  <a:pt x="2575" y="5226"/>
                </a:lnTo>
                <a:cubicBezTo>
                  <a:pt x="2575" y="5200"/>
                  <a:pt x="2525" y="5200"/>
                  <a:pt x="2550" y="5176"/>
                </a:cubicBezTo>
                <a:cubicBezTo>
                  <a:pt x="2575" y="5151"/>
                  <a:pt x="2601" y="5151"/>
                  <a:pt x="2601" y="5126"/>
                </a:cubicBezTo>
                <a:cubicBezTo>
                  <a:pt x="2601" y="5076"/>
                  <a:pt x="2625" y="5051"/>
                  <a:pt x="2650" y="5076"/>
                </a:cubicBezTo>
                <a:cubicBezTo>
                  <a:pt x="2675" y="5100"/>
                  <a:pt x="2701" y="5151"/>
                  <a:pt x="2725" y="5151"/>
                </a:cubicBezTo>
                <a:cubicBezTo>
                  <a:pt x="2750" y="5126"/>
                  <a:pt x="2750" y="5100"/>
                  <a:pt x="2725" y="5076"/>
                </a:cubicBezTo>
                <a:cubicBezTo>
                  <a:pt x="2725" y="5076"/>
                  <a:pt x="2725" y="5051"/>
                  <a:pt x="2750" y="5026"/>
                </a:cubicBezTo>
                <a:cubicBezTo>
                  <a:pt x="2801" y="5026"/>
                  <a:pt x="2775" y="5001"/>
                  <a:pt x="2801" y="5001"/>
                </a:cubicBezTo>
                <a:cubicBezTo>
                  <a:pt x="2850" y="5001"/>
                  <a:pt x="2901" y="4951"/>
                  <a:pt x="2901" y="4951"/>
                </a:cubicBezTo>
                <a:cubicBezTo>
                  <a:pt x="2925" y="4926"/>
                  <a:pt x="2975" y="4926"/>
                  <a:pt x="2975" y="4926"/>
                </a:cubicBezTo>
                <a:cubicBezTo>
                  <a:pt x="3001" y="4926"/>
                  <a:pt x="3025" y="4951"/>
                  <a:pt x="3025" y="4926"/>
                </a:cubicBezTo>
                <a:cubicBezTo>
                  <a:pt x="3050" y="4901"/>
                  <a:pt x="3101" y="4901"/>
                  <a:pt x="3101" y="4926"/>
                </a:cubicBezTo>
                <a:cubicBezTo>
                  <a:pt x="3101" y="4951"/>
                  <a:pt x="3175" y="4951"/>
                  <a:pt x="3201" y="4951"/>
                </a:cubicBezTo>
                <a:cubicBezTo>
                  <a:pt x="3225" y="4976"/>
                  <a:pt x="3275" y="5001"/>
                  <a:pt x="3275" y="5026"/>
                </a:cubicBezTo>
                <a:cubicBezTo>
                  <a:pt x="3275" y="5051"/>
                  <a:pt x="3301" y="5076"/>
                  <a:pt x="3301" y="5026"/>
                </a:cubicBezTo>
                <a:cubicBezTo>
                  <a:pt x="3301" y="5001"/>
                  <a:pt x="3326" y="5026"/>
                  <a:pt x="3375" y="5026"/>
                </a:cubicBezTo>
                <a:cubicBezTo>
                  <a:pt x="3401" y="5051"/>
                  <a:pt x="3450" y="5051"/>
                  <a:pt x="3450" y="5026"/>
                </a:cubicBezTo>
                <a:cubicBezTo>
                  <a:pt x="3450" y="5001"/>
                  <a:pt x="3526" y="4976"/>
                  <a:pt x="3550" y="5001"/>
                </a:cubicBezTo>
                <a:cubicBezTo>
                  <a:pt x="3575" y="5026"/>
                  <a:pt x="3575" y="5026"/>
                  <a:pt x="3601" y="5001"/>
                </a:cubicBezTo>
                <a:cubicBezTo>
                  <a:pt x="3626" y="4976"/>
                  <a:pt x="3675" y="4976"/>
                  <a:pt x="3701" y="5001"/>
                </a:cubicBezTo>
                <a:cubicBezTo>
                  <a:pt x="3701" y="5026"/>
                  <a:pt x="3726" y="5026"/>
                  <a:pt x="3750" y="5026"/>
                </a:cubicBezTo>
                <a:cubicBezTo>
                  <a:pt x="3775" y="5026"/>
                  <a:pt x="3775" y="5076"/>
                  <a:pt x="3800" y="5076"/>
                </a:cubicBezTo>
                <a:cubicBezTo>
                  <a:pt x="3826" y="5051"/>
                  <a:pt x="3800" y="5026"/>
                  <a:pt x="3826" y="5026"/>
                </a:cubicBezTo>
                <a:cubicBezTo>
                  <a:pt x="3850" y="5026"/>
                  <a:pt x="3875" y="5051"/>
                  <a:pt x="3901" y="5051"/>
                </a:cubicBezTo>
                <a:cubicBezTo>
                  <a:pt x="3926" y="5051"/>
                  <a:pt x="3950" y="5051"/>
                  <a:pt x="3950" y="5026"/>
                </a:cubicBezTo>
                <a:cubicBezTo>
                  <a:pt x="3950" y="5001"/>
                  <a:pt x="3950" y="4951"/>
                  <a:pt x="3926" y="4951"/>
                </a:cubicBezTo>
                <a:cubicBezTo>
                  <a:pt x="3926" y="4951"/>
                  <a:pt x="3901" y="4926"/>
                  <a:pt x="3875" y="4926"/>
                </a:cubicBezTo>
                <a:cubicBezTo>
                  <a:pt x="3850" y="4926"/>
                  <a:pt x="3826" y="4875"/>
                  <a:pt x="3850" y="4875"/>
                </a:cubicBezTo>
                <a:cubicBezTo>
                  <a:pt x="3875" y="4875"/>
                  <a:pt x="3901" y="4851"/>
                  <a:pt x="3901" y="4826"/>
                </a:cubicBezTo>
                <a:cubicBezTo>
                  <a:pt x="3901" y="4801"/>
                  <a:pt x="3875" y="4775"/>
                  <a:pt x="3926" y="4751"/>
                </a:cubicBezTo>
                <a:cubicBezTo>
                  <a:pt x="3950" y="4751"/>
                  <a:pt x="4026" y="4751"/>
                  <a:pt x="4026" y="4751"/>
                </a:cubicBezTo>
                <a:cubicBezTo>
                  <a:pt x="4026" y="4726"/>
                  <a:pt x="3950" y="4726"/>
                  <a:pt x="3926" y="4701"/>
                </a:cubicBezTo>
                <a:cubicBezTo>
                  <a:pt x="3926" y="4675"/>
                  <a:pt x="3926" y="4626"/>
                  <a:pt x="3926" y="4626"/>
                </a:cubicBezTo>
                <a:cubicBezTo>
                  <a:pt x="3950" y="4626"/>
                  <a:pt x="3975" y="4626"/>
                  <a:pt x="4001" y="4626"/>
                </a:cubicBezTo>
                <a:cubicBezTo>
                  <a:pt x="4026" y="4601"/>
                  <a:pt x="4101" y="4626"/>
                  <a:pt x="4126" y="4601"/>
                </a:cubicBezTo>
                <a:cubicBezTo>
                  <a:pt x="4151" y="4575"/>
                  <a:pt x="4226" y="4575"/>
                  <a:pt x="4275" y="4575"/>
                </a:cubicBezTo>
                <a:cubicBezTo>
                  <a:pt x="4301" y="4575"/>
                  <a:pt x="4326" y="4551"/>
                  <a:pt x="4351" y="4551"/>
                </a:cubicBezTo>
                <a:cubicBezTo>
                  <a:pt x="4401" y="4551"/>
                  <a:pt x="4475" y="4526"/>
                  <a:pt x="4501" y="4526"/>
                </a:cubicBezTo>
                <a:cubicBezTo>
                  <a:pt x="4526" y="4526"/>
                  <a:pt x="4626" y="4501"/>
                  <a:pt x="4626" y="4475"/>
                </a:cubicBezTo>
                <a:cubicBezTo>
                  <a:pt x="4626" y="4451"/>
                  <a:pt x="4726" y="4451"/>
                  <a:pt x="4751" y="4451"/>
                </a:cubicBezTo>
                <a:cubicBezTo>
                  <a:pt x="4775" y="4451"/>
                  <a:pt x="4801" y="4475"/>
                  <a:pt x="4826" y="4451"/>
                </a:cubicBezTo>
                <a:cubicBezTo>
                  <a:pt x="4851" y="4451"/>
                  <a:pt x="4875" y="4475"/>
                  <a:pt x="4875" y="4501"/>
                </a:cubicBezTo>
                <a:cubicBezTo>
                  <a:pt x="4875" y="4526"/>
                  <a:pt x="4901" y="4551"/>
                  <a:pt x="4901" y="4575"/>
                </a:cubicBezTo>
                <a:cubicBezTo>
                  <a:pt x="4901" y="4575"/>
                  <a:pt x="4875" y="4601"/>
                  <a:pt x="4901" y="4601"/>
                </a:cubicBezTo>
                <a:cubicBezTo>
                  <a:pt x="4901" y="4626"/>
                  <a:pt x="4951" y="4601"/>
                  <a:pt x="4975" y="4601"/>
                </a:cubicBezTo>
                <a:cubicBezTo>
                  <a:pt x="5001" y="4575"/>
                  <a:pt x="5001" y="4601"/>
                  <a:pt x="5001" y="4601"/>
                </a:cubicBezTo>
                <a:cubicBezTo>
                  <a:pt x="5001" y="4626"/>
                  <a:pt x="5026" y="4626"/>
                  <a:pt x="5026" y="4626"/>
                </a:cubicBezTo>
                <a:cubicBezTo>
                  <a:pt x="5026" y="4601"/>
                  <a:pt x="5076" y="4601"/>
                  <a:pt x="5076" y="4626"/>
                </a:cubicBezTo>
                <a:cubicBezTo>
                  <a:pt x="5100" y="4626"/>
                  <a:pt x="5126" y="4601"/>
                  <a:pt x="5126" y="4626"/>
                </a:cubicBezTo>
                <a:cubicBezTo>
                  <a:pt x="5126" y="4651"/>
                  <a:pt x="5076" y="4675"/>
                  <a:pt x="5100" y="4701"/>
                </a:cubicBezTo>
                <a:cubicBezTo>
                  <a:pt x="5126" y="4726"/>
                  <a:pt x="5126" y="4675"/>
                  <a:pt x="5176" y="4675"/>
                </a:cubicBezTo>
                <a:cubicBezTo>
                  <a:pt x="5201" y="4675"/>
                  <a:pt x="5251" y="4651"/>
                  <a:pt x="5276" y="4626"/>
                </a:cubicBezTo>
                <a:cubicBezTo>
                  <a:pt x="5300" y="4626"/>
                  <a:pt x="5326" y="4601"/>
                  <a:pt x="5351" y="4575"/>
                </a:cubicBezTo>
                <a:cubicBezTo>
                  <a:pt x="5376" y="4575"/>
                  <a:pt x="5426" y="4575"/>
                  <a:pt x="5426" y="4601"/>
                </a:cubicBezTo>
                <a:cubicBezTo>
                  <a:pt x="5401" y="4601"/>
                  <a:pt x="5376" y="4651"/>
                  <a:pt x="5451" y="4651"/>
                </a:cubicBezTo>
                <a:cubicBezTo>
                  <a:pt x="5501" y="4675"/>
                  <a:pt x="5576" y="4801"/>
                  <a:pt x="5626" y="4875"/>
                </a:cubicBezTo>
                <a:cubicBezTo>
                  <a:pt x="5651" y="4926"/>
                  <a:pt x="5701" y="5026"/>
                  <a:pt x="5726" y="5026"/>
                </a:cubicBezTo>
                <a:cubicBezTo>
                  <a:pt x="5726" y="5026"/>
                  <a:pt x="5751" y="4976"/>
                  <a:pt x="5776" y="4976"/>
                </a:cubicBezTo>
                <a:cubicBezTo>
                  <a:pt x="5801" y="4976"/>
                  <a:pt x="5826" y="5026"/>
                  <a:pt x="5851" y="5026"/>
                </a:cubicBezTo>
                <a:cubicBezTo>
                  <a:pt x="5876" y="5026"/>
                  <a:pt x="5901" y="5051"/>
                  <a:pt x="5926" y="5051"/>
                </a:cubicBezTo>
                <a:cubicBezTo>
                  <a:pt x="5951" y="5026"/>
                  <a:pt x="6001" y="5001"/>
                  <a:pt x="6026" y="5026"/>
                </a:cubicBezTo>
                <a:cubicBezTo>
                  <a:pt x="6051" y="5026"/>
                  <a:pt x="6076" y="5026"/>
                  <a:pt x="6101" y="5076"/>
                </a:cubicBezTo>
                <a:cubicBezTo>
                  <a:pt x="6101" y="5100"/>
                  <a:pt x="6126" y="5100"/>
                  <a:pt x="6151" y="5100"/>
                </a:cubicBezTo>
                <a:cubicBezTo>
                  <a:pt x="6176" y="5100"/>
                  <a:pt x="6176" y="5126"/>
                  <a:pt x="6176" y="5151"/>
                </a:cubicBezTo>
                <a:cubicBezTo>
                  <a:pt x="6176" y="5176"/>
                  <a:pt x="6201" y="5176"/>
                  <a:pt x="6226" y="5176"/>
                </a:cubicBezTo>
                <a:cubicBezTo>
                  <a:pt x="6226" y="5176"/>
                  <a:pt x="6276" y="5176"/>
                  <a:pt x="6301" y="5176"/>
                </a:cubicBezTo>
                <a:cubicBezTo>
                  <a:pt x="6301" y="5176"/>
                  <a:pt x="6326" y="5151"/>
                  <a:pt x="6326" y="5176"/>
                </a:cubicBezTo>
                <a:cubicBezTo>
                  <a:pt x="6326" y="5200"/>
                  <a:pt x="6351" y="5226"/>
                  <a:pt x="6376" y="5226"/>
                </a:cubicBezTo>
                <a:cubicBezTo>
                  <a:pt x="6376" y="5226"/>
                  <a:pt x="6426" y="5251"/>
                  <a:pt x="6426" y="5226"/>
                </a:cubicBezTo>
                <a:cubicBezTo>
                  <a:pt x="6426" y="5200"/>
                  <a:pt x="6476" y="5200"/>
                  <a:pt x="6476" y="5200"/>
                </a:cubicBezTo>
                <a:cubicBezTo>
                  <a:pt x="6501" y="5200"/>
                  <a:pt x="6551" y="5176"/>
                  <a:pt x="6576" y="5151"/>
                </a:cubicBezTo>
                <a:cubicBezTo>
                  <a:pt x="6576" y="5126"/>
                  <a:pt x="6626" y="5126"/>
                  <a:pt x="6651" y="5126"/>
                </a:cubicBezTo>
                <a:cubicBezTo>
                  <a:pt x="6651" y="5100"/>
                  <a:pt x="6701" y="5100"/>
                  <a:pt x="6701" y="5076"/>
                </a:cubicBezTo>
                <a:cubicBezTo>
                  <a:pt x="6701" y="5051"/>
                  <a:pt x="6751" y="5076"/>
                  <a:pt x="6776" y="5051"/>
                </a:cubicBezTo>
                <a:cubicBezTo>
                  <a:pt x="6776" y="5026"/>
                  <a:pt x="6826" y="5026"/>
                  <a:pt x="6826" y="5051"/>
                </a:cubicBezTo>
                <a:cubicBezTo>
                  <a:pt x="6851" y="5051"/>
                  <a:pt x="6951" y="5076"/>
                  <a:pt x="6976" y="5051"/>
                </a:cubicBezTo>
                <a:cubicBezTo>
                  <a:pt x="6976" y="5051"/>
                  <a:pt x="6976" y="5100"/>
                  <a:pt x="7002" y="5126"/>
                </a:cubicBezTo>
                <a:cubicBezTo>
                  <a:pt x="7002" y="5126"/>
                  <a:pt x="7051" y="5151"/>
                  <a:pt x="7076" y="5151"/>
                </a:cubicBezTo>
                <a:cubicBezTo>
                  <a:pt x="7076" y="5126"/>
                  <a:pt x="7126" y="5126"/>
                  <a:pt x="7151" y="5151"/>
                </a:cubicBezTo>
                <a:cubicBezTo>
                  <a:pt x="7176" y="5151"/>
                  <a:pt x="7202" y="5176"/>
                  <a:pt x="7226" y="5151"/>
                </a:cubicBezTo>
                <a:cubicBezTo>
                  <a:pt x="7226" y="5151"/>
                  <a:pt x="7276" y="5126"/>
                  <a:pt x="7302" y="5126"/>
                </a:cubicBezTo>
                <a:cubicBezTo>
                  <a:pt x="7302" y="5100"/>
                  <a:pt x="7302" y="5076"/>
                  <a:pt x="7302" y="5076"/>
                </a:cubicBezTo>
                <a:cubicBezTo>
                  <a:pt x="7276" y="5051"/>
                  <a:pt x="7276" y="5001"/>
                  <a:pt x="7251" y="4976"/>
                </a:cubicBezTo>
                <a:lnTo>
                  <a:pt x="7302" y="4951"/>
                </a:lnTo>
                <a:cubicBezTo>
                  <a:pt x="7302" y="4926"/>
                  <a:pt x="7351" y="4926"/>
                  <a:pt x="7351" y="4901"/>
                </a:cubicBezTo>
                <a:lnTo>
                  <a:pt x="7376" y="4875"/>
                </a:lnTo>
                <a:cubicBezTo>
                  <a:pt x="7402" y="4875"/>
                  <a:pt x="7451" y="4901"/>
                  <a:pt x="7451" y="4901"/>
                </a:cubicBezTo>
                <a:lnTo>
                  <a:pt x="7502" y="4926"/>
                </a:lnTo>
                <a:cubicBezTo>
                  <a:pt x="7526" y="4926"/>
                  <a:pt x="7551" y="4926"/>
                  <a:pt x="7576" y="4951"/>
                </a:cubicBezTo>
                <a:cubicBezTo>
                  <a:pt x="7602" y="4951"/>
                  <a:pt x="7651" y="4951"/>
                  <a:pt x="7676" y="4976"/>
                </a:cubicBezTo>
                <a:cubicBezTo>
                  <a:pt x="7676" y="5001"/>
                  <a:pt x="7676" y="5026"/>
                  <a:pt x="7676" y="5051"/>
                </a:cubicBezTo>
                <a:cubicBezTo>
                  <a:pt x="7702" y="5076"/>
                  <a:pt x="7727" y="5100"/>
                  <a:pt x="7751" y="5100"/>
                </a:cubicBezTo>
                <a:cubicBezTo>
                  <a:pt x="7751" y="5100"/>
                  <a:pt x="7802" y="5126"/>
                  <a:pt x="7827" y="5126"/>
                </a:cubicBezTo>
                <a:cubicBezTo>
                  <a:pt x="7851" y="5126"/>
                  <a:pt x="7876" y="5100"/>
                  <a:pt x="7902" y="5100"/>
                </a:cubicBezTo>
                <a:cubicBezTo>
                  <a:pt x="7902" y="5100"/>
                  <a:pt x="7951" y="5076"/>
                  <a:pt x="7976" y="5076"/>
                </a:cubicBezTo>
                <a:cubicBezTo>
                  <a:pt x="8002" y="5076"/>
                  <a:pt x="8051" y="5100"/>
                  <a:pt x="8076" y="5100"/>
                </a:cubicBezTo>
                <a:cubicBezTo>
                  <a:pt x="8076" y="5100"/>
                  <a:pt x="8127" y="5100"/>
                  <a:pt x="8127" y="5126"/>
                </a:cubicBezTo>
                <a:cubicBezTo>
                  <a:pt x="8151" y="5126"/>
                  <a:pt x="8227" y="5126"/>
                  <a:pt x="8227" y="5151"/>
                </a:cubicBezTo>
                <a:cubicBezTo>
                  <a:pt x="8227" y="5176"/>
                  <a:pt x="8251" y="5176"/>
                  <a:pt x="8276" y="5200"/>
                </a:cubicBezTo>
                <a:cubicBezTo>
                  <a:pt x="8276" y="5226"/>
                  <a:pt x="8376" y="5226"/>
                  <a:pt x="8376" y="5226"/>
                </a:cubicBezTo>
                <a:cubicBezTo>
                  <a:pt x="8402" y="5251"/>
                  <a:pt x="8502" y="5251"/>
                  <a:pt x="8502" y="5226"/>
                </a:cubicBezTo>
                <a:cubicBezTo>
                  <a:pt x="8502" y="5226"/>
                  <a:pt x="8602" y="5200"/>
                  <a:pt x="8627" y="5200"/>
                </a:cubicBezTo>
                <a:cubicBezTo>
                  <a:pt x="8652" y="5176"/>
                  <a:pt x="8702" y="5200"/>
                  <a:pt x="8702" y="5176"/>
                </a:cubicBezTo>
                <a:cubicBezTo>
                  <a:pt x="8702" y="5151"/>
                  <a:pt x="8752" y="5126"/>
                  <a:pt x="8776" y="5126"/>
                </a:cubicBezTo>
                <a:cubicBezTo>
                  <a:pt x="8802" y="5100"/>
                  <a:pt x="8902" y="5100"/>
                  <a:pt x="8902" y="5126"/>
                </a:cubicBezTo>
                <a:cubicBezTo>
                  <a:pt x="8902" y="5151"/>
                  <a:pt x="8952" y="5151"/>
                  <a:pt x="8976" y="5151"/>
                </a:cubicBezTo>
                <a:cubicBezTo>
                  <a:pt x="9002" y="5126"/>
                  <a:pt x="9052" y="5151"/>
                  <a:pt x="9076" y="5176"/>
                </a:cubicBezTo>
                <a:lnTo>
                  <a:pt x="9152" y="5200"/>
                </a:lnTo>
                <a:cubicBezTo>
                  <a:pt x="9176" y="5176"/>
                  <a:pt x="9227" y="5151"/>
                  <a:pt x="9252" y="5151"/>
                </a:cubicBezTo>
                <a:cubicBezTo>
                  <a:pt x="9276" y="5151"/>
                  <a:pt x="9302" y="5126"/>
                  <a:pt x="9302" y="5100"/>
                </a:cubicBezTo>
                <a:cubicBezTo>
                  <a:pt x="9276" y="5076"/>
                  <a:pt x="9327" y="5026"/>
                  <a:pt x="9327" y="5001"/>
                </a:cubicBezTo>
                <a:cubicBezTo>
                  <a:pt x="9352" y="4976"/>
                  <a:pt x="9376" y="4926"/>
                  <a:pt x="9401" y="4926"/>
                </a:cubicBezTo>
                <a:cubicBezTo>
                  <a:pt x="9401" y="4901"/>
                  <a:pt x="9427" y="4875"/>
                  <a:pt x="9427" y="4875"/>
                </a:cubicBezTo>
                <a:cubicBezTo>
                  <a:pt x="9427" y="4851"/>
                  <a:pt x="9427" y="4801"/>
                  <a:pt x="9401" y="4801"/>
                </a:cubicBezTo>
                <a:cubicBezTo>
                  <a:pt x="9401" y="4801"/>
                  <a:pt x="9352" y="4801"/>
                  <a:pt x="9401" y="4751"/>
                </a:cubicBezTo>
                <a:cubicBezTo>
                  <a:pt x="9427" y="4701"/>
                  <a:pt x="9502" y="4701"/>
                  <a:pt x="9527" y="4701"/>
                </a:cubicBezTo>
                <a:cubicBezTo>
                  <a:pt x="9527" y="4701"/>
                  <a:pt x="9627" y="4701"/>
                  <a:pt x="9652" y="4701"/>
                </a:cubicBezTo>
                <a:cubicBezTo>
                  <a:pt x="9702" y="4701"/>
                  <a:pt x="9727" y="4701"/>
                  <a:pt x="9752" y="4726"/>
                </a:cubicBezTo>
                <a:cubicBezTo>
                  <a:pt x="9802" y="4751"/>
                  <a:pt x="9852" y="4726"/>
                  <a:pt x="9877" y="4751"/>
                </a:cubicBezTo>
                <a:cubicBezTo>
                  <a:pt x="9902" y="4775"/>
                  <a:pt x="9952" y="4775"/>
                  <a:pt x="9927" y="4826"/>
                </a:cubicBezTo>
                <a:cubicBezTo>
                  <a:pt x="9927" y="4851"/>
                  <a:pt x="9977" y="4826"/>
                  <a:pt x="9977" y="4901"/>
                </a:cubicBezTo>
                <a:cubicBezTo>
                  <a:pt x="10002" y="4976"/>
                  <a:pt x="10027" y="4976"/>
                  <a:pt x="10027" y="5026"/>
                </a:cubicBezTo>
                <a:cubicBezTo>
                  <a:pt x="10052" y="5051"/>
                  <a:pt x="10102" y="5100"/>
                  <a:pt x="10077" y="5126"/>
                </a:cubicBezTo>
                <a:cubicBezTo>
                  <a:pt x="10077" y="5151"/>
                  <a:pt x="10077" y="5176"/>
                  <a:pt x="10127" y="5176"/>
                </a:cubicBezTo>
                <a:cubicBezTo>
                  <a:pt x="10177" y="5176"/>
                  <a:pt x="10202" y="5226"/>
                  <a:pt x="10202" y="5226"/>
                </a:cubicBezTo>
                <a:cubicBezTo>
                  <a:pt x="10227" y="5200"/>
                  <a:pt x="10277" y="5226"/>
                  <a:pt x="10302" y="5251"/>
                </a:cubicBezTo>
                <a:cubicBezTo>
                  <a:pt x="10327" y="5276"/>
                  <a:pt x="10377" y="5276"/>
                  <a:pt x="10377" y="5301"/>
                </a:cubicBezTo>
                <a:cubicBezTo>
                  <a:pt x="10377" y="5326"/>
                  <a:pt x="10402" y="5351"/>
                  <a:pt x="10402" y="5376"/>
                </a:cubicBezTo>
                <a:cubicBezTo>
                  <a:pt x="10402" y="5401"/>
                  <a:pt x="10452" y="5426"/>
                  <a:pt x="10477" y="5426"/>
                </a:cubicBezTo>
                <a:cubicBezTo>
                  <a:pt x="10527" y="5426"/>
                  <a:pt x="10552" y="5426"/>
                  <a:pt x="10577" y="5401"/>
                </a:cubicBezTo>
                <a:cubicBezTo>
                  <a:pt x="10577" y="5376"/>
                  <a:pt x="10652" y="5376"/>
                  <a:pt x="10652" y="5376"/>
                </a:cubicBezTo>
                <a:cubicBezTo>
                  <a:pt x="10677" y="5351"/>
                  <a:pt x="10727" y="5326"/>
                  <a:pt x="10727" y="5376"/>
                </a:cubicBezTo>
                <a:cubicBezTo>
                  <a:pt x="10727" y="5426"/>
                  <a:pt x="10777" y="5451"/>
                  <a:pt x="10727" y="5476"/>
                </a:cubicBezTo>
                <a:cubicBezTo>
                  <a:pt x="10702" y="5476"/>
                  <a:pt x="10702" y="5551"/>
                  <a:pt x="10677" y="5576"/>
                </a:cubicBezTo>
                <a:cubicBezTo>
                  <a:pt x="10677" y="5626"/>
                  <a:pt x="10627" y="5626"/>
                  <a:pt x="10627" y="5651"/>
                </a:cubicBezTo>
                <a:cubicBezTo>
                  <a:pt x="10627" y="5701"/>
                  <a:pt x="10577" y="5701"/>
                  <a:pt x="10577" y="5726"/>
                </a:cubicBezTo>
                <a:cubicBezTo>
                  <a:pt x="10577" y="5751"/>
                  <a:pt x="10527" y="5726"/>
                  <a:pt x="10502" y="5726"/>
                </a:cubicBezTo>
                <a:cubicBezTo>
                  <a:pt x="10477" y="5701"/>
                  <a:pt x="10452" y="5751"/>
                  <a:pt x="10427" y="5751"/>
                </a:cubicBezTo>
                <a:cubicBezTo>
                  <a:pt x="10402" y="5751"/>
                  <a:pt x="10402" y="5801"/>
                  <a:pt x="10402" y="5826"/>
                </a:cubicBezTo>
                <a:cubicBezTo>
                  <a:pt x="10427" y="5851"/>
                  <a:pt x="10402" y="5876"/>
                  <a:pt x="10427" y="5901"/>
                </a:cubicBezTo>
                <a:cubicBezTo>
                  <a:pt x="10427" y="5926"/>
                  <a:pt x="10427" y="5951"/>
                  <a:pt x="10427" y="5976"/>
                </a:cubicBezTo>
                <a:cubicBezTo>
                  <a:pt x="10452" y="5951"/>
                  <a:pt x="10502" y="5951"/>
                  <a:pt x="10502" y="5951"/>
                </a:cubicBezTo>
                <a:cubicBezTo>
                  <a:pt x="10527" y="5951"/>
                  <a:pt x="10577" y="6001"/>
                  <a:pt x="10602" y="6001"/>
                </a:cubicBezTo>
                <a:cubicBezTo>
                  <a:pt x="10652" y="6001"/>
                  <a:pt x="10827" y="5901"/>
                  <a:pt x="10827" y="5876"/>
                </a:cubicBezTo>
                <a:cubicBezTo>
                  <a:pt x="10827" y="5851"/>
                  <a:pt x="10927" y="5751"/>
                  <a:pt x="10977" y="5701"/>
                </a:cubicBezTo>
                <a:cubicBezTo>
                  <a:pt x="11027" y="5651"/>
                  <a:pt x="11102" y="5576"/>
                  <a:pt x="11127" y="5526"/>
                </a:cubicBezTo>
                <a:cubicBezTo>
                  <a:pt x="11127" y="5476"/>
                  <a:pt x="11202" y="5401"/>
                  <a:pt x="11227" y="5376"/>
                </a:cubicBezTo>
                <a:cubicBezTo>
                  <a:pt x="11227" y="5351"/>
                  <a:pt x="11252" y="5351"/>
                  <a:pt x="11277" y="5276"/>
                </a:cubicBezTo>
                <a:cubicBezTo>
                  <a:pt x="11303" y="5226"/>
                  <a:pt x="11303" y="5051"/>
                  <a:pt x="11327" y="5051"/>
                </a:cubicBezTo>
                <a:cubicBezTo>
                  <a:pt x="11327" y="5026"/>
                  <a:pt x="11327" y="5001"/>
                  <a:pt x="11327" y="4976"/>
                </a:cubicBezTo>
                <a:cubicBezTo>
                  <a:pt x="11352" y="4951"/>
                  <a:pt x="11352" y="4926"/>
                  <a:pt x="11377" y="4926"/>
                </a:cubicBezTo>
                <a:cubicBezTo>
                  <a:pt x="11403" y="4901"/>
                  <a:pt x="11403" y="4875"/>
                  <a:pt x="11377" y="4851"/>
                </a:cubicBezTo>
                <a:cubicBezTo>
                  <a:pt x="11377" y="4826"/>
                  <a:pt x="11377" y="4801"/>
                  <a:pt x="11377" y="4775"/>
                </a:cubicBezTo>
                <a:cubicBezTo>
                  <a:pt x="11377" y="4775"/>
                  <a:pt x="11377" y="4751"/>
                  <a:pt x="11403" y="4751"/>
                </a:cubicBezTo>
                <a:cubicBezTo>
                  <a:pt x="11403" y="4751"/>
                  <a:pt x="11377" y="4726"/>
                  <a:pt x="11352" y="4701"/>
                </a:cubicBezTo>
                <a:cubicBezTo>
                  <a:pt x="11327" y="4701"/>
                  <a:pt x="11303" y="4675"/>
                  <a:pt x="11303" y="4651"/>
                </a:cubicBezTo>
                <a:cubicBezTo>
                  <a:pt x="11303" y="4626"/>
                  <a:pt x="11252" y="4601"/>
                  <a:pt x="11227" y="4601"/>
                </a:cubicBezTo>
                <a:cubicBezTo>
                  <a:pt x="11202" y="4601"/>
                  <a:pt x="11127" y="4575"/>
                  <a:pt x="11152" y="4601"/>
                </a:cubicBezTo>
                <a:cubicBezTo>
                  <a:pt x="11152" y="4626"/>
                  <a:pt x="11152" y="4651"/>
                  <a:pt x="11127" y="4651"/>
                </a:cubicBezTo>
                <a:cubicBezTo>
                  <a:pt x="11102" y="4626"/>
                  <a:pt x="11102" y="4651"/>
                  <a:pt x="11077" y="4675"/>
                </a:cubicBezTo>
                <a:cubicBezTo>
                  <a:pt x="11077" y="4701"/>
                  <a:pt x="11002" y="4701"/>
                  <a:pt x="11027" y="4675"/>
                </a:cubicBezTo>
                <a:cubicBezTo>
                  <a:pt x="11052" y="4651"/>
                  <a:pt x="11027" y="4651"/>
                  <a:pt x="11027" y="4626"/>
                </a:cubicBezTo>
                <a:cubicBezTo>
                  <a:pt x="11027" y="4601"/>
                  <a:pt x="11052" y="4575"/>
                  <a:pt x="11027" y="4575"/>
                </a:cubicBezTo>
                <a:cubicBezTo>
                  <a:pt x="11002" y="4601"/>
                  <a:pt x="11002" y="4651"/>
                  <a:pt x="10977" y="4651"/>
                </a:cubicBezTo>
                <a:cubicBezTo>
                  <a:pt x="10952" y="4651"/>
                  <a:pt x="10952" y="4575"/>
                  <a:pt x="10952" y="4551"/>
                </a:cubicBezTo>
                <a:cubicBezTo>
                  <a:pt x="10977" y="4526"/>
                  <a:pt x="10902" y="4551"/>
                  <a:pt x="10852" y="4551"/>
                </a:cubicBezTo>
                <a:cubicBezTo>
                  <a:pt x="10802" y="4551"/>
                  <a:pt x="10802" y="4501"/>
                  <a:pt x="10852" y="4475"/>
                </a:cubicBezTo>
                <a:cubicBezTo>
                  <a:pt x="10902" y="4451"/>
                  <a:pt x="10902" y="4426"/>
                  <a:pt x="10927" y="4426"/>
                </a:cubicBezTo>
                <a:cubicBezTo>
                  <a:pt x="10952" y="4426"/>
                  <a:pt x="11002" y="4375"/>
                  <a:pt x="11027" y="4351"/>
                </a:cubicBezTo>
                <a:cubicBezTo>
                  <a:pt x="11077" y="4326"/>
                  <a:pt x="11077" y="4301"/>
                  <a:pt x="11102" y="4275"/>
                </a:cubicBezTo>
                <a:cubicBezTo>
                  <a:pt x="11102" y="4275"/>
                  <a:pt x="11177" y="4226"/>
                  <a:pt x="11227" y="4175"/>
                </a:cubicBezTo>
                <a:cubicBezTo>
                  <a:pt x="11277" y="4126"/>
                  <a:pt x="11303" y="4101"/>
                  <a:pt x="11327" y="4075"/>
                </a:cubicBezTo>
                <a:cubicBezTo>
                  <a:pt x="11352" y="4051"/>
                  <a:pt x="11427" y="4026"/>
                  <a:pt x="11427" y="4001"/>
                </a:cubicBezTo>
                <a:cubicBezTo>
                  <a:pt x="11427" y="3975"/>
                  <a:pt x="11527" y="3926"/>
                  <a:pt x="11603" y="3901"/>
                </a:cubicBezTo>
                <a:cubicBezTo>
                  <a:pt x="11677" y="3875"/>
                  <a:pt x="11803" y="3901"/>
                  <a:pt x="11803" y="3926"/>
                </a:cubicBezTo>
                <a:cubicBezTo>
                  <a:pt x="11827" y="3951"/>
                  <a:pt x="11852" y="3951"/>
                  <a:pt x="11852" y="3926"/>
                </a:cubicBezTo>
                <a:cubicBezTo>
                  <a:pt x="11877" y="3901"/>
                  <a:pt x="11903" y="3926"/>
                  <a:pt x="11952" y="3926"/>
                </a:cubicBezTo>
                <a:cubicBezTo>
                  <a:pt x="12003" y="3926"/>
                  <a:pt x="12003" y="3901"/>
                  <a:pt x="12027" y="3901"/>
                </a:cubicBezTo>
                <a:cubicBezTo>
                  <a:pt x="12077" y="3926"/>
                  <a:pt x="12103" y="3926"/>
                  <a:pt x="12127" y="3901"/>
                </a:cubicBezTo>
                <a:cubicBezTo>
                  <a:pt x="12127" y="3851"/>
                  <a:pt x="12228" y="3851"/>
                  <a:pt x="12252" y="3875"/>
                </a:cubicBezTo>
                <a:cubicBezTo>
                  <a:pt x="12277" y="3901"/>
                  <a:pt x="12277" y="3901"/>
                  <a:pt x="12328" y="3875"/>
                </a:cubicBezTo>
                <a:cubicBezTo>
                  <a:pt x="12352" y="3875"/>
                  <a:pt x="12352" y="3926"/>
                  <a:pt x="12377" y="3926"/>
                </a:cubicBezTo>
                <a:cubicBezTo>
                  <a:pt x="12428" y="3926"/>
                  <a:pt x="12402" y="3951"/>
                  <a:pt x="12377" y="3951"/>
                </a:cubicBezTo>
                <a:cubicBezTo>
                  <a:pt x="12352" y="3951"/>
                  <a:pt x="12303" y="3975"/>
                  <a:pt x="12328" y="3975"/>
                </a:cubicBezTo>
                <a:cubicBezTo>
                  <a:pt x="12377" y="4001"/>
                  <a:pt x="12402" y="3975"/>
                  <a:pt x="12428" y="3975"/>
                </a:cubicBezTo>
                <a:cubicBezTo>
                  <a:pt x="12452" y="3975"/>
                  <a:pt x="12503" y="3975"/>
                  <a:pt x="12528" y="3951"/>
                </a:cubicBezTo>
                <a:cubicBezTo>
                  <a:pt x="12577" y="3926"/>
                  <a:pt x="12577" y="3975"/>
                  <a:pt x="12602" y="3951"/>
                </a:cubicBezTo>
                <a:cubicBezTo>
                  <a:pt x="12628" y="3926"/>
                  <a:pt x="12677" y="3926"/>
                  <a:pt x="12703" y="3926"/>
                </a:cubicBezTo>
                <a:cubicBezTo>
                  <a:pt x="12728" y="3926"/>
                  <a:pt x="12703" y="3901"/>
                  <a:pt x="12652" y="3901"/>
                </a:cubicBezTo>
                <a:cubicBezTo>
                  <a:pt x="12628" y="3901"/>
                  <a:pt x="12628" y="3875"/>
                  <a:pt x="12652" y="3826"/>
                </a:cubicBezTo>
                <a:cubicBezTo>
                  <a:pt x="12677" y="3751"/>
                  <a:pt x="12752" y="3726"/>
                  <a:pt x="12777" y="3701"/>
                </a:cubicBezTo>
                <a:cubicBezTo>
                  <a:pt x="12828" y="3650"/>
                  <a:pt x="12852" y="3675"/>
                  <a:pt x="12852" y="3650"/>
                </a:cubicBezTo>
                <a:cubicBezTo>
                  <a:pt x="12852" y="3626"/>
                  <a:pt x="12877" y="3575"/>
                  <a:pt x="12903" y="3575"/>
                </a:cubicBezTo>
                <a:cubicBezTo>
                  <a:pt x="12928" y="3575"/>
                  <a:pt x="13003" y="3575"/>
                  <a:pt x="13053" y="3550"/>
                </a:cubicBezTo>
                <a:cubicBezTo>
                  <a:pt x="13103" y="3526"/>
                  <a:pt x="13103" y="3575"/>
                  <a:pt x="13128" y="3575"/>
                </a:cubicBezTo>
                <a:cubicBezTo>
                  <a:pt x="13153" y="3601"/>
                  <a:pt x="13177" y="3550"/>
                  <a:pt x="13203" y="3550"/>
                </a:cubicBezTo>
                <a:cubicBezTo>
                  <a:pt x="13203" y="3575"/>
                  <a:pt x="13153" y="3601"/>
                  <a:pt x="13153" y="3650"/>
                </a:cubicBezTo>
                <a:cubicBezTo>
                  <a:pt x="13128" y="3675"/>
                  <a:pt x="13177" y="3675"/>
                  <a:pt x="13203" y="3675"/>
                </a:cubicBezTo>
                <a:cubicBezTo>
                  <a:pt x="13228" y="3701"/>
                  <a:pt x="13177" y="3701"/>
                  <a:pt x="13177" y="3726"/>
                </a:cubicBezTo>
                <a:cubicBezTo>
                  <a:pt x="13177" y="3726"/>
                  <a:pt x="13228" y="3726"/>
                  <a:pt x="13277" y="3675"/>
                </a:cubicBezTo>
                <a:cubicBezTo>
                  <a:pt x="13353" y="3601"/>
                  <a:pt x="13403" y="3601"/>
                  <a:pt x="13453" y="3601"/>
                </a:cubicBezTo>
                <a:cubicBezTo>
                  <a:pt x="13477" y="3601"/>
                  <a:pt x="13453" y="3550"/>
                  <a:pt x="13453" y="3501"/>
                </a:cubicBezTo>
                <a:cubicBezTo>
                  <a:pt x="13477" y="3450"/>
                  <a:pt x="13577" y="3426"/>
                  <a:pt x="13628" y="3450"/>
                </a:cubicBezTo>
                <a:cubicBezTo>
                  <a:pt x="13653" y="3450"/>
                  <a:pt x="13653" y="3475"/>
                  <a:pt x="13628" y="3475"/>
                </a:cubicBezTo>
                <a:cubicBezTo>
                  <a:pt x="13577" y="3450"/>
                  <a:pt x="13553" y="3501"/>
                  <a:pt x="13553" y="3550"/>
                </a:cubicBezTo>
                <a:cubicBezTo>
                  <a:pt x="13553" y="3575"/>
                  <a:pt x="13528" y="3601"/>
                  <a:pt x="13528" y="3626"/>
                </a:cubicBezTo>
                <a:cubicBezTo>
                  <a:pt x="13553" y="3626"/>
                  <a:pt x="13503" y="3650"/>
                  <a:pt x="13503" y="3650"/>
                </a:cubicBezTo>
                <a:cubicBezTo>
                  <a:pt x="13503" y="3675"/>
                  <a:pt x="13503" y="3701"/>
                  <a:pt x="13477" y="3701"/>
                </a:cubicBezTo>
                <a:cubicBezTo>
                  <a:pt x="13453" y="3701"/>
                  <a:pt x="13353" y="3726"/>
                  <a:pt x="13353" y="3751"/>
                </a:cubicBezTo>
                <a:cubicBezTo>
                  <a:pt x="13353" y="3800"/>
                  <a:pt x="13303" y="3800"/>
                  <a:pt x="13277" y="3851"/>
                </a:cubicBezTo>
                <a:cubicBezTo>
                  <a:pt x="13253" y="3875"/>
                  <a:pt x="13177" y="3926"/>
                  <a:pt x="13103" y="4001"/>
                </a:cubicBezTo>
                <a:cubicBezTo>
                  <a:pt x="13053" y="4101"/>
                  <a:pt x="12952" y="4101"/>
                  <a:pt x="12952" y="4101"/>
                </a:cubicBezTo>
                <a:cubicBezTo>
                  <a:pt x="12952" y="4126"/>
                  <a:pt x="12877" y="4126"/>
                  <a:pt x="12877" y="4126"/>
                </a:cubicBezTo>
                <a:cubicBezTo>
                  <a:pt x="12852" y="4126"/>
                  <a:pt x="12877" y="4175"/>
                  <a:pt x="12828" y="4251"/>
                </a:cubicBezTo>
                <a:cubicBezTo>
                  <a:pt x="12777" y="4301"/>
                  <a:pt x="12752" y="4375"/>
                  <a:pt x="12752" y="4451"/>
                </a:cubicBezTo>
                <a:cubicBezTo>
                  <a:pt x="12752" y="4526"/>
                  <a:pt x="12777" y="4751"/>
                  <a:pt x="12803" y="4801"/>
                </a:cubicBezTo>
                <a:cubicBezTo>
                  <a:pt x="12828" y="4851"/>
                  <a:pt x="12803" y="4951"/>
                  <a:pt x="12828" y="4951"/>
                </a:cubicBezTo>
                <a:cubicBezTo>
                  <a:pt x="12852" y="4976"/>
                  <a:pt x="12852" y="5026"/>
                  <a:pt x="12852" y="5026"/>
                </a:cubicBezTo>
                <a:cubicBezTo>
                  <a:pt x="12877" y="5051"/>
                  <a:pt x="12928" y="4976"/>
                  <a:pt x="12952" y="4951"/>
                </a:cubicBezTo>
                <a:cubicBezTo>
                  <a:pt x="12977" y="4926"/>
                  <a:pt x="12977" y="4901"/>
                  <a:pt x="13003" y="4901"/>
                </a:cubicBezTo>
                <a:cubicBezTo>
                  <a:pt x="13028" y="4875"/>
                  <a:pt x="13003" y="4801"/>
                  <a:pt x="13028" y="4801"/>
                </a:cubicBezTo>
                <a:cubicBezTo>
                  <a:pt x="13028" y="4775"/>
                  <a:pt x="13077" y="4775"/>
                  <a:pt x="13077" y="4751"/>
                </a:cubicBezTo>
                <a:cubicBezTo>
                  <a:pt x="13103" y="4726"/>
                  <a:pt x="13128" y="4751"/>
                  <a:pt x="13153" y="4751"/>
                </a:cubicBezTo>
                <a:cubicBezTo>
                  <a:pt x="13177" y="4726"/>
                  <a:pt x="13153" y="4675"/>
                  <a:pt x="13153" y="4651"/>
                </a:cubicBezTo>
                <a:cubicBezTo>
                  <a:pt x="13128" y="4626"/>
                  <a:pt x="13203" y="4601"/>
                  <a:pt x="13228" y="4575"/>
                </a:cubicBezTo>
                <a:cubicBezTo>
                  <a:pt x="13277" y="4551"/>
                  <a:pt x="13303" y="4601"/>
                  <a:pt x="13353" y="4551"/>
                </a:cubicBezTo>
                <a:cubicBezTo>
                  <a:pt x="13377" y="4526"/>
                  <a:pt x="13353" y="4475"/>
                  <a:pt x="13328" y="4451"/>
                </a:cubicBezTo>
                <a:cubicBezTo>
                  <a:pt x="13328" y="4451"/>
                  <a:pt x="13377" y="4351"/>
                  <a:pt x="13403" y="4351"/>
                </a:cubicBezTo>
                <a:cubicBezTo>
                  <a:pt x="13428" y="4351"/>
                  <a:pt x="13453" y="4375"/>
                  <a:pt x="13477" y="4351"/>
                </a:cubicBezTo>
                <a:cubicBezTo>
                  <a:pt x="13503" y="4326"/>
                  <a:pt x="13453" y="4275"/>
                  <a:pt x="13428" y="4275"/>
                </a:cubicBezTo>
                <a:cubicBezTo>
                  <a:pt x="13403" y="4275"/>
                  <a:pt x="13403" y="4201"/>
                  <a:pt x="13453" y="4175"/>
                </a:cubicBezTo>
                <a:cubicBezTo>
                  <a:pt x="13503" y="4151"/>
                  <a:pt x="13477" y="4126"/>
                  <a:pt x="13453" y="4126"/>
                </a:cubicBezTo>
                <a:cubicBezTo>
                  <a:pt x="13403" y="4126"/>
                  <a:pt x="13403" y="4126"/>
                  <a:pt x="13377" y="4126"/>
                </a:cubicBezTo>
                <a:cubicBezTo>
                  <a:pt x="13353" y="4126"/>
                  <a:pt x="13328" y="4075"/>
                  <a:pt x="13377" y="4026"/>
                </a:cubicBezTo>
                <a:cubicBezTo>
                  <a:pt x="13403" y="3975"/>
                  <a:pt x="13453" y="4001"/>
                  <a:pt x="13453" y="3951"/>
                </a:cubicBezTo>
                <a:cubicBezTo>
                  <a:pt x="13453" y="3901"/>
                  <a:pt x="13503" y="3851"/>
                  <a:pt x="13528" y="3826"/>
                </a:cubicBezTo>
                <a:cubicBezTo>
                  <a:pt x="13528" y="3800"/>
                  <a:pt x="13577" y="3826"/>
                  <a:pt x="13603" y="3826"/>
                </a:cubicBezTo>
                <a:cubicBezTo>
                  <a:pt x="13628" y="3826"/>
                  <a:pt x="13628" y="3875"/>
                  <a:pt x="13628" y="3851"/>
                </a:cubicBezTo>
                <a:cubicBezTo>
                  <a:pt x="13653" y="3826"/>
                  <a:pt x="13703" y="3751"/>
                  <a:pt x="13728" y="3751"/>
                </a:cubicBezTo>
                <a:cubicBezTo>
                  <a:pt x="13777" y="3751"/>
                  <a:pt x="13753" y="3800"/>
                  <a:pt x="13753" y="3826"/>
                </a:cubicBezTo>
                <a:cubicBezTo>
                  <a:pt x="13753" y="3875"/>
                  <a:pt x="13777" y="3826"/>
                  <a:pt x="13853" y="3775"/>
                </a:cubicBezTo>
                <a:cubicBezTo>
                  <a:pt x="13902" y="3751"/>
                  <a:pt x="14028" y="3751"/>
                  <a:pt x="14078" y="3775"/>
                </a:cubicBezTo>
                <a:cubicBezTo>
                  <a:pt x="14128" y="3775"/>
                  <a:pt x="14128" y="3826"/>
                  <a:pt x="14153" y="3826"/>
                </a:cubicBezTo>
                <a:cubicBezTo>
                  <a:pt x="14178" y="3826"/>
                  <a:pt x="14153" y="3775"/>
                  <a:pt x="14178" y="3775"/>
                </a:cubicBezTo>
                <a:cubicBezTo>
                  <a:pt x="14228" y="3751"/>
                  <a:pt x="14278" y="3726"/>
                  <a:pt x="14328" y="3701"/>
                </a:cubicBezTo>
                <a:cubicBezTo>
                  <a:pt x="14353" y="3650"/>
                  <a:pt x="14353" y="3675"/>
                  <a:pt x="14378" y="3650"/>
                </a:cubicBezTo>
                <a:cubicBezTo>
                  <a:pt x="14403" y="3626"/>
                  <a:pt x="14428" y="3650"/>
                  <a:pt x="14428" y="3626"/>
                </a:cubicBezTo>
                <a:cubicBezTo>
                  <a:pt x="14428" y="3601"/>
                  <a:pt x="14503" y="3575"/>
                  <a:pt x="14578" y="3550"/>
                </a:cubicBezTo>
                <a:cubicBezTo>
                  <a:pt x="14678" y="3526"/>
                  <a:pt x="14778" y="3475"/>
                  <a:pt x="14778" y="3450"/>
                </a:cubicBezTo>
                <a:cubicBezTo>
                  <a:pt x="14778" y="3426"/>
                  <a:pt x="14828" y="3426"/>
                  <a:pt x="14828" y="3450"/>
                </a:cubicBezTo>
                <a:cubicBezTo>
                  <a:pt x="14828" y="3475"/>
                  <a:pt x="14853" y="3450"/>
                  <a:pt x="14903" y="3475"/>
                </a:cubicBezTo>
                <a:cubicBezTo>
                  <a:pt x="14953" y="3475"/>
                  <a:pt x="14978" y="3501"/>
                  <a:pt x="15003" y="3450"/>
                </a:cubicBezTo>
                <a:cubicBezTo>
                  <a:pt x="15053" y="3426"/>
                  <a:pt x="15003" y="3401"/>
                  <a:pt x="15003" y="3375"/>
                </a:cubicBezTo>
                <a:cubicBezTo>
                  <a:pt x="15003" y="3350"/>
                  <a:pt x="14953" y="3326"/>
                  <a:pt x="14953" y="3301"/>
                </a:cubicBezTo>
                <a:cubicBezTo>
                  <a:pt x="14953" y="3275"/>
                  <a:pt x="14903" y="3201"/>
                  <a:pt x="14878" y="3201"/>
                </a:cubicBezTo>
                <a:cubicBezTo>
                  <a:pt x="14878" y="3226"/>
                  <a:pt x="14828" y="3201"/>
                  <a:pt x="14828" y="3175"/>
                </a:cubicBezTo>
                <a:cubicBezTo>
                  <a:pt x="14828" y="3150"/>
                  <a:pt x="14828" y="3126"/>
                  <a:pt x="14803" y="3126"/>
                </a:cubicBezTo>
                <a:cubicBezTo>
                  <a:pt x="14778" y="3150"/>
                  <a:pt x="14728" y="3150"/>
                  <a:pt x="14728" y="3126"/>
                </a:cubicBezTo>
                <a:cubicBezTo>
                  <a:pt x="14703" y="3101"/>
                  <a:pt x="14778" y="3075"/>
                  <a:pt x="14828" y="3101"/>
                </a:cubicBezTo>
                <a:cubicBezTo>
                  <a:pt x="14853" y="3101"/>
                  <a:pt x="14853" y="3126"/>
                  <a:pt x="14878" y="3150"/>
                </a:cubicBezTo>
                <a:cubicBezTo>
                  <a:pt x="14878" y="3150"/>
                  <a:pt x="14953" y="3150"/>
                  <a:pt x="14978" y="3126"/>
                </a:cubicBezTo>
                <a:cubicBezTo>
                  <a:pt x="15003" y="3126"/>
                  <a:pt x="15078" y="3101"/>
                  <a:pt x="15103" y="3075"/>
                </a:cubicBezTo>
                <a:cubicBezTo>
                  <a:pt x="15103" y="3050"/>
                  <a:pt x="15103" y="3026"/>
                  <a:pt x="15128" y="3026"/>
                </a:cubicBezTo>
                <a:cubicBezTo>
                  <a:pt x="15153" y="3001"/>
                  <a:pt x="15128" y="2975"/>
                  <a:pt x="15103" y="2975"/>
                </a:cubicBezTo>
                <a:cubicBezTo>
                  <a:pt x="15078" y="2950"/>
                  <a:pt x="15078" y="2926"/>
                  <a:pt x="15103" y="2926"/>
                </a:cubicBezTo>
                <a:cubicBezTo>
                  <a:pt x="15128" y="2926"/>
                  <a:pt x="15128" y="2901"/>
                  <a:pt x="15153" y="2901"/>
                </a:cubicBezTo>
                <a:cubicBezTo>
                  <a:pt x="15178" y="2875"/>
                  <a:pt x="15178" y="2901"/>
                  <a:pt x="15203" y="2875"/>
                </a:cubicBezTo>
                <a:cubicBezTo>
                  <a:pt x="15228" y="2875"/>
                  <a:pt x="15203" y="2901"/>
                  <a:pt x="15178" y="2926"/>
                </a:cubicBezTo>
                <a:cubicBezTo>
                  <a:pt x="15178" y="2950"/>
                  <a:pt x="15228" y="2975"/>
                  <a:pt x="15228" y="3001"/>
                </a:cubicBezTo>
                <a:cubicBezTo>
                  <a:pt x="15228" y="3026"/>
                  <a:pt x="15278" y="3026"/>
                  <a:pt x="15328" y="3001"/>
                </a:cubicBezTo>
                <a:cubicBezTo>
                  <a:pt x="15353" y="2975"/>
                  <a:pt x="15453" y="3026"/>
                  <a:pt x="15453" y="3050"/>
                </a:cubicBezTo>
                <a:cubicBezTo>
                  <a:pt x="15478" y="3075"/>
                  <a:pt x="15478" y="3101"/>
                  <a:pt x="15528" y="3126"/>
                </a:cubicBezTo>
                <a:cubicBezTo>
                  <a:pt x="15578" y="3150"/>
                  <a:pt x="15628" y="3150"/>
                  <a:pt x="15628" y="3175"/>
                </a:cubicBezTo>
                <a:cubicBezTo>
                  <a:pt x="15628" y="3175"/>
                  <a:pt x="15653" y="3201"/>
                  <a:pt x="15678" y="3201"/>
                </a:cubicBezTo>
                <a:cubicBezTo>
                  <a:pt x="15703" y="3175"/>
                  <a:pt x="15703" y="3226"/>
                  <a:pt x="15728" y="3201"/>
                </a:cubicBezTo>
                <a:cubicBezTo>
                  <a:pt x="15753" y="3175"/>
                  <a:pt x="15753" y="3201"/>
                  <a:pt x="15778" y="3175"/>
                </a:cubicBezTo>
                <a:cubicBezTo>
                  <a:pt x="15804" y="3175"/>
                  <a:pt x="15728" y="3150"/>
                  <a:pt x="15753" y="3126"/>
                </a:cubicBezTo>
                <a:lnTo>
                  <a:pt x="15778" y="3150"/>
                </a:lnTo>
                <a:cubicBezTo>
                  <a:pt x="15804" y="3150"/>
                  <a:pt x="15778" y="3101"/>
                  <a:pt x="15804" y="3101"/>
                </a:cubicBezTo>
                <a:cubicBezTo>
                  <a:pt x="15804" y="3101"/>
                  <a:pt x="15804" y="3001"/>
                  <a:pt x="15778" y="3001"/>
                </a:cubicBezTo>
                <a:cubicBezTo>
                  <a:pt x="15778" y="3001"/>
                  <a:pt x="15778" y="2975"/>
                  <a:pt x="15804" y="3001"/>
                </a:cubicBezTo>
                <a:cubicBezTo>
                  <a:pt x="15853" y="3026"/>
                  <a:pt x="15904" y="3026"/>
                  <a:pt x="15928" y="3026"/>
                </a:cubicBezTo>
                <a:cubicBezTo>
                  <a:pt x="15953" y="3026"/>
                  <a:pt x="15928" y="3001"/>
                  <a:pt x="15904" y="3001"/>
                </a:cubicBezTo>
                <a:cubicBezTo>
                  <a:pt x="15878" y="2975"/>
                  <a:pt x="15904" y="2975"/>
                  <a:pt x="15928" y="2975"/>
                </a:cubicBezTo>
                <a:cubicBezTo>
                  <a:pt x="15928" y="3001"/>
                  <a:pt x="15953" y="3001"/>
                  <a:pt x="15978" y="3001"/>
                </a:cubicBezTo>
                <a:cubicBezTo>
                  <a:pt x="15978" y="2975"/>
                  <a:pt x="15978" y="2926"/>
                  <a:pt x="16028" y="2926"/>
                </a:cubicBezTo>
                <a:cubicBezTo>
                  <a:pt x="16053" y="2950"/>
                  <a:pt x="16053" y="2926"/>
                  <a:pt x="16028" y="2901"/>
                </a:cubicBezTo>
                <a:close/>
                <a:moveTo>
                  <a:pt x="8276" y="4726"/>
                </a:moveTo>
                <a:lnTo>
                  <a:pt x="8276" y="4726"/>
                </a:lnTo>
                <a:cubicBezTo>
                  <a:pt x="8202" y="4801"/>
                  <a:pt x="8051" y="4826"/>
                  <a:pt x="8051" y="4875"/>
                </a:cubicBezTo>
                <a:cubicBezTo>
                  <a:pt x="8051" y="4951"/>
                  <a:pt x="7851" y="4976"/>
                  <a:pt x="7827" y="4951"/>
                </a:cubicBezTo>
                <a:cubicBezTo>
                  <a:pt x="7827" y="4926"/>
                  <a:pt x="7976" y="4926"/>
                  <a:pt x="8002" y="4826"/>
                </a:cubicBezTo>
                <a:cubicBezTo>
                  <a:pt x="8051" y="4751"/>
                  <a:pt x="8202" y="4701"/>
                  <a:pt x="8251" y="4601"/>
                </a:cubicBezTo>
                <a:cubicBezTo>
                  <a:pt x="8302" y="4526"/>
                  <a:pt x="8351" y="4401"/>
                  <a:pt x="8376" y="4401"/>
                </a:cubicBezTo>
                <a:cubicBezTo>
                  <a:pt x="8402" y="4401"/>
                  <a:pt x="8351" y="4675"/>
                  <a:pt x="8276" y="4726"/>
                </a:cubicBezTo>
                <a:close/>
                <a:moveTo>
                  <a:pt x="8627" y="1475"/>
                </a:moveTo>
                <a:lnTo>
                  <a:pt x="8627" y="1475"/>
                </a:lnTo>
                <a:cubicBezTo>
                  <a:pt x="8627" y="1501"/>
                  <a:pt x="8551" y="1501"/>
                  <a:pt x="8576" y="1525"/>
                </a:cubicBezTo>
                <a:cubicBezTo>
                  <a:pt x="8602" y="1550"/>
                  <a:pt x="8752" y="1525"/>
                  <a:pt x="8752" y="1501"/>
                </a:cubicBezTo>
                <a:cubicBezTo>
                  <a:pt x="8752" y="1450"/>
                  <a:pt x="8652" y="1450"/>
                  <a:pt x="8627" y="1475"/>
                </a:cubicBezTo>
                <a:close/>
                <a:moveTo>
                  <a:pt x="2825" y="200"/>
                </a:moveTo>
                <a:lnTo>
                  <a:pt x="2825" y="200"/>
                </a:lnTo>
                <a:cubicBezTo>
                  <a:pt x="2875" y="225"/>
                  <a:pt x="2725" y="225"/>
                  <a:pt x="2701" y="250"/>
                </a:cubicBezTo>
                <a:cubicBezTo>
                  <a:pt x="2701" y="275"/>
                  <a:pt x="2601" y="250"/>
                  <a:pt x="2625" y="300"/>
                </a:cubicBezTo>
                <a:cubicBezTo>
                  <a:pt x="2625" y="325"/>
                  <a:pt x="2775" y="325"/>
                  <a:pt x="2775" y="300"/>
                </a:cubicBezTo>
                <a:cubicBezTo>
                  <a:pt x="2775" y="275"/>
                  <a:pt x="2850" y="300"/>
                  <a:pt x="2850" y="275"/>
                </a:cubicBezTo>
                <a:cubicBezTo>
                  <a:pt x="2850" y="250"/>
                  <a:pt x="2875" y="225"/>
                  <a:pt x="2950" y="225"/>
                </a:cubicBezTo>
                <a:cubicBezTo>
                  <a:pt x="3050" y="200"/>
                  <a:pt x="3050" y="175"/>
                  <a:pt x="2975" y="150"/>
                </a:cubicBezTo>
                <a:cubicBezTo>
                  <a:pt x="2901" y="125"/>
                  <a:pt x="2801" y="175"/>
                  <a:pt x="2825" y="200"/>
                </a:cubicBezTo>
                <a:close/>
                <a:moveTo>
                  <a:pt x="3201" y="1701"/>
                </a:moveTo>
                <a:lnTo>
                  <a:pt x="3201" y="1701"/>
                </a:lnTo>
                <a:cubicBezTo>
                  <a:pt x="3201" y="1725"/>
                  <a:pt x="3201" y="1750"/>
                  <a:pt x="3150" y="1750"/>
                </a:cubicBezTo>
                <a:cubicBezTo>
                  <a:pt x="3075" y="1750"/>
                  <a:pt x="3175" y="1775"/>
                  <a:pt x="3175" y="1801"/>
                </a:cubicBezTo>
                <a:cubicBezTo>
                  <a:pt x="3175" y="1825"/>
                  <a:pt x="3125" y="1825"/>
                  <a:pt x="3125" y="1850"/>
                </a:cubicBezTo>
                <a:cubicBezTo>
                  <a:pt x="3101" y="1901"/>
                  <a:pt x="3001" y="1850"/>
                  <a:pt x="3001" y="1925"/>
                </a:cubicBezTo>
                <a:cubicBezTo>
                  <a:pt x="2975" y="1975"/>
                  <a:pt x="3050" y="1975"/>
                  <a:pt x="3101" y="1975"/>
                </a:cubicBezTo>
                <a:cubicBezTo>
                  <a:pt x="3125" y="1975"/>
                  <a:pt x="3075" y="2025"/>
                  <a:pt x="3101" y="2050"/>
                </a:cubicBezTo>
                <a:cubicBezTo>
                  <a:pt x="3150" y="2075"/>
                  <a:pt x="3175" y="2075"/>
                  <a:pt x="3150" y="2025"/>
                </a:cubicBezTo>
                <a:cubicBezTo>
                  <a:pt x="3125" y="1975"/>
                  <a:pt x="3250" y="2025"/>
                  <a:pt x="3225" y="2075"/>
                </a:cubicBezTo>
                <a:cubicBezTo>
                  <a:pt x="3175" y="2101"/>
                  <a:pt x="3275" y="2125"/>
                  <a:pt x="3350" y="2125"/>
                </a:cubicBezTo>
                <a:cubicBezTo>
                  <a:pt x="3401" y="2150"/>
                  <a:pt x="3575" y="2175"/>
                  <a:pt x="3575" y="2125"/>
                </a:cubicBezTo>
                <a:cubicBezTo>
                  <a:pt x="3575" y="2101"/>
                  <a:pt x="3526" y="2075"/>
                  <a:pt x="3450" y="2025"/>
                </a:cubicBezTo>
                <a:cubicBezTo>
                  <a:pt x="3401" y="1950"/>
                  <a:pt x="3350" y="1850"/>
                  <a:pt x="3426" y="1825"/>
                </a:cubicBezTo>
                <a:cubicBezTo>
                  <a:pt x="3501" y="1775"/>
                  <a:pt x="3426" y="1750"/>
                  <a:pt x="3501" y="1701"/>
                </a:cubicBezTo>
                <a:cubicBezTo>
                  <a:pt x="3575" y="1675"/>
                  <a:pt x="3526" y="1625"/>
                  <a:pt x="3575" y="1625"/>
                </a:cubicBezTo>
                <a:cubicBezTo>
                  <a:pt x="3626" y="1601"/>
                  <a:pt x="3575" y="1550"/>
                  <a:pt x="3626" y="1550"/>
                </a:cubicBezTo>
                <a:cubicBezTo>
                  <a:pt x="3675" y="1550"/>
                  <a:pt x="3701" y="1475"/>
                  <a:pt x="3701" y="1450"/>
                </a:cubicBezTo>
                <a:cubicBezTo>
                  <a:pt x="3675" y="1425"/>
                  <a:pt x="3750" y="1450"/>
                  <a:pt x="3775" y="1425"/>
                </a:cubicBezTo>
                <a:cubicBezTo>
                  <a:pt x="3800" y="1401"/>
                  <a:pt x="3875" y="1425"/>
                  <a:pt x="3901" y="1375"/>
                </a:cubicBezTo>
                <a:cubicBezTo>
                  <a:pt x="3926" y="1325"/>
                  <a:pt x="4251" y="1225"/>
                  <a:pt x="4426" y="1175"/>
                </a:cubicBezTo>
                <a:cubicBezTo>
                  <a:pt x="4601" y="1125"/>
                  <a:pt x="4726" y="1050"/>
                  <a:pt x="4675" y="1000"/>
                </a:cubicBezTo>
                <a:cubicBezTo>
                  <a:pt x="4601" y="950"/>
                  <a:pt x="4426" y="1025"/>
                  <a:pt x="4375" y="1050"/>
                </a:cubicBezTo>
                <a:cubicBezTo>
                  <a:pt x="4326" y="1100"/>
                  <a:pt x="4275" y="1075"/>
                  <a:pt x="4226" y="1100"/>
                </a:cubicBezTo>
                <a:cubicBezTo>
                  <a:pt x="4175" y="1125"/>
                  <a:pt x="4075" y="1150"/>
                  <a:pt x="4050" y="1125"/>
                </a:cubicBezTo>
                <a:cubicBezTo>
                  <a:pt x="4001" y="1075"/>
                  <a:pt x="3926" y="1150"/>
                  <a:pt x="3901" y="1150"/>
                </a:cubicBezTo>
                <a:cubicBezTo>
                  <a:pt x="3875" y="1150"/>
                  <a:pt x="3826" y="1175"/>
                  <a:pt x="3775" y="1175"/>
                </a:cubicBezTo>
                <a:cubicBezTo>
                  <a:pt x="3750" y="1175"/>
                  <a:pt x="3675" y="1200"/>
                  <a:pt x="3650" y="1225"/>
                </a:cubicBezTo>
                <a:cubicBezTo>
                  <a:pt x="3650" y="1250"/>
                  <a:pt x="3601" y="1250"/>
                  <a:pt x="3601" y="1275"/>
                </a:cubicBezTo>
                <a:cubicBezTo>
                  <a:pt x="3601" y="1300"/>
                  <a:pt x="3526" y="1325"/>
                  <a:pt x="3501" y="1300"/>
                </a:cubicBezTo>
                <a:cubicBezTo>
                  <a:pt x="3475" y="1275"/>
                  <a:pt x="3450" y="1325"/>
                  <a:pt x="3475" y="1375"/>
                </a:cubicBezTo>
                <a:cubicBezTo>
                  <a:pt x="3526" y="1401"/>
                  <a:pt x="3426" y="1401"/>
                  <a:pt x="3426" y="1425"/>
                </a:cubicBezTo>
                <a:cubicBezTo>
                  <a:pt x="3450" y="1450"/>
                  <a:pt x="3401" y="1475"/>
                  <a:pt x="3401" y="1501"/>
                </a:cubicBezTo>
                <a:cubicBezTo>
                  <a:pt x="3426" y="1525"/>
                  <a:pt x="3375" y="1525"/>
                  <a:pt x="3326" y="1525"/>
                </a:cubicBezTo>
                <a:cubicBezTo>
                  <a:pt x="3275" y="1550"/>
                  <a:pt x="3250" y="1601"/>
                  <a:pt x="3326" y="1601"/>
                </a:cubicBezTo>
                <a:cubicBezTo>
                  <a:pt x="3375" y="1601"/>
                  <a:pt x="3275" y="1601"/>
                  <a:pt x="3301" y="1650"/>
                </a:cubicBezTo>
                <a:cubicBezTo>
                  <a:pt x="3301" y="1701"/>
                  <a:pt x="3201" y="1675"/>
                  <a:pt x="3201" y="1701"/>
                </a:cubicBezTo>
                <a:close/>
                <a:moveTo>
                  <a:pt x="3575" y="250"/>
                </a:moveTo>
                <a:lnTo>
                  <a:pt x="3575" y="250"/>
                </a:lnTo>
                <a:cubicBezTo>
                  <a:pt x="3601" y="275"/>
                  <a:pt x="3575" y="275"/>
                  <a:pt x="3526" y="275"/>
                </a:cubicBezTo>
                <a:cubicBezTo>
                  <a:pt x="3450" y="275"/>
                  <a:pt x="3426" y="300"/>
                  <a:pt x="3450" y="325"/>
                </a:cubicBezTo>
                <a:cubicBezTo>
                  <a:pt x="3501" y="350"/>
                  <a:pt x="3650" y="350"/>
                  <a:pt x="3675" y="325"/>
                </a:cubicBezTo>
                <a:cubicBezTo>
                  <a:pt x="3701" y="275"/>
                  <a:pt x="3750" y="300"/>
                  <a:pt x="3775" y="275"/>
                </a:cubicBezTo>
                <a:cubicBezTo>
                  <a:pt x="3775" y="250"/>
                  <a:pt x="3575" y="225"/>
                  <a:pt x="3575" y="250"/>
                </a:cubicBezTo>
                <a:close/>
                <a:moveTo>
                  <a:pt x="3575" y="100"/>
                </a:moveTo>
                <a:lnTo>
                  <a:pt x="3575" y="100"/>
                </a:lnTo>
                <a:cubicBezTo>
                  <a:pt x="3650" y="100"/>
                  <a:pt x="3626" y="50"/>
                  <a:pt x="3675" y="75"/>
                </a:cubicBezTo>
                <a:cubicBezTo>
                  <a:pt x="3701" y="75"/>
                  <a:pt x="3775" y="75"/>
                  <a:pt x="3750" y="50"/>
                </a:cubicBezTo>
                <a:cubicBezTo>
                  <a:pt x="3726" y="0"/>
                  <a:pt x="3550" y="25"/>
                  <a:pt x="3575" y="50"/>
                </a:cubicBezTo>
                <a:cubicBezTo>
                  <a:pt x="3601" y="75"/>
                  <a:pt x="3450" y="50"/>
                  <a:pt x="3450" y="75"/>
                </a:cubicBezTo>
                <a:cubicBezTo>
                  <a:pt x="3450" y="75"/>
                  <a:pt x="3501" y="100"/>
                  <a:pt x="3575" y="100"/>
                </a:cubicBezTo>
                <a:close/>
                <a:moveTo>
                  <a:pt x="4050" y="200"/>
                </a:moveTo>
                <a:lnTo>
                  <a:pt x="4050" y="200"/>
                </a:lnTo>
                <a:cubicBezTo>
                  <a:pt x="4075" y="175"/>
                  <a:pt x="4026" y="175"/>
                  <a:pt x="4026" y="150"/>
                </a:cubicBezTo>
                <a:cubicBezTo>
                  <a:pt x="4026" y="125"/>
                  <a:pt x="3850" y="125"/>
                  <a:pt x="3875" y="150"/>
                </a:cubicBezTo>
                <a:cubicBezTo>
                  <a:pt x="3875" y="175"/>
                  <a:pt x="3750" y="200"/>
                  <a:pt x="3800" y="225"/>
                </a:cubicBezTo>
                <a:cubicBezTo>
                  <a:pt x="3850" y="275"/>
                  <a:pt x="4050" y="225"/>
                  <a:pt x="4050" y="200"/>
                </a:cubicBezTo>
                <a:close/>
                <a:moveTo>
                  <a:pt x="3225" y="275"/>
                </a:moveTo>
                <a:lnTo>
                  <a:pt x="3225" y="275"/>
                </a:lnTo>
                <a:cubicBezTo>
                  <a:pt x="3225" y="250"/>
                  <a:pt x="3075" y="300"/>
                  <a:pt x="3101" y="300"/>
                </a:cubicBezTo>
                <a:cubicBezTo>
                  <a:pt x="3125" y="300"/>
                  <a:pt x="3225" y="325"/>
                  <a:pt x="3225" y="275"/>
                </a:cubicBezTo>
                <a:close/>
                <a:moveTo>
                  <a:pt x="3626" y="150"/>
                </a:moveTo>
                <a:lnTo>
                  <a:pt x="3626" y="150"/>
                </a:lnTo>
                <a:cubicBezTo>
                  <a:pt x="3626" y="100"/>
                  <a:pt x="3526" y="150"/>
                  <a:pt x="3450" y="100"/>
                </a:cubicBezTo>
                <a:cubicBezTo>
                  <a:pt x="3375" y="75"/>
                  <a:pt x="3350" y="75"/>
                  <a:pt x="3401" y="125"/>
                </a:cubicBezTo>
                <a:cubicBezTo>
                  <a:pt x="3426" y="150"/>
                  <a:pt x="3275" y="150"/>
                  <a:pt x="3301" y="175"/>
                </a:cubicBezTo>
                <a:cubicBezTo>
                  <a:pt x="3350" y="225"/>
                  <a:pt x="3601" y="200"/>
                  <a:pt x="3626" y="150"/>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3" name="Freeform 159">
            <a:extLst>
              <a:ext uri="{FF2B5EF4-FFF2-40B4-BE49-F238E27FC236}">
                <a16:creationId xmlns:a16="http://schemas.microsoft.com/office/drawing/2014/main" id="{DF85D0D0-D02F-DC43-9C7F-7A4A147B55D0}"/>
              </a:ext>
            </a:extLst>
          </p:cNvPr>
          <p:cNvSpPr>
            <a:spLocks noChangeArrowheads="1"/>
          </p:cNvSpPr>
          <p:nvPr/>
        </p:nvSpPr>
        <p:spPr bwMode="auto">
          <a:xfrm>
            <a:off x="6132563" y="4661940"/>
            <a:ext cx="549840" cy="582184"/>
          </a:xfrm>
          <a:custGeom>
            <a:avLst/>
            <a:gdLst>
              <a:gd name="T0" fmla="*/ 1575 w 1726"/>
              <a:gd name="T1" fmla="*/ 1200 h 1826"/>
              <a:gd name="T2" fmla="*/ 1550 w 1726"/>
              <a:gd name="T3" fmla="*/ 875 h 1826"/>
              <a:gd name="T4" fmla="*/ 1525 w 1726"/>
              <a:gd name="T5" fmla="*/ 800 h 1826"/>
              <a:gd name="T6" fmla="*/ 1525 w 1726"/>
              <a:gd name="T7" fmla="*/ 750 h 1826"/>
              <a:gd name="T8" fmla="*/ 1575 w 1726"/>
              <a:gd name="T9" fmla="*/ 675 h 1826"/>
              <a:gd name="T10" fmla="*/ 1600 w 1726"/>
              <a:gd name="T11" fmla="*/ 524 h 1826"/>
              <a:gd name="T12" fmla="*/ 1650 w 1726"/>
              <a:gd name="T13" fmla="*/ 400 h 1826"/>
              <a:gd name="T14" fmla="*/ 1725 w 1726"/>
              <a:gd name="T15" fmla="*/ 324 h 1826"/>
              <a:gd name="T16" fmla="*/ 1700 w 1726"/>
              <a:gd name="T17" fmla="*/ 200 h 1826"/>
              <a:gd name="T18" fmla="*/ 1600 w 1726"/>
              <a:gd name="T19" fmla="*/ 100 h 1826"/>
              <a:gd name="T20" fmla="*/ 1500 w 1726"/>
              <a:gd name="T21" fmla="*/ 124 h 1826"/>
              <a:gd name="T22" fmla="*/ 1400 w 1726"/>
              <a:gd name="T23" fmla="*/ 75 h 1826"/>
              <a:gd name="T24" fmla="*/ 1375 w 1726"/>
              <a:gd name="T25" fmla="*/ 50 h 1826"/>
              <a:gd name="T26" fmla="*/ 1200 w 1726"/>
              <a:gd name="T27" fmla="*/ 50 h 1826"/>
              <a:gd name="T28" fmla="*/ 1025 w 1726"/>
              <a:gd name="T29" fmla="*/ 75 h 1826"/>
              <a:gd name="T30" fmla="*/ 925 w 1726"/>
              <a:gd name="T31" fmla="*/ 150 h 1826"/>
              <a:gd name="T32" fmla="*/ 675 w 1726"/>
              <a:gd name="T33" fmla="*/ 75 h 1826"/>
              <a:gd name="T34" fmla="*/ 575 w 1726"/>
              <a:gd name="T35" fmla="*/ 200 h 1826"/>
              <a:gd name="T36" fmla="*/ 525 w 1726"/>
              <a:gd name="T37" fmla="*/ 400 h 1826"/>
              <a:gd name="T38" fmla="*/ 375 w 1726"/>
              <a:gd name="T39" fmla="*/ 700 h 1826"/>
              <a:gd name="T40" fmla="*/ 324 w 1726"/>
              <a:gd name="T41" fmla="*/ 924 h 1826"/>
              <a:gd name="T42" fmla="*/ 224 w 1726"/>
              <a:gd name="T43" fmla="*/ 975 h 1826"/>
              <a:gd name="T44" fmla="*/ 75 w 1726"/>
              <a:gd name="T45" fmla="*/ 975 h 1826"/>
              <a:gd name="T46" fmla="*/ 24 w 1726"/>
              <a:gd name="T47" fmla="*/ 1125 h 1826"/>
              <a:gd name="T48" fmla="*/ 75 w 1726"/>
              <a:gd name="T49" fmla="*/ 1100 h 1826"/>
              <a:gd name="T50" fmla="*/ 400 w 1726"/>
              <a:gd name="T51" fmla="*/ 1175 h 1826"/>
              <a:gd name="T52" fmla="*/ 525 w 1726"/>
              <a:gd name="T53" fmla="*/ 1325 h 1826"/>
              <a:gd name="T54" fmla="*/ 675 w 1726"/>
              <a:gd name="T55" fmla="*/ 1225 h 1826"/>
              <a:gd name="T56" fmla="*/ 800 w 1726"/>
              <a:gd name="T57" fmla="*/ 1225 h 1826"/>
              <a:gd name="T58" fmla="*/ 875 w 1726"/>
              <a:gd name="T59" fmla="*/ 1325 h 1826"/>
              <a:gd name="T60" fmla="*/ 900 w 1726"/>
              <a:gd name="T61" fmla="*/ 1525 h 1826"/>
              <a:gd name="T62" fmla="*/ 949 w 1726"/>
              <a:gd name="T63" fmla="*/ 1575 h 1826"/>
              <a:gd name="T64" fmla="*/ 1049 w 1726"/>
              <a:gd name="T65" fmla="*/ 1575 h 1826"/>
              <a:gd name="T66" fmla="*/ 1100 w 1726"/>
              <a:gd name="T67" fmla="*/ 1625 h 1826"/>
              <a:gd name="T68" fmla="*/ 1200 w 1726"/>
              <a:gd name="T69" fmla="*/ 1650 h 1826"/>
              <a:gd name="T70" fmla="*/ 1325 w 1726"/>
              <a:gd name="T71" fmla="*/ 1675 h 1826"/>
              <a:gd name="T72" fmla="*/ 1400 w 1726"/>
              <a:gd name="T73" fmla="*/ 1700 h 1826"/>
              <a:gd name="T74" fmla="*/ 1500 w 1726"/>
              <a:gd name="T75" fmla="*/ 1800 h 1826"/>
              <a:gd name="T76" fmla="*/ 1600 w 1726"/>
              <a:gd name="T77" fmla="*/ 1775 h 1826"/>
              <a:gd name="T78" fmla="*/ 1525 w 1726"/>
              <a:gd name="T79" fmla="*/ 1725 h 1826"/>
              <a:gd name="T80" fmla="*/ 1474 w 1726"/>
              <a:gd name="T81" fmla="*/ 1550 h 1826"/>
              <a:gd name="T82" fmla="*/ 1500 w 1726"/>
              <a:gd name="T83" fmla="*/ 1400 h 1826"/>
              <a:gd name="T84" fmla="*/ 1625 w 1726"/>
              <a:gd name="T85" fmla="*/ 1325 h 1826"/>
              <a:gd name="T86" fmla="*/ 1650 w 1726"/>
              <a:gd name="T87" fmla="*/ 1300 h 1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6" h="1826">
                <a:moveTo>
                  <a:pt x="1575" y="1200"/>
                </a:moveTo>
                <a:lnTo>
                  <a:pt x="1575" y="1200"/>
                </a:lnTo>
                <a:cubicBezTo>
                  <a:pt x="1525" y="1175"/>
                  <a:pt x="1500" y="875"/>
                  <a:pt x="1525" y="849"/>
                </a:cubicBezTo>
                <a:cubicBezTo>
                  <a:pt x="1525" y="849"/>
                  <a:pt x="1550" y="849"/>
                  <a:pt x="1550" y="875"/>
                </a:cubicBezTo>
                <a:cubicBezTo>
                  <a:pt x="1525" y="800"/>
                  <a:pt x="1525" y="800"/>
                  <a:pt x="1525" y="800"/>
                </a:cubicBezTo>
                <a:lnTo>
                  <a:pt x="1525" y="800"/>
                </a:lnTo>
                <a:lnTo>
                  <a:pt x="1500" y="775"/>
                </a:lnTo>
                <a:cubicBezTo>
                  <a:pt x="1500" y="750"/>
                  <a:pt x="1525" y="750"/>
                  <a:pt x="1525" y="750"/>
                </a:cubicBezTo>
                <a:cubicBezTo>
                  <a:pt x="1525" y="750"/>
                  <a:pt x="1525" y="700"/>
                  <a:pt x="1550" y="675"/>
                </a:cubicBezTo>
                <a:cubicBezTo>
                  <a:pt x="1550" y="675"/>
                  <a:pt x="1550" y="675"/>
                  <a:pt x="1575" y="675"/>
                </a:cubicBezTo>
                <a:cubicBezTo>
                  <a:pt x="1575" y="650"/>
                  <a:pt x="1575" y="624"/>
                  <a:pt x="1575" y="600"/>
                </a:cubicBezTo>
                <a:cubicBezTo>
                  <a:pt x="1575" y="575"/>
                  <a:pt x="1575" y="550"/>
                  <a:pt x="1600" y="524"/>
                </a:cubicBezTo>
                <a:cubicBezTo>
                  <a:pt x="1600" y="500"/>
                  <a:pt x="1600" y="475"/>
                  <a:pt x="1625" y="450"/>
                </a:cubicBezTo>
                <a:cubicBezTo>
                  <a:pt x="1625" y="450"/>
                  <a:pt x="1625" y="400"/>
                  <a:pt x="1650" y="400"/>
                </a:cubicBezTo>
                <a:cubicBezTo>
                  <a:pt x="1674" y="400"/>
                  <a:pt x="1700" y="400"/>
                  <a:pt x="1700" y="375"/>
                </a:cubicBezTo>
                <a:cubicBezTo>
                  <a:pt x="1700" y="375"/>
                  <a:pt x="1725" y="350"/>
                  <a:pt x="1725" y="324"/>
                </a:cubicBezTo>
                <a:cubicBezTo>
                  <a:pt x="1725" y="300"/>
                  <a:pt x="1700" y="300"/>
                  <a:pt x="1700" y="275"/>
                </a:cubicBezTo>
                <a:cubicBezTo>
                  <a:pt x="1700" y="250"/>
                  <a:pt x="1700" y="200"/>
                  <a:pt x="1700" y="200"/>
                </a:cubicBezTo>
                <a:lnTo>
                  <a:pt x="1700" y="200"/>
                </a:lnTo>
                <a:cubicBezTo>
                  <a:pt x="1650" y="150"/>
                  <a:pt x="1600" y="124"/>
                  <a:pt x="1600" y="100"/>
                </a:cubicBezTo>
                <a:cubicBezTo>
                  <a:pt x="1575" y="100"/>
                  <a:pt x="1550" y="124"/>
                  <a:pt x="1550" y="124"/>
                </a:cubicBezTo>
                <a:cubicBezTo>
                  <a:pt x="1550" y="124"/>
                  <a:pt x="1525" y="100"/>
                  <a:pt x="1500" y="124"/>
                </a:cubicBezTo>
                <a:cubicBezTo>
                  <a:pt x="1474" y="124"/>
                  <a:pt x="1425" y="124"/>
                  <a:pt x="1425" y="124"/>
                </a:cubicBezTo>
                <a:cubicBezTo>
                  <a:pt x="1425" y="124"/>
                  <a:pt x="1400" y="100"/>
                  <a:pt x="1400" y="75"/>
                </a:cubicBezTo>
                <a:cubicBezTo>
                  <a:pt x="1400" y="50"/>
                  <a:pt x="1375" y="50"/>
                  <a:pt x="1375" y="50"/>
                </a:cubicBezTo>
                <a:lnTo>
                  <a:pt x="1375" y="50"/>
                </a:lnTo>
                <a:cubicBezTo>
                  <a:pt x="1300" y="50"/>
                  <a:pt x="1300" y="50"/>
                  <a:pt x="1300" y="50"/>
                </a:cubicBezTo>
                <a:cubicBezTo>
                  <a:pt x="1300" y="50"/>
                  <a:pt x="1225" y="0"/>
                  <a:pt x="1200" y="50"/>
                </a:cubicBezTo>
                <a:cubicBezTo>
                  <a:pt x="1175" y="75"/>
                  <a:pt x="1149" y="50"/>
                  <a:pt x="1125" y="50"/>
                </a:cubicBezTo>
                <a:cubicBezTo>
                  <a:pt x="1075" y="50"/>
                  <a:pt x="1049" y="75"/>
                  <a:pt x="1025" y="75"/>
                </a:cubicBezTo>
                <a:cubicBezTo>
                  <a:pt x="1000" y="100"/>
                  <a:pt x="975" y="75"/>
                  <a:pt x="949" y="75"/>
                </a:cubicBezTo>
                <a:cubicBezTo>
                  <a:pt x="925" y="100"/>
                  <a:pt x="925" y="150"/>
                  <a:pt x="925" y="150"/>
                </a:cubicBezTo>
                <a:cubicBezTo>
                  <a:pt x="749" y="124"/>
                  <a:pt x="749" y="124"/>
                  <a:pt x="749" y="124"/>
                </a:cubicBezTo>
                <a:cubicBezTo>
                  <a:pt x="749" y="124"/>
                  <a:pt x="700" y="75"/>
                  <a:pt x="675" y="75"/>
                </a:cubicBezTo>
                <a:cubicBezTo>
                  <a:pt x="625" y="75"/>
                  <a:pt x="575" y="150"/>
                  <a:pt x="575" y="150"/>
                </a:cubicBezTo>
                <a:cubicBezTo>
                  <a:pt x="575" y="200"/>
                  <a:pt x="575" y="200"/>
                  <a:pt x="575" y="200"/>
                </a:cubicBezTo>
                <a:cubicBezTo>
                  <a:pt x="575" y="250"/>
                  <a:pt x="549" y="275"/>
                  <a:pt x="549" y="300"/>
                </a:cubicBezTo>
                <a:cubicBezTo>
                  <a:pt x="525" y="324"/>
                  <a:pt x="525" y="350"/>
                  <a:pt x="525" y="400"/>
                </a:cubicBezTo>
                <a:cubicBezTo>
                  <a:pt x="525" y="450"/>
                  <a:pt x="449" y="550"/>
                  <a:pt x="449" y="600"/>
                </a:cubicBezTo>
                <a:cubicBezTo>
                  <a:pt x="449" y="650"/>
                  <a:pt x="375" y="675"/>
                  <a:pt x="375" y="700"/>
                </a:cubicBezTo>
                <a:cubicBezTo>
                  <a:pt x="375" y="724"/>
                  <a:pt x="349" y="800"/>
                  <a:pt x="349" y="849"/>
                </a:cubicBezTo>
                <a:cubicBezTo>
                  <a:pt x="349" y="924"/>
                  <a:pt x="324" y="875"/>
                  <a:pt x="324" y="924"/>
                </a:cubicBezTo>
                <a:cubicBezTo>
                  <a:pt x="324" y="975"/>
                  <a:pt x="300" y="950"/>
                  <a:pt x="275" y="975"/>
                </a:cubicBezTo>
                <a:cubicBezTo>
                  <a:pt x="224" y="1000"/>
                  <a:pt x="224" y="1024"/>
                  <a:pt x="224" y="975"/>
                </a:cubicBezTo>
                <a:cubicBezTo>
                  <a:pt x="224" y="950"/>
                  <a:pt x="174" y="950"/>
                  <a:pt x="149" y="975"/>
                </a:cubicBezTo>
                <a:cubicBezTo>
                  <a:pt x="124" y="1000"/>
                  <a:pt x="100" y="975"/>
                  <a:pt x="75" y="975"/>
                </a:cubicBezTo>
                <a:cubicBezTo>
                  <a:pt x="75" y="975"/>
                  <a:pt x="24" y="1000"/>
                  <a:pt x="0" y="1024"/>
                </a:cubicBezTo>
                <a:cubicBezTo>
                  <a:pt x="24" y="1050"/>
                  <a:pt x="24" y="1100"/>
                  <a:pt x="24" y="1125"/>
                </a:cubicBezTo>
                <a:lnTo>
                  <a:pt x="24" y="1125"/>
                </a:lnTo>
                <a:cubicBezTo>
                  <a:pt x="49" y="1125"/>
                  <a:pt x="75" y="1100"/>
                  <a:pt x="75" y="1100"/>
                </a:cubicBezTo>
                <a:cubicBezTo>
                  <a:pt x="124" y="1100"/>
                  <a:pt x="400" y="1100"/>
                  <a:pt x="400" y="1100"/>
                </a:cubicBezTo>
                <a:cubicBezTo>
                  <a:pt x="400" y="1100"/>
                  <a:pt x="425" y="1150"/>
                  <a:pt x="400" y="1175"/>
                </a:cubicBezTo>
                <a:cubicBezTo>
                  <a:pt x="400" y="1225"/>
                  <a:pt x="425" y="1200"/>
                  <a:pt x="449" y="1250"/>
                </a:cubicBezTo>
                <a:cubicBezTo>
                  <a:pt x="475" y="1300"/>
                  <a:pt x="475" y="1325"/>
                  <a:pt x="525" y="1325"/>
                </a:cubicBezTo>
                <a:cubicBezTo>
                  <a:pt x="575" y="1300"/>
                  <a:pt x="625" y="1300"/>
                  <a:pt x="625" y="1300"/>
                </a:cubicBezTo>
                <a:cubicBezTo>
                  <a:pt x="649" y="1300"/>
                  <a:pt x="649" y="1225"/>
                  <a:pt x="675" y="1225"/>
                </a:cubicBezTo>
                <a:cubicBezTo>
                  <a:pt x="700" y="1200"/>
                  <a:pt x="749" y="1225"/>
                  <a:pt x="749" y="1225"/>
                </a:cubicBezTo>
                <a:cubicBezTo>
                  <a:pt x="749" y="1225"/>
                  <a:pt x="749" y="1225"/>
                  <a:pt x="800" y="1225"/>
                </a:cubicBezTo>
                <a:cubicBezTo>
                  <a:pt x="825" y="1225"/>
                  <a:pt x="849" y="1225"/>
                  <a:pt x="849" y="1250"/>
                </a:cubicBezTo>
                <a:cubicBezTo>
                  <a:pt x="849" y="1275"/>
                  <a:pt x="849" y="1300"/>
                  <a:pt x="875" y="1325"/>
                </a:cubicBezTo>
                <a:cubicBezTo>
                  <a:pt x="875" y="1325"/>
                  <a:pt x="825" y="1450"/>
                  <a:pt x="849" y="1450"/>
                </a:cubicBezTo>
                <a:cubicBezTo>
                  <a:pt x="875" y="1475"/>
                  <a:pt x="900" y="1500"/>
                  <a:pt x="900" y="1525"/>
                </a:cubicBezTo>
                <a:cubicBezTo>
                  <a:pt x="900" y="1550"/>
                  <a:pt x="875" y="1600"/>
                  <a:pt x="900" y="1600"/>
                </a:cubicBezTo>
                <a:cubicBezTo>
                  <a:pt x="925" y="1600"/>
                  <a:pt x="925" y="1575"/>
                  <a:pt x="949" y="1575"/>
                </a:cubicBezTo>
                <a:cubicBezTo>
                  <a:pt x="975" y="1575"/>
                  <a:pt x="1000" y="1575"/>
                  <a:pt x="1025" y="1575"/>
                </a:cubicBezTo>
                <a:cubicBezTo>
                  <a:pt x="1049" y="1575"/>
                  <a:pt x="1049" y="1575"/>
                  <a:pt x="1049" y="1575"/>
                </a:cubicBezTo>
                <a:cubicBezTo>
                  <a:pt x="1075" y="1575"/>
                  <a:pt x="1075" y="1600"/>
                  <a:pt x="1075" y="1600"/>
                </a:cubicBezTo>
                <a:lnTo>
                  <a:pt x="1100" y="1625"/>
                </a:lnTo>
                <a:cubicBezTo>
                  <a:pt x="1125" y="1600"/>
                  <a:pt x="1175" y="1600"/>
                  <a:pt x="1175" y="1625"/>
                </a:cubicBezTo>
                <a:cubicBezTo>
                  <a:pt x="1175" y="1625"/>
                  <a:pt x="1175" y="1675"/>
                  <a:pt x="1200" y="1650"/>
                </a:cubicBezTo>
                <a:cubicBezTo>
                  <a:pt x="1225" y="1650"/>
                  <a:pt x="1250" y="1675"/>
                  <a:pt x="1275" y="1675"/>
                </a:cubicBezTo>
                <a:cubicBezTo>
                  <a:pt x="1300" y="1675"/>
                  <a:pt x="1325" y="1675"/>
                  <a:pt x="1325" y="1675"/>
                </a:cubicBezTo>
                <a:cubicBezTo>
                  <a:pt x="1325" y="1650"/>
                  <a:pt x="1350" y="1650"/>
                  <a:pt x="1350" y="1650"/>
                </a:cubicBezTo>
                <a:cubicBezTo>
                  <a:pt x="1350" y="1675"/>
                  <a:pt x="1375" y="1700"/>
                  <a:pt x="1400" y="1700"/>
                </a:cubicBezTo>
                <a:cubicBezTo>
                  <a:pt x="1425" y="1700"/>
                  <a:pt x="1474" y="1700"/>
                  <a:pt x="1474" y="1725"/>
                </a:cubicBezTo>
                <a:cubicBezTo>
                  <a:pt x="1474" y="1750"/>
                  <a:pt x="1500" y="1800"/>
                  <a:pt x="1500" y="1800"/>
                </a:cubicBezTo>
                <a:cubicBezTo>
                  <a:pt x="1525" y="1825"/>
                  <a:pt x="1575" y="1800"/>
                  <a:pt x="1575" y="1800"/>
                </a:cubicBezTo>
                <a:cubicBezTo>
                  <a:pt x="1575" y="1800"/>
                  <a:pt x="1600" y="1800"/>
                  <a:pt x="1600" y="1775"/>
                </a:cubicBezTo>
                <a:cubicBezTo>
                  <a:pt x="1600" y="1725"/>
                  <a:pt x="1600" y="1700"/>
                  <a:pt x="1575" y="1700"/>
                </a:cubicBezTo>
                <a:cubicBezTo>
                  <a:pt x="1575" y="1700"/>
                  <a:pt x="1550" y="1725"/>
                  <a:pt x="1525" y="1725"/>
                </a:cubicBezTo>
                <a:cubicBezTo>
                  <a:pt x="1500" y="1700"/>
                  <a:pt x="1474" y="1650"/>
                  <a:pt x="1450" y="1650"/>
                </a:cubicBezTo>
                <a:cubicBezTo>
                  <a:pt x="1450" y="1625"/>
                  <a:pt x="1474" y="1575"/>
                  <a:pt x="1474" y="1550"/>
                </a:cubicBezTo>
                <a:cubicBezTo>
                  <a:pt x="1474" y="1525"/>
                  <a:pt x="1500" y="1450"/>
                  <a:pt x="1474" y="1450"/>
                </a:cubicBezTo>
                <a:cubicBezTo>
                  <a:pt x="1474" y="1450"/>
                  <a:pt x="1474" y="1425"/>
                  <a:pt x="1500" y="1400"/>
                </a:cubicBezTo>
                <a:cubicBezTo>
                  <a:pt x="1525" y="1375"/>
                  <a:pt x="1474" y="1350"/>
                  <a:pt x="1525" y="1350"/>
                </a:cubicBezTo>
                <a:cubicBezTo>
                  <a:pt x="1550" y="1350"/>
                  <a:pt x="1625" y="1350"/>
                  <a:pt x="1625" y="1325"/>
                </a:cubicBezTo>
                <a:lnTo>
                  <a:pt x="1625" y="1325"/>
                </a:lnTo>
                <a:cubicBezTo>
                  <a:pt x="1650" y="1300"/>
                  <a:pt x="1650" y="1300"/>
                  <a:pt x="1650" y="1300"/>
                </a:cubicBezTo>
                <a:cubicBezTo>
                  <a:pt x="1625" y="1275"/>
                  <a:pt x="1600" y="1225"/>
                  <a:pt x="1575" y="1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4" name="Freeform 160">
            <a:extLst>
              <a:ext uri="{FF2B5EF4-FFF2-40B4-BE49-F238E27FC236}">
                <a16:creationId xmlns:a16="http://schemas.microsoft.com/office/drawing/2014/main" id="{BEF138C2-EA22-8B42-96CB-E9888BF5CD89}"/>
              </a:ext>
            </a:extLst>
          </p:cNvPr>
          <p:cNvSpPr>
            <a:spLocks noChangeArrowheads="1"/>
          </p:cNvSpPr>
          <p:nvPr/>
        </p:nvSpPr>
        <p:spPr bwMode="auto">
          <a:xfrm>
            <a:off x="6619123" y="4908034"/>
            <a:ext cx="47812" cy="64687"/>
          </a:xfrm>
          <a:custGeom>
            <a:avLst/>
            <a:gdLst>
              <a:gd name="T0" fmla="*/ 25 w 150"/>
              <a:gd name="T1" fmla="*/ 100 h 201"/>
              <a:gd name="T2" fmla="*/ 25 w 150"/>
              <a:gd name="T3" fmla="*/ 100 h 201"/>
              <a:gd name="T4" fmla="*/ 50 w 150"/>
              <a:gd name="T5" fmla="*/ 200 h 201"/>
              <a:gd name="T6" fmla="*/ 75 w 150"/>
              <a:gd name="T7" fmla="*/ 175 h 201"/>
              <a:gd name="T8" fmla="*/ 149 w 150"/>
              <a:gd name="T9" fmla="*/ 49 h 201"/>
              <a:gd name="T10" fmla="*/ 125 w 150"/>
              <a:gd name="T11" fmla="*/ 49 h 201"/>
              <a:gd name="T12" fmla="*/ 125 w 150"/>
              <a:gd name="T13" fmla="*/ 0 h 201"/>
              <a:gd name="T14" fmla="*/ 75 w 150"/>
              <a:gd name="T15" fmla="*/ 0 h 201"/>
              <a:gd name="T16" fmla="*/ 25 w 150"/>
              <a:gd name="T17" fmla="*/ 25 h 201"/>
              <a:gd name="T18" fmla="*/ 0 w 150"/>
              <a:gd name="T19" fmla="*/ 25 h 201"/>
              <a:gd name="T20" fmla="*/ 0 w 150"/>
              <a:gd name="T21" fmla="*/ 25 h 201"/>
              <a:gd name="T22" fmla="*/ 25 w 150"/>
              <a:gd name="T23" fmla="*/ 1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201">
                <a:moveTo>
                  <a:pt x="25" y="100"/>
                </a:moveTo>
                <a:lnTo>
                  <a:pt x="25" y="100"/>
                </a:lnTo>
                <a:cubicBezTo>
                  <a:pt x="25" y="100"/>
                  <a:pt x="25" y="149"/>
                  <a:pt x="50" y="200"/>
                </a:cubicBezTo>
                <a:cubicBezTo>
                  <a:pt x="50" y="175"/>
                  <a:pt x="75" y="175"/>
                  <a:pt x="75" y="175"/>
                </a:cubicBezTo>
                <a:cubicBezTo>
                  <a:pt x="100" y="149"/>
                  <a:pt x="149" y="49"/>
                  <a:pt x="149" y="49"/>
                </a:cubicBezTo>
                <a:cubicBezTo>
                  <a:pt x="125" y="49"/>
                  <a:pt x="125" y="49"/>
                  <a:pt x="125" y="49"/>
                </a:cubicBezTo>
                <a:cubicBezTo>
                  <a:pt x="125" y="49"/>
                  <a:pt x="125" y="25"/>
                  <a:pt x="125" y="0"/>
                </a:cubicBezTo>
                <a:cubicBezTo>
                  <a:pt x="100" y="0"/>
                  <a:pt x="75" y="0"/>
                  <a:pt x="75" y="0"/>
                </a:cubicBezTo>
                <a:cubicBezTo>
                  <a:pt x="75" y="0"/>
                  <a:pt x="100" y="25"/>
                  <a:pt x="25" y="25"/>
                </a:cubicBezTo>
                <a:cubicBezTo>
                  <a:pt x="25" y="25"/>
                  <a:pt x="25" y="25"/>
                  <a:pt x="0" y="25"/>
                </a:cubicBezTo>
                <a:lnTo>
                  <a:pt x="0" y="25"/>
                </a:lnTo>
                <a:lnTo>
                  <a:pt x="25" y="1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5" name="Freeform 161">
            <a:extLst>
              <a:ext uri="{FF2B5EF4-FFF2-40B4-BE49-F238E27FC236}">
                <a16:creationId xmlns:a16="http://schemas.microsoft.com/office/drawing/2014/main" id="{71DE2E1B-584B-804B-AC7C-CBCC2CEEA660}"/>
              </a:ext>
            </a:extLst>
          </p:cNvPr>
          <p:cNvSpPr>
            <a:spLocks noChangeArrowheads="1"/>
          </p:cNvSpPr>
          <p:nvPr/>
        </p:nvSpPr>
        <p:spPr bwMode="auto">
          <a:xfrm>
            <a:off x="6650060" y="5155533"/>
            <a:ext cx="319216" cy="510465"/>
          </a:xfrm>
          <a:custGeom>
            <a:avLst/>
            <a:gdLst>
              <a:gd name="T0" fmla="*/ 1000 w 1001"/>
              <a:gd name="T1" fmla="*/ 400 h 1601"/>
              <a:gd name="T2" fmla="*/ 1000 w 1001"/>
              <a:gd name="T3" fmla="*/ 400 h 1601"/>
              <a:gd name="T4" fmla="*/ 975 w 1001"/>
              <a:gd name="T5" fmla="*/ 225 h 1601"/>
              <a:gd name="T6" fmla="*/ 950 w 1001"/>
              <a:gd name="T7" fmla="*/ 0 h 1601"/>
              <a:gd name="T8" fmla="*/ 950 w 1001"/>
              <a:gd name="T9" fmla="*/ 0 h 1601"/>
              <a:gd name="T10" fmla="*/ 850 w 1001"/>
              <a:gd name="T11" fmla="*/ 50 h 1601"/>
              <a:gd name="T12" fmla="*/ 800 w 1001"/>
              <a:gd name="T13" fmla="*/ 75 h 1601"/>
              <a:gd name="T14" fmla="*/ 750 w 1001"/>
              <a:gd name="T15" fmla="*/ 50 h 1601"/>
              <a:gd name="T16" fmla="*/ 700 w 1001"/>
              <a:gd name="T17" fmla="*/ 100 h 1601"/>
              <a:gd name="T18" fmla="*/ 650 w 1001"/>
              <a:gd name="T19" fmla="*/ 100 h 1601"/>
              <a:gd name="T20" fmla="*/ 575 w 1001"/>
              <a:gd name="T21" fmla="*/ 125 h 1601"/>
              <a:gd name="T22" fmla="*/ 550 w 1001"/>
              <a:gd name="T23" fmla="*/ 75 h 1601"/>
              <a:gd name="T24" fmla="*/ 475 w 1001"/>
              <a:gd name="T25" fmla="*/ 100 h 1601"/>
              <a:gd name="T26" fmla="*/ 425 w 1001"/>
              <a:gd name="T27" fmla="*/ 100 h 1601"/>
              <a:gd name="T28" fmla="*/ 425 w 1001"/>
              <a:gd name="T29" fmla="*/ 125 h 1601"/>
              <a:gd name="T30" fmla="*/ 475 w 1001"/>
              <a:gd name="T31" fmla="*/ 325 h 1601"/>
              <a:gd name="T32" fmla="*/ 525 w 1001"/>
              <a:gd name="T33" fmla="*/ 375 h 1601"/>
              <a:gd name="T34" fmla="*/ 525 w 1001"/>
              <a:gd name="T35" fmla="*/ 475 h 1601"/>
              <a:gd name="T36" fmla="*/ 475 w 1001"/>
              <a:gd name="T37" fmla="*/ 525 h 1601"/>
              <a:gd name="T38" fmla="*/ 475 w 1001"/>
              <a:gd name="T39" fmla="*/ 625 h 1601"/>
              <a:gd name="T40" fmla="*/ 375 w 1001"/>
              <a:gd name="T41" fmla="*/ 500 h 1601"/>
              <a:gd name="T42" fmla="*/ 400 w 1001"/>
              <a:gd name="T43" fmla="*/ 375 h 1601"/>
              <a:gd name="T44" fmla="*/ 325 w 1001"/>
              <a:gd name="T45" fmla="*/ 375 h 1601"/>
              <a:gd name="T46" fmla="*/ 250 w 1001"/>
              <a:gd name="T47" fmla="*/ 325 h 1601"/>
              <a:gd name="T48" fmla="*/ 0 w 1001"/>
              <a:gd name="T49" fmla="*/ 425 h 1601"/>
              <a:gd name="T50" fmla="*/ 25 w 1001"/>
              <a:gd name="T51" fmla="*/ 500 h 1601"/>
              <a:gd name="T52" fmla="*/ 25 w 1001"/>
              <a:gd name="T53" fmla="*/ 500 h 1601"/>
              <a:gd name="T54" fmla="*/ 25 w 1001"/>
              <a:gd name="T55" fmla="*/ 525 h 1601"/>
              <a:gd name="T56" fmla="*/ 150 w 1001"/>
              <a:gd name="T57" fmla="*/ 550 h 1601"/>
              <a:gd name="T58" fmla="*/ 250 w 1001"/>
              <a:gd name="T59" fmla="*/ 599 h 1601"/>
              <a:gd name="T60" fmla="*/ 250 w 1001"/>
              <a:gd name="T61" fmla="*/ 725 h 1601"/>
              <a:gd name="T62" fmla="*/ 225 w 1001"/>
              <a:gd name="T63" fmla="*/ 825 h 1601"/>
              <a:gd name="T64" fmla="*/ 275 w 1001"/>
              <a:gd name="T65" fmla="*/ 900 h 1601"/>
              <a:gd name="T66" fmla="*/ 225 w 1001"/>
              <a:gd name="T67" fmla="*/ 950 h 1601"/>
              <a:gd name="T68" fmla="*/ 200 w 1001"/>
              <a:gd name="T69" fmla="*/ 1050 h 1601"/>
              <a:gd name="T70" fmla="*/ 100 w 1001"/>
              <a:gd name="T71" fmla="*/ 1150 h 1601"/>
              <a:gd name="T72" fmla="*/ 100 w 1001"/>
              <a:gd name="T73" fmla="*/ 1150 h 1601"/>
              <a:gd name="T74" fmla="*/ 150 w 1001"/>
              <a:gd name="T75" fmla="*/ 1325 h 1601"/>
              <a:gd name="T76" fmla="*/ 175 w 1001"/>
              <a:gd name="T77" fmla="*/ 1500 h 1601"/>
              <a:gd name="T78" fmla="*/ 175 w 1001"/>
              <a:gd name="T79" fmla="*/ 1600 h 1601"/>
              <a:gd name="T80" fmla="*/ 250 w 1001"/>
              <a:gd name="T81" fmla="*/ 1600 h 1601"/>
              <a:gd name="T82" fmla="*/ 250 w 1001"/>
              <a:gd name="T83" fmla="*/ 1550 h 1601"/>
              <a:gd name="T84" fmla="*/ 225 w 1001"/>
              <a:gd name="T85" fmla="*/ 1525 h 1601"/>
              <a:gd name="T86" fmla="*/ 350 w 1001"/>
              <a:gd name="T87" fmla="*/ 1400 h 1601"/>
              <a:gd name="T88" fmla="*/ 475 w 1001"/>
              <a:gd name="T89" fmla="*/ 1325 h 1601"/>
              <a:gd name="T90" fmla="*/ 500 w 1001"/>
              <a:gd name="T91" fmla="*/ 1200 h 1601"/>
              <a:gd name="T92" fmla="*/ 475 w 1001"/>
              <a:gd name="T93" fmla="*/ 1075 h 1601"/>
              <a:gd name="T94" fmla="*/ 425 w 1001"/>
              <a:gd name="T95" fmla="*/ 950 h 1601"/>
              <a:gd name="T96" fmla="*/ 450 w 1001"/>
              <a:gd name="T97" fmla="*/ 900 h 1601"/>
              <a:gd name="T98" fmla="*/ 475 w 1001"/>
              <a:gd name="T99" fmla="*/ 850 h 1601"/>
              <a:gd name="T100" fmla="*/ 575 w 1001"/>
              <a:gd name="T101" fmla="*/ 800 h 1601"/>
              <a:gd name="T102" fmla="*/ 650 w 1001"/>
              <a:gd name="T103" fmla="*/ 675 h 1601"/>
              <a:gd name="T104" fmla="*/ 850 w 1001"/>
              <a:gd name="T105" fmla="*/ 599 h 1601"/>
              <a:gd name="T106" fmla="*/ 1000 w 1001"/>
              <a:gd name="T107" fmla="*/ 400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1" h="1601">
                <a:moveTo>
                  <a:pt x="1000" y="400"/>
                </a:moveTo>
                <a:lnTo>
                  <a:pt x="1000" y="400"/>
                </a:lnTo>
                <a:cubicBezTo>
                  <a:pt x="975" y="375"/>
                  <a:pt x="975" y="275"/>
                  <a:pt x="975" y="225"/>
                </a:cubicBezTo>
                <a:cubicBezTo>
                  <a:pt x="975" y="175"/>
                  <a:pt x="950" y="50"/>
                  <a:pt x="950" y="0"/>
                </a:cubicBezTo>
                <a:lnTo>
                  <a:pt x="950" y="0"/>
                </a:lnTo>
                <a:cubicBezTo>
                  <a:pt x="925" y="25"/>
                  <a:pt x="875" y="25"/>
                  <a:pt x="850" y="50"/>
                </a:cubicBezTo>
                <a:cubicBezTo>
                  <a:pt x="850" y="75"/>
                  <a:pt x="825" y="50"/>
                  <a:pt x="800" y="75"/>
                </a:cubicBezTo>
                <a:cubicBezTo>
                  <a:pt x="775" y="75"/>
                  <a:pt x="750" y="75"/>
                  <a:pt x="750" y="50"/>
                </a:cubicBezTo>
                <a:cubicBezTo>
                  <a:pt x="725" y="50"/>
                  <a:pt x="700" y="75"/>
                  <a:pt x="700" y="100"/>
                </a:cubicBezTo>
                <a:cubicBezTo>
                  <a:pt x="700" y="125"/>
                  <a:pt x="675" y="100"/>
                  <a:pt x="650" y="100"/>
                </a:cubicBezTo>
                <a:cubicBezTo>
                  <a:pt x="650" y="100"/>
                  <a:pt x="600" y="125"/>
                  <a:pt x="575" y="125"/>
                </a:cubicBezTo>
                <a:cubicBezTo>
                  <a:pt x="550" y="125"/>
                  <a:pt x="575" y="100"/>
                  <a:pt x="550" y="75"/>
                </a:cubicBezTo>
                <a:cubicBezTo>
                  <a:pt x="525" y="75"/>
                  <a:pt x="500" y="100"/>
                  <a:pt x="475" y="100"/>
                </a:cubicBezTo>
                <a:cubicBezTo>
                  <a:pt x="475" y="100"/>
                  <a:pt x="450" y="100"/>
                  <a:pt x="425" y="100"/>
                </a:cubicBezTo>
                <a:lnTo>
                  <a:pt x="425" y="125"/>
                </a:lnTo>
                <a:cubicBezTo>
                  <a:pt x="400" y="175"/>
                  <a:pt x="475" y="275"/>
                  <a:pt x="475" y="325"/>
                </a:cubicBezTo>
                <a:cubicBezTo>
                  <a:pt x="500" y="350"/>
                  <a:pt x="525" y="350"/>
                  <a:pt x="525" y="375"/>
                </a:cubicBezTo>
                <a:cubicBezTo>
                  <a:pt x="550" y="400"/>
                  <a:pt x="525" y="400"/>
                  <a:pt x="525" y="475"/>
                </a:cubicBezTo>
                <a:cubicBezTo>
                  <a:pt x="525" y="550"/>
                  <a:pt x="500" y="500"/>
                  <a:pt x="475" y="525"/>
                </a:cubicBezTo>
                <a:cubicBezTo>
                  <a:pt x="450" y="550"/>
                  <a:pt x="475" y="599"/>
                  <a:pt x="475" y="625"/>
                </a:cubicBezTo>
                <a:cubicBezTo>
                  <a:pt x="450" y="625"/>
                  <a:pt x="375" y="525"/>
                  <a:pt x="375" y="500"/>
                </a:cubicBezTo>
                <a:cubicBezTo>
                  <a:pt x="375" y="500"/>
                  <a:pt x="400" y="425"/>
                  <a:pt x="400" y="375"/>
                </a:cubicBezTo>
                <a:cubicBezTo>
                  <a:pt x="400" y="350"/>
                  <a:pt x="350" y="375"/>
                  <a:pt x="325" y="375"/>
                </a:cubicBezTo>
                <a:cubicBezTo>
                  <a:pt x="300" y="375"/>
                  <a:pt x="275" y="325"/>
                  <a:pt x="250" y="325"/>
                </a:cubicBezTo>
                <a:lnTo>
                  <a:pt x="0" y="425"/>
                </a:lnTo>
                <a:cubicBezTo>
                  <a:pt x="25" y="500"/>
                  <a:pt x="25" y="500"/>
                  <a:pt x="25" y="500"/>
                </a:cubicBezTo>
                <a:lnTo>
                  <a:pt x="25" y="500"/>
                </a:lnTo>
                <a:cubicBezTo>
                  <a:pt x="25" y="525"/>
                  <a:pt x="25" y="525"/>
                  <a:pt x="25" y="525"/>
                </a:cubicBezTo>
                <a:cubicBezTo>
                  <a:pt x="25" y="525"/>
                  <a:pt x="100" y="525"/>
                  <a:pt x="150" y="550"/>
                </a:cubicBezTo>
                <a:cubicBezTo>
                  <a:pt x="175" y="575"/>
                  <a:pt x="250" y="575"/>
                  <a:pt x="250" y="599"/>
                </a:cubicBezTo>
                <a:cubicBezTo>
                  <a:pt x="275" y="599"/>
                  <a:pt x="250" y="699"/>
                  <a:pt x="250" y="725"/>
                </a:cubicBezTo>
                <a:cubicBezTo>
                  <a:pt x="275" y="775"/>
                  <a:pt x="200" y="800"/>
                  <a:pt x="225" y="825"/>
                </a:cubicBezTo>
                <a:cubicBezTo>
                  <a:pt x="250" y="850"/>
                  <a:pt x="250" y="875"/>
                  <a:pt x="275" y="900"/>
                </a:cubicBezTo>
                <a:lnTo>
                  <a:pt x="225" y="950"/>
                </a:lnTo>
                <a:cubicBezTo>
                  <a:pt x="200" y="975"/>
                  <a:pt x="225" y="1025"/>
                  <a:pt x="200" y="1050"/>
                </a:cubicBezTo>
                <a:cubicBezTo>
                  <a:pt x="175" y="1075"/>
                  <a:pt x="125" y="1125"/>
                  <a:pt x="100" y="1150"/>
                </a:cubicBezTo>
                <a:lnTo>
                  <a:pt x="100" y="1150"/>
                </a:lnTo>
                <a:cubicBezTo>
                  <a:pt x="100" y="1175"/>
                  <a:pt x="125" y="1300"/>
                  <a:pt x="150" y="1325"/>
                </a:cubicBezTo>
                <a:cubicBezTo>
                  <a:pt x="175" y="1350"/>
                  <a:pt x="175" y="1475"/>
                  <a:pt x="175" y="1500"/>
                </a:cubicBezTo>
                <a:lnTo>
                  <a:pt x="175" y="1600"/>
                </a:lnTo>
                <a:cubicBezTo>
                  <a:pt x="175" y="1600"/>
                  <a:pt x="225" y="1600"/>
                  <a:pt x="250" y="1600"/>
                </a:cubicBezTo>
                <a:cubicBezTo>
                  <a:pt x="250" y="1575"/>
                  <a:pt x="250" y="1550"/>
                  <a:pt x="250" y="1550"/>
                </a:cubicBezTo>
                <a:cubicBezTo>
                  <a:pt x="250" y="1500"/>
                  <a:pt x="225" y="1550"/>
                  <a:pt x="225" y="1525"/>
                </a:cubicBezTo>
                <a:cubicBezTo>
                  <a:pt x="200" y="1475"/>
                  <a:pt x="275" y="1425"/>
                  <a:pt x="350" y="1400"/>
                </a:cubicBezTo>
                <a:cubicBezTo>
                  <a:pt x="450" y="1375"/>
                  <a:pt x="475" y="1350"/>
                  <a:pt x="475" y="1325"/>
                </a:cubicBezTo>
                <a:cubicBezTo>
                  <a:pt x="475" y="1300"/>
                  <a:pt x="475" y="1225"/>
                  <a:pt x="500" y="1200"/>
                </a:cubicBezTo>
                <a:cubicBezTo>
                  <a:pt x="500" y="1175"/>
                  <a:pt x="475" y="1150"/>
                  <a:pt x="475" y="1075"/>
                </a:cubicBezTo>
                <a:cubicBezTo>
                  <a:pt x="450" y="1000"/>
                  <a:pt x="425" y="1000"/>
                  <a:pt x="425" y="950"/>
                </a:cubicBezTo>
                <a:cubicBezTo>
                  <a:pt x="425" y="925"/>
                  <a:pt x="425" y="900"/>
                  <a:pt x="450" y="900"/>
                </a:cubicBezTo>
                <a:cubicBezTo>
                  <a:pt x="475" y="875"/>
                  <a:pt x="475" y="875"/>
                  <a:pt x="475" y="850"/>
                </a:cubicBezTo>
                <a:cubicBezTo>
                  <a:pt x="500" y="800"/>
                  <a:pt x="525" y="825"/>
                  <a:pt x="575" y="800"/>
                </a:cubicBezTo>
                <a:cubicBezTo>
                  <a:pt x="600" y="750"/>
                  <a:pt x="600" y="725"/>
                  <a:pt x="650" y="675"/>
                </a:cubicBezTo>
                <a:cubicBezTo>
                  <a:pt x="725" y="625"/>
                  <a:pt x="775" y="625"/>
                  <a:pt x="850" y="599"/>
                </a:cubicBezTo>
                <a:cubicBezTo>
                  <a:pt x="900" y="575"/>
                  <a:pt x="1000" y="425"/>
                  <a:pt x="1000" y="4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6" name="Freeform 162">
            <a:extLst>
              <a:ext uri="{FF2B5EF4-FFF2-40B4-BE49-F238E27FC236}">
                <a16:creationId xmlns:a16="http://schemas.microsoft.com/office/drawing/2014/main" id="{246FDE99-C550-3143-80BC-DC6F643C2B81}"/>
              </a:ext>
            </a:extLst>
          </p:cNvPr>
          <p:cNvSpPr>
            <a:spLocks noChangeArrowheads="1"/>
          </p:cNvSpPr>
          <p:nvPr/>
        </p:nvSpPr>
        <p:spPr bwMode="auto">
          <a:xfrm>
            <a:off x="6634593" y="4860221"/>
            <a:ext cx="319217" cy="336091"/>
          </a:xfrm>
          <a:custGeom>
            <a:avLst/>
            <a:gdLst>
              <a:gd name="T0" fmla="*/ 950 w 1001"/>
              <a:gd name="T1" fmla="*/ 826 h 1052"/>
              <a:gd name="T2" fmla="*/ 950 w 1001"/>
              <a:gd name="T3" fmla="*/ 826 h 1052"/>
              <a:gd name="T4" fmla="*/ 900 w 1001"/>
              <a:gd name="T5" fmla="*/ 726 h 1052"/>
              <a:gd name="T6" fmla="*/ 900 w 1001"/>
              <a:gd name="T7" fmla="*/ 651 h 1052"/>
              <a:gd name="T8" fmla="*/ 925 w 1001"/>
              <a:gd name="T9" fmla="*/ 601 h 1052"/>
              <a:gd name="T10" fmla="*/ 875 w 1001"/>
              <a:gd name="T11" fmla="*/ 501 h 1052"/>
              <a:gd name="T12" fmla="*/ 900 w 1001"/>
              <a:gd name="T13" fmla="*/ 376 h 1052"/>
              <a:gd name="T14" fmla="*/ 750 w 1001"/>
              <a:gd name="T15" fmla="*/ 251 h 1052"/>
              <a:gd name="T16" fmla="*/ 750 w 1001"/>
              <a:gd name="T17" fmla="*/ 200 h 1052"/>
              <a:gd name="T18" fmla="*/ 400 w 1001"/>
              <a:gd name="T19" fmla="*/ 0 h 1052"/>
              <a:gd name="T20" fmla="*/ 350 w 1001"/>
              <a:gd name="T21" fmla="*/ 100 h 1052"/>
              <a:gd name="T22" fmla="*/ 350 w 1001"/>
              <a:gd name="T23" fmla="*/ 151 h 1052"/>
              <a:gd name="T24" fmla="*/ 200 w 1001"/>
              <a:gd name="T25" fmla="*/ 151 h 1052"/>
              <a:gd name="T26" fmla="*/ 200 w 1001"/>
              <a:gd name="T27" fmla="*/ 0 h 1052"/>
              <a:gd name="T28" fmla="*/ 125 w 1001"/>
              <a:gd name="T29" fmla="*/ 0 h 1052"/>
              <a:gd name="T30" fmla="*/ 75 w 1001"/>
              <a:gd name="T31" fmla="*/ 26 h 1052"/>
              <a:gd name="T32" fmla="*/ 99 w 1001"/>
              <a:gd name="T33" fmla="*/ 51 h 1052"/>
              <a:gd name="T34" fmla="*/ 125 w 1001"/>
              <a:gd name="T35" fmla="*/ 126 h 1052"/>
              <a:gd name="T36" fmla="*/ 75 w 1001"/>
              <a:gd name="T37" fmla="*/ 151 h 1052"/>
              <a:gd name="T38" fmla="*/ 75 w 1001"/>
              <a:gd name="T39" fmla="*/ 200 h 1052"/>
              <a:gd name="T40" fmla="*/ 99 w 1001"/>
              <a:gd name="T41" fmla="*/ 200 h 1052"/>
              <a:gd name="T42" fmla="*/ 25 w 1001"/>
              <a:gd name="T43" fmla="*/ 326 h 1052"/>
              <a:gd name="T44" fmla="*/ 0 w 1001"/>
              <a:gd name="T45" fmla="*/ 351 h 1052"/>
              <a:gd name="T46" fmla="*/ 50 w 1001"/>
              <a:gd name="T47" fmla="*/ 526 h 1052"/>
              <a:gd name="T48" fmla="*/ 99 w 1001"/>
              <a:gd name="T49" fmla="*/ 651 h 1052"/>
              <a:gd name="T50" fmla="*/ 125 w 1001"/>
              <a:gd name="T51" fmla="*/ 726 h 1052"/>
              <a:gd name="T52" fmla="*/ 75 w 1001"/>
              <a:gd name="T53" fmla="*/ 676 h 1052"/>
              <a:gd name="T54" fmla="*/ 50 w 1001"/>
              <a:gd name="T55" fmla="*/ 701 h 1052"/>
              <a:gd name="T56" fmla="*/ 50 w 1001"/>
              <a:gd name="T57" fmla="*/ 701 h 1052"/>
              <a:gd name="T58" fmla="*/ 125 w 1001"/>
              <a:gd name="T59" fmla="*/ 726 h 1052"/>
              <a:gd name="T60" fmla="*/ 200 w 1001"/>
              <a:gd name="T61" fmla="*/ 776 h 1052"/>
              <a:gd name="T62" fmla="*/ 325 w 1001"/>
              <a:gd name="T63" fmla="*/ 826 h 1052"/>
              <a:gd name="T64" fmla="*/ 350 w 1001"/>
              <a:gd name="T65" fmla="*/ 826 h 1052"/>
              <a:gd name="T66" fmla="*/ 400 w 1001"/>
              <a:gd name="T67" fmla="*/ 826 h 1052"/>
              <a:gd name="T68" fmla="*/ 425 w 1001"/>
              <a:gd name="T69" fmla="*/ 826 h 1052"/>
              <a:gd name="T70" fmla="*/ 475 w 1001"/>
              <a:gd name="T71" fmla="*/ 1026 h 1052"/>
              <a:gd name="T72" fmla="*/ 525 w 1001"/>
              <a:gd name="T73" fmla="*/ 1026 h 1052"/>
              <a:gd name="T74" fmla="*/ 600 w 1001"/>
              <a:gd name="T75" fmla="*/ 1001 h 1052"/>
              <a:gd name="T76" fmla="*/ 625 w 1001"/>
              <a:gd name="T77" fmla="*/ 1051 h 1052"/>
              <a:gd name="T78" fmla="*/ 700 w 1001"/>
              <a:gd name="T79" fmla="*/ 1026 h 1052"/>
              <a:gd name="T80" fmla="*/ 750 w 1001"/>
              <a:gd name="T81" fmla="*/ 1026 h 1052"/>
              <a:gd name="T82" fmla="*/ 800 w 1001"/>
              <a:gd name="T83" fmla="*/ 976 h 1052"/>
              <a:gd name="T84" fmla="*/ 850 w 1001"/>
              <a:gd name="T85" fmla="*/ 1001 h 1052"/>
              <a:gd name="T86" fmla="*/ 900 w 1001"/>
              <a:gd name="T87" fmla="*/ 976 h 1052"/>
              <a:gd name="T88" fmla="*/ 1000 w 1001"/>
              <a:gd name="T89" fmla="*/ 926 h 1052"/>
              <a:gd name="T90" fmla="*/ 950 w 1001"/>
              <a:gd name="T91" fmla="*/ 82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1" h="1052">
                <a:moveTo>
                  <a:pt x="950" y="826"/>
                </a:moveTo>
                <a:lnTo>
                  <a:pt x="950" y="826"/>
                </a:lnTo>
                <a:cubicBezTo>
                  <a:pt x="950" y="776"/>
                  <a:pt x="900" y="776"/>
                  <a:pt x="900" y="726"/>
                </a:cubicBezTo>
                <a:cubicBezTo>
                  <a:pt x="900" y="701"/>
                  <a:pt x="925" y="676"/>
                  <a:pt x="900" y="651"/>
                </a:cubicBezTo>
                <a:cubicBezTo>
                  <a:pt x="875" y="651"/>
                  <a:pt x="900" y="626"/>
                  <a:pt x="925" y="601"/>
                </a:cubicBezTo>
                <a:cubicBezTo>
                  <a:pt x="950" y="551"/>
                  <a:pt x="875" y="551"/>
                  <a:pt x="875" y="501"/>
                </a:cubicBezTo>
                <a:cubicBezTo>
                  <a:pt x="875" y="501"/>
                  <a:pt x="875" y="426"/>
                  <a:pt x="900" y="376"/>
                </a:cubicBezTo>
                <a:cubicBezTo>
                  <a:pt x="825" y="300"/>
                  <a:pt x="750" y="251"/>
                  <a:pt x="750" y="251"/>
                </a:cubicBezTo>
                <a:cubicBezTo>
                  <a:pt x="750" y="200"/>
                  <a:pt x="750" y="200"/>
                  <a:pt x="750" y="200"/>
                </a:cubicBezTo>
                <a:cubicBezTo>
                  <a:pt x="400" y="0"/>
                  <a:pt x="400" y="0"/>
                  <a:pt x="400" y="0"/>
                </a:cubicBezTo>
                <a:cubicBezTo>
                  <a:pt x="400" y="51"/>
                  <a:pt x="375" y="76"/>
                  <a:pt x="350" y="100"/>
                </a:cubicBezTo>
                <a:cubicBezTo>
                  <a:pt x="325" y="100"/>
                  <a:pt x="400" y="151"/>
                  <a:pt x="350" y="151"/>
                </a:cubicBezTo>
                <a:cubicBezTo>
                  <a:pt x="325" y="151"/>
                  <a:pt x="250" y="126"/>
                  <a:pt x="200" y="151"/>
                </a:cubicBezTo>
                <a:cubicBezTo>
                  <a:pt x="175" y="151"/>
                  <a:pt x="175" y="76"/>
                  <a:pt x="200" y="0"/>
                </a:cubicBezTo>
                <a:cubicBezTo>
                  <a:pt x="125" y="0"/>
                  <a:pt x="125" y="0"/>
                  <a:pt x="125" y="0"/>
                </a:cubicBezTo>
                <a:cubicBezTo>
                  <a:pt x="125" y="0"/>
                  <a:pt x="99" y="26"/>
                  <a:pt x="75" y="26"/>
                </a:cubicBezTo>
                <a:cubicBezTo>
                  <a:pt x="99" y="51"/>
                  <a:pt x="99" y="51"/>
                  <a:pt x="99" y="51"/>
                </a:cubicBezTo>
                <a:cubicBezTo>
                  <a:pt x="99" y="51"/>
                  <a:pt x="125" y="100"/>
                  <a:pt x="125" y="126"/>
                </a:cubicBezTo>
                <a:cubicBezTo>
                  <a:pt x="125" y="126"/>
                  <a:pt x="99" y="151"/>
                  <a:pt x="75" y="151"/>
                </a:cubicBezTo>
                <a:cubicBezTo>
                  <a:pt x="75" y="176"/>
                  <a:pt x="75" y="200"/>
                  <a:pt x="75" y="200"/>
                </a:cubicBezTo>
                <a:cubicBezTo>
                  <a:pt x="99" y="200"/>
                  <a:pt x="99" y="200"/>
                  <a:pt x="99" y="200"/>
                </a:cubicBezTo>
                <a:cubicBezTo>
                  <a:pt x="99" y="200"/>
                  <a:pt x="50" y="300"/>
                  <a:pt x="25" y="326"/>
                </a:cubicBezTo>
                <a:cubicBezTo>
                  <a:pt x="25" y="326"/>
                  <a:pt x="0" y="326"/>
                  <a:pt x="0" y="351"/>
                </a:cubicBezTo>
                <a:cubicBezTo>
                  <a:pt x="0" y="400"/>
                  <a:pt x="25" y="501"/>
                  <a:pt x="50" y="526"/>
                </a:cubicBezTo>
                <a:cubicBezTo>
                  <a:pt x="99" y="576"/>
                  <a:pt x="75" y="626"/>
                  <a:pt x="99" y="651"/>
                </a:cubicBezTo>
                <a:cubicBezTo>
                  <a:pt x="99" y="676"/>
                  <a:pt x="150" y="701"/>
                  <a:pt x="125" y="726"/>
                </a:cubicBezTo>
                <a:cubicBezTo>
                  <a:pt x="99" y="726"/>
                  <a:pt x="75" y="701"/>
                  <a:pt x="75" y="676"/>
                </a:cubicBezTo>
                <a:cubicBezTo>
                  <a:pt x="75" y="676"/>
                  <a:pt x="75" y="676"/>
                  <a:pt x="50" y="701"/>
                </a:cubicBezTo>
                <a:lnTo>
                  <a:pt x="50" y="701"/>
                </a:lnTo>
                <a:cubicBezTo>
                  <a:pt x="75" y="726"/>
                  <a:pt x="125" y="726"/>
                  <a:pt x="125" y="726"/>
                </a:cubicBezTo>
                <a:cubicBezTo>
                  <a:pt x="150" y="726"/>
                  <a:pt x="200" y="776"/>
                  <a:pt x="200" y="776"/>
                </a:cubicBezTo>
                <a:cubicBezTo>
                  <a:pt x="225" y="776"/>
                  <a:pt x="325" y="801"/>
                  <a:pt x="325" y="826"/>
                </a:cubicBezTo>
                <a:cubicBezTo>
                  <a:pt x="325" y="826"/>
                  <a:pt x="325" y="826"/>
                  <a:pt x="350" y="826"/>
                </a:cubicBezTo>
                <a:cubicBezTo>
                  <a:pt x="350" y="826"/>
                  <a:pt x="375" y="826"/>
                  <a:pt x="400" y="826"/>
                </a:cubicBezTo>
                <a:cubicBezTo>
                  <a:pt x="400" y="826"/>
                  <a:pt x="400" y="826"/>
                  <a:pt x="425" y="826"/>
                </a:cubicBezTo>
                <a:cubicBezTo>
                  <a:pt x="450" y="826"/>
                  <a:pt x="475" y="951"/>
                  <a:pt x="475" y="1026"/>
                </a:cubicBezTo>
                <a:cubicBezTo>
                  <a:pt x="500" y="1026"/>
                  <a:pt x="525" y="1026"/>
                  <a:pt x="525" y="1026"/>
                </a:cubicBezTo>
                <a:cubicBezTo>
                  <a:pt x="550" y="1026"/>
                  <a:pt x="575" y="1001"/>
                  <a:pt x="600" y="1001"/>
                </a:cubicBezTo>
                <a:cubicBezTo>
                  <a:pt x="625" y="1026"/>
                  <a:pt x="600" y="1051"/>
                  <a:pt x="625" y="1051"/>
                </a:cubicBezTo>
                <a:cubicBezTo>
                  <a:pt x="650" y="1051"/>
                  <a:pt x="700" y="1026"/>
                  <a:pt x="700" y="1026"/>
                </a:cubicBezTo>
                <a:cubicBezTo>
                  <a:pt x="725" y="1026"/>
                  <a:pt x="750" y="1051"/>
                  <a:pt x="750" y="1026"/>
                </a:cubicBezTo>
                <a:cubicBezTo>
                  <a:pt x="750" y="1001"/>
                  <a:pt x="775" y="976"/>
                  <a:pt x="800" y="976"/>
                </a:cubicBezTo>
                <a:cubicBezTo>
                  <a:pt x="800" y="1001"/>
                  <a:pt x="825" y="1001"/>
                  <a:pt x="850" y="1001"/>
                </a:cubicBezTo>
                <a:cubicBezTo>
                  <a:pt x="875" y="976"/>
                  <a:pt x="900" y="1001"/>
                  <a:pt x="900" y="976"/>
                </a:cubicBezTo>
                <a:cubicBezTo>
                  <a:pt x="925" y="951"/>
                  <a:pt x="975" y="951"/>
                  <a:pt x="1000" y="926"/>
                </a:cubicBezTo>
                <a:cubicBezTo>
                  <a:pt x="1000" y="876"/>
                  <a:pt x="950" y="901"/>
                  <a:pt x="950" y="8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7" name="Freeform 163">
            <a:extLst>
              <a:ext uri="{FF2B5EF4-FFF2-40B4-BE49-F238E27FC236}">
                <a16:creationId xmlns:a16="http://schemas.microsoft.com/office/drawing/2014/main" id="{3E3B4BA5-6D86-CB45-ACAF-3435B097CBC0}"/>
              </a:ext>
            </a:extLst>
          </p:cNvPr>
          <p:cNvSpPr>
            <a:spLocks noChangeArrowheads="1"/>
          </p:cNvSpPr>
          <p:nvPr/>
        </p:nvSpPr>
        <p:spPr bwMode="auto">
          <a:xfrm>
            <a:off x="6730215" y="5123189"/>
            <a:ext cx="95624" cy="232031"/>
          </a:xfrm>
          <a:custGeom>
            <a:avLst/>
            <a:gdLst>
              <a:gd name="T0" fmla="*/ 275 w 301"/>
              <a:gd name="T1" fmla="*/ 475 h 726"/>
              <a:gd name="T2" fmla="*/ 275 w 301"/>
              <a:gd name="T3" fmla="*/ 475 h 726"/>
              <a:gd name="T4" fmla="*/ 225 w 301"/>
              <a:gd name="T5" fmla="*/ 425 h 726"/>
              <a:gd name="T6" fmla="*/ 225 w 301"/>
              <a:gd name="T7" fmla="*/ 450 h 726"/>
              <a:gd name="T8" fmla="*/ 125 w 301"/>
              <a:gd name="T9" fmla="*/ 300 h 726"/>
              <a:gd name="T10" fmla="*/ 125 w 301"/>
              <a:gd name="T11" fmla="*/ 125 h 726"/>
              <a:gd name="T12" fmla="*/ 100 w 301"/>
              <a:gd name="T13" fmla="*/ 0 h 726"/>
              <a:gd name="T14" fmla="*/ 50 w 301"/>
              <a:gd name="T15" fmla="*/ 0 h 726"/>
              <a:gd name="T16" fmla="*/ 75 w 301"/>
              <a:gd name="T17" fmla="*/ 100 h 726"/>
              <a:gd name="T18" fmla="*/ 50 w 301"/>
              <a:gd name="T19" fmla="*/ 125 h 726"/>
              <a:gd name="T20" fmla="*/ 50 w 301"/>
              <a:gd name="T21" fmla="*/ 275 h 726"/>
              <a:gd name="T22" fmla="*/ 0 w 301"/>
              <a:gd name="T23" fmla="*/ 300 h 726"/>
              <a:gd name="T24" fmla="*/ 0 w 301"/>
              <a:gd name="T25" fmla="*/ 375 h 726"/>
              <a:gd name="T26" fmla="*/ 0 w 301"/>
              <a:gd name="T27" fmla="*/ 425 h 726"/>
              <a:gd name="T28" fmla="*/ 0 w 301"/>
              <a:gd name="T29" fmla="*/ 425 h 726"/>
              <a:gd name="T30" fmla="*/ 75 w 301"/>
              <a:gd name="T31" fmla="*/ 475 h 726"/>
              <a:gd name="T32" fmla="*/ 150 w 301"/>
              <a:gd name="T33" fmla="*/ 475 h 726"/>
              <a:gd name="T34" fmla="*/ 125 w 301"/>
              <a:gd name="T35" fmla="*/ 600 h 726"/>
              <a:gd name="T36" fmla="*/ 225 w 301"/>
              <a:gd name="T37" fmla="*/ 725 h 726"/>
              <a:gd name="T38" fmla="*/ 225 w 301"/>
              <a:gd name="T39" fmla="*/ 625 h 726"/>
              <a:gd name="T40" fmla="*/ 275 w 301"/>
              <a:gd name="T41" fmla="*/ 575 h 726"/>
              <a:gd name="T42" fmla="*/ 275 w 301"/>
              <a:gd name="T43" fmla="*/ 475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1" h="726">
                <a:moveTo>
                  <a:pt x="275" y="475"/>
                </a:moveTo>
                <a:lnTo>
                  <a:pt x="275" y="475"/>
                </a:lnTo>
                <a:cubicBezTo>
                  <a:pt x="275" y="450"/>
                  <a:pt x="250" y="450"/>
                  <a:pt x="225" y="425"/>
                </a:cubicBezTo>
                <a:cubicBezTo>
                  <a:pt x="225" y="425"/>
                  <a:pt x="225" y="425"/>
                  <a:pt x="225" y="450"/>
                </a:cubicBezTo>
                <a:cubicBezTo>
                  <a:pt x="200" y="475"/>
                  <a:pt x="125" y="375"/>
                  <a:pt x="125" y="300"/>
                </a:cubicBezTo>
                <a:cubicBezTo>
                  <a:pt x="100" y="225"/>
                  <a:pt x="150" y="200"/>
                  <a:pt x="125" y="125"/>
                </a:cubicBezTo>
                <a:cubicBezTo>
                  <a:pt x="100" y="75"/>
                  <a:pt x="75" y="25"/>
                  <a:pt x="100" y="0"/>
                </a:cubicBezTo>
                <a:cubicBezTo>
                  <a:pt x="75" y="0"/>
                  <a:pt x="50" y="0"/>
                  <a:pt x="50" y="0"/>
                </a:cubicBezTo>
                <a:cubicBezTo>
                  <a:pt x="50" y="25"/>
                  <a:pt x="75" y="75"/>
                  <a:pt x="75" y="100"/>
                </a:cubicBezTo>
                <a:cubicBezTo>
                  <a:pt x="75" y="125"/>
                  <a:pt x="50" y="100"/>
                  <a:pt x="50" y="125"/>
                </a:cubicBezTo>
                <a:cubicBezTo>
                  <a:pt x="25" y="150"/>
                  <a:pt x="25" y="250"/>
                  <a:pt x="50" y="275"/>
                </a:cubicBezTo>
                <a:cubicBezTo>
                  <a:pt x="75" y="300"/>
                  <a:pt x="0" y="275"/>
                  <a:pt x="0" y="300"/>
                </a:cubicBezTo>
                <a:cubicBezTo>
                  <a:pt x="0" y="325"/>
                  <a:pt x="0" y="375"/>
                  <a:pt x="0" y="375"/>
                </a:cubicBezTo>
                <a:cubicBezTo>
                  <a:pt x="0" y="400"/>
                  <a:pt x="0" y="400"/>
                  <a:pt x="0" y="425"/>
                </a:cubicBezTo>
                <a:lnTo>
                  <a:pt x="0" y="425"/>
                </a:lnTo>
                <a:cubicBezTo>
                  <a:pt x="25" y="425"/>
                  <a:pt x="50" y="475"/>
                  <a:pt x="75" y="475"/>
                </a:cubicBezTo>
                <a:cubicBezTo>
                  <a:pt x="100" y="475"/>
                  <a:pt x="150" y="450"/>
                  <a:pt x="150" y="475"/>
                </a:cubicBezTo>
                <a:cubicBezTo>
                  <a:pt x="150" y="525"/>
                  <a:pt x="125" y="600"/>
                  <a:pt x="125" y="600"/>
                </a:cubicBezTo>
                <a:cubicBezTo>
                  <a:pt x="125" y="625"/>
                  <a:pt x="200" y="725"/>
                  <a:pt x="225" y="725"/>
                </a:cubicBezTo>
                <a:cubicBezTo>
                  <a:pt x="225" y="699"/>
                  <a:pt x="200" y="650"/>
                  <a:pt x="225" y="625"/>
                </a:cubicBezTo>
                <a:cubicBezTo>
                  <a:pt x="250" y="600"/>
                  <a:pt x="275" y="650"/>
                  <a:pt x="275" y="575"/>
                </a:cubicBezTo>
                <a:cubicBezTo>
                  <a:pt x="275" y="500"/>
                  <a:pt x="300" y="500"/>
                  <a:pt x="275" y="4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8" name="Freeform 164">
            <a:extLst>
              <a:ext uri="{FF2B5EF4-FFF2-40B4-BE49-F238E27FC236}">
                <a16:creationId xmlns:a16="http://schemas.microsoft.com/office/drawing/2014/main" id="{AF19F1DF-FB0B-E545-AE41-1F30A829FD6C}"/>
              </a:ext>
            </a:extLst>
          </p:cNvPr>
          <p:cNvSpPr>
            <a:spLocks noChangeArrowheads="1"/>
          </p:cNvSpPr>
          <p:nvPr/>
        </p:nvSpPr>
        <p:spPr bwMode="auto">
          <a:xfrm>
            <a:off x="10662065" y="5457874"/>
            <a:ext cx="95624" cy="80156"/>
          </a:xfrm>
          <a:custGeom>
            <a:avLst/>
            <a:gdLst>
              <a:gd name="T0" fmla="*/ 0 w 301"/>
              <a:gd name="T1" fmla="*/ 50 h 251"/>
              <a:gd name="T2" fmla="*/ 0 w 301"/>
              <a:gd name="T3" fmla="*/ 50 h 251"/>
              <a:gd name="T4" fmla="*/ 275 w 301"/>
              <a:gd name="T5" fmla="*/ 225 h 251"/>
              <a:gd name="T6" fmla="*/ 0 w 301"/>
              <a:gd name="T7" fmla="*/ 50 h 251"/>
            </a:gdLst>
            <a:ahLst/>
            <a:cxnLst>
              <a:cxn ang="0">
                <a:pos x="T0" y="T1"/>
              </a:cxn>
              <a:cxn ang="0">
                <a:pos x="T2" y="T3"/>
              </a:cxn>
              <a:cxn ang="0">
                <a:pos x="T4" y="T5"/>
              </a:cxn>
              <a:cxn ang="0">
                <a:pos x="T6" y="T7"/>
              </a:cxn>
            </a:cxnLst>
            <a:rect l="0" t="0" r="r" b="b"/>
            <a:pathLst>
              <a:path w="301" h="251">
                <a:moveTo>
                  <a:pt x="0" y="50"/>
                </a:moveTo>
                <a:lnTo>
                  <a:pt x="0" y="50"/>
                </a:lnTo>
                <a:cubicBezTo>
                  <a:pt x="0" y="0"/>
                  <a:pt x="300" y="200"/>
                  <a:pt x="275" y="225"/>
                </a:cubicBezTo>
                <a:cubicBezTo>
                  <a:pt x="249" y="250"/>
                  <a:pt x="0" y="75"/>
                  <a:pt x="0" y="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39" name="Freeform 165">
            <a:extLst>
              <a:ext uri="{FF2B5EF4-FFF2-40B4-BE49-F238E27FC236}">
                <a16:creationId xmlns:a16="http://schemas.microsoft.com/office/drawing/2014/main" id="{62CA2E35-2804-4143-B94B-B5368CF3BD0A}"/>
              </a:ext>
            </a:extLst>
          </p:cNvPr>
          <p:cNvSpPr>
            <a:spLocks noChangeArrowheads="1"/>
          </p:cNvSpPr>
          <p:nvPr/>
        </p:nvSpPr>
        <p:spPr bwMode="auto">
          <a:xfrm>
            <a:off x="7790522" y="3528509"/>
            <a:ext cx="232031" cy="151875"/>
          </a:xfrm>
          <a:custGeom>
            <a:avLst/>
            <a:gdLst>
              <a:gd name="T0" fmla="*/ 600 w 726"/>
              <a:gd name="T1" fmla="*/ 375 h 476"/>
              <a:gd name="T2" fmla="*/ 600 w 726"/>
              <a:gd name="T3" fmla="*/ 375 h 476"/>
              <a:gd name="T4" fmla="*/ 625 w 726"/>
              <a:gd name="T5" fmla="*/ 425 h 476"/>
              <a:gd name="T6" fmla="*/ 700 w 726"/>
              <a:gd name="T7" fmla="*/ 425 h 476"/>
              <a:gd name="T8" fmla="*/ 725 w 726"/>
              <a:gd name="T9" fmla="*/ 425 h 476"/>
              <a:gd name="T10" fmla="*/ 700 w 726"/>
              <a:gd name="T11" fmla="*/ 300 h 476"/>
              <a:gd name="T12" fmla="*/ 600 w 726"/>
              <a:gd name="T13" fmla="*/ 250 h 476"/>
              <a:gd name="T14" fmla="*/ 600 w 726"/>
              <a:gd name="T15" fmla="*/ 150 h 476"/>
              <a:gd name="T16" fmla="*/ 475 w 726"/>
              <a:gd name="T17" fmla="*/ 175 h 476"/>
              <a:gd name="T18" fmla="*/ 400 w 726"/>
              <a:gd name="T19" fmla="*/ 150 h 476"/>
              <a:gd name="T20" fmla="*/ 300 w 726"/>
              <a:gd name="T21" fmla="*/ 150 h 476"/>
              <a:gd name="T22" fmla="*/ 175 w 726"/>
              <a:gd name="T23" fmla="*/ 150 h 476"/>
              <a:gd name="T24" fmla="*/ 249 w 726"/>
              <a:gd name="T25" fmla="*/ 75 h 476"/>
              <a:gd name="T26" fmla="*/ 275 w 726"/>
              <a:gd name="T27" fmla="*/ 75 h 476"/>
              <a:gd name="T28" fmla="*/ 300 w 726"/>
              <a:gd name="T29" fmla="*/ 0 h 476"/>
              <a:gd name="T30" fmla="*/ 249 w 726"/>
              <a:gd name="T31" fmla="*/ 25 h 476"/>
              <a:gd name="T32" fmla="*/ 175 w 726"/>
              <a:gd name="T33" fmla="*/ 50 h 476"/>
              <a:gd name="T34" fmla="*/ 125 w 726"/>
              <a:gd name="T35" fmla="*/ 100 h 476"/>
              <a:gd name="T36" fmla="*/ 100 w 726"/>
              <a:gd name="T37" fmla="*/ 150 h 476"/>
              <a:gd name="T38" fmla="*/ 0 w 726"/>
              <a:gd name="T39" fmla="*/ 175 h 476"/>
              <a:gd name="T40" fmla="*/ 75 w 726"/>
              <a:gd name="T41" fmla="*/ 250 h 476"/>
              <a:gd name="T42" fmla="*/ 75 w 726"/>
              <a:gd name="T43" fmla="*/ 325 h 476"/>
              <a:gd name="T44" fmla="*/ 25 w 726"/>
              <a:gd name="T45" fmla="*/ 425 h 476"/>
              <a:gd name="T46" fmla="*/ 75 w 726"/>
              <a:gd name="T47" fmla="*/ 425 h 476"/>
              <a:gd name="T48" fmla="*/ 175 w 726"/>
              <a:gd name="T49" fmla="*/ 400 h 476"/>
              <a:gd name="T50" fmla="*/ 275 w 726"/>
              <a:gd name="T51" fmla="*/ 350 h 476"/>
              <a:gd name="T52" fmla="*/ 349 w 726"/>
              <a:gd name="T53" fmla="*/ 275 h 476"/>
              <a:gd name="T54" fmla="*/ 400 w 726"/>
              <a:gd name="T55" fmla="*/ 350 h 476"/>
              <a:gd name="T56" fmla="*/ 400 w 726"/>
              <a:gd name="T57" fmla="*/ 475 h 476"/>
              <a:gd name="T58" fmla="*/ 425 w 726"/>
              <a:gd name="T59" fmla="*/ 475 h 476"/>
              <a:gd name="T60" fmla="*/ 475 w 726"/>
              <a:gd name="T61" fmla="*/ 450 h 476"/>
              <a:gd name="T62" fmla="*/ 600 w 726"/>
              <a:gd name="T63" fmla="*/ 375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6" h="476">
                <a:moveTo>
                  <a:pt x="600" y="375"/>
                </a:moveTo>
                <a:lnTo>
                  <a:pt x="600" y="375"/>
                </a:lnTo>
                <a:cubicBezTo>
                  <a:pt x="600" y="400"/>
                  <a:pt x="600" y="425"/>
                  <a:pt x="625" y="425"/>
                </a:cubicBezTo>
                <a:cubicBezTo>
                  <a:pt x="650" y="400"/>
                  <a:pt x="675" y="425"/>
                  <a:pt x="700" y="425"/>
                </a:cubicBezTo>
                <a:lnTo>
                  <a:pt x="725" y="425"/>
                </a:lnTo>
                <a:cubicBezTo>
                  <a:pt x="725" y="425"/>
                  <a:pt x="700" y="325"/>
                  <a:pt x="700" y="300"/>
                </a:cubicBezTo>
                <a:cubicBezTo>
                  <a:pt x="700" y="275"/>
                  <a:pt x="600" y="250"/>
                  <a:pt x="600" y="250"/>
                </a:cubicBezTo>
                <a:cubicBezTo>
                  <a:pt x="600" y="150"/>
                  <a:pt x="600" y="150"/>
                  <a:pt x="600" y="150"/>
                </a:cubicBezTo>
                <a:cubicBezTo>
                  <a:pt x="600" y="150"/>
                  <a:pt x="500" y="175"/>
                  <a:pt x="475" y="175"/>
                </a:cubicBezTo>
                <a:cubicBezTo>
                  <a:pt x="449" y="150"/>
                  <a:pt x="425" y="175"/>
                  <a:pt x="400" y="150"/>
                </a:cubicBezTo>
                <a:cubicBezTo>
                  <a:pt x="375" y="125"/>
                  <a:pt x="349" y="175"/>
                  <a:pt x="300" y="150"/>
                </a:cubicBezTo>
                <a:cubicBezTo>
                  <a:pt x="275" y="125"/>
                  <a:pt x="175" y="150"/>
                  <a:pt x="175" y="150"/>
                </a:cubicBezTo>
                <a:cubicBezTo>
                  <a:pt x="175" y="125"/>
                  <a:pt x="225" y="75"/>
                  <a:pt x="249" y="75"/>
                </a:cubicBezTo>
                <a:cubicBezTo>
                  <a:pt x="249" y="75"/>
                  <a:pt x="249" y="75"/>
                  <a:pt x="275" y="75"/>
                </a:cubicBezTo>
                <a:cubicBezTo>
                  <a:pt x="275" y="75"/>
                  <a:pt x="325" y="25"/>
                  <a:pt x="300" y="0"/>
                </a:cubicBezTo>
                <a:cubicBezTo>
                  <a:pt x="300" y="0"/>
                  <a:pt x="275" y="0"/>
                  <a:pt x="249" y="25"/>
                </a:cubicBezTo>
                <a:cubicBezTo>
                  <a:pt x="225" y="50"/>
                  <a:pt x="175" y="25"/>
                  <a:pt x="175" y="50"/>
                </a:cubicBezTo>
                <a:cubicBezTo>
                  <a:pt x="149" y="75"/>
                  <a:pt x="149" y="100"/>
                  <a:pt x="125" y="100"/>
                </a:cubicBezTo>
                <a:cubicBezTo>
                  <a:pt x="100" y="100"/>
                  <a:pt x="125" y="125"/>
                  <a:pt x="100" y="150"/>
                </a:cubicBezTo>
                <a:cubicBezTo>
                  <a:pt x="75" y="150"/>
                  <a:pt x="0" y="150"/>
                  <a:pt x="0" y="175"/>
                </a:cubicBezTo>
                <a:cubicBezTo>
                  <a:pt x="0" y="200"/>
                  <a:pt x="75" y="225"/>
                  <a:pt x="75" y="250"/>
                </a:cubicBezTo>
                <a:cubicBezTo>
                  <a:pt x="49" y="275"/>
                  <a:pt x="100" y="300"/>
                  <a:pt x="75" y="325"/>
                </a:cubicBezTo>
                <a:cubicBezTo>
                  <a:pt x="49" y="350"/>
                  <a:pt x="25" y="375"/>
                  <a:pt x="25" y="425"/>
                </a:cubicBezTo>
                <a:cubicBezTo>
                  <a:pt x="49" y="450"/>
                  <a:pt x="75" y="450"/>
                  <a:pt x="75" y="425"/>
                </a:cubicBezTo>
                <a:cubicBezTo>
                  <a:pt x="100" y="400"/>
                  <a:pt x="175" y="425"/>
                  <a:pt x="175" y="400"/>
                </a:cubicBezTo>
                <a:cubicBezTo>
                  <a:pt x="175" y="375"/>
                  <a:pt x="275" y="400"/>
                  <a:pt x="275" y="350"/>
                </a:cubicBezTo>
                <a:cubicBezTo>
                  <a:pt x="275" y="325"/>
                  <a:pt x="325" y="275"/>
                  <a:pt x="349" y="275"/>
                </a:cubicBezTo>
                <a:cubicBezTo>
                  <a:pt x="375" y="275"/>
                  <a:pt x="349" y="350"/>
                  <a:pt x="400" y="350"/>
                </a:cubicBezTo>
                <a:cubicBezTo>
                  <a:pt x="425" y="375"/>
                  <a:pt x="375" y="450"/>
                  <a:pt x="400" y="475"/>
                </a:cubicBezTo>
                <a:lnTo>
                  <a:pt x="425" y="475"/>
                </a:lnTo>
                <a:cubicBezTo>
                  <a:pt x="449" y="475"/>
                  <a:pt x="475" y="450"/>
                  <a:pt x="475" y="450"/>
                </a:cubicBezTo>
                <a:cubicBezTo>
                  <a:pt x="525" y="425"/>
                  <a:pt x="574" y="375"/>
                  <a:pt x="600" y="3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0" name="Freeform 166">
            <a:extLst>
              <a:ext uri="{FF2B5EF4-FFF2-40B4-BE49-F238E27FC236}">
                <a16:creationId xmlns:a16="http://schemas.microsoft.com/office/drawing/2014/main" id="{86D18242-632E-E149-A7E6-F46DE518A466}"/>
              </a:ext>
            </a:extLst>
          </p:cNvPr>
          <p:cNvSpPr>
            <a:spLocks noChangeArrowheads="1"/>
          </p:cNvSpPr>
          <p:nvPr/>
        </p:nvSpPr>
        <p:spPr bwMode="auto">
          <a:xfrm>
            <a:off x="3397424" y="4055852"/>
            <a:ext cx="32344" cy="56249"/>
          </a:xfrm>
          <a:custGeom>
            <a:avLst/>
            <a:gdLst>
              <a:gd name="T0" fmla="*/ 76 w 102"/>
              <a:gd name="T1" fmla="*/ 150 h 175"/>
              <a:gd name="T2" fmla="*/ 76 w 102"/>
              <a:gd name="T3" fmla="*/ 150 h 175"/>
              <a:gd name="T4" fmla="*/ 51 w 102"/>
              <a:gd name="T5" fmla="*/ 124 h 175"/>
              <a:gd name="T6" fmla="*/ 0 w 102"/>
              <a:gd name="T7" fmla="*/ 49 h 175"/>
              <a:gd name="T8" fmla="*/ 51 w 102"/>
              <a:gd name="T9" fmla="*/ 24 h 175"/>
              <a:gd name="T10" fmla="*/ 51 w 102"/>
              <a:gd name="T11" fmla="*/ 99 h 175"/>
              <a:gd name="T12" fmla="*/ 76 w 102"/>
              <a:gd name="T13" fmla="*/ 150 h 175"/>
            </a:gdLst>
            <a:ahLst/>
            <a:cxnLst>
              <a:cxn ang="0">
                <a:pos x="T0" y="T1"/>
              </a:cxn>
              <a:cxn ang="0">
                <a:pos x="T2" y="T3"/>
              </a:cxn>
              <a:cxn ang="0">
                <a:pos x="T4" y="T5"/>
              </a:cxn>
              <a:cxn ang="0">
                <a:pos x="T6" y="T7"/>
              </a:cxn>
              <a:cxn ang="0">
                <a:pos x="T8" y="T9"/>
              </a:cxn>
              <a:cxn ang="0">
                <a:pos x="T10" y="T11"/>
              </a:cxn>
              <a:cxn ang="0">
                <a:pos x="T12" y="T13"/>
              </a:cxn>
            </a:cxnLst>
            <a:rect l="0" t="0" r="r" b="b"/>
            <a:pathLst>
              <a:path w="102" h="175">
                <a:moveTo>
                  <a:pt x="76" y="150"/>
                </a:moveTo>
                <a:lnTo>
                  <a:pt x="76" y="150"/>
                </a:lnTo>
                <a:cubicBezTo>
                  <a:pt x="76" y="174"/>
                  <a:pt x="51" y="124"/>
                  <a:pt x="51" y="124"/>
                </a:cubicBezTo>
                <a:cubicBezTo>
                  <a:pt x="51" y="99"/>
                  <a:pt x="0" y="99"/>
                  <a:pt x="0" y="49"/>
                </a:cubicBezTo>
                <a:cubicBezTo>
                  <a:pt x="0" y="24"/>
                  <a:pt x="25" y="0"/>
                  <a:pt x="51" y="24"/>
                </a:cubicBezTo>
                <a:cubicBezTo>
                  <a:pt x="76" y="49"/>
                  <a:pt x="51" y="74"/>
                  <a:pt x="51" y="99"/>
                </a:cubicBezTo>
                <a:cubicBezTo>
                  <a:pt x="51" y="99"/>
                  <a:pt x="101" y="124"/>
                  <a:pt x="76"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1" name="Freeform 167">
            <a:extLst>
              <a:ext uri="{FF2B5EF4-FFF2-40B4-BE49-F238E27FC236}">
                <a16:creationId xmlns:a16="http://schemas.microsoft.com/office/drawing/2014/main" id="{96CD99E8-8EFB-A64D-B1BF-D88C01166C51}"/>
              </a:ext>
            </a:extLst>
          </p:cNvPr>
          <p:cNvSpPr>
            <a:spLocks noChangeArrowheads="1"/>
          </p:cNvSpPr>
          <p:nvPr/>
        </p:nvSpPr>
        <p:spPr bwMode="auto">
          <a:xfrm>
            <a:off x="3892420" y="4510065"/>
            <a:ext cx="40781" cy="23907"/>
          </a:xfrm>
          <a:custGeom>
            <a:avLst/>
            <a:gdLst>
              <a:gd name="T0" fmla="*/ 25 w 126"/>
              <a:gd name="T1" fmla="*/ 75 h 76"/>
              <a:gd name="T2" fmla="*/ 25 w 126"/>
              <a:gd name="T3" fmla="*/ 75 h 76"/>
              <a:gd name="T4" fmla="*/ 25 w 126"/>
              <a:gd name="T5" fmla="*/ 25 h 76"/>
              <a:gd name="T6" fmla="*/ 100 w 126"/>
              <a:gd name="T7" fmla="*/ 0 h 76"/>
              <a:gd name="T8" fmla="*/ 100 w 126"/>
              <a:gd name="T9" fmla="*/ 51 h 76"/>
              <a:gd name="T10" fmla="*/ 25 w 126"/>
              <a:gd name="T11" fmla="*/ 75 h 76"/>
            </a:gdLst>
            <a:ahLst/>
            <a:cxnLst>
              <a:cxn ang="0">
                <a:pos x="T0" y="T1"/>
              </a:cxn>
              <a:cxn ang="0">
                <a:pos x="T2" y="T3"/>
              </a:cxn>
              <a:cxn ang="0">
                <a:pos x="T4" y="T5"/>
              </a:cxn>
              <a:cxn ang="0">
                <a:pos x="T6" y="T7"/>
              </a:cxn>
              <a:cxn ang="0">
                <a:pos x="T8" y="T9"/>
              </a:cxn>
              <a:cxn ang="0">
                <a:pos x="T10" y="T11"/>
              </a:cxn>
            </a:cxnLst>
            <a:rect l="0" t="0" r="r" b="b"/>
            <a:pathLst>
              <a:path w="126" h="76">
                <a:moveTo>
                  <a:pt x="25" y="75"/>
                </a:moveTo>
                <a:lnTo>
                  <a:pt x="25" y="75"/>
                </a:lnTo>
                <a:cubicBezTo>
                  <a:pt x="25" y="51"/>
                  <a:pt x="50" y="25"/>
                  <a:pt x="25" y="25"/>
                </a:cubicBezTo>
                <a:cubicBezTo>
                  <a:pt x="0" y="25"/>
                  <a:pt x="75" y="0"/>
                  <a:pt x="100" y="0"/>
                </a:cubicBezTo>
                <a:cubicBezTo>
                  <a:pt x="125" y="25"/>
                  <a:pt x="125" y="51"/>
                  <a:pt x="100" y="51"/>
                </a:cubicBezTo>
                <a:cubicBezTo>
                  <a:pt x="75" y="75"/>
                  <a:pt x="50" y="75"/>
                  <a:pt x="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2" name="Freeform 168">
            <a:extLst>
              <a:ext uri="{FF2B5EF4-FFF2-40B4-BE49-F238E27FC236}">
                <a16:creationId xmlns:a16="http://schemas.microsoft.com/office/drawing/2014/main" id="{A6E05C22-E625-D548-B14B-754348F8FC06}"/>
              </a:ext>
            </a:extLst>
          </p:cNvPr>
          <p:cNvSpPr>
            <a:spLocks noChangeArrowheads="1"/>
          </p:cNvSpPr>
          <p:nvPr/>
        </p:nvSpPr>
        <p:spPr bwMode="auto">
          <a:xfrm>
            <a:off x="7056463" y="3513044"/>
            <a:ext cx="95624" cy="88593"/>
          </a:xfrm>
          <a:custGeom>
            <a:avLst/>
            <a:gdLst>
              <a:gd name="T0" fmla="*/ 275 w 301"/>
              <a:gd name="T1" fmla="*/ 200 h 276"/>
              <a:gd name="T2" fmla="*/ 275 w 301"/>
              <a:gd name="T3" fmla="*/ 200 h 276"/>
              <a:gd name="T4" fmla="*/ 225 w 301"/>
              <a:gd name="T5" fmla="*/ 125 h 276"/>
              <a:gd name="T6" fmla="*/ 200 w 301"/>
              <a:gd name="T7" fmla="*/ 50 h 276"/>
              <a:gd name="T8" fmla="*/ 176 w 301"/>
              <a:gd name="T9" fmla="*/ 0 h 276"/>
              <a:gd name="T10" fmla="*/ 75 w 301"/>
              <a:gd name="T11" fmla="*/ 0 h 276"/>
              <a:gd name="T12" fmla="*/ 0 w 301"/>
              <a:gd name="T13" fmla="*/ 25 h 276"/>
              <a:gd name="T14" fmla="*/ 0 w 301"/>
              <a:gd name="T15" fmla="*/ 100 h 276"/>
              <a:gd name="T16" fmla="*/ 75 w 301"/>
              <a:gd name="T17" fmla="*/ 125 h 276"/>
              <a:gd name="T18" fmla="*/ 100 w 301"/>
              <a:gd name="T19" fmla="*/ 150 h 276"/>
              <a:gd name="T20" fmla="*/ 100 w 301"/>
              <a:gd name="T21" fmla="*/ 150 h 276"/>
              <a:gd name="T22" fmla="*/ 125 w 301"/>
              <a:gd name="T23" fmla="*/ 175 h 276"/>
              <a:gd name="T24" fmla="*/ 176 w 301"/>
              <a:gd name="T25" fmla="*/ 200 h 276"/>
              <a:gd name="T26" fmla="*/ 225 w 301"/>
              <a:gd name="T27" fmla="*/ 225 h 276"/>
              <a:gd name="T28" fmla="*/ 250 w 301"/>
              <a:gd name="T29" fmla="*/ 275 h 276"/>
              <a:gd name="T30" fmla="*/ 300 w 301"/>
              <a:gd name="T31" fmla="*/ 250 h 276"/>
              <a:gd name="T32" fmla="*/ 275 w 301"/>
              <a:gd name="T33" fmla="*/ 20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276">
                <a:moveTo>
                  <a:pt x="275" y="200"/>
                </a:moveTo>
                <a:lnTo>
                  <a:pt x="275" y="200"/>
                </a:lnTo>
                <a:cubicBezTo>
                  <a:pt x="275" y="175"/>
                  <a:pt x="225" y="175"/>
                  <a:pt x="225" y="125"/>
                </a:cubicBezTo>
                <a:cubicBezTo>
                  <a:pt x="225" y="100"/>
                  <a:pt x="176" y="75"/>
                  <a:pt x="200" y="50"/>
                </a:cubicBezTo>
                <a:cubicBezTo>
                  <a:pt x="200" y="50"/>
                  <a:pt x="176" y="25"/>
                  <a:pt x="176" y="0"/>
                </a:cubicBezTo>
                <a:cubicBezTo>
                  <a:pt x="150" y="0"/>
                  <a:pt x="100" y="0"/>
                  <a:pt x="75" y="0"/>
                </a:cubicBezTo>
                <a:cubicBezTo>
                  <a:pt x="50" y="0"/>
                  <a:pt x="25" y="0"/>
                  <a:pt x="0" y="25"/>
                </a:cubicBezTo>
                <a:cubicBezTo>
                  <a:pt x="0" y="50"/>
                  <a:pt x="0" y="50"/>
                  <a:pt x="0" y="100"/>
                </a:cubicBezTo>
                <a:cubicBezTo>
                  <a:pt x="25" y="125"/>
                  <a:pt x="75" y="100"/>
                  <a:pt x="75" y="125"/>
                </a:cubicBezTo>
                <a:lnTo>
                  <a:pt x="100" y="150"/>
                </a:lnTo>
                <a:lnTo>
                  <a:pt x="100" y="150"/>
                </a:lnTo>
                <a:cubicBezTo>
                  <a:pt x="125" y="150"/>
                  <a:pt x="125" y="175"/>
                  <a:pt x="125" y="175"/>
                </a:cubicBezTo>
                <a:cubicBezTo>
                  <a:pt x="150" y="175"/>
                  <a:pt x="176" y="200"/>
                  <a:pt x="176" y="200"/>
                </a:cubicBezTo>
                <a:cubicBezTo>
                  <a:pt x="200" y="200"/>
                  <a:pt x="200" y="175"/>
                  <a:pt x="225" y="225"/>
                </a:cubicBezTo>
                <a:cubicBezTo>
                  <a:pt x="250" y="225"/>
                  <a:pt x="250" y="250"/>
                  <a:pt x="250" y="275"/>
                </a:cubicBezTo>
                <a:cubicBezTo>
                  <a:pt x="275" y="275"/>
                  <a:pt x="275" y="250"/>
                  <a:pt x="300" y="250"/>
                </a:cubicBezTo>
                <a:cubicBezTo>
                  <a:pt x="300" y="225"/>
                  <a:pt x="275" y="225"/>
                  <a:pt x="275"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3" name="Freeform 169">
            <a:extLst>
              <a:ext uri="{FF2B5EF4-FFF2-40B4-BE49-F238E27FC236}">
                <a16:creationId xmlns:a16="http://schemas.microsoft.com/office/drawing/2014/main" id="{F6A02EB6-D571-764E-AF24-9666034D03C4}"/>
              </a:ext>
            </a:extLst>
          </p:cNvPr>
          <p:cNvSpPr>
            <a:spLocks noChangeArrowheads="1"/>
          </p:cNvSpPr>
          <p:nvPr/>
        </p:nvSpPr>
        <p:spPr bwMode="auto">
          <a:xfrm>
            <a:off x="7097245" y="3489135"/>
            <a:ext cx="151875" cy="127968"/>
          </a:xfrm>
          <a:custGeom>
            <a:avLst/>
            <a:gdLst>
              <a:gd name="T0" fmla="*/ 451 w 476"/>
              <a:gd name="T1" fmla="*/ 125 h 401"/>
              <a:gd name="T2" fmla="*/ 451 w 476"/>
              <a:gd name="T3" fmla="*/ 125 h 401"/>
              <a:gd name="T4" fmla="*/ 375 w 476"/>
              <a:gd name="T5" fmla="*/ 25 h 401"/>
              <a:gd name="T6" fmla="*/ 300 w 476"/>
              <a:gd name="T7" fmla="*/ 75 h 401"/>
              <a:gd name="T8" fmla="*/ 251 w 476"/>
              <a:gd name="T9" fmla="*/ 75 h 401"/>
              <a:gd name="T10" fmla="*/ 200 w 476"/>
              <a:gd name="T11" fmla="*/ 25 h 401"/>
              <a:gd name="T12" fmla="*/ 150 w 476"/>
              <a:gd name="T13" fmla="*/ 0 h 401"/>
              <a:gd name="T14" fmla="*/ 150 w 476"/>
              <a:gd name="T15" fmla="*/ 50 h 401"/>
              <a:gd name="T16" fmla="*/ 175 w 476"/>
              <a:gd name="T17" fmla="*/ 75 h 401"/>
              <a:gd name="T18" fmla="*/ 100 w 476"/>
              <a:gd name="T19" fmla="*/ 75 h 401"/>
              <a:gd name="T20" fmla="*/ 25 w 476"/>
              <a:gd name="T21" fmla="*/ 50 h 401"/>
              <a:gd name="T22" fmla="*/ 75 w 476"/>
              <a:gd name="T23" fmla="*/ 125 h 401"/>
              <a:gd name="T24" fmla="*/ 100 w 476"/>
              <a:gd name="T25" fmla="*/ 200 h 401"/>
              <a:gd name="T26" fmla="*/ 150 w 476"/>
              <a:gd name="T27" fmla="*/ 275 h 401"/>
              <a:gd name="T28" fmla="*/ 175 w 476"/>
              <a:gd name="T29" fmla="*/ 325 h 401"/>
              <a:gd name="T30" fmla="*/ 300 w 476"/>
              <a:gd name="T31" fmla="*/ 250 h 401"/>
              <a:gd name="T32" fmla="*/ 300 w 476"/>
              <a:gd name="T33" fmla="*/ 350 h 401"/>
              <a:gd name="T34" fmla="*/ 375 w 476"/>
              <a:gd name="T35" fmla="*/ 400 h 401"/>
              <a:gd name="T36" fmla="*/ 400 w 476"/>
              <a:gd name="T37" fmla="*/ 325 h 401"/>
              <a:gd name="T38" fmla="*/ 451 w 476"/>
              <a:gd name="T39" fmla="*/ 125 h 401"/>
              <a:gd name="T40" fmla="*/ 51 w 476"/>
              <a:gd name="T41" fmla="*/ 275 h 401"/>
              <a:gd name="T42" fmla="*/ 51 w 476"/>
              <a:gd name="T43" fmla="*/ 275 h 401"/>
              <a:gd name="T44" fmla="*/ 0 w 476"/>
              <a:gd name="T45" fmla="*/ 250 h 401"/>
              <a:gd name="T46" fmla="*/ 51 w 476"/>
              <a:gd name="T47" fmla="*/ 300 h 401"/>
              <a:gd name="T48" fmla="*/ 100 w 476"/>
              <a:gd name="T49" fmla="*/ 350 h 401"/>
              <a:gd name="T50" fmla="*/ 125 w 476"/>
              <a:gd name="T51" fmla="*/ 350 h 401"/>
              <a:gd name="T52" fmla="*/ 100 w 476"/>
              <a:gd name="T53" fmla="*/ 300 h 401"/>
              <a:gd name="T54" fmla="*/ 51 w 476"/>
              <a:gd name="T55" fmla="*/ 27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6" h="401">
                <a:moveTo>
                  <a:pt x="451" y="125"/>
                </a:moveTo>
                <a:lnTo>
                  <a:pt x="451" y="125"/>
                </a:lnTo>
                <a:cubicBezTo>
                  <a:pt x="425" y="125"/>
                  <a:pt x="400" y="75"/>
                  <a:pt x="375" y="25"/>
                </a:cubicBezTo>
                <a:cubicBezTo>
                  <a:pt x="351" y="50"/>
                  <a:pt x="300" y="50"/>
                  <a:pt x="300" y="75"/>
                </a:cubicBezTo>
                <a:cubicBezTo>
                  <a:pt x="300" y="100"/>
                  <a:pt x="275" y="75"/>
                  <a:pt x="251" y="75"/>
                </a:cubicBezTo>
                <a:cubicBezTo>
                  <a:pt x="251" y="75"/>
                  <a:pt x="225" y="25"/>
                  <a:pt x="200" y="25"/>
                </a:cubicBezTo>
                <a:cubicBezTo>
                  <a:pt x="175" y="25"/>
                  <a:pt x="175" y="25"/>
                  <a:pt x="150" y="0"/>
                </a:cubicBezTo>
                <a:cubicBezTo>
                  <a:pt x="150" y="25"/>
                  <a:pt x="150" y="25"/>
                  <a:pt x="150" y="50"/>
                </a:cubicBezTo>
                <a:lnTo>
                  <a:pt x="175" y="75"/>
                </a:lnTo>
                <a:cubicBezTo>
                  <a:pt x="150" y="100"/>
                  <a:pt x="125" y="100"/>
                  <a:pt x="100" y="75"/>
                </a:cubicBezTo>
                <a:cubicBezTo>
                  <a:pt x="75" y="75"/>
                  <a:pt x="51" y="50"/>
                  <a:pt x="25" y="50"/>
                </a:cubicBezTo>
                <a:cubicBezTo>
                  <a:pt x="25" y="75"/>
                  <a:pt x="75" y="125"/>
                  <a:pt x="75" y="125"/>
                </a:cubicBezTo>
                <a:cubicBezTo>
                  <a:pt x="51" y="150"/>
                  <a:pt x="100" y="175"/>
                  <a:pt x="100" y="200"/>
                </a:cubicBezTo>
                <a:cubicBezTo>
                  <a:pt x="100" y="250"/>
                  <a:pt x="150" y="250"/>
                  <a:pt x="150" y="275"/>
                </a:cubicBezTo>
                <a:cubicBezTo>
                  <a:pt x="150" y="300"/>
                  <a:pt x="175" y="300"/>
                  <a:pt x="175" y="325"/>
                </a:cubicBezTo>
                <a:cubicBezTo>
                  <a:pt x="225" y="300"/>
                  <a:pt x="251" y="275"/>
                  <a:pt x="300" y="250"/>
                </a:cubicBezTo>
                <a:cubicBezTo>
                  <a:pt x="325" y="225"/>
                  <a:pt x="325" y="325"/>
                  <a:pt x="300" y="350"/>
                </a:cubicBezTo>
                <a:cubicBezTo>
                  <a:pt x="300" y="350"/>
                  <a:pt x="351" y="375"/>
                  <a:pt x="375" y="400"/>
                </a:cubicBezTo>
                <a:cubicBezTo>
                  <a:pt x="375" y="375"/>
                  <a:pt x="375" y="350"/>
                  <a:pt x="400" y="325"/>
                </a:cubicBezTo>
                <a:cubicBezTo>
                  <a:pt x="451" y="275"/>
                  <a:pt x="475" y="175"/>
                  <a:pt x="451" y="125"/>
                </a:cubicBezTo>
                <a:close/>
                <a:moveTo>
                  <a:pt x="51" y="275"/>
                </a:moveTo>
                <a:lnTo>
                  <a:pt x="51" y="275"/>
                </a:lnTo>
                <a:cubicBezTo>
                  <a:pt x="51" y="275"/>
                  <a:pt x="25" y="250"/>
                  <a:pt x="0" y="250"/>
                </a:cubicBezTo>
                <a:cubicBezTo>
                  <a:pt x="25" y="275"/>
                  <a:pt x="0" y="300"/>
                  <a:pt x="51" y="300"/>
                </a:cubicBezTo>
                <a:cubicBezTo>
                  <a:pt x="75" y="325"/>
                  <a:pt x="25" y="325"/>
                  <a:pt x="100" y="350"/>
                </a:cubicBezTo>
                <a:cubicBezTo>
                  <a:pt x="100" y="350"/>
                  <a:pt x="100" y="350"/>
                  <a:pt x="125" y="350"/>
                </a:cubicBezTo>
                <a:cubicBezTo>
                  <a:pt x="125" y="325"/>
                  <a:pt x="125" y="300"/>
                  <a:pt x="100" y="300"/>
                </a:cubicBezTo>
                <a:cubicBezTo>
                  <a:pt x="75" y="250"/>
                  <a:pt x="75" y="275"/>
                  <a:pt x="51" y="2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4" name="Freeform 170">
            <a:extLst>
              <a:ext uri="{FF2B5EF4-FFF2-40B4-BE49-F238E27FC236}">
                <a16:creationId xmlns:a16="http://schemas.microsoft.com/office/drawing/2014/main" id="{35FA8158-4876-9046-A0FA-E1EAF8457497}"/>
              </a:ext>
            </a:extLst>
          </p:cNvPr>
          <p:cNvSpPr>
            <a:spLocks noChangeArrowheads="1"/>
          </p:cNvSpPr>
          <p:nvPr/>
        </p:nvSpPr>
        <p:spPr bwMode="auto">
          <a:xfrm>
            <a:off x="7575367" y="3617104"/>
            <a:ext cx="431716" cy="310779"/>
          </a:xfrm>
          <a:custGeom>
            <a:avLst/>
            <a:gdLst>
              <a:gd name="T0" fmla="*/ 1301 w 1352"/>
              <a:gd name="T1" fmla="*/ 150 h 976"/>
              <a:gd name="T2" fmla="*/ 1301 w 1352"/>
              <a:gd name="T3" fmla="*/ 150 h 976"/>
              <a:gd name="T4" fmla="*/ 1276 w 1352"/>
              <a:gd name="T5" fmla="*/ 100 h 976"/>
              <a:gd name="T6" fmla="*/ 1151 w 1352"/>
              <a:gd name="T7" fmla="*/ 175 h 976"/>
              <a:gd name="T8" fmla="*/ 1125 w 1352"/>
              <a:gd name="T9" fmla="*/ 200 h 976"/>
              <a:gd name="T10" fmla="*/ 1076 w 1352"/>
              <a:gd name="T11" fmla="*/ 200 h 976"/>
              <a:gd name="T12" fmla="*/ 1076 w 1352"/>
              <a:gd name="T13" fmla="*/ 75 h 976"/>
              <a:gd name="T14" fmla="*/ 1025 w 1352"/>
              <a:gd name="T15" fmla="*/ 0 h 976"/>
              <a:gd name="T16" fmla="*/ 951 w 1352"/>
              <a:gd name="T17" fmla="*/ 75 h 976"/>
              <a:gd name="T18" fmla="*/ 851 w 1352"/>
              <a:gd name="T19" fmla="*/ 125 h 976"/>
              <a:gd name="T20" fmla="*/ 751 w 1352"/>
              <a:gd name="T21" fmla="*/ 150 h 976"/>
              <a:gd name="T22" fmla="*/ 676 w 1352"/>
              <a:gd name="T23" fmla="*/ 125 h 976"/>
              <a:gd name="T24" fmla="*/ 601 w 1352"/>
              <a:gd name="T25" fmla="*/ 100 h 976"/>
              <a:gd name="T26" fmla="*/ 525 w 1352"/>
              <a:gd name="T27" fmla="*/ 100 h 976"/>
              <a:gd name="T28" fmla="*/ 451 w 1352"/>
              <a:gd name="T29" fmla="*/ 150 h 976"/>
              <a:gd name="T30" fmla="*/ 401 w 1352"/>
              <a:gd name="T31" fmla="*/ 225 h 976"/>
              <a:gd name="T32" fmla="*/ 251 w 1352"/>
              <a:gd name="T33" fmla="*/ 300 h 976"/>
              <a:gd name="T34" fmla="*/ 176 w 1352"/>
              <a:gd name="T35" fmla="*/ 350 h 976"/>
              <a:gd name="T36" fmla="*/ 100 w 1352"/>
              <a:gd name="T37" fmla="*/ 325 h 976"/>
              <a:gd name="T38" fmla="*/ 76 w 1352"/>
              <a:gd name="T39" fmla="*/ 375 h 976"/>
              <a:gd name="T40" fmla="*/ 25 w 1352"/>
              <a:gd name="T41" fmla="*/ 450 h 976"/>
              <a:gd name="T42" fmla="*/ 25 w 1352"/>
              <a:gd name="T43" fmla="*/ 525 h 976"/>
              <a:gd name="T44" fmla="*/ 25 w 1352"/>
              <a:gd name="T45" fmla="*/ 625 h 976"/>
              <a:gd name="T46" fmla="*/ 25 w 1352"/>
              <a:gd name="T47" fmla="*/ 725 h 976"/>
              <a:gd name="T48" fmla="*/ 125 w 1352"/>
              <a:gd name="T49" fmla="*/ 775 h 976"/>
              <a:gd name="T50" fmla="*/ 25 w 1352"/>
              <a:gd name="T51" fmla="*/ 900 h 976"/>
              <a:gd name="T52" fmla="*/ 51 w 1352"/>
              <a:gd name="T53" fmla="*/ 950 h 976"/>
              <a:gd name="T54" fmla="*/ 200 w 1352"/>
              <a:gd name="T55" fmla="*/ 950 h 976"/>
              <a:gd name="T56" fmla="*/ 576 w 1352"/>
              <a:gd name="T57" fmla="*/ 900 h 976"/>
              <a:gd name="T58" fmla="*/ 551 w 1352"/>
              <a:gd name="T59" fmla="*/ 826 h 976"/>
              <a:gd name="T60" fmla="*/ 625 w 1352"/>
              <a:gd name="T61" fmla="*/ 775 h 976"/>
              <a:gd name="T62" fmla="*/ 701 w 1352"/>
              <a:gd name="T63" fmla="*/ 750 h 976"/>
              <a:gd name="T64" fmla="*/ 801 w 1352"/>
              <a:gd name="T65" fmla="*/ 725 h 976"/>
              <a:gd name="T66" fmla="*/ 851 w 1352"/>
              <a:gd name="T67" fmla="*/ 675 h 976"/>
              <a:gd name="T68" fmla="*/ 876 w 1352"/>
              <a:gd name="T69" fmla="*/ 575 h 976"/>
              <a:gd name="T70" fmla="*/ 951 w 1352"/>
              <a:gd name="T71" fmla="*/ 550 h 976"/>
              <a:gd name="T72" fmla="*/ 901 w 1352"/>
              <a:gd name="T73" fmla="*/ 475 h 976"/>
              <a:gd name="T74" fmla="*/ 1025 w 1352"/>
              <a:gd name="T75" fmla="*/ 475 h 976"/>
              <a:gd name="T76" fmla="*/ 1025 w 1352"/>
              <a:gd name="T77" fmla="*/ 400 h 976"/>
              <a:gd name="T78" fmla="*/ 1076 w 1352"/>
              <a:gd name="T79" fmla="*/ 350 h 976"/>
              <a:gd name="T80" fmla="*/ 1051 w 1352"/>
              <a:gd name="T81" fmla="*/ 275 h 976"/>
              <a:gd name="T82" fmla="*/ 1076 w 1352"/>
              <a:gd name="T83" fmla="*/ 250 h 976"/>
              <a:gd name="T84" fmla="*/ 1076 w 1352"/>
              <a:gd name="T85" fmla="*/ 225 h 976"/>
              <a:gd name="T86" fmla="*/ 1125 w 1352"/>
              <a:gd name="T87" fmla="*/ 225 h 976"/>
              <a:gd name="T88" fmla="*/ 1250 w 1352"/>
              <a:gd name="T89" fmla="*/ 175 h 976"/>
              <a:gd name="T90" fmla="*/ 1351 w 1352"/>
              <a:gd name="T91" fmla="*/ 150 h 976"/>
              <a:gd name="T92" fmla="*/ 1301 w 1352"/>
              <a:gd name="T93" fmla="*/ 15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2" h="976">
                <a:moveTo>
                  <a:pt x="1301" y="150"/>
                </a:moveTo>
                <a:lnTo>
                  <a:pt x="1301" y="150"/>
                </a:lnTo>
                <a:cubicBezTo>
                  <a:pt x="1276" y="150"/>
                  <a:pt x="1276" y="125"/>
                  <a:pt x="1276" y="100"/>
                </a:cubicBezTo>
                <a:cubicBezTo>
                  <a:pt x="1250" y="100"/>
                  <a:pt x="1201" y="150"/>
                  <a:pt x="1151" y="175"/>
                </a:cubicBezTo>
                <a:lnTo>
                  <a:pt x="1125" y="200"/>
                </a:lnTo>
                <a:cubicBezTo>
                  <a:pt x="1101" y="200"/>
                  <a:pt x="1076" y="200"/>
                  <a:pt x="1076" y="200"/>
                </a:cubicBezTo>
                <a:cubicBezTo>
                  <a:pt x="1051" y="175"/>
                  <a:pt x="1101" y="100"/>
                  <a:pt x="1076" y="75"/>
                </a:cubicBezTo>
                <a:cubicBezTo>
                  <a:pt x="1025" y="75"/>
                  <a:pt x="1051" y="0"/>
                  <a:pt x="1025" y="0"/>
                </a:cubicBezTo>
                <a:cubicBezTo>
                  <a:pt x="1001" y="0"/>
                  <a:pt x="951" y="50"/>
                  <a:pt x="951" y="75"/>
                </a:cubicBezTo>
                <a:cubicBezTo>
                  <a:pt x="951" y="125"/>
                  <a:pt x="851" y="100"/>
                  <a:pt x="851" y="125"/>
                </a:cubicBezTo>
                <a:cubicBezTo>
                  <a:pt x="851" y="150"/>
                  <a:pt x="776" y="125"/>
                  <a:pt x="751" y="150"/>
                </a:cubicBezTo>
                <a:cubicBezTo>
                  <a:pt x="751" y="175"/>
                  <a:pt x="701" y="125"/>
                  <a:pt x="676" y="125"/>
                </a:cubicBezTo>
                <a:cubicBezTo>
                  <a:pt x="651" y="125"/>
                  <a:pt x="625" y="100"/>
                  <a:pt x="601" y="100"/>
                </a:cubicBezTo>
                <a:cubicBezTo>
                  <a:pt x="576" y="125"/>
                  <a:pt x="551" y="100"/>
                  <a:pt x="525" y="100"/>
                </a:cubicBezTo>
                <a:cubicBezTo>
                  <a:pt x="501" y="100"/>
                  <a:pt x="476" y="150"/>
                  <a:pt x="451" y="150"/>
                </a:cubicBezTo>
                <a:cubicBezTo>
                  <a:pt x="425" y="125"/>
                  <a:pt x="401" y="200"/>
                  <a:pt x="401" y="225"/>
                </a:cubicBezTo>
                <a:cubicBezTo>
                  <a:pt x="376" y="275"/>
                  <a:pt x="251" y="275"/>
                  <a:pt x="251" y="300"/>
                </a:cubicBezTo>
                <a:cubicBezTo>
                  <a:pt x="251" y="350"/>
                  <a:pt x="176" y="375"/>
                  <a:pt x="176" y="350"/>
                </a:cubicBezTo>
                <a:cubicBezTo>
                  <a:pt x="176" y="325"/>
                  <a:pt x="125" y="325"/>
                  <a:pt x="100" y="325"/>
                </a:cubicBezTo>
                <a:cubicBezTo>
                  <a:pt x="100" y="325"/>
                  <a:pt x="51" y="325"/>
                  <a:pt x="76" y="375"/>
                </a:cubicBezTo>
                <a:cubicBezTo>
                  <a:pt x="76" y="400"/>
                  <a:pt x="25" y="425"/>
                  <a:pt x="25" y="450"/>
                </a:cubicBezTo>
                <a:cubicBezTo>
                  <a:pt x="25" y="450"/>
                  <a:pt x="0" y="500"/>
                  <a:pt x="25" y="525"/>
                </a:cubicBezTo>
                <a:cubicBezTo>
                  <a:pt x="25" y="550"/>
                  <a:pt x="0" y="575"/>
                  <a:pt x="25" y="625"/>
                </a:cubicBezTo>
                <a:cubicBezTo>
                  <a:pt x="25" y="650"/>
                  <a:pt x="25" y="725"/>
                  <a:pt x="25" y="725"/>
                </a:cubicBezTo>
                <a:cubicBezTo>
                  <a:pt x="51" y="750"/>
                  <a:pt x="100" y="725"/>
                  <a:pt x="125" y="775"/>
                </a:cubicBezTo>
                <a:cubicBezTo>
                  <a:pt x="151" y="826"/>
                  <a:pt x="25" y="900"/>
                  <a:pt x="25" y="900"/>
                </a:cubicBezTo>
                <a:cubicBezTo>
                  <a:pt x="25" y="926"/>
                  <a:pt x="25" y="926"/>
                  <a:pt x="51" y="950"/>
                </a:cubicBezTo>
                <a:cubicBezTo>
                  <a:pt x="100" y="950"/>
                  <a:pt x="151" y="950"/>
                  <a:pt x="200" y="950"/>
                </a:cubicBezTo>
                <a:cubicBezTo>
                  <a:pt x="251" y="975"/>
                  <a:pt x="576" y="926"/>
                  <a:pt x="576" y="900"/>
                </a:cubicBezTo>
                <a:lnTo>
                  <a:pt x="551" y="826"/>
                </a:lnTo>
                <a:cubicBezTo>
                  <a:pt x="576" y="800"/>
                  <a:pt x="601" y="775"/>
                  <a:pt x="625" y="775"/>
                </a:cubicBezTo>
                <a:cubicBezTo>
                  <a:pt x="676" y="775"/>
                  <a:pt x="701" y="775"/>
                  <a:pt x="701" y="750"/>
                </a:cubicBezTo>
                <a:cubicBezTo>
                  <a:pt x="701" y="725"/>
                  <a:pt x="801" y="700"/>
                  <a:pt x="801" y="725"/>
                </a:cubicBezTo>
                <a:cubicBezTo>
                  <a:pt x="801" y="750"/>
                  <a:pt x="851" y="725"/>
                  <a:pt x="851" y="675"/>
                </a:cubicBezTo>
                <a:cubicBezTo>
                  <a:pt x="851" y="625"/>
                  <a:pt x="851" y="575"/>
                  <a:pt x="876" y="575"/>
                </a:cubicBezTo>
                <a:cubicBezTo>
                  <a:pt x="901" y="575"/>
                  <a:pt x="951" y="550"/>
                  <a:pt x="951" y="550"/>
                </a:cubicBezTo>
                <a:cubicBezTo>
                  <a:pt x="925" y="525"/>
                  <a:pt x="901" y="500"/>
                  <a:pt x="901" y="475"/>
                </a:cubicBezTo>
                <a:cubicBezTo>
                  <a:pt x="925" y="475"/>
                  <a:pt x="1001" y="500"/>
                  <a:pt x="1025" y="475"/>
                </a:cubicBezTo>
                <a:cubicBezTo>
                  <a:pt x="1025" y="450"/>
                  <a:pt x="1001" y="425"/>
                  <a:pt x="1025" y="400"/>
                </a:cubicBezTo>
                <a:cubicBezTo>
                  <a:pt x="1025" y="375"/>
                  <a:pt x="1076" y="375"/>
                  <a:pt x="1076" y="350"/>
                </a:cubicBezTo>
                <a:cubicBezTo>
                  <a:pt x="1076" y="325"/>
                  <a:pt x="1076" y="300"/>
                  <a:pt x="1051" y="275"/>
                </a:cubicBezTo>
                <a:cubicBezTo>
                  <a:pt x="1025" y="275"/>
                  <a:pt x="1051" y="250"/>
                  <a:pt x="1076" y="250"/>
                </a:cubicBezTo>
                <a:cubicBezTo>
                  <a:pt x="1076" y="225"/>
                  <a:pt x="1076" y="225"/>
                  <a:pt x="1076" y="225"/>
                </a:cubicBezTo>
                <a:cubicBezTo>
                  <a:pt x="1101" y="225"/>
                  <a:pt x="1125" y="225"/>
                  <a:pt x="1125" y="225"/>
                </a:cubicBezTo>
                <a:cubicBezTo>
                  <a:pt x="1151" y="200"/>
                  <a:pt x="1226" y="175"/>
                  <a:pt x="1250" y="175"/>
                </a:cubicBezTo>
                <a:cubicBezTo>
                  <a:pt x="1276" y="175"/>
                  <a:pt x="1326" y="175"/>
                  <a:pt x="1351" y="150"/>
                </a:cubicBezTo>
                <a:cubicBezTo>
                  <a:pt x="1326" y="150"/>
                  <a:pt x="1301" y="125"/>
                  <a:pt x="1301"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5" name="Freeform 171">
            <a:extLst>
              <a:ext uri="{FF2B5EF4-FFF2-40B4-BE49-F238E27FC236}">
                <a16:creationId xmlns:a16="http://schemas.microsoft.com/office/drawing/2014/main" id="{97A7D370-12C1-374C-BBD5-B5B0B44055BC}"/>
              </a:ext>
            </a:extLst>
          </p:cNvPr>
          <p:cNvSpPr>
            <a:spLocks noChangeArrowheads="1"/>
          </p:cNvSpPr>
          <p:nvPr/>
        </p:nvSpPr>
        <p:spPr bwMode="auto">
          <a:xfrm>
            <a:off x="7592243" y="3664917"/>
            <a:ext cx="494997" cy="445777"/>
          </a:xfrm>
          <a:custGeom>
            <a:avLst/>
            <a:gdLst>
              <a:gd name="T0" fmla="*/ 1475 w 1551"/>
              <a:gd name="T1" fmla="*/ 150 h 1400"/>
              <a:gd name="T2" fmla="*/ 1350 w 1551"/>
              <a:gd name="T3" fmla="*/ 0 h 1400"/>
              <a:gd name="T4" fmla="*/ 1300 w 1551"/>
              <a:gd name="T5" fmla="*/ 0 h 1400"/>
              <a:gd name="T6" fmla="*/ 1074 w 1551"/>
              <a:gd name="T7" fmla="*/ 75 h 1400"/>
              <a:gd name="T8" fmla="*/ 1025 w 1551"/>
              <a:gd name="T9" fmla="*/ 100 h 1400"/>
              <a:gd name="T10" fmla="*/ 1025 w 1551"/>
              <a:gd name="T11" fmla="*/ 200 h 1400"/>
              <a:gd name="T12" fmla="*/ 974 w 1551"/>
              <a:gd name="T13" fmla="*/ 325 h 1400"/>
              <a:gd name="T14" fmla="*/ 900 w 1551"/>
              <a:gd name="T15" fmla="*/ 400 h 1400"/>
              <a:gd name="T16" fmla="*/ 800 w 1551"/>
              <a:gd name="T17" fmla="*/ 525 h 1400"/>
              <a:gd name="T18" fmla="*/ 650 w 1551"/>
              <a:gd name="T19" fmla="*/ 600 h 1400"/>
              <a:gd name="T20" fmla="*/ 500 w 1551"/>
              <a:gd name="T21" fmla="*/ 676 h 1400"/>
              <a:gd name="T22" fmla="*/ 149 w 1551"/>
              <a:gd name="T23" fmla="*/ 800 h 1400"/>
              <a:gd name="T24" fmla="*/ 49 w 1551"/>
              <a:gd name="T25" fmla="*/ 850 h 1400"/>
              <a:gd name="T26" fmla="*/ 174 w 1551"/>
              <a:gd name="T27" fmla="*/ 1025 h 1400"/>
              <a:gd name="T28" fmla="*/ 125 w 1551"/>
              <a:gd name="T29" fmla="*/ 1125 h 1400"/>
              <a:gd name="T30" fmla="*/ 74 w 1551"/>
              <a:gd name="T31" fmla="*/ 1249 h 1400"/>
              <a:gd name="T32" fmla="*/ 300 w 1551"/>
              <a:gd name="T33" fmla="*/ 1225 h 1400"/>
              <a:gd name="T34" fmla="*/ 525 w 1551"/>
              <a:gd name="T35" fmla="*/ 1249 h 1400"/>
              <a:gd name="T36" fmla="*/ 600 w 1551"/>
              <a:gd name="T37" fmla="*/ 1349 h 1400"/>
              <a:gd name="T38" fmla="*/ 700 w 1551"/>
              <a:gd name="T39" fmla="*/ 1399 h 1400"/>
              <a:gd name="T40" fmla="*/ 774 w 1551"/>
              <a:gd name="T41" fmla="*/ 1324 h 1400"/>
              <a:gd name="T42" fmla="*/ 950 w 1551"/>
              <a:gd name="T43" fmla="*/ 1324 h 1400"/>
              <a:gd name="T44" fmla="*/ 874 w 1551"/>
              <a:gd name="T45" fmla="*/ 1125 h 1400"/>
              <a:gd name="T46" fmla="*/ 874 w 1551"/>
              <a:gd name="T47" fmla="*/ 976 h 1400"/>
              <a:gd name="T48" fmla="*/ 1025 w 1551"/>
              <a:gd name="T49" fmla="*/ 976 h 1400"/>
              <a:gd name="T50" fmla="*/ 1150 w 1551"/>
              <a:gd name="T51" fmla="*/ 850 h 1400"/>
              <a:gd name="T52" fmla="*/ 1250 w 1551"/>
              <a:gd name="T53" fmla="*/ 725 h 1400"/>
              <a:gd name="T54" fmla="*/ 1300 w 1551"/>
              <a:gd name="T55" fmla="*/ 600 h 1400"/>
              <a:gd name="T56" fmla="*/ 1300 w 1551"/>
              <a:gd name="T57" fmla="*/ 475 h 1400"/>
              <a:gd name="T58" fmla="*/ 1225 w 1551"/>
              <a:gd name="T59" fmla="*/ 300 h 1400"/>
              <a:gd name="T60" fmla="*/ 1425 w 1551"/>
              <a:gd name="T61" fmla="*/ 275 h 1400"/>
              <a:gd name="T62" fmla="*/ 1550 w 1551"/>
              <a:gd name="T63" fmla="*/ 175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51" h="1400">
                <a:moveTo>
                  <a:pt x="1475" y="150"/>
                </a:moveTo>
                <a:lnTo>
                  <a:pt x="1475" y="150"/>
                </a:lnTo>
                <a:cubicBezTo>
                  <a:pt x="1425" y="125"/>
                  <a:pt x="1425" y="75"/>
                  <a:pt x="1425" y="75"/>
                </a:cubicBezTo>
                <a:cubicBezTo>
                  <a:pt x="1425" y="50"/>
                  <a:pt x="1375" y="25"/>
                  <a:pt x="1350" y="0"/>
                </a:cubicBezTo>
                <a:lnTo>
                  <a:pt x="1325" y="0"/>
                </a:lnTo>
                <a:cubicBezTo>
                  <a:pt x="1300" y="0"/>
                  <a:pt x="1300" y="0"/>
                  <a:pt x="1300" y="0"/>
                </a:cubicBezTo>
                <a:cubicBezTo>
                  <a:pt x="1275" y="25"/>
                  <a:pt x="1225" y="25"/>
                  <a:pt x="1199" y="25"/>
                </a:cubicBezTo>
                <a:cubicBezTo>
                  <a:pt x="1175" y="25"/>
                  <a:pt x="1100" y="50"/>
                  <a:pt x="1074" y="75"/>
                </a:cubicBezTo>
                <a:cubicBezTo>
                  <a:pt x="1074" y="75"/>
                  <a:pt x="1050" y="75"/>
                  <a:pt x="1025" y="75"/>
                </a:cubicBezTo>
                <a:cubicBezTo>
                  <a:pt x="1025" y="75"/>
                  <a:pt x="1025" y="75"/>
                  <a:pt x="1025" y="100"/>
                </a:cubicBezTo>
                <a:cubicBezTo>
                  <a:pt x="1000" y="100"/>
                  <a:pt x="974" y="125"/>
                  <a:pt x="1000" y="125"/>
                </a:cubicBezTo>
                <a:cubicBezTo>
                  <a:pt x="1025" y="150"/>
                  <a:pt x="1025" y="175"/>
                  <a:pt x="1025" y="200"/>
                </a:cubicBezTo>
                <a:cubicBezTo>
                  <a:pt x="1025" y="225"/>
                  <a:pt x="974" y="225"/>
                  <a:pt x="974" y="250"/>
                </a:cubicBezTo>
                <a:cubicBezTo>
                  <a:pt x="950" y="275"/>
                  <a:pt x="974" y="300"/>
                  <a:pt x="974" y="325"/>
                </a:cubicBezTo>
                <a:cubicBezTo>
                  <a:pt x="950" y="350"/>
                  <a:pt x="874" y="325"/>
                  <a:pt x="850" y="325"/>
                </a:cubicBezTo>
                <a:cubicBezTo>
                  <a:pt x="850" y="350"/>
                  <a:pt x="874" y="375"/>
                  <a:pt x="900" y="400"/>
                </a:cubicBezTo>
                <a:cubicBezTo>
                  <a:pt x="900" y="400"/>
                  <a:pt x="850" y="425"/>
                  <a:pt x="825" y="425"/>
                </a:cubicBezTo>
                <a:cubicBezTo>
                  <a:pt x="800" y="425"/>
                  <a:pt x="800" y="475"/>
                  <a:pt x="800" y="525"/>
                </a:cubicBezTo>
                <a:cubicBezTo>
                  <a:pt x="800" y="575"/>
                  <a:pt x="750" y="600"/>
                  <a:pt x="750" y="575"/>
                </a:cubicBezTo>
                <a:cubicBezTo>
                  <a:pt x="750" y="550"/>
                  <a:pt x="650" y="575"/>
                  <a:pt x="650" y="600"/>
                </a:cubicBezTo>
                <a:cubicBezTo>
                  <a:pt x="650" y="625"/>
                  <a:pt x="625" y="625"/>
                  <a:pt x="574" y="625"/>
                </a:cubicBezTo>
                <a:cubicBezTo>
                  <a:pt x="550" y="625"/>
                  <a:pt x="525" y="650"/>
                  <a:pt x="500" y="676"/>
                </a:cubicBezTo>
                <a:lnTo>
                  <a:pt x="525" y="750"/>
                </a:lnTo>
                <a:cubicBezTo>
                  <a:pt x="525" y="776"/>
                  <a:pt x="200" y="825"/>
                  <a:pt x="149" y="800"/>
                </a:cubicBezTo>
                <a:cubicBezTo>
                  <a:pt x="100" y="800"/>
                  <a:pt x="49" y="800"/>
                  <a:pt x="0" y="800"/>
                </a:cubicBezTo>
                <a:cubicBezTo>
                  <a:pt x="25" y="800"/>
                  <a:pt x="25" y="825"/>
                  <a:pt x="49" y="850"/>
                </a:cubicBezTo>
                <a:cubicBezTo>
                  <a:pt x="49" y="876"/>
                  <a:pt x="100" y="900"/>
                  <a:pt x="149" y="925"/>
                </a:cubicBezTo>
                <a:cubicBezTo>
                  <a:pt x="174" y="950"/>
                  <a:pt x="149" y="1025"/>
                  <a:pt x="174" y="1025"/>
                </a:cubicBezTo>
                <a:cubicBezTo>
                  <a:pt x="200" y="1025"/>
                  <a:pt x="225" y="1100"/>
                  <a:pt x="200" y="1100"/>
                </a:cubicBezTo>
                <a:cubicBezTo>
                  <a:pt x="174" y="1100"/>
                  <a:pt x="149" y="1100"/>
                  <a:pt x="125" y="1125"/>
                </a:cubicBezTo>
                <a:cubicBezTo>
                  <a:pt x="100" y="1150"/>
                  <a:pt x="49" y="1176"/>
                  <a:pt x="49" y="1225"/>
                </a:cubicBezTo>
                <a:cubicBezTo>
                  <a:pt x="49" y="1225"/>
                  <a:pt x="49" y="1225"/>
                  <a:pt x="74" y="1249"/>
                </a:cubicBezTo>
                <a:cubicBezTo>
                  <a:pt x="149" y="1249"/>
                  <a:pt x="225" y="1249"/>
                  <a:pt x="250" y="1225"/>
                </a:cubicBezTo>
                <a:cubicBezTo>
                  <a:pt x="250" y="1225"/>
                  <a:pt x="300" y="1200"/>
                  <a:pt x="300" y="1225"/>
                </a:cubicBezTo>
                <a:cubicBezTo>
                  <a:pt x="325" y="1225"/>
                  <a:pt x="425" y="1249"/>
                  <a:pt x="450" y="1225"/>
                </a:cubicBezTo>
                <a:cubicBezTo>
                  <a:pt x="500" y="1200"/>
                  <a:pt x="525" y="1225"/>
                  <a:pt x="525" y="1249"/>
                </a:cubicBezTo>
                <a:cubicBezTo>
                  <a:pt x="550" y="1274"/>
                  <a:pt x="550" y="1274"/>
                  <a:pt x="574" y="1299"/>
                </a:cubicBezTo>
                <a:cubicBezTo>
                  <a:pt x="600" y="1299"/>
                  <a:pt x="574" y="1324"/>
                  <a:pt x="600" y="1349"/>
                </a:cubicBezTo>
                <a:cubicBezTo>
                  <a:pt x="625" y="1375"/>
                  <a:pt x="650" y="1375"/>
                  <a:pt x="674" y="1399"/>
                </a:cubicBezTo>
                <a:lnTo>
                  <a:pt x="700" y="1399"/>
                </a:lnTo>
                <a:lnTo>
                  <a:pt x="700" y="1399"/>
                </a:lnTo>
                <a:cubicBezTo>
                  <a:pt x="725" y="1375"/>
                  <a:pt x="725" y="1324"/>
                  <a:pt x="774" y="1324"/>
                </a:cubicBezTo>
                <a:cubicBezTo>
                  <a:pt x="850" y="1349"/>
                  <a:pt x="850" y="1324"/>
                  <a:pt x="874" y="1324"/>
                </a:cubicBezTo>
                <a:cubicBezTo>
                  <a:pt x="900" y="1349"/>
                  <a:pt x="925" y="1324"/>
                  <a:pt x="950" y="1324"/>
                </a:cubicBezTo>
                <a:cubicBezTo>
                  <a:pt x="950" y="1299"/>
                  <a:pt x="925" y="1249"/>
                  <a:pt x="925" y="1225"/>
                </a:cubicBezTo>
                <a:cubicBezTo>
                  <a:pt x="900" y="1200"/>
                  <a:pt x="874" y="1176"/>
                  <a:pt x="874" y="1125"/>
                </a:cubicBezTo>
                <a:cubicBezTo>
                  <a:pt x="874" y="1100"/>
                  <a:pt x="825" y="1100"/>
                  <a:pt x="825" y="1076"/>
                </a:cubicBezTo>
                <a:cubicBezTo>
                  <a:pt x="825" y="1025"/>
                  <a:pt x="874" y="976"/>
                  <a:pt x="874" y="976"/>
                </a:cubicBezTo>
                <a:cubicBezTo>
                  <a:pt x="900" y="976"/>
                  <a:pt x="950" y="1000"/>
                  <a:pt x="950" y="976"/>
                </a:cubicBezTo>
                <a:cubicBezTo>
                  <a:pt x="974" y="950"/>
                  <a:pt x="1000" y="976"/>
                  <a:pt x="1025" y="976"/>
                </a:cubicBezTo>
                <a:cubicBezTo>
                  <a:pt x="1025" y="976"/>
                  <a:pt x="1074" y="950"/>
                  <a:pt x="1074" y="900"/>
                </a:cubicBezTo>
                <a:cubicBezTo>
                  <a:pt x="1074" y="876"/>
                  <a:pt x="1125" y="876"/>
                  <a:pt x="1150" y="850"/>
                </a:cubicBezTo>
                <a:cubicBezTo>
                  <a:pt x="1150" y="850"/>
                  <a:pt x="1175" y="776"/>
                  <a:pt x="1175" y="750"/>
                </a:cubicBezTo>
                <a:cubicBezTo>
                  <a:pt x="1199" y="750"/>
                  <a:pt x="1250" y="750"/>
                  <a:pt x="1250" y="725"/>
                </a:cubicBezTo>
                <a:cubicBezTo>
                  <a:pt x="1250" y="676"/>
                  <a:pt x="1250" y="676"/>
                  <a:pt x="1275" y="676"/>
                </a:cubicBezTo>
                <a:cubicBezTo>
                  <a:pt x="1300" y="650"/>
                  <a:pt x="1300" y="625"/>
                  <a:pt x="1300" y="600"/>
                </a:cubicBezTo>
                <a:cubicBezTo>
                  <a:pt x="1300" y="575"/>
                  <a:pt x="1325" y="525"/>
                  <a:pt x="1350" y="525"/>
                </a:cubicBezTo>
                <a:cubicBezTo>
                  <a:pt x="1375" y="525"/>
                  <a:pt x="1350" y="475"/>
                  <a:pt x="1300" y="475"/>
                </a:cubicBezTo>
                <a:cubicBezTo>
                  <a:pt x="1275" y="500"/>
                  <a:pt x="1250" y="400"/>
                  <a:pt x="1250" y="400"/>
                </a:cubicBezTo>
                <a:cubicBezTo>
                  <a:pt x="1250" y="400"/>
                  <a:pt x="1250" y="325"/>
                  <a:pt x="1225" y="300"/>
                </a:cubicBezTo>
                <a:cubicBezTo>
                  <a:pt x="1225" y="300"/>
                  <a:pt x="1250" y="250"/>
                  <a:pt x="1275" y="250"/>
                </a:cubicBezTo>
                <a:cubicBezTo>
                  <a:pt x="1325" y="250"/>
                  <a:pt x="1399" y="300"/>
                  <a:pt x="1425" y="275"/>
                </a:cubicBezTo>
                <a:cubicBezTo>
                  <a:pt x="1450" y="250"/>
                  <a:pt x="1500" y="250"/>
                  <a:pt x="1525" y="250"/>
                </a:cubicBezTo>
                <a:cubicBezTo>
                  <a:pt x="1525" y="225"/>
                  <a:pt x="1550" y="200"/>
                  <a:pt x="1550" y="175"/>
                </a:cubicBezTo>
                <a:cubicBezTo>
                  <a:pt x="1525" y="175"/>
                  <a:pt x="1500" y="150"/>
                  <a:pt x="147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6" name="Freeform 172">
            <a:extLst>
              <a:ext uri="{FF2B5EF4-FFF2-40B4-BE49-F238E27FC236}">
                <a16:creationId xmlns:a16="http://schemas.microsoft.com/office/drawing/2014/main" id="{17E356EB-9F39-0C4A-8149-D39E9E27C1AC}"/>
              </a:ext>
            </a:extLst>
          </p:cNvPr>
          <p:cNvSpPr>
            <a:spLocks noChangeArrowheads="1"/>
          </p:cNvSpPr>
          <p:nvPr/>
        </p:nvSpPr>
        <p:spPr bwMode="auto">
          <a:xfrm>
            <a:off x="8580829" y="4661942"/>
            <a:ext cx="1379523" cy="502028"/>
          </a:xfrm>
          <a:custGeom>
            <a:avLst/>
            <a:gdLst>
              <a:gd name="T0" fmla="*/ 374 w 4326"/>
              <a:gd name="T1" fmla="*/ 724 h 1576"/>
              <a:gd name="T2" fmla="*/ 1225 w 4326"/>
              <a:gd name="T3" fmla="*/ 849 h 1576"/>
              <a:gd name="T4" fmla="*/ 200 w 4326"/>
              <a:gd name="T5" fmla="*/ 424 h 1576"/>
              <a:gd name="T6" fmla="*/ 200 w 4326"/>
              <a:gd name="T7" fmla="*/ 424 h 1576"/>
              <a:gd name="T8" fmla="*/ 2325 w 4326"/>
              <a:gd name="T9" fmla="*/ 1000 h 1576"/>
              <a:gd name="T10" fmla="*/ 2350 w 4326"/>
              <a:gd name="T11" fmla="*/ 849 h 1576"/>
              <a:gd name="T12" fmla="*/ 2550 w 4326"/>
              <a:gd name="T13" fmla="*/ 1000 h 1576"/>
              <a:gd name="T14" fmla="*/ 2500 w 4326"/>
              <a:gd name="T15" fmla="*/ 724 h 1576"/>
              <a:gd name="T16" fmla="*/ 2350 w 4326"/>
              <a:gd name="T17" fmla="*/ 600 h 1576"/>
              <a:gd name="T18" fmla="*/ 2725 w 4326"/>
              <a:gd name="T19" fmla="*/ 475 h 1576"/>
              <a:gd name="T20" fmla="*/ 2300 w 4326"/>
              <a:gd name="T21" fmla="*/ 624 h 1576"/>
              <a:gd name="T22" fmla="*/ 1025 w 4326"/>
              <a:gd name="T23" fmla="*/ 975 h 1576"/>
              <a:gd name="T24" fmla="*/ 1074 w 4326"/>
              <a:gd name="T25" fmla="*/ 849 h 1576"/>
              <a:gd name="T26" fmla="*/ 974 w 4326"/>
              <a:gd name="T27" fmla="*/ 775 h 1576"/>
              <a:gd name="T28" fmla="*/ 900 w 4326"/>
              <a:gd name="T29" fmla="*/ 750 h 1576"/>
              <a:gd name="T30" fmla="*/ 749 w 4326"/>
              <a:gd name="T31" fmla="*/ 500 h 1576"/>
              <a:gd name="T32" fmla="*/ 600 w 4326"/>
              <a:gd name="T33" fmla="*/ 400 h 1576"/>
              <a:gd name="T34" fmla="*/ 274 w 4326"/>
              <a:gd name="T35" fmla="*/ 150 h 1576"/>
              <a:gd name="T36" fmla="*/ 149 w 4326"/>
              <a:gd name="T37" fmla="*/ 224 h 1576"/>
              <a:gd name="T38" fmla="*/ 524 w 4326"/>
              <a:gd name="T39" fmla="*/ 750 h 1576"/>
              <a:gd name="T40" fmla="*/ 874 w 4326"/>
              <a:gd name="T41" fmla="*/ 1125 h 1576"/>
              <a:gd name="T42" fmla="*/ 3150 w 4326"/>
              <a:gd name="T43" fmla="*/ 524 h 1576"/>
              <a:gd name="T44" fmla="*/ 3125 w 4326"/>
              <a:gd name="T45" fmla="*/ 450 h 1576"/>
              <a:gd name="T46" fmla="*/ 3150 w 4326"/>
              <a:gd name="T47" fmla="*/ 524 h 1576"/>
              <a:gd name="T48" fmla="*/ 3025 w 4326"/>
              <a:gd name="T49" fmla="*/ 900 h 1576"/>
              <a:gd name="T50" fmla="*/ 2700 w 4326"/>
              <a:gd name="T51" fmla="*/ 1350 h 1576"/>
              <a:gd name="T52" fmla="*/ 2475 w 4326"/>
              <a:gd name="T53" fmla="*/ 1425 h 1576"/>
              <a:gd name="T54" fmla="*/ 3275 w 4326"/>
              <a:gd name="T55" fmla="*/ 849 h 1576"/>
              <a:gd name="T56" fmla="*/ 3225 w 4326"/>
              <a:gd name="T57" fmla="*/ 900 h 1576"/>
              <a:gd name="T58" fmla="*/ 1825 w 4326"/>
              <a:gd name="T59" fmla="*/ 1325 h 1576"/>
              <a:gd name="T60" fmla="*/ 1750 w 4326"/>
              <a:gd name="T61" fmla="*/ 1225 h 1576"/>
              <a:gd name="T62" fmla="*/ 1249 w 4326"/>
              <a:gd name="T63" fmla="*/ 1150 h 1576"/>
              <a:gd name="T64" fmla="*/ 1049 w 4326"/>
              <a:gd name="T65" fmla="*/ 1225 h 1576"/>
              <a:gd name="T66" fmla="*/ 1449 w 4326"/>
              <a:gd name="T67" fmla="*/ 1325 h 1576"/>
              <a:gd name="T68" fmla="*/ 1925 w 4326"/>
              <a:gd name="T69" fmla="*/ 1375 h 1576"/>
              <a:gd name="T70" fmla="*/ 4000 w 4326"/>
              <a:gd name="T71" fmla="*/ 724 h 1576"/>
              <a:gd name="T72" fmla="*/ 3675 w 4326"/>
              <a:gd name="T73" fmla="*/ 650 h 1576"/>
              <a:gd name="T74" fmla="*/ 3425 w 4326"/>
              <a:gd name="T75" fmla="*/ 700 h 1576"/>
              <a:gd name="T76" fmla="*/ 3625 w 4326"/>
              <a:gd name="T77" fmla="*/ 800 h 1576"/>
              <a:gd name="T78" fmla="*/ 3550 w 4326"/>
              <a:gd name="T79" fmla="*/ 924 h 1576"/>
              <a:gd name="T80" fmla="*/ 3800 w 4326"/>
              <a:gd name="T81" fmla="*/ 1000 h 1576"/>
              <a:gd name="T82" fmla="*/ 4100 w 4326"/>
              <a:gd name="T83" fmla="*/ 1275 h 1576"/>
              <a:gd name="T84" fmla="*/ 4325 w 4326"/>
              <a:gd name="T85" fmla="*/ 1425 h 1576"/>
              <a:gd name="T86" fmla="*/ 2800 w 4326"/>
              <a:gd name="T87" fmla="*/ 1425 h 1576"/>
              <a:gd name="T88" fmla="*/ 2750 w 4326"/>
              <a:gd name="T89" fmla="*/ 1450 h 1576"/>
              <a:gd name="T90" fmla="*/ 2800 w 4326"/>
              <a:gd name="T91" fmla="*/ 1475 h 1576"/>
              <a:gd name="T92" fmla="*/ 2825 w 4326"/>
              <a:gd name="T93" fmla="*/ 1450 h 1576"/>
              <a:gd name="T94" fmla="*/ 2025 w 4326"/>
              <a:gd name="T95" fmla="*/ 700 h 1576"/>
              <a:gd name="T96" fmla="*/ 2174 w 4326"/>
              <a:gd name="T97" fmla="*/ 400 h 1576"/>
              <a:gd name="T98" fmla="*/ 2100 w 4326"/>
              <a:gd name="T99" fmla="*/ 175 h 1576"/>
              <a:gd name="T100" fmla="*/ 1925 w 4326"/>
              <a:gd name="T101" fmla="*/ 224 h 1576"/>
              <a:gd name="T102" fmla="*/ 1774 w 4326"/>
              <a:gd name="T103" fmla="*/ 450 h 1576"/>
              <a:gd name="T104" fmla="*/ 1474 w 4326"/>
              <a:gd name="T105" fmla="*/ 475 h 1576"/>
              <a:gd name="T106" fmla="*/ 1349 w 4326"/>
              <a:gd name="T107" fmla="*/ 375 h 1576"/>
              <a:gd name="T108" fmla="*/ 1425 w 4326"/>
              <a:gd name="T109" fmla="*/ 724 h 1576"/>
              <a:gd name="T110" fmla="*/ 1700 w 4326"/>
              <a:gd name="T111" fmla="*/ 875 h 1576"/>
              <a:gd name="T112" fmla="*/ 2025 w 4326"/>
              <a:gd name="T113" fmla="*/ 700 h 1576"/>
              <a:gd name="T114" fmla="*/ 2325 w 4326"/>
              <a:gd name="T115" fmla="*/ 1525 h 1576"/>
              <a:gd name="T116" fmla="*/ 2100 w 4326"/>
              <a:gd name="T117" fmla="*/ 1350 h 1576"/>
              <a:gd name="T118" fmla="*/ 1974 w 4326"/>
              <a:gd name="T119" fmla="*/ 1400 h 1576"/>
              <a:gd name="T120" fmla="*/ 2100 w 4326"/>
              <a:gd name="T121" fmla="*/ 135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6" h="1576">
                <a:moveTo>
                  <a:pt x="324" y="675"/>
                </a:moveTo>
                <a:lnTo>
                  <a:pt x="324" y="675"/>
                </a:lnTo>
                <a:cubicBezTo>
                  <a:pt x="324" y="675"/>
                  <a:pt x="349" y="750"/>
                  <a:pt x="374" y="724"/>
                </a:cubicBezTo>
                <a:cubicBezTo>
                  <a:pt x="400" y="700"/>
                  <a:pt x="349" y="624"/>
                  <a:pt x="324" y="675"/>
                </a:cubicBezTo>
                <a:close/>
                <a:moveTo>
                  <a:pt x="1225" y="849"/>
                </a:moveTo>
                <a:lnTo>
                  <a:pt x="1225" y="849"/>
                </a:lnTo>
                <a:cubicBezTo>
                  <a:pt x="1225" y="824"/>
                  <a:pt x="1149" y="824"/>
                  <a:pt x="1174" y="849"/>
                </a:cubicBezTo>
                <a:cubicBezTo>
                  <a:pt x="1200" y="900"/>
                  <a:pt x="1225" y="875"/>
                  <a:pt x="1225" y="849"/>
                </a:cubicBezTo>
                <a:close/>
                <a:moveTo>
                  <a:pt x="200" y="424"/>
                </a:moveTo>
                <a:lnTo>
                  <a:pt x="200" y="424"/>
                </a:lnTo>
                <a:cubicBezTo>
                  <a:pt x="174" y="450"/>
                  <a:pt x="224" y="550"/>
                  <a:pt x="249" y="500"/>
                </a:cubicBezTo>
                <a:cubicBezTo>
                  <a:pt x="274" y="475"/>
                  <a:pt x="200" y="400"/>
                  <a:pt x="200" y="424"/>
                </a:cubicBezTo>
                <a:close/>
                <a:moveTo>
                  <a:pt x="2274" y="900"/>
                </a:moveTo>
                <a:lnTo>
                  <a:pt x="2274" y="900"/>
                </a:lnTo>
                <a:cubicBezTo>
                  <a:pt x="2325" y="900"/>
                  <a:pt x="2325" y="975"/>
                  <a:pt x="2325" y="1000"/>
                </a:cubicBezTo>
                <a:cubicBezTo>
                  <a:pt x="2300" y="1050"/>
                  <a:pt x="2300" y="1125"/>
                  <a:pt x="2325" y="1125"/>
                </a:cubicBezTo>
                <a:cubicBezTo>
                  <a:pt x="2374" y="1100"/>
                  <a:pt x="2399" y="1050"/>
                  <a:pt x="2374" y="1024"/>
                </a:cubicBezTo>
                <a:cubicBezTo>
                  <a:pt x="2350" y="1000"/>
                  <a:pt x="2350" y="875"/>
                  <a:pt x="2350" y="849"/>
                </a:cubicBezTo>
                <a:cubicBezTo>
                  <a:pt x="2374" y="824"/>
                  <a:pt x="2450" y="849"/>
                  <a:pt x="2425" y="900"/>
                </a:cubicBezTo>
                <a:cubicBezTo>
                  <a:pt x="2399" y="924"/>
                  <a:pt x="2475" y="924"/>
                  <a:pt x="2475" y="975"/>
                </a:cubicBezTo>
                <a:cubicBezTo>
                  <a:pt x="2475" y="1024"/>
                  <a:pt x="2500" y="1000"/>
                  <a:pt x="2550" y="1000"/>
                </a:cubicBezTo>
                <a:cubicBezTo>
                  <a:pt x="2599" y="975"/>
                  <a:pt x="2599" y="950"/>
                  <a:pt x="2550" y="924"/>
                </a:cubicBezTo>
                <a:cubicBezTo>
                  <a:pt x="2525" y="900"/>
                  <a:pt x="2575" y="849"/>
                  <a:pt x="2550" y="824"/>
                </a:cubicBezTo>
                <a:cubicBezTo>
                  <a:pt x="2500" y="775"/>
                  <a:pt x="2475" y="750"/>
                  <a:pt x="2500" y="724"/>
                </a:cubicBezTo>
                <a:cubicBezTo>
                  <a:pt x="2550" y="724"/>
                  <a:pt x="2675" y="650"/>
                  <a:pt x="2650" y="624"/>
                </a:cubicBezTo>
                <a:cubicBezTo>
                  <a:pt x="2650" y="600"/>
                  <a:pt x="2475" y="650"/>
                  <a:pt x="2450" y="700"/>
                </a:cubicBezTo>
                <a:cubicBezTo>
                  <a:pt x="2450" y="750"/>
                  <a:pt x="2325" y="675"/>
                  <a:pt x="2350" y="600"/>
                </a:cubicBezTo>
                <a:cubicBezTo>
                  <a:pt x="2350" y="500"/>
                  <a:pt x="2599" y="500"/>
                  <a:pt x="2650" y="524"/>
                </a:cubicBezTo>
                <a:cubicBezTo>
                  <a:pt x="2725" y="550"/>
                  <a:pt x="2800" y="475"/>
                  <a:pt x="2825" y="424"/>
                </a:cubicBezTo>
                <a:cubicBezTo>
                  <a:pt x="2850" y="375"/>
                  <a:pt x="2775" y="450"/>
                  <a:pt x="2725" y="475"/>
                </a:cubicBezTo>
                <a:cubicBezTo>
                  <a:pt x="2675" y="500"/>
                  <a:pt x="2550" y="475"/>
                  <a:pt x="2475" y="450"/>
                </a:cubicBezTo>
                <a:cubicBezTo>
                  <a:pt x="2425" y="424"/>
                  <a:pt x="2425" y="475"/>
                  <a:pt x="2374" y="500"/>
                </a:cubicBezTo>
                <a:cubicBezTo>
                  <a:pt x="2325" y="500"/>
                  <a:pt x="2325" y="624"/>
                  <a:pt x="2300" y="624"/>
                </a:cubicBezTo>
                <a:cubicBezTo>
                  <a:pt x="2274" y="650"/>
                  <a:pt x="2274" y="724"/>
                  <a:pt x="2225" y="800"/>
                </a:cubicBezTo>
                <a:cubicBezTo>
                  <a:pt x="2174" y="900"/>
                  <a:pt x="2250" y="900"/>
                  <a:pt x="2274" y="900"/>
                </a:cubicBezTo>
                <a:close/>
                <a:moveTo>
                  <a:pt x="1025" y="975"/>
                </a:moveTo>
                <a:lnTo>
                  <a:pt x="1025" y="975"/>
                </a:lnTo>
                <a:cubicBezTo>
                  <a:pt x="1025" y="950"/>
                  <a:pt x="1025" y="900"/>
                  <a:pt x="1025" y="875"/>
                </a:cubicBezTo>
                <a:cubicBezTo>
                  <a:pt x="1025" y="849"/>
                  <a:pt x="1049" y="849"/>
                  <a:pt x="1074" y="849"/>
                </a:cubicBezTo>
                <a:cubicBezTo>
                  <a:pt x="1099" y="875"/>
                  <a:pt x="1099" y="800"/>
                  <a:pt x="1074" y="800"/>
                </a:cubicBezTo>
                <a:cubicBezTo>
                  <a:pt x="1049" y="800"/>
                  <a:pt x="1049" y="724"/>
                  <a:pt x="1000" y="724"/>
                </a:cubicBezTo>
                <a:cubicBezTo>
                  <a:pt x="949" y="724"/>
                  <a:pt x="949" y="775"/>
                  <a:pt x="974" y="775"/>
                </a:cubicBezTo>
                <a:cubicBezTo>
                  <a:pt x="1000" y="775"/>
                  <a:pt x="1025" y="800"/>
                  <a:pt x="1025" y="800"/>
                </a:cubicBezTo>
                <a:cubicBezTo>
                  <a:pt x="1000" y="824"/>
                  <a:pt x="1000" y="800"/>
                  <a:pt x="949" y="800"/>
                </a:cubicBezTo>
                <a:cubicBezTo>
                  <a:pt x="925" y="800"/>
                  <a:pt x="949" y="750"/>
                  <a:pt x="900" y="750"/>
                </a:cubicBezTo>
                <a:cubicBezTo>
                  <a:pt x="849" y="750"/>
                  <a:pt x="874" y="650"/>
                  <a:pt x="825" y="650"/>
                </a:cubicBezTo>
                <a:cubicBezTo>
                  <a:pt x="774" y="650"/>
                  <a:pt x="774" y="624"/>
                  <a:pt x="800" y="600"/>
                </a:cubicBezTo>
                <a:cubicBezTo>
                  <a:pt x="825" y="575"/>
                  <a:pt x="749" y="550"/>
                  <a:pt x="749" y="500"/>
                </a:cubicBezTo>
                <a:cubicBezTo>
                  <a:pt x="749" y="475"/>
                  <a:pt x="700" y="500"/>
                  <a:pt x="700" y="475"/>
                </a:cubicBezTo>
                <a:cubicBezTo>
                  <a:pt x="700" y="450"/>
                  <a:pt x="674" y="450"/>
                  <a:pt x="649" y="424"/>
                </a:cubicBezTo>
                <a:cubicBezTo>
                  <a:pt x="624" y="375"/>
                  <a:pt x="624" y="424"/>
                  <a:pt x="600" y="400"/>
                </a:cubicBezTo>
                <a:cubicBezTo>
                  <a:pt x="574" y="375"/>
                  <a:pt x="549" y="350"/>
                  <a:pt x="524" y="350"/>
                </a:cubicBezTo>
                <a:cubicBezTo>
                  <a:pt x="500" y="375"/>
                  <a:pt x="449" y="324"/>
                  <a:pt x="449" y="275"/>
                </a:cubicBezTo>
                <a:cubicBezTo>
                  <a:pt x="424" y="250"/>
                  <a:pt x="300" y="175"/>
                  <a:pt x="274" y="150"/>
                </a:cubicBezTo>
                <a:cubicBezTo>
                  <a:pt x="274" y="100"/>
                  <a:pt x="224" y="75"/>
                  <a:pt x="149" y="75"/>
                </a:cubicBezTo>
                <a:cubicBezTo>
                  <a:pt x="74" y="75"/>
                  <a:pt x="49" y="0"/>
                  <a:pt x="24" y="50"/>
                </a:cubicBezTo>
                <a:cubicBezTo>
                  <a:pt x="0" y="75"/>
                  <a:pt x="100" y="200"/>
                  <a:pt x="149" y="224"/>
                </a:cubicBezTo>
                <a:cubicBezTo>
                  <a:pt x="200" y="250"/>
                  <a:pt x="224" y="350"/>
                  <a:pt x="274" y="350"/>
                </a:cubicBezTo>
                <a:cubicBezTo>
                  <a:pt x="349" y="350"/>
                  <a:pt x="349" y="524"/>
                  <a:pt x="374" y="550"/>
                </a:cubicBezTo>
                <a:cubicBezTo>
                  <a:pt x="424" y="550"/>
                  <a:pt x="524" y="675"/>
                  <a:pt x="524" y="750"/>
                </a:cubicBezTo>
                <a:cubicBezTo>
                  <a:pt x="549" y="824"/>
                  <a:pt x="624" y="875"/>
                  <a:pt x="674" y="924"/>
                </a:cubicBezTo>
                <a:cubicBezTo>
                  <a:pt x="700" y="975"/>
                  <a:pt x="825" y="1050"/>
                  <a:pt x="825" y="1075"/>
                </a:cubicBezTo>
                <a:cubicBezTo>
                  <a:pt x="849" y="1100"/>
                  <a:pt x="874" y="1150"/>
                  <a:pt x="874" y="1125"/>
                </a:cubicBezTo>
                <a:cubicBezTo>
                  <a:pt x="900" y="1100"/>
                  <a:pt x="949" y="1125"/>
                  <a:pt x="974" y="1125"/>
                </a:cubicBezTo>
                <a:cubicBezTo>
                  <a:pt x="1000" y="1125"/>
                  <a:pt x="1025" y="1024"/>
                  <a:pt x="1025" y="975"/>
                </a:cubicBezTo>
                <a:close/>
                <a:moveTo>
                  <a:pt x="3150" y="524"/>
                </a:moveTo>
                <a:lnTo>
                  <a:pt x="3150" y="524"/>
                </a:lnTo>
                <a:cubicBezTo>
                  <a:pt x="3200" y="550"/>
                  <a:pt x="3175" y="500"/>
                  <a:pt x="3175" y="475"/>
                </a:cubicBezTo>
                <a:cubicBezTo>
                  <a:pt x="3175" y="424"/>
                  <a:pt x="3125" y="450"/>
                  <a:pt x="3125" y="450"/>
                </a:cubicBezTo>
                <a:cubicBezTo>
                  <a:pt x="3125" y="424"/>
                  <a:pt x="3100" y="350"/>
                  <a:pt x="3050" y="400"/>
                </a:cubicBezTo>
                <a:cubicBezTo>
                  <a:pt x="3000" y="475"/>
                  <a:pt x="3075" y="624"/>
                  <a:pt x="3100" y="600"/>
                </a:cubicBezTo>
                <a:cubicBezTo>
                  <a:pt x="3125" y="600"/>
                  <a:pt x="3075" y="524"/>
                  <a:pt x="3150" y="524"/>
                </a:cubicBezTo>
                <a:close/>
                <a:moveTo>
                  <a:pt x="2900" y="875"/>
                </a:moveTo>
                <a:lnTo>
                  <a:pt x="2900" y="875"/>
                </a:lnTo>
                <a:cubicBezTo>
                  <a:pt x="2925" y="924"/>
                  <a:pt x="3000" y="950"/>
                  <a:pt x="3025" y="900"/>
                </a:cubicBezTo>
                <a:cubicBezTo>
                  <a:pt x="3050" y="875"/>
                  <a:pt x="2900" y="824"/>
                  <a:pt x="2900" y="875"/>
                </a:cubicBezTo>
                <a:close/>
                <a:moveTo>
                  <a:pt x="2700" y="1350"/>
                </a:moveTo>
                <a:lnTo>
                  <a:pt x="2700" y="1350"/>
                </a:lnTo>
                <a:cubicBezTo>
                  <a:pt x="2625" y="1350"/>
                  <a:pt x="2575" y="1400"/>
                  <a:pt x="2500" y="1375"/>
                </a:cubicBezTo>
                <a:cubicBezTo>
                  <a:pt x="2425" y="1350"/>
                  <a:pt x="2300" y="1375"/>
                  <a:pt x="2325" y="1400"/>
                </a:cubicBezTo>
                <a:cubicBezTo>
                  <a:pt x="2325" y="1425"/>
                  <a:pt x="2399" y="1425"/>
                  <a:pt x="2475" y="1425"/>
                </a:cubicBezTo>
                <a:cubicBezTo>
                  <a:pt x="2550" y="1425"/>
                  <a:pt x="2599" y="1375"/>
                  <a:pt x="2650" y="1375"/>
                </a:cubicBezTo>
                <a:cubicBezTo>
                  <a:pt x="2700" y="1375"/>
                  <a:pt x="2775" y="1350"/>
                  <a:pt x="2700" y="1350"/>
                </a:cubicBezTo>
                <a:close/>
                <a:moveTo>
                  <a:pt x="3275" y="849"/>
                </a:moveTo>
                <a:lnTo>
                  <a:pt x="3275" y="849"/>
                </a:lnTo>
                <a:cubicBezTo>
                  <a:pt x="3225" y="824"/>
                  <a:pt x="3100" y="824"/>
                  <a:pt x="3100" y="875"/>
                </a:cubicBezTo>
                <a:cubicBezTo>
                  <a:pt x="3125" y="900"/>
                  <a:pt x="3175" y="900"/>
                  <a:pt x="3225" y="900"/>
                </a:cubicBezTo>
                <a:cubicBezTo>
                  <a:pt x="3300" y="900"/>
                  <a:pt x="3325" y="924"/>
                  <a:pt x="3350" y="924"/>
                </a:cubicBezTo>
                <a:cubicBezTo>
                  <a:pt x="3375" y="924"/>
                  <a:pt x="3350" y="875"/>
                  <a:pt x="3275" y="849"/>
                </a:cubicBezTo>
                <a:close/>
                <a:moveTo>
                  <a:pt x="1825" y="1325"/>
                </a:moveTo>
                <a:lnTo>
                  <a:pt x="1825" y="1325"/>
                </a:lnTo>
                <a:cubicBezTo>
                  <a:pt x="1825" y="1275"/>
                  <a:pt x="1700" y="1325"/>
                  <a:pt x="1650" y="1300"/>
                </a:cubicBezTo>
                <a:cubicBezTo>
                  <a:pt x="1600" y="1275"/>
                  <a:pt x="1725" y="1250"/>
                  <a:pt x="1750" y="1225"/>
                </a:cubicBezTo>
                <a:cubicBezTo>
                  <a:pt x="1800" y="1200"/>
                  <a:pt x="1725" y="1200"/>
                  <a:pt x="1650" y="1225"/>
                </a:cubicBezTo>
                <a:cubicBezTo>
                  <a:pt x="1549" y="1250"/>
                  <a:pt x="1449" y="1175"/>
                  <a:pt x="1449" y="1200"/>
                </a:cubicBezTo>
                <a:cubicBezTo>
                  <a:pt x="1449" y="1250"/>
                  <a:pt x="1274" y="1200"/>
                  <a:pt x="1249" y="1150"/>
                </a:cubicBezTo>
                <a:cubicBezTo>
                  <a:pt x="1200" y="1125"/>
                  <a:pt x="1049" y="1100"/>
                  <a:pt x="1025" y="1150"/>
                </a:cubicBezTo>
                <a:cubicBezTo>
                  <a:pt x="1000" y="1200"/>
                  <a:pt x="974" y="1150"/>
                  <a:pt x="974" y="1200"/>
                </a:cubicBezTo>
                <a:cubicBezTo>
                  <a:pt x="1000" y="1250"/>
                  <a:pt x="1025" y="1225"/>
                  <a:pt x="1049" y="1225"/>
                </a:cubicBezTo>
                <a:cubicBezTo>
                  <a:pt x="1074" y="1225"/>
                  <a:pt x="1074" y="1275"/>
                  <a:pt x="1099" y="1275"/>
                </a:cubicBezTo>
                <a:cubicBezTo>
                  <a:pt x="1149" y="1275"/>
                  <a:pt x="1249" y="1300"/>
                  <a:pt x="1274" y="1275"/>
                </a:cubicBezTo>
                <a:cubicBezTo>
                  <a:pt x="1274" y="1250"/>
                  <a:pt x="1400" y="1275"/>
                  <a:pt x="1449" y="1325"/>
                </a:cubicBezTo>
                <a:cubicBezTo>
                  <a:pt x="1500" y="1375"/>
                  <a:pt x="1625" y="1375"/>
                  <a:pt x="1674" y="1375"/>
                </a:cubicBezTo>
                <a:cubicBezTo>
                  <a:pt x="1725" y="1350"/>
                  <a:pt x="1774" y="1400"/>
                  <a:pt x="1800" y="1375"/>
                </a:cubicBezTo>
                <a:cubicBezTo>
                  <a:pt x="1825" y="1350"/>
                  <a:pt x="1850" y="1425"/>
                  <a:pt x="1925" y="1375"/>
                </a:cubicBezTo>
                <a:cubicBezTo>
                  <a:pt x="1974" y="1325"/>
                  <a:pt x="1825" y="1350"/>
                  <a:pt x="1825" y="1325"/>
                </a:cubicBezTo>
                <a:close/>
                <a:moveTo>
                  <a:pt x="4000" y="724"/>
                </a:moveTo>
                <a:lnTo>
                  <a:pt x="4000" y="724"/>
                </a:lnTo>
                <a:cubicBezTo>
                  <a:pt x="3975" y="724"/>
                  <a:pt x="3950" y="800"/>
                  <a:pt x="3925" y="800"/>
                </a:cubicBezTo>
                <a:cubicBezTo>
                  <a:pt x="3900" y="800"/>
                  <a:pt x="3850" y="875"/>
                  <a:pt x="3775" y="875"/>
                </a:cubicBezTo>
                <a:cubicBezTo>
                  <a:pt x="3700" y="900"/>
                  <a:pt x="3700" y="700"/>
                  <a:pt x="3675" y="650"/>
                </a:cubicBezTo>
                <a:cubicBezTo>
                  <a:pt x="3650" y="600"/>
                  <a:pt x="3475" y="575"/>
                  <a:pt x="3450" y="624"/>
                </a:cubicBezTo>
                <a:cubicBezTo>
                  <a:pt x="3450" y="675"/>
                  <a:pt x="3375" y="650"/>
                  <a:pt x="3375" y="675"/>
                </a:cubicBezTo>
                <a:cubicBezTo>
                  <a:pt x="3375" y="724"/>
                  <a:pt x="3400" y="700"/>
                  <a:pt x="3425" y="700"/>
                </a:cubicBezTo>
                <a:cubicBezTo>
                  <a:pt x="3475" y="700"/>
                  <a:pt x="3475" y="750"/>
                  <a:pt x="3475" y="775"/>
                </a:cubicBezTo>
                <a:cubicBezTo>
                  <a:pt x="3500" y="800"/>
                  <a:pt x="3600" y="775"/>
                  <a:pt x="3625" y="775"/>
                </a:cubicBezTo>
                <a:cubicBezTo>
                  <a:pt x="3675" y="775"/>
                  <a:pt x="3675" y="824"/>
                  <a:pt x="3625" y="800"/>
                </a:cubicBezTo>
                <a:cubicBezTo>
                  <a:pt x="3575" y="800"/>
                  <a:pt x="3575" y="824"/>
                  <a:pt x="3550" y="824"/>
                </a:cubicBezTo>
                <a:cubicBezTo>
                  <a:pt x="3500" y="824"/>
                  <a:pt x="3475" y="824"/>
                  <a:pt x="3475" y="849"/>
                </a:cubicBezTo>
                <a:cubicBezTo>
                  <a:pt x="3500" y="849"/>
                  <a:pt x="3550" y="875"/>
                  <a:pt x="3550" y="924"/>
                </a:cubicBezTo>
                <a:cubicBezTo>
                  <a:pt x="3550" y="975"/>
                  <a:pt x="3600" y="950"/>
                  <a:pt x="3600" y="924"/>
                </a:cubicBezTo>
                <a:cubicBezTo>
                  <a:pt x="3600" y="875"/>
                  <a:pt x="3650" y="924"/>
                  <a:pt x="3700" y="950"/>
                </a:cubicBezTo>
                <a:cubicBezTo>
                  <a:pt x="3775" y="975"/>
                  <a:pt x="3725" y="1000"/>
                  <a:pt x="3800" y="1000"/>
                </a:cubicBezTo>
                <a:cubicBezTo>
                  <a:pt x="3850" y="1000"/>
                  <a:pt x="4000" y="1050"/>
                  <a:pt x="4050" y="1075"/>
                </a:cubicBezTo>
                <a:cubicBezTo>
                  <a:pt x="4100" y="1125"/>
                  <a:pt x="4075" y="1150"/>
                  <a:pt x="4100" y="1200"/>
                </a:cubicBezTo>
                <a:cubicBezTo>
                  <a:pt x="4150" y="1225"/>
                  <a:pt x="4150" y="1275"/>
                  <a:pt x="4100" y="1275"/>
                </a:cubicBezTo>
                <a:cubicBezTo>
                  <a:pt x="4050" y="1275"/>
                  <a:pt x="4000" y="1325"/>
                  <a:pt x="4025" y="1350"/>
                </a:cubicBezTo>
                <a:cubicBezTo>
                  <a:pt x="4025" y="1375"/>
                  <a:pt x="4200" y="1350"/>
                  <a:pt x="4225" y="1350"/>
                </a:cubicBezTo>
                <a:cubicBezTo>
                  <a:pt x="4250" y="1350"/>
                  <a:pt x="4275" y="1375"/>
                  <a:pt x="4325" y="1425"/>
                </a:cubicBezTo>
                <a:cubicBezTo>
                  <a:pt x="4325" y="824"/>
                  <a:pt x="4325" y="824"/>
                  <a:pt x="4325" y="824"/>
                </a:cubicBezTo>
                <a:cubicBezTo>
                  <a:pt x="4200" y="775"/>
                  <a:pt x="4050" y="700"/>
                  <a:pt x="4000" y="724"/>
                </a:cubicBezTo>
                <a:close/>
                <a:moveTo>
                  <a:pt x="2800" y="1425"/>
                </a:moveTo>
                <a:lnTo>
                  <a:pt x="2800" y="1425"/>
                </a:lnTo>
                <a:cubicBezTo>
                  <a:pt x="2800" y="1425"/>
                  <a:pt x="2800" y="1425"/>
                  <a:pt x="2775" y="1425"/>
                </a:cubicBezTo>
                <a:cubicBezTo>
                  <a:pt x="2775" y="1450"/>
                  <a:pt x="2775" y="1450"/>
                  <a:pt x="2750" y="1450"/>
                </a:cubicBezTo>
                <a:cubicBezTo>
                  <a:pt x="2750" y="1475"/>
                  <a:pt x="2750" y="1450"/>
                  <a:pt x="2725" y="1450"/>
                </a:cubicBezTo>
                <a:cubicBezTo>
                  <a:pt x="2675" y="1450"/>
                  <a:pt x="2650" y="1525"/>
                  <a:pt x="2675" y="1550"/>
                </a:cubicBezTo>
                <a:cubicBezTo>
                  <a:pt x="2725" y="1575"/>
                  <a:pt x="2775" y="1525"/>
                  <a:pt x="2800" y="1475"/>
                </a:cubicBezTo>
                <a:lnTo>
                  <a:pt x="2825" y="1475"/>
                </a:lnTo>
                <a:cubicBezTo>
                  <a:pt x="2825" y="1450"/>
                  <a:pt x="2825" y="1450"/>
                  <a:pt x="2825" y="1450"/>
                </a:cubicBezTo>
                <a:lnTo>
                  <a:pt x="2825" y="1450"/>
                </a:lnTo>
                <a:cubicBezTo>
                  <a:pt x="2825" y="1425"/>
                  <a:pt x="2825" y="1425"/>
                  <a:pt x="2800" y="1425"/>
                </a:cubicBezTo>
                <a:close/>
                <a:moveTo>
                  <a:pt x="2025" y="700"/>
                </a:moveTo>
                <a:lnTo>
                  <a:pt x="2025" y="700"/>
                </a:lnTo>
                <a:cubicBezTo>
                  <a:pt x="2074" y="675"/>
                  <a:pt x="2100" y="624"/>
                  <a:pt x="2100" y="550"/>
                </a:cubicBezTo>
                <a:cubicBezTo>
                  <a:pt x="2074" y="500"/>
                  <a:pt x="2200" y="500"/>
                  <a:pt x="2225" y="475"/>
                </a:cubicBezTo>
                <a:cubicBezTo>
                  <a:pt x="2250" y="450"/>
                  <a:pt x="2200" y="424"/>
                  <a:pt x="2174" y="400"/>
                </a:cubicBezTo>
                <a:cubicBezTo>
                  <a:pt x="2125" y="375"/>
                  <a:pt x="2150" y="350"/>
                  <a:pt x="2125" y="324"/>
                </a:cubicBezTo>
                <a:cubicBezTo>
                  <a:pt x="2100" y="300"/>
                  <a:pt x="2074" y="250"/>
                  <a:pt x="2100" y="250"/>
                </a:cubicBezTo>
                <a:cubicBezTo>
                  <a:pt x="2150" y="250"/>
                  <a:pt x="2074" y="200"/>
                  <a:pt x="2100" y="175"/>
                </a:cubicBezTo>
                <a:cubicBezTo>
                  <a:pt x="2125" y="175"/>
                  <a:pt x="2125" y="175"/>
                  <a:pt x="2125" y="175"/>
                </a:cubicBezTo>
                <a:cubicBezTo>
                  <a:pt x="2100" y="150"/>
                  <a:pt x="2100" y="150"/>
                  <a:pt x="2074" y="150"/>
                </a:cubicBezTo>
                <a:cubicBezTo>
                  <a:pt x="2025" y="150"/>
                  <a:pt x="1925" y="150"/>
                  <a:pt x="1925" y="224"/>
                </a:cubicBezTo>
                <a:cubicBezTo>
                  <a:pt x="1950" y="275"/>
                  <a:pt x="1874" y="250"/>
                  <a:pt x="1874" y="300"/>
                </a:cubicBezTo>
                <a:cubicBezTo>
                  <a:pt x="1874" y="324"/>
                  <a:pt x="1850" y="324"/>
                  <a:pt x="1850" y="375"/>
                </a:cubicBezTo>
                <a:cubicBezTo>
                  <a:pt x="1850" y="424"/>
                  <a:pt x="1825" y="424"/>
                  <a:pt x="1774" y="450"/>
                </a:cubicBezTo>
                <a:cubicBezTo>
                  <a:pt x="1725" y="475"/>
                  <a:pt x="1725" y="424"/>
                  <a:pt x="1674" y="424"/>
                </a:cubicBezTo>
                <a:cubicBezTo>
                  <a:pt x="1625" y="424"/>
                  <a:pt x="1625" y="450"/>
                  <a:pt x="1574" y="475"/>
                </a:cubicBezTo>
                <a:cubicBezTo>
                  <a:pt x="1549" y="475"/>
                  <a:pt x="1474" y="450"/>
                  <a:pt x="1474" y="475"/>
                </a:cubicBezTo>
                <a:cubicBezTo>
                  <a:pt x="1449" y="500"/>
                  <a:pt x="1400" y="424"/>
                  <a:pt x="1374" y="424"/>
                </a:cubicBezTo>
                <a:cubicBezTo>
                  <a:pt x="1374" y="424"/>
                  <a:pt x="1374" y="400"/>
                  <a:pt x="1349" y="375"/>
                </a:cubicBezTo>
                <a:lnTo>
                  <a:pt x="1349" y="375"/>
                </a:lnTo>
                <a:cubicBezTo>
                  <a:pt x="1300" y="375"/>
                  <a:pt x="1249" y="475"/>
                  <a:pt x="1274" y="500"/>
                </a:cubicBezTo>
                <a:cubicBezTo>
                  <a:pt x="1325" y="550"/>
                  <a:pt x="1325" y="600"/>
                  <a:pt x="1325" y="624"/>
                </a:cubicBezTo>
                <a:cubicBezTo>
                  <a:pt x="1349" y="675"/>
                  <a:pt x="1425" y="675"/>
                  <a:pt x="1425" y="724"/>
                </a:cubicBezTo>
                <a:cubicBezTo>
                  <a:pt x="1425" y="800"/>
                  <a:pt x="1474" y="875"/>
                  <a:pt x="1500" y="849"/>
                </a:cubicBezTo>
                <a:cubicBezTo>
                  <a:pt x="1549" y="824"/>
                  <a:pt x="1574" y="875"/>
                  <a:pt x="1574" y="900"/>
                </a:cubicBezTo>
                <a:cubicBezTo>
                  <a:pt x="1600" y="924"/>
                  <a:pt x="1674" y="875"/>
                  <a:pt x="1700" y="875"/>
                </a:cubicBezTo>
                <a:cubicBezTo>
                  <a:pt x="1725" y="875"/>
                  <a:pt x="1825" y="900"/>
                  <a:pt x="1825" y="924"/>
                </a:cubicBezTo>
                <a:cubicBezTo>
                  <a:pt x="1825" y="975"/>
                  <a:pt x="1900" y="924"/>
                  <a:pt x="1950" y="900"/>
                </a:cubicBezTo>
                <a:cubicBezTo>
                  <a:pt x="2025" y="900"/>
                  <a:pt x="1974" y="724"/>
                  <a:pt x="2025" y="700"/>
                </a:cubicBezTo>
                <a:close/>
                <a:moveTo>
                  <a:pt x="2250" y="1475"/>
                </a:moveTo>
                <a:lnTo>
                  <a:pt x="2250" y="1475"/>
                </a:lnTo>
                <a:cubicBezTo>
                  <a:pt x="2250" y="1500"/>
                  <a:pt x="2300" y="1500"/>
                  <a:pt x="2325" y="1525"/>
                </a:cubicBezTo>
                <a:cubicBezTo>
                  <a:pt x="2350" y="1550"/>
                  <a:pt x="2425" y="1575"/>
                  <a:pt x="2425" y="1525"/>
                </a:cubicBezTo>
                <a:cubicBezTo>
                  <a:pt x="2425" y="1475"/>
                  <a:pt x="2225" y="1450"/>
                  <a:pt x="2250" y="1475"/>
                </a:cubicBezTo>
                <a:close/>
                <a:moveTo>
                  <a:pt x="2100" y="1350"/>
                </a:moveTo>
                <a:lnTo>
                  <a:pt x="2100" y="1350"/>
                </a:lnTo>
                <a:cubicBezTo>
                  <a:pt x="2100" y="1375"/>
                  <a:pt x="2050" y="1375"/>
                  <a:pt x="2025" y="1350"/>
                </a:cubicBezTo>
                <a:cubicBezTo>
                  <a:pt x="2000" y="1325"/>
                  <a:pt x="1950" y="1375"/>
                  <a:pt x="1974" y="1400"/>
                </a:cubicBezTo>
                <a:cubicBezTo>
                  <a:pt x="1974" y="1425"/>
                  <a:pt x="2050" y="1450"/>
                  <a:pt x="2100" y="1425"/>
                </a:cubicBezTo>
                <a:cubicBezTo>
                  <a:pt x="2174" y="1400"/>
                  <a:pt x="2225" y="1425"/>
                  <a:pt x="2250" y="1400"/>
                </a:cubicBezTo>
                <a:cubicBezTo>
                  <a:pt x="2250" y="1350"/>
                  <a:pt x="2125" y="1325"/>
                  <a:pt x="2100" y="13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7" name="Freeform 173">
            <a:extLst>
              <a:ext uri="{FF2B5EF4-FFF2-40B4-BE49-F238E27FC236}">
                <a16:creationId xmlns:a16="http://schemas.microsoft.com/office/drawing/2014/main" id="{8A9A80C4-F861-6141-A870-24B86C4A46A8}"/>
              </a:ext>
            </a:extLst>
          </p:cNvPr>
          <p:cNvSpPr>
            <a:spLocks noChangeArrowheads="1"/>
          </p:cNvSpPr>
          <p:nvPr/>
        </p:nvSpPr>
        <p:spPr bwMode="auto">
          <a:xfrm>
            <a:off x="9449887" y="5083814"/>
            <a:ext cx="104061" cy="47812"/>
          </a:xfrm>
          <a:custGeom>
            <a:avLst/>
            <a:gdLst>
              <a:gd name="T0" fmla="*/ 25 w 326"/>
              <a:gd name="T1" fmla="*/ 100 h 151"/>
              <a:gd name="T2" fmla="*/ 25 w 326"/>
              <a:gd name="T3" fmla="*/ 100 h 151"/>
              <a:gd name="T4" fmla="*/ 0 w 326"/>
              <a:gd name="T5" fmla="*/ 125 h 151"/>
              <a:gd name="T6" fmla="*/ 25 w 326"/>
              <a:gd name="T7" fmla="*/ 125 h 151"/>
              <a:gd name="T8" fmla="*/ 50 w 326"/>
              <a:gd name="T9" fmla="*/ 100 h 151"/>
              <a:gd name="T10" fmla="*/ 50 w 326"/>
              <a:gd name="T11" fmla="*/ 100 h 151"/>
              <a:gd name="T12" fmla="*/ 25 w 326"/>
              <a:gd name="T13" fmla="*/ 100 h 151"/>
              <a:gd name="T14" fmla="*/ 175 w 326"/>
              <a:gd name="T15" fmla="*/ 25 h 151"/>
              <a:gd name="T16" fmla="*/ 175 w 326"/>
              <a:gd name="T17" fmla="*/ 25 h 151"/>
              <a:gd name="T18" fmla="*/ 100 w 326"/>
              <a:gd name="T19" fmla="*/ 75 h 151"/>
              <a:gd name="T20" fmla="*/ 75 w 326"/>
              <a:gd name="T21" fmla="*/ 100 h 151"/>
              <a:gd name="T22" fmla="*/ 100 w 326"/>
              <a:gd name="T23" fmla="*/ 125 h 151"/>
              <a:gd name="T24" fmla="*/ 300 w 326"/>
              <a:gd name="T25" fmla="*/ 25 h 151"/>
              <a:gd name="T26" fmla="*/ 175 w 326"/>
              <a:gd name="T27" fmla="*/ 2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151">
                <a:moveTo>
                  <a:pt x="25" y="100"/>
                </a:moveTo>
                <a:lnTo>
                  <a:pt x="25" y="100"/>
                </a:lnTo>
                <a:cubicBezTo>
                  <a:pt x="25" y="100"/>
                  <a:pt x="25" y="100"/>
                  <a:pt x="0" y="125"/>
                </a:cubicBezTo>
                <a:cubicBezTo>
                  <a:pt x="25" y="125"/>
                  <a:pt x="25" y="150"/>
                  <a:pt x="25" y="125"/>
                </a:cubicBezTo>
                <a:cubicBezTo>
                  <a:pt x="50" y="125"/>
                  <a:pt x="50" y="125"/>
                  <a:pt x="50" y="100"/>
                </a:cubicBezTo>
                <a:lnTo>
                  <a:pt x="50" y="100"/>
                </a:lnTo>
                <a:lnTo>
                  <a:pt x="25" y="100"/>
                </a:lnTo>
                <a:close/>
                <a:moveTo>
                  <a:pt x="175" y="25"/>
                </a:moveTo>
                <a:lnTo>
                  <a:pt x="175" y="25"/>
                </a:lnTo>
                <a:cubicBezTo>
                  <a:pt x="125" y="25"/>
                  <a:pt x="125" y="75"/>
                  <a:pt x="100" y="75"/>
                </a:cubicBezTo>
                <a:cubicBezTo>
                  <a:pt x="75" y="100"/>
                  <a:pt x="75" y="100"/>
                  <a:pt x="75" y="100"/>
                </a:cubicBezTo>
                <a:cubicBezTo>
                  <a:pt x="100" y="100"/>
                  <a:pt x="100" y="100"/>
                  <a:pt x="100" y="125"/>
                </a:cubicBezTo>
                <a:cubicBezTo>
                  <a:pt x="175" y="100"/>
                  <a:pt x="300" y="50"/>
                  <a:pt x="300" y="25"/>
                </a:cubicBezTo>
                <a:cubicBezTo>
                  <a:pt x="325" y="0"/>
                  <a:pt x="225" y="50"/>
                  <a:pt x="175" y="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9" name="Freeform 175">
            <a:extLst>
              <a:ext uri="{FF2B5EF4-FFF2-40B4-BE49-F238E27FC236}">
                <a16:creationId xmlns:a16="http://schemas.microsoft.com/office/drawing/2014/main" id="{B9A0FE01-AA32-0143-874B-62DD9B8BE1C0}"/>
              </a:ext>
            </a:extLst>
          </p:cNvPr>
          <p:cNvSpPr>
            <a:spLocks noChangeArrowheads="1"/>
          </p:cNvSpPr>
          <p:nvPr/>
        </p:nvSpPr>
        <p:spPr bwMode="auto">
          <a:xfrm>
            <a:off x="6315377" y="3432886"/>
            <a:ext cx="32343" cy="47812"/>
          </a:xfrm>
          <a:custGeom>
            <a:avLst/>
            <a:gdLst>
              <a:gd name="T0" fmla="*/ 25 w 101"/>
              <a:gd name="T1" fmla="*/ 0 h 151"/>
              <a:gd name="T2" fmla="*/ 25 w 101"/>
              <a:gd name="T3" fmla="*/ 0 h 151"/>
              <a:gd name="T4" fmla="*/ 0 w 101"/>
              <a:gd name="T5" fmla="*/ 75 h 151"/>
              <a:gd name="T6" fmla="*/ 0 w 101"/>
              <a:gd name="T7" fmla="*/ 100 h 151"/>
              <a:gd name="T8" fmla="*/ 50 w 101"/>
              <a:gd name="T9" fmla="*/ 150 h 151"/>
              <a:gd name="T10" fmla="*/ 74 w 101"/>
              <a:gd name="T11" fmla="*/ 150 h 151"/>
              <a:gd name="T12" fmla="*/ 100 w 101"/>
              <a:gd name="T13" fmla="*/ 100 h 151"/>
              <a:gd name="T14" fmla="*/ 25 w 101"/>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51">
                <a:moveTo>
                  <a:pt x="25" y="0"/>
                </a:moveTo>
                <a:lnTo>
                  <a:pt x="25" y="0"/>
                </a:lnTo>
                <a:cubicBezTo>
                  <a:pt x="25" y="25"/>
                  <a:pt x="0" y="75"/>
                  <a:pt x="0" y="75"/>
                </a:cubicBezTo>
                <a:lnTo>
                  <a:pt x="0" y="100"/>
                </a:lnTo>
                <a:cubicBezTo>
                  <a:pt x="25" y="125"/>
                  <a:pt x="50" y="150"/>
                  <a:pt x="50" y="150"/>
                </a:cubicBezTo>
                <a:cubicBezTo>
                  <a:pt x="50" y="150"/>
                  <a:pt x="50" y="150"/>
                  <a:pt x="74" y="150"/>
                </a:cubicBezTo>
                <a:cubicBezTo>
                  <a:pt x="74" y="125"/>
                  <a:pt x="100" y="100"/>
                  <a:pt x="100" y="100"/>
                </a:cubicBezTo>
                <a:cubicBezTo>
                  <a:pt x="74" y="75"/>
                  <a:pt x="50" y="25"/>
                  <a:pt x="25"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0" name="Freeform 176">
            <a:extLst>
              <a:ext uri="{FF2B5EF4-FFF2-40B4-BE49-F238E27FC236}">
                <a16:creationId xmlns:a16="http://schemas.microsoft.com/office/drawing/2014/main" id="{3878B4F8-8CC5-EC4D-A228-F8667F1A98D7}"/>
              </a:ext>
            </a:extLst>
          </p:cNvPr>
          <p:cNvSpPr>
            <a:spLocks noChangeArrowheads="1"/>
          </p:cNvSpPr>
          <p:nvPr/>
        </p:nvSpPr>
        <p:spPr bwMode="auto">
          <a:xfrm>
            <a:off x="6323813" y="3330229"/>
            <a:ext cx="119531" cy="151875"/>
          </a:xfrm>
          <a:custGeom>
            <a:avLst/>
            <a:gdLst>
              <a:gd name="T0" fmla="*/ 325 w 376"/>
              <a:gd name="T1" fmla="*/ 300 h 476"/>
              <a:gd name="T2" fmla="*/ 325 w 376"/>
              <a:gd name="T3" fmla="*/ 300 h 476"/>
              <a:gd name="T4" fmla="*/ 325 w 376"/>
              <a:gd name="T5" fmla="*/ 250 h 476"/>
              <a:gd name="T6" fmla="*/ 349 w 376"/>
              <a:gd name="T7" fmla="*/ 200 h 476"/>
              <a:gd name="T8" fmla="*/ 225 w 376"/>
              <a:gd name="T9" fmla="*/ 175 h 476"/>
              <a:gd name="T10" fmla="*/ 225 w 376"/>
              <a:gd name="T11" fmla="*/ 100 h 476"/>
              <a:gd name="T12" fmla="*/ 200 w 376"/>
              <a:gd name="T13" fmla="*/ 75 h 476"/>
              <a:gd name="T14" fmla="*/ 149 w 376"/>
              <a:gd name="T15" fmla="*/ 25 h 476"/>
              <a:gd name="T16" fmla="*/ 149 w 376"/>
              <a:gd name="T17" fmla="*/ 25 h 476"/>
              <a:gd name="T18" fmla="*/ 125 w 376"/>
              <a:gd name="T19" fmla="*/ 0 h 476"/>
              <a:gd name="T20" fmla="*/ 100 w 376"/>
              <a:gd name="T21" fmla="*/ 0 h 476"/>
              <a:gd name="T22" fmla="*/ 0 w 376"/>
              <a:gd name="T23" fmla="*/ 25 h 476"/>
              <a:gd name="T24" fmla="*/ 25 w 376"/>
              <a:gd name="T25" fmla="*/ 75 h 476"/>
              <a:gd name="T26" fmla="*/ 49 w 376"/>
              <a:gd name="T27" fmla="*/ 150 h 476"/>
              <a:gd name="T28" fmla="*/ 49 w 376"/>
              <a:gd name="T29" fmla="*/ 300 h 476"/>
              <a:gd name="T30" fmla="*/ 0 w 376"/>
              <a:gd name="T31" fmla="*/ 325 h 476"/>
              <a:gd name="T32" fmla="*/ 75 w 376"/>
              <a:gd name="T33" fmla="*/ 425 h 476"/>
              <a:gd name="T34" fmla="*/ 75 w 376"/>
              <a:gd name="T35" fmla="*/ 425 h 476"/>
              <a:gd name="T36" fmla="*/ 175 w 376"/>
              <a:gd name="T37" fmla="*/ 475 h 476"/>
              <a:gd name="T38" fmla="*/ 325 w 376"/>
              <a:gd name="T39" fmla="*/ 425 h 476"/>
              <a:gd name="T40" fmla="*/ 325 w 376"/>
              <a:gd name="T41" fmla="*/ 400 h 476"/>
              <a:gd name="T42" fmla="*/ 375 w 376"/>
              <a:gd name="T43" fmla="*/ 375 h 476"/>
              <a:gd name="T44" fmla="*/ 325 w 376"/>
              <a:gd name="T45" fmla="*/ 30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6" h="476">
                <a:moveTo>
                  <a:pt x="325" y="300"/>
                </a:moveTo>
                <a:lnTo>
                  <a:pt x="325" y="300"/>
                </a:lnTo>
                <a:lnTo>
                  <a:pt x="325" y="250"/>
                </a:lnTo>
                <a:cubicBezTo>
                  <a:pt x="349" y="225"/>
                  <a:pt x="349" y="225"/>
                  <a:pt x="349" y="200"/>
                </a:cubicBezTo>
                <a:cubicBezTo>
                  <a:pt x="349" y="175"/>
                  <a:pt x="249" y="175"/>
                  <a:pt x="225" y="175"/>
                </a:cubicBezTo>
                <a:cubicBezTo>
                  <a:pt x="225" y="150"/>
                  <a:pt x="249" y="100"/>
                  <a:pt x="225" y="100"/>
                </a:cubicBezTo>
                <a:cubicBezTo>
                  <a:pt x="200" y="100"/>
                  <a:pt x="200" y="100"/>
                  <a:pt x="200" y="75"/>
                </a:cubicBezTo>
                <a:cubicBezTo>
                  <a:pt x="200" y="50"/>
                  <a:pt x="149" y="25"/>
                  <a:pt x="149" y="25"/>
                </a:cubicBezTo>
                <a:lnTo>
                  <a:pt x="149" y="25"/>
                </a:lnTo>
                <a:cubicBezTo>
                  <a:pt x="149" y="0"/>
                  <a:pt x="125" y="0"/>
                  <a:pt x="125" y="0"/>
                </a:cubicBezTo>
                <a:lnTo>
                  <a:pt x="100" y="0"/>
                </a:lnTo>
                <a:cubicBezTo>
                  <a:pt x="100" y="0"/>
                  <a:pt x="25" y="25"/>
                  <a:pt x="0" y="25"/>
                </a:cubicBezTo>
                <a:cubicBezTo>
                  <a:pt x="0" y="50"/>
                  <a:pt x="0" y="75"/>
                  <a:pt x="25" y="75"/>
                </a:cubicBezTo>
                <a:cubicBezTo>
                  <a:pt x="49" y="100"/>
                  <a:pt x="49" y="125"/>
                  <a:pt x="49" y="150"/>
                </a:cubicBezTo>
                <a:cubicBezTo>
                  <a:pt x="49" y="175"/>
                  <a:pt x="49" y="300"/>
                  <a:pt x="49" y="300"/>
                </a:cubicBezTo>
                <a:cubicBezTo>
                  <a:pt x="25" y="300"/>
                  <a:pt x="25" y="300"/>
                  <a:pt x="0" y="325"/>
                </a:cubicBezTo>
                <a:cubicBezTo>
                  <a:pt x="25" y="350"/>
                  <a:pt x="49" y="400"/>
                  <a:pt x="75" y="425"/>
                </a:cubicBezTo>
                <a:lnTo>
                  <a:pt x="75" y="425"/>
                </a:lnTo>
                <a:cubicBezTo>
                  <a:pt x="100" y="425"/>
                  <a:pt x="175" y="475"/>
                  <a:pt x="175" y="475"/>
                </a:cubicBezTo>
                <a:cubicBezTo>
                  <a:pt x="175" y="475"/>
                  <a:pt x="275" y="450"/>
                  <a:pt x="325" y="425"/>
                </a:cubicBezTo>
                <a:cubicBezTo>
                  <a:pt x="325" y="425"/>
                  <a:pt x="325" y="425"/>
                  <a:pt x="325" y="400"/>
                </a:cubicBezTo>
                <a:cubicBezTo>
                  <a:pt x="325" y="400"/>
                  <a:pt x="349" y="375"/>
                  <a:pt x="375" y="375"/>
                </a:cubicBezTo>
                <a:cubicBezTo>
                  <a:pt x="375" y="375"/>
                  <a:pt x="349" y="325"/>
                  <a:pt x="325" y="3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1" name="Freeform 177">
            <a:extLst>
              <a:ext uri="{FF2B5EF4-FFF2-40B4-BE49-F238E27FC236}">
                <a16:creationId xmlns:a16="http://schemas.microsoft.com/office/drawing/2014/main" id="{5EA20702-63DE-5B49-BC77-DC65074EC8F1}"/>
              </a:ext>
            </a:extLst>
          </p:cNvPr>
          <p:cNvSpPr>
            <a:spLocks noChangeArrowheads="1"/>
          </p:cNvSpPr>
          <p:nvPr/>
        </p:nvSpPr>
        <p:spPr bwMode="auto">
          <a:xfrm>
            <a:off x="9928007" y="3361167"/>
            <a:ext cx="208124" cy="160312"/>
          </a:xfrm>
          <a:custGeom>
            <a:avLst/>
            <a:gdLst>
              <a:gd name="T0" fmla="*/ 550 w 651"/>
              <a:gd name="T1" fmla="*/ 175 h 501"/>
              <a:gd name="T2" fmla="*/ 550 w 651"/>
              <a:gd name="T3" fmla="*/ 175 h 501"/>
              <a:gd name="T4" fmla="*/ 450 w 651"/>
              <a:gd name="T5" fmla="*/ 200 h 501"/>
              <a:gd name="T6" fmla="*/ 250 w 651"/>
              <a:gd name="T7" fmla="*/ 50 h 501"/>
              <a:gd name="T8" fmla="*/ 200 w 651"/>
              <a:gd name="T9" fmla="*/ 75 h 501"/>
              <a:gd name="T10" fmla="*/ 176 w 651"/>
              <a:gd name="T11" fmla="*/ 175 h 501"/>
              <a:gd name="T12" fmla="*/ 150 w 651"/>
              <a:gd name="T13" fmla="*/ 250 h 501"/>
              <a:gd name="T14" fmla="*/ 76 w 651"/>
              <a:gd name="T15" fmla="*/ 275 h 501"/>
              <a:gd name="T16" fmla="*/ 50 w 651"/>
              <a:gd name="T17" fmla="*/ 325 h 501"/>
              <a:gd name="T18" fmla="*/ 25 w 651"/>
              <a:gd name="T19" fmla="*/ 400 h 501"/>
              <a:gd name="T20" fmla="*/ 25 w 651"/>
              <a:gd name="T21" fmla="*/ 475 h 501"/>
              <a:gd name="T22" fmla="*/ 76 w 651"/>
              <a:gd name="T23" fmla="*/ 450 h 501"/>
              <a:gd name="T24" fmla="*/ 125 w 651"/>
              <a:gd name="T25" fmla="*/ 425 h 501"/>
              <a:gd name="T26" fmla="*/ 76 w 651"/>
              <a:gd name="T27" fmla="*/ 375 h 501"/>
              <a:gd name="T28" fmla="*/ 150 w 651"/>
              <a:gd name="T29" fmla="*/ 350 h 501"/>
              <a:gd name="T30" fmla="*/ 300 w 651"/>
              <a:gd name="T31" fmla="*/ 400 h 501"/>
              <a:gd name="T32" fmla="*/ 350 w 651"/>
              <a:gd name="T33" fmla="*/ 375 h 501"/>
              <a:gd name="T34" fmla="*/ 476 w 651"/>
              <a:gd name="T35" fmla="*/ 300 h 501"/>
              <a:gd name="T36" fmla="*/ 525 w 651"/>
              <a:gd name="T37" fmla="*/ 250 h 501"/>
              <a:gd name="T38" fmla="*/ 650 w 651"/>
              <a:gd name="T39" fmla="*/ 150 h 501"/>
              <a:gd name="T40" fmla="*/ 550 w 651"/>
              <a:gd name="T41" fmla="*/ 17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1" h="501">
                <a:moveTo>
                  <a:pt x="550" y="175"/>
                </a:moveTo>
                <a:lnTo>
                  <a:pt x="550" y="175"/>
                </a:lnTo>
                <a:cubicBezTo>
                  <a:pt x="525" y="150"/>
                  <a:pt x="500" y="175"/>
                  <a:pt x="450" y="200"/>
                </a:cubicBezTo>
                <a:cubicBezTo>
                  <a:pt x="425" y="200"/>
                  <a:pt x="276" y="100"/>
                  <a:pt x="250" y="50"/>
                </a:cubicBezTo>
                <a:cubicBezTo>
                  <a:pt x="225" y="0"/>
                  <a:pt x="176" y="25"/>
                  <a:pt x="200" y="75"/>
                </a:cubicBezTo>
                <a:cubicBezTo>
                  <a:pt x="225" y="100"/>
                  <a:pt x="176" y="125"/>
                  <a:pt x="176" y="175"/>
                </a:cubicBezTo>
                <a:cubicBezTo>
                  <a:pt x="176" y="225"/>
                  <a:pt x="150" y="225"/>
                  <a:pt x="150" y="250"/>
                </a:cubicBezTo>
                <a:cubicBezTo>
                  <a:pt x="176" y="275"/>
                  <a:pt x="125" y="275"/>
                  <a:pt x="76" y="275"/>
                </a:cubicBezTo>
                <a:cubicBezTo>
                  <a:pt x="50" y="275"/>
                  <a:pt x="76" y="325"/>
                  <a:pt x="50" y="325"/>
                </a:cubicBezTo>
                <a:cubicBezTo>
                  <a:pt x="0" y="350"/>
                  <a:pt x="0" y="375"/>
                  <a:pt x="25" y="400"/>
                </a:cubicBezTo>
                <a:cubicBezTo>
                  <a:pt x="50" y="400"/>
                  <a:pt x="25" y="450"/>
                  <a:pt x="25" y="475"/>
                </a:cubicBezTo>
                <a:cubicBezTo>
                  <a:pt x="25" y="500"/>
                  <a:pt x="50" y="475"/>
                  <a:pt x="76" y="450"/>
                </a:cubicBezTo>
                <a:cubicBezTo>
                  <a:pt x="100" y="425"/>
                  <a:pt x="125" y="450"/>
                  <a:pt x="125" y="425"/>
                </a:cubicBezTo>
                <a:cubicBezTo>
                  <a:pt x="125" y="400"/>
                  <a:pt x="76" y="400"/>
                  <a:pt x="76" y="375"/>
                </a:cubicBezTo>
                <a:cubicBezTo>
                  <a:pt x="76" y="325"/>
                  <a:pt x="125" y="375"/>
                  <a:pt x="150" y="350"/>
                </a:cubicBezTo>
                <a:cubicBezTo>
                  <a:pt x="176" y="350"/>
                  <a:pt x="250" y="350"/>
                  <a:pt x="300" y="400"/>
                </a:cubicBezTo>
                <a:cubicBezTo>
                  <a:pt x="325" y="425"/>
                  <a:pt x="350" y="400"/>
                  <a:pt x="350" y="375"/>
                </a:cubicBezTo>
                <a:cubicBezTo>
                  <a:pt x="350" y="325"/>
                  <a:pt x="425" y="300"/>
                  <a:pt x="476" y="300"/>
                </a:cubicBezTo>
                <a:cubicBezTo>
                  <a:pt x="550" y="300"/>
                  <a:pt x="550" y="275"/>
                  <a:pt x="525" y="250"/>
                </a:cubicBezTo>
                <a:cubicBezTo>
                  <a:pt x="525" y="250"/>
                  <a:pt x="650" y="175"/>
                  <a:pt x="650" y="150"/>
                </a:cubicBezTo>
                <a:cubicBezTo>
                  <a:pt x="625" y="125"/>
                  <a:pt x="576" y="200"/>
                  <a:pt x="550" y="1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2" name="Freeform 178">
            <a:extLst>
              <a:ext uri="{FF2B5EF4-FFF2-40B4-BE49-F238E27FC236}">
                <a16:creationId xmlns:a16="http://schemas.microsoft.com/office/drawing/2014/main" id="{74D385E2-FD6E-2943-A04E-F4705A41A5ED}"/>
              </a:ext>
            </a:extLst>
          </p:cNvPr>
          <p:cNvSpPr>
            <a:spLocks noChangeArrowheads="1"/>
          </p:cNvSpPr>
          <p:nvPr/>
        </p:nvSpPr>
        <p:spPr bwMode="auto">
          <a:xfrm>
            <a:off x="9656603" y="3513044"/>
            <a:ext cx="351560" cy="279841"/>
          </a:xfrm>
          <a:custGeom>
            <a:avLst/>
            <a:gdLst>
              <a:gd name="T0" fmla="*/ 900 w 1101"/>
              <a:gd name="T1" fmla="*/ 75 h 876"/>
              <a:gd name="T2" fmla="*/ 900 w 1101"/>
              <a:gd name="T3" fmla="*/ 75 h 876"/>
              <a:gd name="T4" fmla="*/ 875 w 1101"/>
              <a:gd name="T5" fmla="*/ 200 h 876"/>
              <a:gd name="T6" fmla="*/ 825 w 1101"/>
              <a:gd name="T7" fmla="*/ 325 h 876"/>
              <a:gd name="T8" fmla="*/ 775 w 1101"/>
              <a:gd name="T9" fmla="*/ 425 h 876"/>
              <a:gd name="T10" fmla="*/ 675 w 1101"/>
              <a:gd name="T11" fmla="*/ 475 h 876"/>
              <a:gd name="T12" fmla="*/ 625 w 1101"/>
              <a:gd name="T13" fmla="*/ 450 h 876"/>
              <a:gd name="T14" fmla="*/ 550 w 1101"/>
              <a:gd name="T15" fmla="*/ 525 h 876"/>
              <a:gd name="T16" fmla="*/ 500 w 1101"/>
              <a:gd name="T17" fmla="*/ 625 h 876"/>
              <a:gd name="T18" fmla="*/ 425 w 1101"/>
              <a:gd name="T19" fmla="*/ 650 h 876"/>
              <a:gd name="T20" fmla="*/ 325 w 1101"/>
              <a:gd name="T21" fmla="*/ 650 h 876"/>
              <a:gd name="T22" fmla="*/ 175 w 1101"/>
              <a:gd name="T23" fmla="*/ 650 h 876"/>
              <a:gd name="T24" fmla="*/ 50 w 1101"/>
              <a:gd name="T25" fmla="*/ 775 h 876"/>
              <a:gd name="T26" fmla="*/ 50 w 1101"/>
              <a:gd name="T27" fmla="*/ 825 h 876"/>
              <a:gd name="T28" fmla="*/ 150 w 1101"/>
              <a:gd name="T29" fmla="*/ 800 h 876"/>
              <a:gd name="T30" fmla="*/ 375 w 1101"/>
              <a:gd name="T31" fmla="*/ 750 h 876"/>
              <a:gd name="T32" fmla="*/ 425 w 1101"/>
              <a:gd name="T33" fmla="*/ 825 h 876"/>
              <a:gd name="T34" fmla="*/ 525 w 1101"/>
              <a:gd name="T35" fmla="*/ 825 h 876"/>
              <a:gd name="T36" fmla="*/ 550 w 1101"/>
              <a:gd name="T37" fmla="*/ 750 h 876"/>
              <a:gd name="T38" fmla="*/ 600 w 1101"/>
              <a:gd name="T39" fmla="*/ 750 h 876"/>
              <a:gd name="T40" fmla="*/ 700 w 1101"/>
              <a:gd name="T41" fmla="*/ 725 h 876"/>
              <a:gd name="T42" fmla="*/ 775 w 1101"/>
              <a:gd name="T43" fmla="*/ 750 h 876"/>
              <a:gd name="T44" fmla="*/ 825 w 1101"/>
              <a:gd name="T45" fmla="*/ 675 h 876"/>
              <a:gd name="T46" fmla="*/ 926 w 1101"/>
              <a:gd name="T47" fmla="*/ 675 h 876"/>
              <a:gd name="T48" fmla="*/ 950 w 1101"/>
              <a:gd name="T49" fmla="*/ 525 h 876"/>
              <a:gd name="T50" fmla="*/ 975 w 1101"/>
              <a:gd name="T51" fmla="*/ 400 h 876"/>
              <a:gd name="T52" fmla="*/ 1050 w 1101"/>
              <a:gd name="T53" fmla="*/ 300 h 876"/>
              <a:gd name="T54" fmla="*/ 1000 w 1101"/>
              <a:gd name="T55" fmla="*/ 50 h 876"/>
              <a:gd name="T56" fmla="*/ 900 w 1101"/>
              <a:gd name="T57" fmla="*/ 7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1" h="876">
                <a:moveTo>
                  <a:pt x="900" y="75"/>
                </a:moveTo>
                <a:lnTo>
                  <a:pt x="900" y="75"/>
                </a:lnTo>
                <a:cubicBezTo>
                  <a:pt x="875" y="75"/>
                  <a:pt x="850" y="175"/>
                  <a:pt x="875" y="200"/>
                </a:cubicBezTo>
                <a:cubicBezTo>
                  <a:pt x="900" y="225"/>
                  <a:pt x="825" y="275"/>
                  <a:pt x="825" y="325"/>
                </a:cubicBezTo>
                <a:cubicBezTo>
                  <a:pt x="825" y="375"/>
                  <a:pt x="775" y="375"/>
                  <a:pt x="775" y="425"/>
                </a:cubicBezTo>
                <a:cubicBezTo>
                  <a:pt x="750" y="450"/>
                  <a:pt x="725" y="450"/>
                  <a:pt x="675" y="475"/>
                </a:cubicBezTo>
                <a:cubicBezTo>
                  <a:pt x="625" y="525"/>
                  <a:pt x="600" y="475"/>
                  <a:pt x="625" y="450"/>
                </a:cubicBezTo>
                <a:cubicBezTo>
                  <a:pt x="625" y="425"/>
                  <a:pt x="550" y="475"/>
                  <a:pt x="550" y="525"/>
                </a:cubicBezTo>
                <a:cubicBezTo>
                  <a:pt x="550" y="575"/>
                  <a:pt x="475" y="600"/>
                  <a:pt x="500" y="625"/>
                </a:cubicBezTo>
                <a:cubicBezTo>
                  <a:pt x="525" y="650"/>
                  <a:pt x="425" y="675"/>
                  <a:pt x="425" y="650"/>
                </a:cubicBezTo>
                <a:cubicBezTo>
                  <a:pt x="450" y="625"/>
                  <a:pt x="375" y="625"/>
                  <a:pt x="325" y="650"/>
                </a:cubicBezTo>
                <a:cubicBezTo>
                  <a:pt x="250" y="675"/>
                  <a:pt x="225" y="625"/>
                  <a:pt x="175" y="650"/>
                </a:cubicBezTo>
                <a:cubicBezTo>
                  <a:pt x="150" y="700"/>
                  <a:pt x="75" y="750"/>
                  <a:pt x="50" y="775"/>
                </a:cubicBezTo>
                <a:cubicBezTo>
                  <a:pt x="0" y="775"/>
                  <a:pt x="25" y="825"/>
                  <a:pt x="50" y="825"/>
                </a:cubicBezTo>
                <a:cubicBezTo>
                  <a:pt x="75" y="800"/>
                  <a:pt x="125" y="825"/>
                  <a:pt x="150" y="800"/>
                </a:cubicBezTo>
                <a:cubicBezTo>
                  <a:pt x="150" y="775"/>
                  <a:pt x="300" y="750"/>
                  <a:pt x="375" y="750"/>
                </a:cubicBezTo>
                <a:cubicBezTo>
                  <a:pt x="450" y="750"/>
                  <a:pt x="400" y="775"/>
                  <a:pt x="425" y="825"/>
                </a:cubicBezTo>
                <a:cubicBezTo>
                  <a:pt x="425" y="875"/>
                  <a:pt x="500" y="850"/>
                  <a:pt x="525" y="825"/>
                </a:cubicBezTo>
                <a:cubicBezTo>
                  <a:pt x="575" y="775"/>
                  <a:pt x="600" y="775"/>
                  <a:pt x="550" y="750"/>
                </a:cubicBezTo>
                <a:cubicBezTo>
                  <a:pt x="525" y="725"/>
                  <a:pt x="575" y="700"/>
                  <a:pt x="600" y="750"/>
                </a:cubicBezTo>
                <a:cubicBezTo>
                  <a:pt x="600" y="775"/>
                  <a:pt x="675" y="775"/>
                  <a:pt x="700" y="725"/>
                </a:cubicBezTo>
                <a:cubicBezTo>
                  <a:pt x="725" y="700"/>
                  <a:pt x="750" y="750"/>
                  <a:pt x="775" y="750"/>
                </a:cubicBezTo>
                <a:cubicBezTo>
                  <a:pt x="800" y="725"/>
                  <a:pt x="825" y="650"/>
                  <a:pt x="825" y="675"/>
                </a:cubicBezTo>
                <a:cubicBezTo>
                  <a:pt x="825" y="725"/>
                  <a:pt x="900" y="700"/>
                  <a:pt x="926" y="675"/>
                </a:cubicBezTo>
                <a:cubicBezTo>
                  <a:pt x="950" y="625"/>
                  <a:pt x="926" y="575"/>
                  <a:pt x="950" y="525"/>
                </a:cubicBezTo>
                <a:cubicBezTo>
                  <a:pt x="975" y="500"/>
                  <a:pt x="1000" y="425"/>
                  <a:pt x="975" y="400"/>
                </a:cubicBezTo>
                <a:cubicBezTo>
                  <a:pt x="950" y="350"/>
                  <a:pt x="1026" y="325"/>
                  <a:pt x="1050" y="300"/>
                </a:cubicBezTo>
                <a:cubicBezTo>
                  <a:pt x="1100" y="250"/>
                  <a:pt x="1026" y="100"/>
                  <a:pt x="1000" y="50"/>
                </a:cubicBezTo>
                <a:cubicBezTo>
                  <a:pt x="1000" y="0"/>
                  <a:pt x="926" y="50"/>
                  <a:pt x="900"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3" name="Freeform 179">
            <a:extLst>
              <a:ext uri="{FF2B5EF4-FFF2-40B4-BE49-F238E27FC236}">
                <a16:creationId xmlns:a16="http://schemas.microsoft.com/office/drawing/2014/main" id="{B2D1438E-474A-8E4E-84F8-36F4CC1F9EEE}"/>
              </a:ext>
            </a:extLst>
          </p:cNvPr>
          <p:cNvSpPr>
            <a:spLocks noChangeArrowheads="1"/>
          </p:cNvSpPr>
          <p:nvPr/>
        </p:nvSpPr>
        <p:spPr bwMode="auto">
          <a:xfrm>
            <a:off x="9617230" y="3776008"/>
            <a:ext cx="88593" cy="95624"/>
          </a:xfrm>
          <a:custGeom>
            <a:avLst/>
            <a:gdLst>
              <a:gd name="T0" fmla="*/ 225 w 276"/>
              <a:gd name="T1" fmla="*/ 75 h 301"/>
              <a:gd name="T2" fmla="*/ 225 w 276"/>
              <a:gd name="T3" fmla="*/ 75 h 301"/>
              <a:gd name="T4" fmla="*/ 150 w 276"/>
              <a:gd name="T5" fmla="*/ 25 h 301"/>
              <a:gd name="T6" fmla="*/ 75 w 276"/>
              <a:gd name="T7" fmla="*/ 50 h 301"/>
              <a:gd name="T8" fmla="*/ 25 w 276"/>
              <a:gd name="T9" fmla="*/ 125 h 301"/>
              <a:gd name="T10" fmla="*/ 75 w 276"/>
              <a:gd name="T11" fmla="*/ 100 h 301"/>
              <a:gd name="T12" fmla="*/ 100 w 276"/>
              <a:gd name="T13" fmla="*/ 175 h 301"/>
              <a:gd name="T14" fmla="*/ 125 w 276"/>
              <a:gd name="T15" fmla="*/ 300 h 301"/>
              <a:gd name="T16" fmla="*/ 225 w 276"/>
              <a:gd name="T17" fmla="*/ 150 h 301"/>
              <a:gd name="T18" fmla="*/ 225 w 276"/>
              <a:gd name="T19" fmla="*/ 7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01">
                <a:moveTo>
                  <a:pt x="225" y="75"/>
                </a:moveTo>
                <a:lnTo>
                  <a:pt x="225" y="75"/>
                </a:lnTo>
                <a:cubicBezTo>
                  <a:pt x="225" y="50"/>
                  <a:pt x="150" y="50"/>
                  <a:pt x="150" y="25"/>
                </a:cubicBezTo>
                <a:cubicBezTo>
                  <a:pt x="150" y="0"/>
                  <a:pt x="100" y="25"/>
                  <a:pt x="75" y="50"/>
                </a:cubicBezTo>
                <a:cubicBezTo>
                  <a:pt x="25" y="75"/>
                  <a:pt x="0" y="75"/>
                  <a:pt x="25" y="125"/>
                </a:cubicBezTo>
                <a:cubicBezTo>
                  <a:pt x="50" y="150"/>
                  <a:pt x="75" y="125"/>
                  <a:pt x="75" y="100"/>
                </a:cubicBezTo>
                <a:cubicBezTo>
                  <a:pt x="100" y="50"/>
                  <a:pt x="125" y="125"/>
                  <a:pt x="100" y="175"/>
                </a:cubicBezTo>
                <a:cubicBezTo>
                  <a:pt x="75" y="225"/>
                  <a:pt x="100" y="300"/>
                  <a:pt x="125" y="300"/>
                </a:cubicBezTo>
                <a:cubicBezTo>
                  <a:pt x="150" y="300"/>
                  <a:pt x="200" y="200"/>
                  <a:pt x="225" y="150"/>
                </a:cubicBezTo>
                <a:cubicBezTo>
                  <a:pt x="275" y="75"/>
                  <a:pt x="225" y="100"/>
                  <a:pt x="2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4" name="Freeform 180">
            <a:extLst>
              <a:ext uri="{FF2B5EF4-FFF2-40B4-BE49-F238E27FC236}">
                <a16:creationId xmlns:a16="http://schemas.microsoft.com/office/drawing/2014/main" id="{6698984F-2A81-604F-A282-2E5A8E9CC323}"/>
              </a:ext>
            </a:extLst>
          </p:cNvPr>
          <p:cNvSpPr>
            <a:spLocks noChangeArrowheads="1"/>
          </p:cNvSpPr>
          <p:nvPr/>
        </p:nvSpPr>
        <p:spPr bwMode="auto">
          <a:xfrm>
            <a:off x="9704416" y="3760541"/>
            <a:ext cx="71717" cy="56249"/>
          </a:xfrm>
          <a:custGeom>
            <a:avLst/>
            <a:gdLst>
              <a:gd name="T0" fmla="*/ 125 w 226"/>
              <a:gd name="T1" fmla="*/ 25 h 176"/>
              <a:gd name="T2" fmla="*/ 125 w 226"/>
              <a:gd name="T3" fmla="*/ 25 h 176"/>
              <a:gd name="T4" fmla="*/ 50 w 226"/>
              <a:gd name="T5" fmla="*/ 50 h 176"/>
              <a:gd name="T6" fmla="*/ 25 w 226"/>
              <a:gd name="T7" fmla="*/ 175 h 176"/>
              <a:gd name="T8" fmla="*/ 75 w 226"/>
              <a:gd name="T9" fmla="*/ 150 h 176"/>
              <a:gd name="T10" fmla="*/ 150 w 226"/>
              <a:gd name="T11" fmla="*/ 125 h 176"/>
              <a:gd name="T12" fmla="*/ 225 w 226"/>
              <a:gd name="T13" fmla="*/ 25 h 176"/>
              <a:gd name="T14" fmla="*/ 125 w 226"/>
              <a:gd name="T15" fmla="*/ 25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176">
                <a:moveTo>
                  <a:pt x="125" y="25"/>
                </a:moveTo>
                <a:lnTo>
                  <a:pt x="125" y="25"/>
                </a:lnTo>
                <a:cubicBezTo>
                  <a:pt x="125" y="50"/>
                  <a:pt x="75" y="25"/>
                  <a:pt x="50" y="50"/>
                </a:cubicBezTo>
                <a:cubicBezTo>
                  <a:pt x="0" y="50"/>
                  <a:pt x="0" y="150"/>
                  <a:pt x="25" y="175"/>
                </a:cubicBezTo>
                <a:cubicBezTo>
                  <a:pt x="50" y="175"/>
                  <a:pt x="75" y="175"/>
                  <a:pt x="75" y="150"/>
                </a:cubicBezTo>
                <a:cubicBezTo>
                  <a:pt x="100" y="100"/>
                  <a:pt x="125" y="100"/>
                  <a:pt x="150" y="125"/>
                </a:cubicBezTo>
                <a:cubicBezTo>
                  <a:pt x="200" y="125"/>
                  <a:pt x="225" y="75"/>
                  <a:pt x="225" y="25"/>
                </a:cubicBezTo>
                <a:cubicBezTo>
                  <a:pt x="225" y="0"/>
                  <a:pt x="150" y="0"/>
                  <a:pt x="125"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5" name="Freeform 181">
            <a:extLst>
              <a:ext uri="{FF2B5EF4-FFF2-40B4-BE49-F238E27FC236}">
                <a16:creationId xmlns:a16="http://schemas.microsoft.com/office/drawing/2014/main" id="{B4B137F5-97AB-0741-8BEF-6CE29558146A}"/>
              </a:ext>
            </a:extLst>
          </p:cNvPr>
          <p:cNvSpPr>
            <a:spLocks noChangeArrowheads="1"/>
          </p:cNvSpPr>
          <p:nvPr/>
        </p:nvSpPr>
        <p:spPr bwMode="auto">
          <a:xfrm>
            <a:off x="6187407" y="2978669"/>
            <a:ext cx="295311" cy="240467"/>
          </a:xfrm>
          <a:custGeom>
            <a:avLst/>
            <a:gdLst>
              <a:gd name="T0" fmla="*/ 26 w 927"/>
              <a:gd name="T1" fmla="*/ 151 h 752"/>
              <a:gd name="T2" fmla="*/ 26 w 927"/>
              <a:gd name="T3" fmla="*/ 151 h 752"/>
              <a:gd name="T4" fmla="*/ 26 w 927"/>
              <a:gd name="T5" fmla="*/ 251 h 752"/>
              <a:gd name="T6" fmla="*/ 26 w 927"/>
              <a:gd name="T7" fmla="*/ 300 h 752"/>
              <a:gd name="T8" fmla="*/ 50 w 927"/>
              <a:gd name="T9" fmla="*/ 351 h 752"/>
              <a:gd name="T10" fmla="*/ 75 w 927"/>
              <a:gd name="T11" fmla="*/ 400 h 752"/>
              <a:gd name="T12" fmla="*/ 101 w 927"/>
              <a:gd name="T13" fmla="*/ 476 h 752"/>
              <a:gd name="T14" fmla="*/ 101 w 927"/>
              <a:gd name="T15" fmla="*/ 501 h 752"/>
              <a:gd name="T16" fmla="*/ 150 w 927"/>
              <a:gd name="T17" fmla="*/ 551 h 752"/>
              <a:gd name="T18" fmla="*/ 201 w 927"/>
              <a:gd name="T19" fmla="*/ 576 h 752"/>
              <a:gd name="T20" fmla="*/ 251 w 927"/>
              <a:gd name="T21" fmla="*/ 601 h 752"/>
              <a:gd name="T22" fmla="*/ 301 w 927"/>
              <a:gd name="T23" fmla="*/ 601 h 752"/>
              <a:gd name="T24" fmla="*/ 326 w 927"/>
              <a:gd name="T25" fmla="*/ 625 h 752"/>
              <a:gd name="T26" fmla="*/ 401 w 927"/>
              <a:gd name="T27" fmla="*/ 651 h 752"/>
              <a:gd name="T28" fmla="*/ 451 w 927"/>
              <a:gd name="T29" fmla="*/ 701 h 752"/>
              <a:gd name="T30" fmla="*/ 501 w 927"/>
              <a:gd name="T31" fmla="*/ 701 h 752"/>
              <a:gd name="T32" fmla="*/ 575 w 927"/>
              <a:gd name="T33" fmla="*/ 701 h 752"/>
              <a:gd name="T34" fmla="*/ 651 w 927"/>
              <a:gd name="T35" fmla="*/ 701 h 752"/>
              <a:gd name="T36" fmla="*/ 726 w 927"/>
              <a:gd name="T37" fmla="*/ 725 h 752"/>
              <a:gd name="T38" fmla="*/ 775 w 927"/>
              <a:gd name="T39" fmla="*/ 751 h 752"/>
              <a:gd name="T40" fmla="*/ 775 w 927"/>
              <a:gd name="T41" fmla="*/ 676 h 752"/>
              <a:gd name="T42" fmla="*/ 875 w 927"/>
              <a:gd name="T43" fmla="*/ 601 h 752"/>
              <a:gd name="T44" fmla="*/ 901 w 927"/>
              <a:gd name="T45" fmla="*/ 551 h 752"/>
              <a:gd name="T46" fmla="*/ 875 w 927"/>
              <a:gd name="T47" fmla="*/ 476 h 752"/>
              <a:gd name="T48" fmla="*/ 875 w 927"/>
              <a:gd name="T49" fmla="*/ 376 h 752"/>
              <a:gd name="T50" fmla="*/ 826 w 927"/>
              <a:gd name="T51" fmla="*/ 326 h 752"/>
              <a:gd name="T52" fmla="*/ 901 w 927"/>
              <a:gd name="T53" fmla="*/ 300 h 752"/>
              <a:gd name="T54" fmla="*/ 875 w 927"/>
              <a:gd name="T55" fmla="*/ 200 h 752"/>
              <a:gd name="T56" fmla="*/ 875 w 927"/>
              <a:gd name="T57" fmla="*/ 126 h 752"/>
              <a:gd name="T58" fmla="*/ 801 w 927"/>
              <a:gd name="T59" fmla="*/ 76 h 752"/>
              <a:gd name="T60" fmla="*/ 801 w 927"/>
              <a:gd name="T61" fmla="*/ 76 h 752"/>
              <a:gd name="T62" fmla="*/ 551 w 927"/>
              <a:gd name="T63" fmla="*/ 76 h 752"/>
              <a:gd name="T64" fmla="*/ 501 w 927"/>
              <a:gd name="T65" fmla="*/ 51 h 752"/>
              <a:gd name="T66" fmla="*/ 451 w 927"/>
              <a:gd name="T67" fmla="*/ 76 h 752"/>
              <a:gd name="T68" fmla="*/ 401 w 927"/>
              <a:gd name="T69" fmla="*/ 26 h 752"/>
              <a:gd name="T70" fmla="*/ 201 w 927"/>
              <a:gd name="T71" fmla="*/ 76 h 752"/>
              <a:gd name="T72" fmla="*/ 50 w 927"/>
              <a:gd name="T73" fmla="*/ 126 h 752"/>
              <a:gd name="T74" fmla="*/ 26 w 927"/>
              <a:gd name="T75" fmla="*/ 15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7" h="752">
                <a:moveTo>
                  <a:pt x="26" y="151"/>
                </a:moveTo>
                <a:lnTo>
                  <a:pt x="26" y="151"/>
                </a:lnTo>
                <a:cubicBezTo>
                  <a:pt x="26" y="176"/>
                  <a:pt x="50" y="226"/>
                  <a:pt x="26" y="251"/>
                </a:cubicBezTo>
                <a:cubicBezTo>
                  <a:pt x="0" y="276"/>
                  <a:pt x="26" y="300"/>
                  <a:pt x="26" y="300"/>
                </a:cubicBezTo>
                <a:cubicBezTo>
                  <a:pt x="50" y="300"/>
                  <a:pt x="50" y="326"/>
                  <a:pt x="50" y="351"/>
                </a:cubicBezTo>
                <a:cubicBezTo>
                  <a:pt x="50" y="351"/>
                  <a:pt x="75" y="351"/>
                  <a:pt x="75" y="400"/>
                </a:cubicBezTo>
                <a:cubicBezTo>
                  <a:pt x="75" y="426"/>
                  <a:pt x="75" y="451"/>
                  <a:pt x="101" y="476"/>
                </a:cubicBezTo>
                <a:lnTo>
                  <a:pt x="101" y="501"/>
                </a:lnTo>
                <a:cubicBezTo>
                  <a:pt x="101" y="526"/>
                  <a:pt x="126" y="526"/>
                  <a:pt x="150" y="551"/>
                </a:cubicBezTo>
                <a:cubicBezTo>
                  <a:pt x="201" y="551"/>
                  <a:pt x="201" y="576"/>
                  <a:pt x="201" y="576"/>
                </a:cubicBezTo>
                <a:cubicBezTo>
                  <a:pt x="201" y="601"/>
                  <a:pt x="251" y="625"/>
                  <a:pt x="251" y="601"/>
                </a:cubicBezTo>
                <a:cubicBezTo>
                  <a:pt x="275" y="576"/>
                  <a:pt x="301" y="601"/>
                  <a:pt x="301" y="601"/>
                </a:cubicBezTo>
                <a:cubicBezTo>
                  <a:pt x="326" y="601"/>
                  <a:pt x="326" y="625"/>
                  <a:pt x="326" y="625"/>
                </a:cubicBezTo>
                <a:cubicBezTo>
                  <a:pt x="351" y="651"/>
                  <a:pt x="375" y="625"/>
                  <a:pt x="401" y="651"/>
                </a:cubicBezTo>
                <a:cubicBezTo>
                  <a:pt x="426" y="651"/>
                  <a:pt x="426" y="701"/>
                  <a:pt x="451" y="701"/>
                </a:cubicBezTo>
                <a:cubicBezTo>
                  <a:pt x="451" y="725"/>
                  <a:pt x="475" y="676"/>
                  <a:pt x="501" y="701"/>
                </a:cubicBezTo>
                <a:cubicBezTo>
                  <a:pt x="501" y="701"/>
                  <a:pt x="551" y="725"/>
                  <a:pt x="575" y="701"/>
                </a:cubicBezTo>
                <a:cubicBezTo>
                  <a:pt x="601" y="701"/>
                  <a:pt x="626" y="725"/>
                  <a:pt x="651" y="701"/>
                </a:cubicBezTo>
                <a:cubicBezTo>
                  <a:pt x="675" y="701"/>
                  <a:pt x="726" y="725"/>
                  <a:pt x="726" y="725"/>
                </a:cubicBezTo>
                <a:cubicBezTo>
                  <a:pt x="726" y="725"/>
                  <a:pt x="751" y="751"/>
                  <a:pt x="775" y="751"/>
                </a:cubicBezTo>
                <a:cubicBezTo>
                  <a:pt x="801" y="725"/>
                  <a:pt x="775" y="701"/>
                  <a:pt x="775" y="676"/>
                </a:cubicBezTo>
                <a:cubicBezTo>
                  <a:pt x="775" y="676"/>
                  <a:pt x="851" y="601"/>
                  <a:pt x="875" y="601"/>
                </a:cubicBezTo>
                <a:cubicBezTo>
                  <a:pt x="875" y="576"/>
                  <a:pt x="901" y="576"/>
                  <a:pt x="901" y="551"/>
                </a:cubicBezTo>
                <a:cubicBezTo>
                  <a:pt x="926" y="551"/>
                  <a:pt x="875" y="476"/>
                  <a:pt x="875" y="476"/>
                </a:cubicBezTo>
                <a:cubicBezTo>
                  <a:pt x="875" y="451"/>
                  <a:pt x="851" y="400"/>
                  <a:pt x="875" y="376"/>
                </a:cubicBezTo>
                <a:cubicBezTo>
                  <a:pt x="875" y="376"/>
                  <a:pt x="826" y="351"/>
                  <a:pt x="826" y="326"/>
                </a:cubicBezTo>
                <a:cubicBezTo>
                  <a:pt x="826" y="326"/>
                  <a:pt x="875" y="300"/>
                  <a:pt x="901" y="300"/>
                </a:cubicBezTo>
                <a:cubicBezTo>
                  <a:pt x="901" y="276"/>
                  <a:pt x="901" y="226"/>
                  <a:pt x="875" y="200"/>
                </a:cubicBezTo>
                <a:cubicBezTo>
                  <a:pt x="875" y="200"/>
                  <a:pt x="851" y="176"/>
                  <a:pt x="875" y="126"/>
                </a:cubicBezTo>
                <a:cubicBezTo>
                  <a:pt x="875" y="100"/>
                  <a:pt x="801" y="76"/>
                  <a:pt x="801" y="76"/>
                </a:cubicBezTo>
                <a:lnTo>
                  <a:pt x="801" y="76"/>
                </a:lnTo>
                <a:cubicBezTo>
                  <a:pt x="726" y="100"/>
                  <a:pt x="551" y="76"/>
                  <a:pt x="551" y="76"/>
                </a:cubicBezTo>
                <a:cubicBezTo>
                  <a:pt x="551" y="76"/>
                  <a:pt x="526" y="51"/>
                  <a:pt x="501" y="51"/>
                </a:cubicBezTo>
                <a:cubicBezTo>
                  <a:pt x="501" y="76"/>
                  <a:pt x="475" y="76"/>
                  <a:pt x="451" y="76"/>
                </a:cubicBezTo>
                <a:cubicBezTo>
                  <a:pt x="401" y="76"/>
                  <a:pt x="401" y="51"/>
                  <a:pt x="401" y="26"/>
                </a:cubicBezTo>
                <a:cubicBezTo>
                  <a:pt x="401" y="0"/>
                  <a:pt x="251" y="26"/>
                  <a:pt x="201" y="76"/>
                </a:cubicBezTo>
                <a:cubicBezTo>
                  <a:pt x="150" y="126"/>
                  <a:pt x="50" y="100"/>
                  <a:pt x="50" y="126"/>
                </a:cubicBezTo>
                <a:cubicBezTo>
                  <a:pt x="50" y="151"/>
                  <a:pt x="50" y="151"/>
                  <a:pt x="26" y="1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6" name="Freeform 182">
            <a:extLst>
              <a:ext uri="{FF2B5EF4-FFF2-40B4-BE49-F238E27FC236}">
                <a16:creationId xmlns:a16="http://schemas.microsoft.com/office/drawing/2014/main" id="{1A29BEB3-CDCE-884B-A5A9-5D05CF3CCF3A}"/>
              </a:ext>
            </a:extLst>
          </p:cNvPr>
          <p:cNvSpPr>
            <a:spLocks noChangeArrowheads="1"/>
          </p:cNvSpPr>
          <p:nvPr/>
        </p:nvSpPr>
        <p:spPr bwMode="auto">
          <a:xfrm>
            <a:off x="6235220" y="3361168"/>
            <a:ext cx="104061" cy="104061"/>
          </a:xfrm>
          <a:custGeom>
            <a:avLst/>
            <a:gdLst>
              <a:gd name="T0" fmla="*/ 251 w 326"/>
              <a:gd name="T1" fmla="*/ 300 h 326"/>
              <a:gd name="T2" fmla="*/ 251 w 326"/>
              <a:gd name="T3" fmla="*/ 300 h 326"/>
              <a:gd name="T4" fmla="*/ 325 w 326"/>
              <a:gd name="T5" fmla="*/ 200 h 326"/>
              <a:gd name="T6" fmla="*/ 325 w 326"/>
              <a:gd name="T7" fmla="*/ 75 h 326"/>
              <a:gd name="T8" fmla="*/ 251 w 326"/>
              <a:gd name="T9" fmla="*/ 25 h 326"/>
              <a:gd name="T10" fmla="*/ 101 w 326"/>
              <a:gd name="T11" fmla="*/ 25 h 326"/>
              <a:gd name="T12" fmla="*/ 51 w 326"/>
              <a:gd name="T13" fmla="*/ 25 h 326"/>
              <a:gd name="T14" fmla="*/ 0 w 326"/>
              <a:gd name="T15" fmla="*/ 50 h 326"/>
              <a:gd name="T16" fmla="*/ 51 w 326"/>
              <a:gd name="T17" fmla="*/ 125 h 326"/>
              <a:gd name="T18" fmla="*/ 125 w 326"/>
              <a:gd name="T19" fmla="*/ 200 h 326"/>
              <a:gd name="T20" fmla="*/ 201 w 326"/>
              <a:gd name="T21" fmla="*/ 300 h 326"/>
              <a:gd name="T22" fmla="*/ 251 w 326"/>
              <a:gd name="T23" fmla="*/ 325 h 326"/>
              <a:gd name="T24" fmla="*/ 251 w 326"/>
              <a:gd name="T25" fmla="*/ 30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26">
                <a:moveTo>
                  <a:pt x="251" y="300"/>
                </a:moveTo>
                <a:lnTo>
                  <a:pt x="251" y="300"/>
                </a:lnTo>
                <a:cubicBezTo>
                  <a:pt x="251" y="275"/>
                  <a:pt x="301" y="200"/>
                  <a:pt x="325" y="200"/>
                </a:cubicBezTo>
                <a:cubicBezTo>
                  <a:pt x="325" y="200"/>
                  <a:pt x="325" y="125"/>
                  <a:pt x="325" y="75"/>
                </a:cubicBezTo>
                <a:cubicBezTo>
                  <a:pt x="276" y="50"/>
                  <a:pt x="251" y="25"/>
                  <a:pt x="251" y="25"/>
                </a:cubicBezTo>
                <a:cubicBezTo>
                  <a:pt x="251" y="25"/>
                  <a:pt x="125" y="25"/>
                  <a:pt x="101" y="25"/>
                </a:cubicBezTo>
                <a:cubicBezTo>
                  <a:pt x="76" y="0"/>
                  <a:pt x="51" y="50"/>
                  <a:pt x="51" y="25"/>
                </a:cubicBezTo>
                <a:cubicBezTo>
                  <a:pt x="25" y="0"/>
                  <a:pt x="0" y="25"/>
                  <a:pt x="0" y="50"/>
                </a:cubicBezTo>
                <a:cubicBezTo>
                  <a:pt x="0" y="75"/>
                  <a:pt x="51" y="75"/>
                  <a:pt x="51" y="125"/>
                </a:cubicBezTo>
                <a:cubicBezTo>
                  <a:pt x="51" y="150"/>
                  <a:pt x="125" y="200"/>
                  <a:pt x="125" y="200"/>
                </a:cubicBezTo>
                <a:cubicBezTo>
                  <a:pt x="125" y="225"/>
                  <a:pt x="176" y="250"/>
                  <a:pt x="201" y="300"/>
                </a:cubicBezTo>
                <a:cubicBezTo>
                  <a:pt x="201" y="300"/>
                  <a:pt x="225" y="325"/>
                  <a:pt x="251" y="325"/>
                </a:cubicBezTo>
                <a:lnTo>
                  <a:pt x="251" y="300"/>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7" name="Freeform 183">
            <a:extLst>
              <a:ext uri="{FF2B5EF4-FFF2-40B4-BE49-F238E27FC236}">
                <a16:creationId xmlns:a16="http://schemas.microsoft.com/office/drawing/2014/main" id="{9356204A-4684-FC44-99D1-3C906063B127}"/>
              </a:ext>
            </a:extLst>
          </p:cNvPr>
          <p:cNvSpPr>
            <a:spLocks noChangeArrowheads="1"/>
          </p:cNvSpPr>
          <p:nvPr/>
        </p:nvSpPr>
        <p:spPr bwMode="auto">
          <a:xfrm>
            <a:off x="6180375" y="3313355"/>
            <a:ext cx="160312" cy="143436"/>
          </a:xfrm>
          <a:custGeom>
            <a:avLst/>
            <a:gdLst>
              <a:gd name="T0" fmla="*/ 300 w 501"/>
              <a:gd name="T1" fmla="*/ 350 h 451"/>
              <a:gd name="T2" fmla="*/ 300 w 501"/>
              <a:gd name="T3" fmla="*/ 350 h 451"/>
              <a:gd name="T4" fmla="*/ 226 w 501"/>
              <a:gd name="T5" fmla="*/ 275 h 451"/>
              <a:gd name="T6" fmla="*/ 175 w 501"/>
              <a:gd name="T7" fmla="*/ 200 h 451"/>
              <a:gd name="T8" fmla="*/ 226 w 501"/>
              <a:gd name="T9" fmla="*/ 175 h 451"/>
              <a:gd name="T10" fmla="*/ 276 w 501"/>
              <a:gd name="T11" fmla="*/ 175 h 451"/>
              <a:gd name="T12" fmla="*/ 426 w 501"/>
              <a:gd name="T13" fmla="*/ 175 h 451"/>
              <a:gd name="T14" fmla="*/ 500 w 501"/>
              <a:gd name="T15" fmla="*/ 225 h 451"/>
              <a:gd name="T16" fmla="*/ 500 w 501"/>
              <a:gd name="T17" fmla="*/ 200 h 451"/>
              <a:gd name="T18" fmla="*/ 476 w 501"/>
              <a:gd name="T19" fmla="*/ 125 h 451"/>
              <a:gd name="T20" fmla="*/ 451 w 501"/>
              <a:gd name="T21" fmla="*/ 75 h 451"/>
              <a:gd name="T22" fmla="*/ 426 w 501"/>
              <a:gd name="T23" fmla="*/ 75 h 451"/>
              <a:gd name="T24" fmla="*/ 326 w 501"/>
              <a:gd name="T25" fmla="*/ 75 h 451"/>
              <a:gd name="T26" fmla="*/ 251 w 501"/>
              <a:gd name="T27" fmla="*/ 0 h 451"/>
              <a:gd name="T28" fmla="*/ 175 w 501"/>
              <a:gd name="T29" fmla="*/ 50 h 451"/>
              <a:gd name="T30" fmla="*/ 151 w 501"/>
              <a:gd name="T31" fmla="*/ 100 h 451"/>
              <a:gd name="T32" fmla="*/ 126 w 501"/>
              <a:gd name="T33" fmla="*/ 125 h 451"/>
              <a:gd name="T34" fmla="*/ 75 w 501"/>
              <a:gd name="T35" fmla="*/ 125 h 451"/>
              <a:gd name="T36" fmla="*/ 0 w 501"/>
              <a:gd name="T37" fmla="*/ 150 h 451"/>
              <a:gd name="T38" fmla="*/ 25 w 501"/>
              <a:gd name="T39" fmla="*/ 175 h 451"/>
              <a:gd name="T40" fmla="*/ 100 w 501"/>
              <a:gd name="T41" fmla="*/ 225 h 451"/>
              <a:gd name="T42" fmla="*/ 175 w 501"/>
              <a:gd name="T43" fmla="*/ 350 h 451"/>
              <a:gd name="T44" fmla="*/ 251 w 501"/>
              <a:gd name="T45" fmla="*/ 375 h 451"/>
              <a:gd name="T46" fmla="*/ 326 w 501"/>
              <a:gd name="T47" fmla="*/ 425 h 451"/>
              <a:gd name="T48" fmla="*/ 376 w 501"/>
              <a:gd name="T49" fmla="*/ 450 h 451"/>
              <a:gd name="T50" fmla="*/ 300 w 501"/>
              <a:gd name="T51" fmla="*/ 3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1" h="451">
                <a:moveTo>
                  <a:pt x="300" y="350"/>
                </a:moveTo>
                <a:lnTo>
                  <a:pt x="300" y="350"/>
                </a:lnTo>
                <a:cubicBezTo>
                  <a:pt x="300" y="350"/>
                  <a:pt x="226" y="300"/>
                  <a:pt x="226" y="275"/>
                </a:cubicBezTo>
                <a:cubicBezTo>
                  <a:pt x="226" y="225"/>
                  <a:pt x="175" y="225"/>
                  <a:pt x="175" y="200"/>
                </a:cubicBezTo>
                <a:cubicBezTo>
                  <a:pt x="175" y="175"/>
                  <a:pt x="200" y="150"/>
                  <a:pt x="226" y="175"/>
                </a:cubicBezTo>
                <a:cubicBezTo>
                  <a:pt x="226" y="200"/>
                  <a:pt x="251" y="150"/>
                  <a:pt x="276" y="175"/>
                </a:cubicBezTo>
                <a:cubicBezTo>
                  <a:pt x="300" y="175"/>
                  <a:pt x="426" y="175"/>
                  <a:pt x="426" y="175"/>
                </a:cubicBezTo>
                <a:cubicBezTo>
                  <a:pt x="426" y="175"/>
                  <a:pt x="451" y="200"/>
                  <a:pt x="500" y="225"/>
                </a:cubicBezTo>
                <a:cubicBezTo>
                  <a:pt x="500" y="200"/>
                  <a:pt x="500" y="200"/>
                  <a:pt x="500" y="200"/>
                </a:cubicBezTo>
                <a:cubicBezTo>
                  <a:pt x="500" y="175"/>
                  <a:pt x="500" y="150"/>
                  <a:pt x="476" y="125"/>
                </a:cubicBezTo>
                <a:cubicBezTo>
                  <a:pt x="451" y="125"/>
                  <a:pt x="451" y="100"/>
                  <a:pt x="451" y="75"/>
                </a:cubicBezTo>
                <a:cubicBezTo>
                  <a:pt x="426" y="75"/>
                  <a:pt x="426" y="75"/>
                  <a:pt x="426" y="75"/>
                </a:cubicBezTo>
                <a:cubicBezTo>
                  <a:pt x="400" y="100"/>
                  <a:pt x="326" y="100"/>
                  <a:pt x="326" y="75"/>
                </a:cubicBezTo>
                <a:cubicBezTo>
                  <a:pt x="300" y="50"/>
                  <a:pt x="251" y="25"/>
                  <a:pt x="251" y="0"/>
                </a:cubicBezTo>
                <a:cubicBezTo>
                  <a:pt x="226" y="25"/>
                  <a:pt x="200" y="50"/>
                  <a:pt x="175" y="50"/>
                </a:cubicBezTo>
                <a:cubicBezTo>
                  <a:pt x="175" y="50"/>
                  <a:pt x="175" y="100"/>
                  <a:pt x="151" y="100"/>
                </a:cubicBezTo>
                <a:lnTo>
                  <a:pt x="126" y="125"/>
                </a:lnTo>
                <a:cubicBezTo>
                  <a:pt x="126" y="150"/>
                  <a:pt x="75" y="125"/>
                  <a:pt x="75" y="125"/>
                </a:cubicBezTo>
                <a:cubicBezTo>
                  <a:pt x="51" y="125"/>
                  <a:pt x="25" y="150"/>
                  <a:pt x="0" y="150"/>
                </a:cubicBezTo>
                <a:cubicBezTo>
                  <a:pt x="0" y="150"/>
                  <a:pt x="0" y="175"/>
                  <a:pt x="25" y="175"/>
                </a:cubicBezTo>
                <a:cubicBezTo>
                  <a:pt x="51" y="175"/>
                  <a:pt x="100" y="175"/>
                  <a:pt x="100" y="225"/>
                </a:cubicBezTo>
                <a:cubicBezTo>
                  <a:pt x="100" y="250"/>
                  <a:pt x="151" y="325"/>
                  <a:pt x="175" y="350"/>
                </a:cubicBezTo>
                <a:cubicBezTo>
                  <a:pt x="200" y="375"/>
                  <a:pt x="251" y="375"/>
                  <a:pt x="251" y="375"/>
                </a:cubicBezTo>
                <a:cubicBezTo>
                  <a:pt x="251" y="400"/>
                  <a:pt x="300" y="425"/>
                  <a:pt x="326" y="425"/>
                </a:cubicBezTo>
                <a:cubicBezTo>
                  <a:pt x="351" y="425"/>
                  <a:pt x="351" y="425"/>
                  <a:pt x="376" y="450"/>
                </a:cubicBezTo>
                <a:cubicBezTo>
                  <a:pt x="351" y="400"/>
                  <a:pt x="300" y="375"/>
                  <a:pt x="300" y="350"/>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8" name="Freeform 184">
            <a:extLst>
              <a:ext uri="{FF2B5EF4-FFF2-40B4-BE49-F238E27FC236}">
                <a16:creationId xmlns:a16="http://schemas.microsoft.com/office/drawing/2014/main" id="{C775A2A6-836A-F840-92A9-3F89068C6074}"/>
              </a:ext>
            </a:extLst>
          </p:cNvPr>
          <p:cNvSpPr>
            <a:spLocks noChangeArrowheads="1"/>
          </p:cNvSpPr>
          <p:nvPr/>
        </p:nvSpPr>
        <p:spPr bwMode="auto">
          <a:xfrm>
            <a:off x="6332252" y="3465228"/>
            <a:ext cx="56249" cy="104061"/>
          </a:xfrm>
          <a:custGeom>
            <a:avLst/>
            <a:gdLst>
              <a:gd name="T0" fmla="*/ 124 w 176"/>
              <a:gd name="T1" fmla="*/ 275 h 326"/>
              <a:gd name="T2" fmla="*/ 124 w 176"/>
              <a:gd name="T3" fmla="*/ 275 h 326"/>
              <a:gd name="T4" fmla="*/ 150 w 176"/>
              <a:gd name="T5" fmla="*/ 250 h 326"/>
              <a:gd name="T6" fmla="*/ 175 w 176"/>
              <a:gd name="T7" fmla="*/ 200 h 326"/>
              <a:gd name="T8" fmla="*/ 175 w 176"/>
              <a:gd name="T9" fmla="*/ 200 h 326"/>
              <a:gd name="T10" fmla="*/ 124 w 176"/>
              <a:gd name="T11" fmla="*/ 125 h 326"/>
              <a:gd name="T12" fmla="*/ 150 w 176"/>
              <a:gd name="T13" fmla="*/ 25 h 326"/>
              <a:gd name="T14" fmla="*/ 50 w 176"/>
              <a:gd name="T15" fmla="*/ 0 h 326"/>
              <a:gd name="T16" fmla="*/ 24 w 176"/>
              <a:gd name="T17" fmla="*/ 50 h 326"/>
              <a:gd name="T18" fmla="*/ 50 w 176"/>
              <a:gd name="T19" fmla="*/ 125 h 326"/>
              <a:gd name="T20" fmla="*/ 24 w 176"/>
              <a:gd name="T21" fmla="*/ 250 h 326"/>
              <a:gd name="T22" fmla="*/ 100 w 176"/>
              <a:gd name="T23" fmla="*/ 325 h 326"/>
              <a:gd name="T24" fmla="*/ 124 w 176"/>
              <a:gd name="T25" fmla="*/ 2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326">
                <a:moveTo>
                  <a:pt x="124" y="275"/>
                </a:moveTo>
                <a:lnTo>
                  <a:pt x="124" y="275"/>
                </a:lnTo>
                <a:cubicBezTo>
                  <a:pt x="150" y="275"/>
                  <a:pt x="124" y="275"/>
                  <a:pt x="150" y="250"/>
                </a:cubicBezTo>
                <a:cubicBezTo>
                  <a:pt x="175" y="225"/>
                  <a:pt x="175" y="200"/>
                  <a:pt x="175" y="200"/>
                </a:cubicBezTo>
                <a:lnTo>
                  <a:pt x="175" y="200"/>
                </a:lnTo>
                <a:cubicBezTo>
                  <a:pt x="150" y="175"/>
                  <a:pt x="124" y="150"/>
                  <a:pt x="124" y="125"/>
                </a:cubicBezTo>
                <a:cubicBezTo>
                  <a:pt x="124" y="100"/>
                  <a:pt x="124" y="75"/>
                  <a:pt x="150" y="25"/>
                </a:cubicBezTo>
                <a:cubicBezTo>
                  <a:pt x="124" y="25"/>
                  <a:pt x="75" y="0"/>
                  <a:pt x="50" y="0"/>
                </a:cubicBezTo>
                <a:cubicBezTo>
                  <a:pt x="50" y="0"/>
                  <a:pt x="24" y="25"/>
                  <a:pt x="24" y="50"/>
                </a:cubicBezTo>
                <a:cubicBezTo>
                  <a:pt x="50" y="75"/>
                  <a:pt x="75" y="100"/>
                  <a:pt x="50" y="125"/>
                </a:cubicBezTo>
                <a:cubicBezTo>
                  <a:pt x="24" y="150"/>
                  <a:pt x="0" y="225"/>
                  <a:pt x="24" y="250"/>
                </a:cubicBezTo>
                <a:cubicBezTo>
                  <a:pt x="75" y="275"/>
                  <a:pt x="75" y="325"/>
                  <a:pt x="100" y="325"/>
                </a:cubicBezTo>
                <a:cubicBezTo>
                  <a:pt x="100" y="300"/>
                  <a:pt x="100" y="275"/>
                  <a:pt x="124" y="275"/>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59" name="Freeform 185">
            <a:extLst>
              <a:ext uri="{FF2B5EF4-FFF2-40B4-BE49-F238E27FC236}">
                <a16:creationId xmlns:a16="http://schemas.microsoft.com/office/drawing/2014/main" id="{E6F5F000-8616-DA41-AD7C-36C939BBF0CF}"/>
              </a:ext>
            </a:extLst>
          </p:cNvPr>
          <p:cNvSpPr>
            <a:spLocks noChangeArrowheads="1"/>
          </p:cNvSpPr>
          <p:nvPr/>
        </p:nvSpPr>
        <p:spPr bwMode="auto">
          <a:xfrm>
            <a:off x="6252096" y="3234605"/>
            <a:ext cx="191249" cy="112499"/>
          </a:xfrm>
          <a:custGeom>
            <a:avLst/>
            <a:gdLst>
              <a:gd name="T0" fmla="*/ 574 w 601"/>
              <a:gd name="T1" fmla="*/ 50 h 351"/>
              <a:gd name="T2" fmla="*/ 574 w 601"/>
              <a:gd name="T3" fmla="*/ 50 h 351"/>
              <a:gd name="T4" fmla="*/ 550 w 601"/>
              <a:gd name="T5" fmla="*/ 50 h 351"/>
              <a:gd name="T6" fmla="*/ 500 w 601"/>
              <a:gd name="T7" fmla="*/ 25 h 351"/>
              <a:gd name="T8" fmla="*/ 425 w 601"/>
              <a:gd name="T9" fmla="*/ 0 h 351"/>
              <a:gd name="T10" fmla="*/ 325 w 601"/>
              <a:gd name="T11" fmla="*/ 50 h 351"/>
              <a:gd name="T12" fmla="*/ 225 w 601"/>
              <a:gd name="T13" fmla="*/ 75 h 351"/>
              <a:gd name="T14" fmla="*/ 100 w 601"/>
              <a:gd name="T15" fmla="*/ 75 h 351"/>
              <a:gd name="T16" fmla="*/ 100 w 601"/>
              <a:gd name="T17" fmla="*/ 75 h 351"/>
              <a:gd name="T18" fmla="*/ 74 w 601"/>
              <a:gd name="T19" fmla="*/ 100 h 351"/>
              <a:gd name="T20" fmla="*/ 25 w 601"/>
              <a:gd name="T21" fmla="*/ 125 h 351"/>
              <a:gd name="T22" fmla="*/ 25 w 601"/>
              <a:gd name="T23" fmla="*/ 150 h 351"/>
              <a:gd name="T24" fmla="*/ 0 w 601"/>
              <a:gd name="T25" fmla="*/ 200 h 351"/>
              <a:gd name="T26" fmla="*/ 0 w 601"/>
              <a:gd name="T27" fmla="*/ 225 h 351"/>
              <a:gd name="T28" fmla="*/ 25 w 601"/>
              <a:gd name="T29" fmla="*/ 250 h 351"/>
              <a:gd name="T30" fmla="*/ 25 w 601"/>
              <a:gd name="T31" fmla="*/ 250 h 351"/>
              <a:gd name="T32" fmla="*/ 100 w 601"/>
              <a:gd name="T33" fmla="*/ 325 h 351"/>
              <a:gd name="T34" fmla="*/ 200 w 601"/>
              <a:gd name="T35" fmla="*/ 325 h 351"/>
              <a:gd name="T36" fmla="*/ 325 w 601"/>
              <a:gd name="T37" fmla="*/ 300 h 351"/>
              <a:gd name="T38" fmla="*/ 350 w 601"/>
              <a:gd name="T39" fmla="*/ 300 h 351"/>
              <a:gd name="T40" fmla="*/ 374 w 601"/>
              <a:gd name="T41" fmla="*/ 325 h 351"/>
              <a:gd name="T42" fmla="*/ 450 w 601"/>
              <a:gd name="T43" fmla="*/ 275 h 351"/>
              <a:gd name="T44" fmla="*/ 525 w 601"/>
              <a:gd name="T45" fmla="*/ 125 h 351"/>
              <a:gd name="T46" fmla="*/ 600 w 601"/>
              <a:gd name="T47" fmla="*/ 100 h 351"/>
              <a:gd name="T48" fmla="*/ 574 w 601"/>
              <a:gd name="T49" fmla="*/ 5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51">
                <a:moveTo>
                  <a:pt x="574" y="50"/>
                </a:moveTo>
                <a:lnTo>
                  <a:pt x="574" y="50"/>
                </a:lnTo>
                <a:cubicBezTo>
                  <a:pt x="574" y="50"/>
                  <a:pt x="574" y="50"/>
                  <a:pt x="550" y="50"/>
                </a:cubicBezTo>
                <a:cubicBezTo>
                  <a:pt x="525" y="50"/>
                  <a:pt x="500" y="25"/>
                  <a:pt x="500" y="25"/>
                </a:cubicBezTo>
                <a:cubicBezTo>
                  <a:pt x="474" y="0"/>
                  <a:pt x="425" y="0"/>
                  <a:pt x="425" y="0"/>
                </a:cubicBezTo>
                <a:cubicBezTo>
                  <a:pt x="400" y="0"/>
                  <a:pt x="350" y="50"/>
                  <a:pt x="325" y="50"/>
                </a:cubicBezTo>
                <a:cubicBezTo>
                  <a:pt x="300" y="50"/>
                  <a:pt x="225" y="75"/>
                  <a:pt x="225" y="75"/>
                </a:cubicBezTo>
                <a:cubicBezTo>
                  <a:pt x="225" y="100"/>
                  <a:pt x="125" y="100"/>
                  <a:pt x="100" y="75"/>
                </a:cubicBezTo>
                <a:lnTo>
                  <a:pt x="100" y="75"/>
                </a:lnTo>
                <a:cubicBezTo>
                  <a:pt x="74" y="75"/>
                  <a:pt x="74" y="75"/>
                  <a:pt x="74" y="100"/>
                </a:cubicBezTo>
                <a:cubicBezTo>
                  <a:pt x="74" y="125"/>
                  <a:pt x="50" y="125"/>
                  <a:pt x="25" y="125"/>
                </a:cubicBezTo>
                <a:lnTo>
                  <a:pt x="25" y="150"/>
                </a:lnTo>
                <a:cubicBezTo>
                  <a:pt x="25" y="175"/>
                  <a:pt x="25" y="200"/>
                  <a:pt x="0" y="200"/>
                </a:cubicBezTo>
                <a:cubicBezTo>
                  <a:pt x="0" y="200"/>
                  <a:pt x="0" y="200"/>
                  <a:pt x="0" y="225"/>
                </a:cubicBezTo>
                <a:lnTo>
                  <a:pt x="25" y="250"/>
                </a:lnTo>
                <a:lnTo>
                  <a:pt x="25" y="250"/>
                </a:lnTo>
                <a:cubicBezTo>
                  <a:pt x="25" y="275"/>
                  <a:pt x="74" y="300"/>
                  <a:pt x="100" y="325"/>
                </a:cubicBezTo>
                <a:cubicBezTo>
                  <a:pt x="100" y="350"/>
                  <a:pt x="174" y="350"/>
                  <a:pt x="200" y="325"/>
                </a:cubicBezTo>
                <a:cubicBezTo>
                  <a:pt x="225" y="325"/>
                  <a:pt x="325" y="300"/>
                  <a:pt x="325" y="300"/>
                </a:cubicBezTo>
                <a:lnTo>
                  <a:pt x="350" y="300"/>
                </a:lnTo>
                <a:cubicBezTo>
                  <a:pt x="350" y="300"/>
                  <a:pt x="374" y="300"/>
                  <a:pt x="374" y="325"/>
                </a:cubicBezTo>
                <a:cubicBezTo>
                  <a:pt x="400" y="300"/>
                  <a:pt x="425" y="300"/>
                  <a:pt x="450" y="275"/>
                </a:cubicBezTo>
                <a:cubicBezTo>
                  <a:pt x="474" y="250"/>
                  <a:pt x="525" y="150"/>
                  <a:pt x="525" y="125"/>
                </a:cubicBezTo>
                <a:cubicBezTo>
                  <a:pt x="550" y="125"/>
                  <a:pt x="574" y="100"/>
                  <a:pt x="600" y="100"/>
                </a:cubicBezTo>
                <a:cubicBezTo>
                  <a:pt x="600" y="75"/>
                  <a:pt x="600" y="75"/>
                  <a:pt x="574" y="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0" name="Freeform 186">
            <a:extLst>
              <a:ext uri="{FF2B5EF4-FFF2-40B4-BE49-F238E27FC236}">
                <a16:creationId xmlns:a16="http://schemas.microsoft.com/office/drawing/2014/main" id="{73D7B3C1-2872-5648-9DAF-C617F930C7B1}"/>
              </a:ext>
            </a:extLst>
          </p:cNvPr>
          <p:cNvSpPr>
            <a:spLocks noChangeArrowheads="1"/>
          </p:cNvSpPr>
          <p:nvPr/>
        </p:nvSpPr>
        <p:spPr bwMode="auto">
          <a:xfrm>
            <a:off x="6132565" y="3138981"/>
            <a:ext cx="191249" cy="95624"/>
          </a:xfrm>
          <a:custGeom>
            <a:avLst/>
            <a:gdLst>
              <a:gd name="T0" fmla="*/ 575 w 601"/>
              <a:gd name="T1" fmla="*/ 150 h 301"/>
              <a:gd name="T2" fmla="*/ 575 w 601"/>
              <a:gd name="T3" fmla="*/ 150 h 301"/>
              <a:gd name="T4" fmla="*/ 500 w 601"/>
              <a:gd name="T5" fmla="*/ 124 h 301"/>
              <a:gd name="T6" fmla="*/ 475 w 601"/>
              <a:gd name="T7" fmla="*/ 100 h 301"/>
              <a:gd name="T8" fmla="*/ 425 w 601"/>
              <a:gd name="T9" fmla="*/ 100 h 301"/>
              <a:gd name="T10" fmla="*/ 375 w 601"/>
              <a:gd name="T11" fmla="*/ 75 h 301"/>
              <a:gd name="T12" fmla="*/ 324 w 601"/>
              <a:gd name="T13" fmla="*/ 50 h 301"/>
              <a:gd name="T14" fmla="*/ 275 w 601"/>
              <a:gd name="T15" fmla="*/ 0 h 301"/>
              <a:gd name="T16" fmla="*/ 249 w 601"/>
              <a:gd name="T17" fmla="*/ 25 h 301"/>
              <a:gd name="T18" fmla="*/ 200 w 601"/>
              <a:gd name="T19" fmla="*/ 25 h 301"/>
              <a:gd name="T20" fmla="*/ 124 w 601"/>
              <a:gd name="T21" fmla="*/ 50 h 301"/>
              <a:gd name="T22" fmla="*/ 24 w 601"/>
              <a:gd name="T23" fmla="*/ 100 h 301"/>
              <a:gd name="T24" fmla="*/ 49 w 601"/>
              <a:gd name="T25" fmla="*/ 150 h 301"/>
              <a:gd name="T26" fmla="*/ 75 w 601"/>
              <a:gd name="T27" fmla="*/ 224 h 301"/>
              <a:gd name="T28" fmla="*/ 174 w 601"/>
              <a:gd name="T29" fmla="*/ 300 h 301"/>
              <a:gd name="T30" fmla="*/ 174 w 601"/>
              <a:gd name="T31" fmla="*/ 300 h 301"/>
              <a:gd name="T32" fmla="*/ 249 w 601"/>
              <a:gd name="T33" fmla="*/ 300 h 301"/>
              <a:gd name="T34" fmla="*/ 275 w 601"/>
              <a:gd name="T35" fmla="*/ 250 h 301"/>
              <a:gd name="T36" fmla="*/ 349 w 601"/>
              <a:gd name="T37" fmla="*/ 275 h 301"/>
              <a:gd name="T38" fmla="*/ 425 w 601"/>
              <a:gd name="T39" fmla="*/ 300 h 301"/>
              <a:gd name="T40" fmla="*/ 425 w 601"/>
              <a:gd name="T41" fmla="*/ 300 h 301"/>
              <a:gd name="T42" fmla="*/ 449 w 601"/>
              <a:gd name="T43" fmla="*/ 275 h 301"/>
              <a:gd name="T44" fmla="*/ 549 w 601"/>
              <a:gd name="T45" fmla="*/ 224 h 301"/>
              <a:gd name="T46" fmla="*/ 600 w 601"/>
              <a:gd name="T47" fmla="*/ 200 h 301"/>
              <a:gd name="T48" fmla="*/ 575 w 601"/>
              <a:gd name="T49" fmla="*/ 15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1" h="301">
                <a:moveTo>
                  <a:pt x="575" y="150"/>
                </a:moveTo>
                <a:lnTo>
                  <a:pt x="575" y="150"/>
                </a:lnTo>
                <a:cubicBezTo>
                  <a:pt x="549" y="124"/>
                  <a:pt x="525" y="150"/>
                  <a:pt x="500" y="124"/>
                </a:cubicBezTo>
                <a:cubicBezTo>
                  <a:pt x="500" y="124"/>
                  <a:pt x="500" y="100"/>
                  <a:pt x="475" y="100"/>
                </a:cubicBezTo>
                <a:cubicBezTo>
                  <a:pt x="475" y="100"/>
                  <a:pt x="449" y="75"/>
                  <a:pt x="425" y="100"/>
                </a:cubicBezTo>
                <a:cubicBezTo>
                  <a:pt x="425" y="124"/>
                  <a:pt x="375" y="100"/>
                  <a:pt x="375" y="75"/>
                </a:cubicBezTo>
                <a:cubicBezTo>
                  <a:pt x="375" y="75"/>
                  <a:pt x="375" y="50"/>
                  <a:pt x="324" y="50"/>
                </a:cubicBezTo>
                <a:cubicBezTo>
                  <a:pt x="300" y="25"/>
                  <a:pt x="275" y="25"/>
                  <a:pt x="275" y="0"/>
                </a:cubicBezTo>
                <a:cubicBezTo>
                  <a:pt x="275" y="25"/>
                  <a:pt x="275" y="25"/>
                  <a:pt x="249" y="25"/>
                </a:cubicBezTo>
                <a:cubicBezTo>
                  <a:pt x="249" y="25"/>
                  <a:pt x="224" y="0"/>
                  <a:pt x="200" y="25"/>
                </a:cubicBezTo>
                <a:cubicBezTo>
                  <a:pt x="200" y="25"/>
                  <a:pt x="149" y="25"/>
                  <a:pt x="124" y="50"/>
                </a:cubicBezTo>
                <a:cubicBezTo>
                  <a:pt x="100" y="75"/>
                  <a:pt x="75" y="100"/>
                  <a:pt x="24" y="100"/>
                </a:cubicBezTo>
                <a:cubicBezTo>
                  <a:pt x="0" y="100"/>
                  <a:pt x="24" y="124"/>
                  <a:pt x="49" y="150"/>
                </a:cubicBezTo>
                <a:cubicBezTo>
                  <a:pt x="49" y="175"/>
                  <a:pt x="49" y="200"/>
                  <a:pt x="75" y="224"/>
                </a:cubicBezTo>
                <a:cubicBezTo>
                  <a:pt x="100" y="250"/>
                  <a:pt x="174" y="275"/>
                  <a:pt x="174" y="300"/>
                </a:cubicBezTo>
                <a:lnTo>
                  <a:pt x="174" y="300"/>
                </a:lnTo>
                <a:cubicBezTo>
                  <a:pt x="200" y="300"/>
                  <a:pt x="249" y="300"/>
                  <a:pt x="249" y="300"/>
                </a:cubicBezTo>
                <a:cubicBezTo>
                  <a:pt x="249" y="275"/>
                  <a:pt x="275" y="250"/>
                  <a:pt x="275" y="250"/>
                </a:cubicBezTo>
                <a:cubicBezTo>
                  <a:pt x="275" y="250"/>
                  <a:pt x="324" y="250"/>
                  <a:pt x="349" y="275"/>
                </a:cubicBezTo>
                <a:cubicBezTo>
                  <a:pt x="375" y="300"/>
                  <a:pt x="425" y="300"/>
                  <a:pt x="425" y="300"/>
                </a:cubicBezTo>
                <a:lnTo>
                  <a:pt x="425" y="300"/>
                </a:lnTo>
                <a:cubicBezTo>
                  <a:pt x="449" y="300"/>
                  <a:pt x="449" y="275"/>
                  <a:pt x="449" y="275"/>
                </a:cubicBezTo>
                <a:cubicBezTo>
                  <a:pt x="475" y="275"/>
                  <a:pt x="525" y="275"/>
                  <a:pt x="549" y="224"/>
                </a:cubicBezTo>
                <a:cubicBezTo>
                  <a:pt x="549" y="224"/>
                  <a:pt x="575" y="200"/>
                  <a:pt x="600" y="200"/>
                </a:cubicBezTo>
                <a:cubicBezTo>
                  <a:pt x="600" y="175"/>
                  <a:pt x="575" y="150"/>
                  <a:pt x="575" y="150"/>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1" name="Freeform 187">
            <a:extLst>
              <a:ext uri="{FF2B5EF4-FFF2-40B4-BE49-F238E27FC236}">
                <a16:creationId xmlns:a16="http://schemas.microsoft.com/office/drawing/2014/main" id="{F8EBCFDF-0380-3649-9DA7-24E36972BE47}"/>
              </a:ext>
            </a:extLst>
          </p:cNvPr>
          <p:cNvSpPr>
            <a:spLocks noChangeArrowheads="1"/>
          </p:cNvSpPr>
          <p:nvPr/>
        </p:nvSpPr>
        <p:spPr bwMode="auto">
          <a:xfrm>
            <a:off x="6267565" y="3193826"/>
            <a:ext cx="167343" cy="71719"/>
          </a:xfrm>
          <a:custGeom>
            <a:avLst/>
            <a:gdLst>
              <a:gd name="T0" fmla="*/ 400 w 525"/>
              <a:gd name="T1" fmla="*/ 25 h 226"/>
              <a:gd name="T2" fmla="*/ 400 w 525"/>
              <a:gd name="T3" fmla="*/ 25 h 226"/>
              <a:gd name="T4" fmla="*/ 324 w 525"/>
              <a:gd name="T5" fmla="*/ 25 h 226"/>
              <a:gd name="T6" fmla="*/ 250 w 525"/>
              <a:gd name="T7" fmla="*/ 25 h 226"/>
              <a:gd name="T8" fmla="*/ 200 w 525"/>
              <a:gd name="T9" fmla="*/ 25 h 226"/>
              <a:gd name="T10" fmla="*/ 175 w 525"/>
              <a:gd name="T11" fmla="*/ 25 h 226"/>
              <a:gd name="T12" fmla="*/ 124 w 525"/>
              <a:gd name="T13" fmla="*/ 49 h 226"/>
              <a:gd name="T14" fmla="*/ 24 w 525"/>
              <a:gd name="T15" fmla="*/ 100 h 226"/>
              <a:gd name="T16" fmla="*/ 0 w 525"/>
              <a:gd name="T17" fmla="*/ 125 h 226"/>
              <a:gd name="T18" fmla="*/ 50 w 525"/>
              <a:gd name="T19" fmla="*/ 200 h 226"/>
              <a:gd name="T20" fmla="*/ 175 w 525"/>
              <a:gd name="T21" fmla="*/ 200 h 226"/>
              <a:gd name="T22" fmla="*/ 275 w 525"/>
              <a:gd name="T23" fmla="*/ 175 h 226"/>
              <a:gd name="T24" fmla="*/ 375 w 525"/>
              <a:gd name="T25" fmla="*/ 125 h 226"/>
              <a:gd name="T26" fmla="*/ 450 w 525"/>
              <a:gd name="T27" fmla="*/ 150 h 226"/>
              <a:gd name="T28" fmla="*/ 500 w 525"/>
              <a:gd name="T29" fmla="*/ 175 h 226"/>
              <a:gd name="T30" fmla="*/ 500 w 525"/>
              <a:gd name="T31" fmla="*/ 150 h 226"/>
              <a:gd name="T32" fmla="*/ 524 w 525"/>
              <a:gd name="T33" fmla="*/ 75 h 226"/>
              <a:gd name="T34" fmla="*/ 524 w 525"/>
              <a:gd name="T35" fmla="*/ 75 h 226"/>
              <a:gd name="T36" fmla="*/ 475 w 525"/>
              <a:gd name="T37" fmla="*/ 49 h 226"/>
              <a:gd name="T38" fmla="*/ 400 w 525"/>
              <a:gd name="T39" fmla="*/ 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5" h="226">
                <a:moveTo>
                  <a:pt x="400" y="25"/>
                </a:moveTo>
                <a:lnTo>
                  <a:pt x="400" y="25"/>
                </a:lnTo>
                <a:cubicBezTo>
                  <a:pt x="375" y="49"/>
                  <a:pt x="350" y="25"/>
                  <a:pt x="324" y="25"/>
                </a:cubicBezTo>
                <a:cubicBezTo>
                  <a:pt x="300" y="49"/>
                  <a:pt x="250" y="25"/>
                  <a:pt x="250" y="25"/>
                </a:cubicBezTo>
                <a:cubicBezTo>
                  <a:pt x="224" y="0"/>
                  <a:pt x="200" y="49"/>
                  <a:pt x="200" y="25"/>
                </a:cubicBezTo>
                <a:cubicBezTo>
                  <a:pt x="175" y="25"/>
                  <a:pt x="175" y="25"/>
                  <a:pt x="175" y="25"/>
                </a:cubicBezTo>
                <a:cubicBezTo>
                  <a:pt x="150" y="25"/>
                  <a:pt x="124" y="49"/>
                  <a:pt x="124" y="49"/>
                </a:cubicBezTo>
                <a:cubicBezTo>
                  <a:pt x="100" y="100"/>
                  <a:pt x="50" y="100"/>
                  <a:pt x="24" y="100"/>
                </a:cubicBezTo>
                <a:cubicBezTo>
                  <a:pt x="24" y="100"/>
                  <a:pt x="24" y="125"/>
                  <a:pt x="0" y="125"/>
                </a:cubicBezTo>
                <a:cubicBezTo>
                  <a:pt x="24" y="150"/>
                  <a:pt x="24" y="200"/>
                  <a:pt x="50" y="200"/>
                </a:cubicBezTo>
                <a:cubicBezTo>
                  <a:pt x="75" y="225"/>
                  <a:pt x="175" y="225"/>
                  <a:pt x="175" y="200"/>
                </a:cubicBezTo>
                <a:cubicBezTo>
                  <a:pt x="175" y="200"/>
                  <a:pt x="250" y="175"/>
                  <a:pt x="275" y="175"/>
                </a:cubicBezTo>
                <a:cubicBezTo>
                  <a:pt x="300" y="175"/>
                  <a:pt x="350" y="125"/>
                  <a:pt x="375" y="125"/>
                </a:cubicBezTo>
                <a:cubicBezTo>
                  <a:pt x="375" y="125"/>
                  <a:pt x="424" y="125"/>
                  <a:pt x="450" y="150"/>
                </a:cubicBezTo>
                <a:cubicBezTo>
                  <a:pt x="450" y="150"/>
                  <a:pt x="475" y="175"/>
                  <a:pt x="500" y="175"/>
                </a:cubicBezTo>
                <a:cubicBezTo>
                  <a:pt x="500" y="150"/>
                  <a:pt x="500" y="150"/>
                  <a:pt x="500" y="150"/>
                </a:cubicBezTo>
                <a:cubicBezTo>
                  <a:pt x="500" y="125"/>
                  <a:pt x="524" y="75"/>
                  <a:pt x="524" y="75"/>
                </a:cubicBezTo>
                <a:lnTo>
                  <a:pt x="524" y="75"/>
                </a:lnTo>
                <a:cubicBezTo>
                  <a:pt x="500" y="75"/>
                  <a:pt x="475" y="49"/>
                  <a:pt x="475" y="49"/>
                </a:cubicBezTo>
                <a:cubicBezTo>
                  <a:pt x="475" y="49"/>
                  <a:pt x="424" y="25"/>
                  <a:pt x="40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2" name="Freeform 188">
            <a:extLst>
              <a:ext uri="{FF2B5EF4-FFF2-40B4-BE49-F238E27FC236}">
                <a16:creationId xmlns:a16="http://schemas.microsoft.com/office/drawing/2014/main" id="{515D9934-F80A-BC4C-A675-FFFF644E2DC0}"/>
              </a:ext>
            </a:extLst>
          </p:cNvPr>
          <p:cNvSpPr>
            <a:spLocks noChangeArrowheads="1"/>
          </p:cNvSpPr>
          <p:nvPr/>
        </p:nvSpPr>
        <p:spPr bwMode="auto">
          <a:xfrm>
            <a:off x="5478661" y="3480697"/>
            <a:ext cx="112499" cy="184219"/>
          </a:xfrm>
          <a:custGeom>
            <a:avLst/>
            <a:gdLst>
              <a:gd name="T0" fmla="*/ 250 w 351"/>
              <a:gd name="T1" fmla="*/ 475 h 576"/>
              <a:gd name="T2" fmla="*/ 250 w 351"/>
              <a:gd name="T3" fmla="*/ 475 h 576"/>
              <a:gd name="T4" fmla="*/ 225 w 351"/>
              <a:gd name="T5" fmla="*/ 425 h 576"/>
              <a:gd name="T6" fmla="*/ 250 w 351"/>
              <a:gd name="T7" fmla="*/ 375 h 576"/>
              <a:gd name="T8" fmla="*/ 225 w 351"/>
              <a:gd name="T9" fmla="*/ 325 h 576"/>
              <a:gd name="T10" fmla="*/ 250 w 351"/>
              <a:gd name="T11" fmla="*/ 275 h 576"/>
              <a:gd name="T12" fmla="*/ 250 w 351"/>
              <a:gd name="T13" fmla="*/ 225 h 576"/>
              <a:gd name="T14" fmla="*/ 250 w 351"/>
              <a:gd name="T15" fmla="*/ 125 h 576"/>
              <a:gd name="T16" fmla="*/ 325 w 351"/>
              <a:gd name="T17" fmla="*/ 75 h 576"/>
              <a:gd name="T18" fmla="*/ 300 w 351"/>
              <a:gd name="T19" fmla="*/ 50 h 576"/>
              <a:gd name="T20" fmla="*/ 225 w 351"/>
              <a:gd name="T21" fmla="*/ 25 h 576"/>
              <a:gd name="T22" fmla="*/ 200 w 351"/>
              <a:gd name="T23" fmla="*/ 25 h 576"/>
              <a:gd name="T24" fmla="*/ 150 w 351"/>
              <a:gd name="T25" fmla="*/ 25 h 576"/>
              <a:gd name="T26" fmla="*/ 100 w 351"/>
              <a:gd name="T27" fmla="*/ 0 h 576"/>
              <a:gd name="T28" fmla="*/ 75 w 351"/>
              <a:gd name="T29" fmla="*/ 25 h 576"/>
              <a:gd name="T30" fmla="*/ 75 w 351"/>
              <a:gd name="T31" fmla="*/ 75 h 576"/>
              <a:gd name="T32" fmla="*/ 25 w 351"/>
              <a:gd name="T33" fmla="*/ 300 h 576"/>
              <a:gd name="T34" fmla="*/ 50 w 351"/>
              <a:gd name="T35" fmla="*/ 400 h 576"/>
              <a:gd name="T36" fmla="*/ 75 w 351"/>
              <a:gd name="T37" fmla="*/ 550 h 576"/>
              <a:gd name="T38" fmla="*/ 150 w 351"/>
              <a:gd name="T39" fmla="*/ 575 h 576"/>
              <a:gd name="T40" fmla="*/ 225 w 351"/>
              <a:gd name="T41" fmla="*/ 550 h 576"/>
              <a:gd name="T42" fmla="*/ 200 w 351"/>
              <a:gd name="T43" fmla="*/ 525 h 576"/>
              <a:gd name="T44" fmla="*/ 250 w 351"/>
              <a:gd name="T45" fmla="*/ 4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576">
                <a:moveTo>
                  <a:pt x="250" y="475"/>
                </a:moveTo>
                <a:lnTo>
                  <a:pt x="250" y="475"/>
                </a:lnTo>
                <a:cubicBezTo>
                  <a:pt x="275" y="450"/>
                  <a:pt x="225" y="425"/>
                  <a:pt x="225" y="425"/>
                </a:cubicBezTo>
                <a:cubicBezTo>
                  <a:pt x="225" y="400"/>
                  <a:pt x="225" y="375"/>
                  <a:pt x="250" y="375"/>
                </a:cubicBezTo>
                <a:cubicBezTo>
                  <a:pt x="275" y="375"/>
                  <a:pt x="250" y="350"/>
                  <a:pt x="225" y="325"/>
                </a:cubicBezTo>
                <a:cubicBezTo>
                  <a:pt x="200" y="300"/>
                  <a:pt x="225" y="275"/>
                  <a:pt x="250" y="275"/>
                </a:cubicBezTo>
                <a:cubicBezTo>
                  <a:pt x="275" y="275"/>
                  <a:pt x="225" y="250"/>
                  <a:pt x="250" y="225"/>
                </a:cubicBezTo>
                <a:cubicBezTo>
                  <a:pt x="275" y="200"/>
                  <a:pt x="250" y="150"/>
                  <a:pt x="250" y="125"/>
                </a:cubicBezTo>
                <a:cubicBezTo>
                  <a:pt x="250" y="100"/>
                  <a:pt x="275" y="100"/>
                  <a:pt x="325" y="75"/>
                </a:cubicBezTo>
                <a:cubicBezTo>
                  <a:pt x="350" y="50"/>
                  <a:pt x="300" y="50"/>
                  <a:pt x="300" y="50"/>
                </a:cubicBezTo>
                <a:cubicBezTo>
                  <a:pt x="300" y="25"/>
                  <a:pt x="250" y="0"/>
                  <a:pt x="225" y="25"/>
                </a:cubicBezTo>
                <a:cubicBezTo>
                  <a:pt x="200" y="50"/>
                  <a:pt x="225" y="25"/>
                  <a:pt x="200" y="25"/>
                </a:cubicBezTo>
                <a:cubicBezTo>
                  <a:pt x="175" y="25"/>
                  <a:pt x="150" y="25"/>
                  <a:pt x="150" y="25"/>
                </a:cubicBezTo>
                <a:cubicBezTo>
                  <a:pt x="150" y="0"/>
                  <a:pt x="125" y="0"/>
                  <a:pt x="100" y="0"/>
                </a:cubicBezTo>
                <a:cubicBezTo>
                  <a:pt x="100" y="25"/>
                  <a:pt x="100" y="25"/>
                  <a:pt x="75" y="25"/>
                </a:cubicBezTo>
                <a:cubicBezTo>
                  <a:pt x="75" y="50"/>
                  <a:pt x="75" y="75"/>
                  <a:pt x="75" y="75"/>
                </a:cubicBezTo>
                <a:cubicBezTo>
                  <a:pt x="100" y="125"/>
                  <a:pt x="50" y="275"/>
                  <a:pt x="25" y="300"/>
                </a:cubicBezTo>
                <a:cubicBezTo>
                  <a:pt x="0" y="350"/>
                  <a:pt x="25" y="375"/>
                  <a:pt x="50" y="400"/>
                </a:cubicBezTo>
                <a:cubicBezTo>
                  <a:pt x="100" y="425"/>
                  <a:pt x="75" y="525"/>
                  <a:pt x="75" y="550"/>
                </a:cubicBezTo>
                <a:cubicBezTo>
                  <a:pt x="75" y="575"/>
                  <a:pt x="100" y="575"/>
                  <a:pt x="150" y="575"/>
                </a:cubicBezTo>
                <a:cubicBezTo>
                  <a:pt x="175" y="575"/>
                  <a:pt x="200" y="550"/>
                  <a:pt x="225" y="550"/>
                </a:cubicBezTo>
                <a:cubicBezTo>
                  <a:pt x="200" y="550"/>
                  <a:pt x="200" y="525"/>
                  <a:pt x="200" y="525"/>
                </a:cubicBezTo>
                <a:cubicBezTo>
                  <a:pt x="200" y="500"/>
                  <a:pt x="200" y="475"/>
                  <a:pt x="250" y="4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3" name="Freeform 189">
            <a:extLst>
              <a:ext uri="{FF2B5EF4-FFF2-40B4-BE49-F238E27FC236}">
                <a16:creationId xmlns:a16="http://schemas.microsoft.com/office/drawing/2014/main" id="{B2518D50-4086-AF4C-ABEA-2E5700EEC427}"/>
              </a:ext>
            </a:extLst>
          </p:cNvPr>
          <p:cNvSpPr>
            <a:spLocks noChangeArrowheads="1"/>
          </p:cNvSpPr>
          <p:nvPr/>
        </p:nvSpPr>
        <p:spPr bwMode="auto">
          <a:xfrm>
            <a:off x="5861157" y="3041951"/>
            <a:ext cx="127968" cy="104061"/>
          </a:xfrm>
          <a:custGeom>
            <a:avLst/>
            <a:gdLst>
              <a:gd name="T0" fmla="*/ 126 w 401"/>
              <a:gd name="T1" fmla="*/ 251 h 327"/>
              <a:gd name="T2" fmla="*/ 126 w 401"/>
              <a:gd name="T3" fmla="*/ 251 h 327"/>
              <a:gd name="T4" fmla="*/ 200 w 401"/>
              <a:gd name="T5" fmla="*/ 276 h 327"/>
              <a:gd name="T6" fmla="*/ 275 w 401"/>
              <a:gd name="T7" fmla="*/ 326 h 327"/>
              <a:gd name="T8" fmla="*/ 275 w 401"/>
              <a:gd name="T9" fmla="*/ 326 h 327"/>
              <a:gd name="T10" fmla="*/ 300 w 401"/>
              <a:gd name="T11" fmla="*/ 276 h 327"/>
              <a:gd name="T12" fmla="*/ 300 w 401"/>
              <a:gd name="T13" fmla="*/ 226 h 327"/>
              <a:gd name="T14" fmla="*/ 351 w 401"/>
              <a:gd name="T15" fmla="*/ 200 h 327"/>
              <a:gd name="T16" fmla="*/ 375 w 401"/>
              <a:gd name="T17" fmla="*/ 176 h 327"/>
              <a:gd name="T18" fmla="*/ 351 w 401"/>
              <a:gd name="T19" fmla="*/ 126 h 327"/>
              <a:gd name="T20" fmla="*/ 400 w 401"/>
              <a:gd name="T21" fmla="*/ 76 h 327"/>
              <a:gd name="T22" fmla="*/ 400 w 401"/>
              <a:gd name="T23" fmla="*/ 0 h 327"/>
              <a:gd name="T24" fmla="*/ 375 w 401"/>
              <a:gd name="T25" fmla="*/ 26 h 327"/>
              <a:gd name="T26" fmla="*/ 275 w 401"/>
              <a:gd name="T27" fmla="*/ 26 h 327"/>
              <a:gd name="T28" fmla="*/ 226 w 401"/>
              <a:gd name="T29" fmla="*/ 76 h 327"/>
              <a:gd name="T30" fmla="*/ 200 w 401"/>
              <a:gd name="T31" fmla="*/ 76 h 327"/>
              <a:gd name="T32" fmla="*/ 150 w 401"/>
              <a:gd name="T33" fmla="*/ 100 h 327"/>
              <a:gd name="T34" fmla="*/ 100 w 401"/>
              <a:gd name="T35" fmla="*/ 176 h 327"/>
              <a:gd name="T36" fmla="*/ 26 w 401"/>
              <a:gd name="T37" fmla="*/ 276 h 327"/>
              <a:gd name="T38" fmla="*/ 0 w 401"/>
              <a:gd name="T39" fmla="*/ 276 h 327"/>
              <a:gd name="T40" fmla="*/ 50 w 401"/>
              <a:gd name="T41" fmla="*/ 301 h 327"/>
              <a:gd name="T42" fmla="*/ 126 w 401"/>
              <a:gd name="T43" fmla="*/ 25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1" h="327">
                <a:moveTo>
                  <a:pt x="126" y="251"/>
                </a:moveTo>
                <a:lnTo>
                  <a:pt x="126" y="251"/>
                </a:lnTo>
                <a:cubicBezTo>
                  <a:pt x="150" y="251"/>
                  <a:pt x="175" y="251"/>
                  <a:pt x="200" y="276"/>
                </a:cubicBezTo>
                <a:cubicBezTo>
                  <a:pt x="226" y="276"/>
                  <a:pt x="250" y="301"/>
                  <a:pt x="275" y="326"/>
                </a:cubicBezTo>
                <a:lnTo>
                  <a:pt x="275" y="326"/>
                </a:lnTo>
                <a:cubicBezTo>
                  <a:pt x="300" y="326"/>
                  <a:pt x="300" y="276"/>
                  <a:pt x="300" y="276"/>
                </a:cubicBezTo>
                <a:cubicBezTo>
                  <a:pt x="300" y="251"/>
                  <a:pt x="300" y="226"/>
                  <a:pt x="300" y="226"/>
                </a:cubicBezTo>
                <a:cubicBezTo>
                  <a:pt x="326" y="226"/>
                  <a:pt x="351" y="226"/>
                  <a:pt x="351" y="200"/>
                </a:cubicBezTo>
                <a:cubicBezTo>
                  <a:pt x="351" y="176"/>
                  <a:pt x="375" y="176"/>
                  <a:pt x="375" y="176"/>
                </a:cubicBezTo>
                <a:cubicBezTo>
                  <a:pt x="375" y="151"/>
                  <a:pt x="351" y="126"/>
                  <a:pt x="351" y="126"/>
                </a:cubicBezTo>
                <a:cubicBezTo>
                  <a:pt x="351" y="100"/>
                  <a:pt x="375" y="100"/>
                  <a:pt x="400" y="76"/>
                </a:cubicBezTo>
                <a:cubicBezTo>
                  <a:pt x="400" y="51"/>
                  <a:pt x="400" y="26"/>
                  <a:pt x="400" y="0"/>
                </a:cubicBezTo>
                <a:cubicBezTo>
                  <a:pt x="375" y="26"/>
                  <a:pt x="375" y="26"/>
                  <a:pt x="375" y="26"/>
                </a:cubicBezTo>
                <a:cubicBezTo>
                  <a:pt x="351" y="0"/>
                  <a:pt x="326" y="0"/>
                  <a:pt x="275" y="26"/>
                </a:cubicBezTo>
                <a:cubicBezTo>
                  <a:pt x="226" y="26"/>
                  <a:pt x="226" y="76"/>
                  <a:pt x="226" y="76"/>
                </a:cubicBezTo>
                <a:cubicBezTo>
                  <a:pt x="250" y="100"/>
                  <a:pt x="200" y="100"/>
                  <a:pt x="200" y="76"/>
                </a:cubicBezTo>
                <a:cubicBezTo>
                  <a:pt x="175" y="76"/>
                  <a:pt x="150" y="76"/>
                  <a:pt x="150" y="100"/>
                </a:cubicBezTo>
                <a:cubicBezTo>
                  <a:pt x="150" y="126"/>
                  <a:pt x="100" y="151"/>
                  <a:pt x="100" y="176"/>
                </a:cubicBezTo>
                <a:cubicBezTo>
                  <a:pt x="100" y="226"/>
                  <a:pt x="50" y="251"/>
                  <a:pt x="26" y="276"/>
                </a:cubicBezTo>
                <a:cubicBezTo>
                  <a:pt x="26" y="276"/>
                  <a:pt x="26" y="276"/>
                  <a:pt x="0" y="276"/>
                </a:cubicBezTo>
                <a:cubicBezTo>
                  <a:pt x="26" y="276"/>
                  <a:pt x="50" y="301"/>
                  <a:pt x="50" y="301"/>
                </a:cubicBezTo>
                <a:cubicBezTo>
                  <a:pt x="75" y="301"/>
                  <a:pt x="126" y="276"/>
                  <a:pt x="126" y="2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4" name="Freeform 190">
            <a:extLst>
              <a:ext uri="{FF2B5EF4-FFF2-40B4-BE49-F238E27FC236}">
                <a16:creationId xmlns:a16="http://schemas.microsoft.com/office/drawing/2014/main" id="{BAD02920-D8C0-2345-9915-B8FFA22D9B7C}"/>
              </a:ext>
            </a:extLst>
          </p:cNvPr>
          <p:cNvSpPr>
            <a:spLocks noChangeArrowheads="1"/>
          </p:cNvSpPr>
          <p:nvPr/>
        </p:nvSpPr>
        <p:spPr bwMode="auto">
          <a:xfrm>
            <a:off x="5941317" y="3178358"/>
            <a:ext cx="23905" cy="23905"/>
          </a:xfrm>
          <a:custGeom>
            <a:avLst/>
            <a:gdLst>
              <a:gd name="T0" fmla="*/ 50 w 77"/>
              <a:gd name="T1" fmla="*/ 0 h 77"/>
              <a:gd name="T2" fmla="*/ 50 w 77"/>
              <a:gd name="T3" fmla="*/ 0 h 77"/>
              <a:gd name="T4" fmla="*/ 0 w 77"/>
              <a:gd name="T5" fmla="*/ 76 h 77"/>
              <a:gd name="T6" fmla="*/ 76 w 77"/>
              <a:gd name="T7" fmla="*/ 76 h 77"/>
              <a:gd name="T8" fmla="*/ 50 w 77"/>
              <a:gd name="T9" fmla="*/ 0 h 77"/>
            </a:gdLst>
            <a:ahLst/>
            <a:cxnLst>
              <a:cxn ang="0">
                <a:pos x="T0" y="T1"/>
              </a:cxn>
              <a:cxn ang="0">
                <a:pos x="T2" y="T3"/>
              </a:cxn>
              <a:cxn ang="0">
                <a:pos x="T4" y="T5"/>
              </a:cxn>
              <a:cxn ang="0">
                <a:pos x="T6" y="T7"/>
              </a:cxn>
              <a:cxn ang="0">
                <a:pos x="T8" y="T9"/>
              </a:cxn>
            </a:cxnLst>
            <a:rect l="0" t="0" r="r" b="b"/>
            <a:pathLst>
              <a:path w="77" h="77">
                <a:moveTo>
                  <a:pt x="50" y="0"/>
                </a:moveTo>
                <a:lnTo>
                  <a:pt x="50" y="0"/>
                </a:lnTo>
                <a:cubicBezTo>
                  <a:pt x="25" y="0"/>
                  <a:pt x="0" y="26"/>
                  <a:pt x="0" y="76"/>
                </a:cubicBezTo>
                <a:cubicBezTo>
                  <a:pt x="25" y="76"/>
                  <a:pt x="50" y="76"/>
                  <a:pt x="76" y="76"/>
                </a:cubicBezTo>
                <a:cubicBezTo>
                  <a:pt x="76" y="26"/>
                  <a:pt x="50" y="26"/>
                  <a:pt x="50"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5" name="Freeform 191">
            <a:extLst>
              <a:ext uri="{FF2B5EF4-FFF2-40B4-BE49-F238E27FC236}">
                <a16:creationId xmlns:a16="http://schemas.microsoft.com/office/drawing/2014/main" id="{5FC7552C-255C-4D47-B70A-5CD4E779CECB}"/>
              </a:ext>
            </a:extLst>
          </p:cNvPr>
          <p:cNvSpPr>
            <a:spLocks noChangeArrowheads="1"/>
          </p:cNvSpPr>
          <p:nvPr/>
        </p:nvSpPr>
        <p:spPr bwMode="auto">
          <a:xfrm>
            <a:off x="5845689" y="3122105"/>
            <a:ext cx="119531" cy="80155"/>
          </a:xfrm>
          <a:custGeom>
            <a:avLst/>
            <a:gdLst>
              <a:gd name="T0" fmla="*/ 0 w 377"/>
              <a:gd name="T1" fmla="*/ 75 h 251"/>
              <a:gd name="T2" fmla="*/ 0 w 377"/>
              <a:gd name="T3" fmla="*/ 75 h 251"/>
              <a:gd name="T4" fmla="*/ 50 w 377"/>
              <a:gd name="T5" fmla="*/ 100 h 251"/>
              <a:gd name="T6" fmla="*/ 100 w 377"/>
              <a:gd name="T7" fmla="*/ 125 h 251"/>
              <a:gd name="T8" fmla="*/ 150 w 377"/>
              <a:gd name="T9" fmla="*/ 174 h 251"/>
              <a:gd name="T10" fmla="*/ 176 w 377"/>
              <a:gd name="T11" fmla="*/ 200 h 251"/>
              <a:gd name="T12" fmla="*/ 225 w 377"/>
              <a:gd name="T13" fmla="*/ 174 h 251"/>
              <a:gd name="T14" fmla="*/ 250 w 377"/>
              <a:gd name="T15" fmla="*/ 225 h 251"/>
              <a:gd name="T16" fmla="*/ 300 w 377"/>
              <a:gd name="T17" fmla="*/ 250 h 251"/>
              <a:gd name="T18" fmla="*/ 300 w 377"/>
              <a:gd name="T19" fmla="*/ 250 h 251"/>
              <a:gd name="T20" fmla="*/ 350 w 377"/>
              <a:gd name="T21" fmla="*/ 174 h 251"/>
              <a:gd name="T22" fmla="*/ 350 w 377"/>
              <a:gd name="T23" fmla="*/ 150 h 251"/>
              <a:gd name="T24" fmla="*/ 325 w 377"/>
              <a:gd name="T25" fmla="*/ 100 h 251"/>
              <a:gd name="T26" fmla="*/ 325 w 377"/>
              <a:gd name="T27" fmla="*/ 75 h 251"/>
              <a:gd name="T28" fmla="*/ 325 w 377"/>
              <a:gd name="T29" fmla="*/ 75 h 251"/>
              <a:gd name="T30" fmla="*/ 250 w 377"/>
              <a:gd name="T31" fmla="*/ 25 h 251"/>
              <a:gd name="T32" fmla="*/ 176 w 377"/>
              <a:gd name="T33" fmla="*/ 0 h 251"/>
              <a:gd name="T34" fmla="*/ 100 w 377"/>
              <a:gd name="T35" fmla="*/ 50 h 251"/>
              <a:gd name="T36" fmla="*/ 50 w 377"/>
              <a:gd name="T37" fmla="*/ 25 h 251"/>
              <a:gd name="T38" fmla="*/ 0 w 377"/>
              <a:gd name="T39" fmla="*/ 50 h 251"/>
              <a:gd name="T40" fmla="*/ 0 w 377"/>
              <a:gd name="T41" fmla="*/ 7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251">
                <a:moveTo>
                  <a:pt x="0" y="75"/>
                </a:moveTo>
                <a:lnTo>
                  <a:pt x="0" y="75"/>
                </a:lnTo>
                <a:cubicBezTo>
                  <a:pt x="25" y="75"/>
                  <a:pt x="25" y="125"/>
                  <a:pt x="50" y="100"/>
                </a:cubicBezTo>
                <a:cubicBezTo>
                  <a:pt x="50" y="100"/>
                  <a:pt x="76" y="125"/>
                  <a:pt x="100" y="125"/>
                </a:cubicBezTo>
                <a:cubicBezTo>
                  <a:pt x="100" y="150"/>
                  <a:pt x="150" y="150"/>
                  <a:pt x="150" y="174"/>
                </a:cubicBezTo>
                <a:cubicBezTo>
                  <a:pt x="150" y="174"/>
                  <a:pt x="150" y="200"/>
                  <a:pt x="176" y="200"/>
                </a:cubicBezTo>
                <a:cubicBezTo>
                  <a:pt x="200" y="200"/>
                  <a:pt x="225" y="174"/>
                  <a:pt x="225" y="174"/>
                </a:cubicBezTo>
                <a:cubicBezTo>
                  <a:pt x="225" y="200"/>
                  <a:pt x="225" y="225"/>
                  <a:pt x="250" y="225"/>
                </a:cubicBezTo>
                <a:cubicBezTo>
                  <a:pt x="276" y="225"/>
                  <a:pt x="276" y="250"/>
                  <a:pt x="300" y="250"/>
                </a:cubicBezTo>
                <a:lnTo>
                  <a:pt x="300" y="250"/>
                </a:lnTo>
                <a:cubicBezTo>
                  <a:pt x="300" y="200"/>
                  <a:pt x="325" y="174"/>
                  <a:pt x="350" y="174"/>
                </a:cubicBezTo>
                <a:lnTo>
                  <a:pt x="350" y="150"/>
                </a:lnTo>
                <a:cubicBezTo>
                  <a:pt x="376" y="125"/>
                  <a:pt x="325" y="100"/>
                  <a:pt x="325" y="100"/>
                </a:cubicBezTo>
                <a:cubicBezTo>
                  <a:pt x="325" y="75"/>
                  <a:pt x="325" y="75"/>
                  <a:pt x="325" y="75"/>
                </a:cubicBezTo>
                <a:lnTo>
                  <a:pt x="325" y="75"/>
                </a:lnTo>
                <a:cubicBezTo>
                  <a:pt x="300" y="50"/>
                  <a:pt x="276" y="25"/>
                  <a:pt x="250" y="25"/>
                </a:cubicBezTo>
                <a:cubicBezTo>
                  <a:pt x="225" y="0"/>
                  <a:pt x="200" y="0"/>
                  <a:pt x="176" y="0"/>
                </a:cubicBezTo>
                <a:cubicBezTo>
                  <a:pt x="176" y="25"/>
                  <a:pt x="125" y="50"/>
                  <a:pt x="100" y="50"/>
                </a:cubicBezTo>
                <a:cubicBezTo>
                  <a:pt x="100" y="50"/>
                  <a:pt x="76" y="25"/>
                  <a:pt x="50" y="25"/>
                </a:cubicBezTo>
                <a:cubicBezTo>
                  <a:pt x="50" y="50"/>
                  <a:pt x="25" y="50"/>
                  <a:pt x="0" y="50"/>
                </a:cubicBezTo>
                <a:cubicBezTo>
                  <a:pt x="0" y="50"/>
                  <a:pt x="0" y="50"/>
                  <a:pt x="0" y="75"/>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6" name="Freeform 192">
            <a:extLst>
              <a:ext uri="{FF2B5EF4-FFF2-40B4-BE49-F238E27FC236}">
                <a16:creationId xmlns:a16="http://schemas.microsoft.com/office/drawing/2014/main" id="{7017A33E-225E-C148-9F09-4FB2BEA66CB7}"/>
              </a:ext>
            </a:extLst>
          </p:cNvPr>
          <p:cNvSpPr>
            <a:spLocks noChangeArrowheads="1"/>
          </p:cNvSpPr>
          <p:nvPr/>
        </p:nvSpPr>
        <p:spPr bwMode="auto">
          <a:xfrm>
            <a:off x="6371626" y="3241637"/>
            <a:ext cx="271404" cy="184219"/>
          </a:xfrm>
          <a:custGeom>
            <a:avLst/>
            <a:gdLst>
              <a:gd name="T0" fmla="*/ 776 w 852"/>
              <a:gd name="T1" fmla="*/ 375 h 576"/>
              <a:gd name="T2" fmla="*/ 776 w 852"/>
              <a:gd name="T3" fmla="*/ 375 h 576"/>
              <a:gd name="T4" fmla="*/ 725 w 852"/>
              <a:gd name="T5" fmla="*/ 350 h 576"/>
              <a:gd name="T6" fmla="*/ 725 w 852"/>
              <a:gd name="T7" fmla="*/ 350 h 576"/>
              <a:gd name="T8" fmla="*/ 725 w 852"/>
              <a:gd name="T9" fmla="*/ 250 h 576"/>
              <a:gd name="T10" fmla="*/ 651 w 852"/>
              <a:gd name="T11" fmla="*/ 125 h 576"/>
              <a:gd name="T12" fmla="*/ 601 w 852"/>
              <a:gd name="T13" fmla="*/ 0 h 576"/>
              <a:gd name="T14" fmla="*/ 551 w 852"/>
              <a:gd name="T15" fmla="*/ 25 h 576"/>
              <a:gd name="T16" fmla="*/ 501 w 852"/>
              <a:gd name="T17" fmla="*/ 50 h 576"/>
              <a:gd name="T18" fmla="*/ 451 w 852"/>
              <a:gd name="T19" fmla="*/ 75 h 576"/>
              <a:gd name="T20" fmla="*/ 400 w 852"/>
              <a:gd name="T21" fmla="*/ 75 h 576"/>
              <a:gd name="T22" fmla="*/ 351 w 852"/>
              <a:gd name="T23" fmla="*/ 50 h 576"/>
              <a:gd name="T24" fmla="*/ 251 w 852"/>
              <a:gd name="T25" fmla="*/ 50 h 576"/>
              <a:gd name="T26" fmla="*/ 226 w 852"/>
              <a:gd name="T27" fmla="*/ 50 h 576"/>
              <a:gd name="T28" fmla="*/ 226 w 852"/>
              <a:gd name="T29" fmla="*/ 75 h 576"/>
              <a:gd name="T30" fmla="*/ 151 w 852"/>
              <a:gd name="T31" fmla="*/ 100 h 576"/>
              <a:gd name="T32" fmla="*/ 76 w 852"/>
              <a:gd name="T33" fmla="*/ 250 h 576"/>
              <a:gd name="T34" fmla="*/ 0 w 852"/>
              <a:gd name="T35" fmla="*/ 300 h 576"/>
              <a:gd name="T36" fmla="*/ 51 w 852"/>
              <a:gd name="T37" fmla="*/ 350 h 576"/>
              <a:gd name="T38" fmla="*/ 76 w 852"/>
              <a:gd name="T39" fmla="*/ 375 h 576"/>
              <a:gd name="T40" fmla="*/ 76 w 852"/>
              <a:gd name="T41" fmla="*/ 450 h 576"/>
              <a:gd name="T42" fmla="*/ 200 w 852"/>
              <a:gd name="T43" fmla="*/ 475 h 576"/>
              <a:gd name="T44" fmla="*/ 200 w 852"/>
              <a:gd name="T45" fmla="*/ 500 h 576"/>
              <a:gd name="T46" fmla="*/ 251 w 852"/>
              <a:gd name="T47" fmla="*/ 550 h 576"/>
              <a:gd name="T48" fmla="*/ 351 w 852"/>
              <a:gd name="T49" fmla="*/ 550 h 576"/>
              <a:gd name="T50" fmla="*/ 451 w 852"/>
              <a:gd name="T51" fmla="*/ 550 h 576"/>
              <a:gd name="T52" fmla="*/ 526 w 852"/>
              <a:gd name="T53" fmla="*/ 525 h 576"/>
              <a:gd name="T54" fmla="*/ 626 w 852"/>
              <a:gd name="T55" fmla="*/ 525 h 576"/>
              <a:gd name="T56" fmla="*/ 701 w 852"/>
              <a:gd name="T57" fmla="*/ 525 h 576"/>
              <a:gd name="T58" fmla="*/ 751 w 852"/>
              <a:gd name="T59" fmla="*/ 550 h 576"/>
              <a:gd name="T60" fmla="*/ 751 w 852"/>
              <a:gd name="T61" fmla="*/ 525 h 576"/>
              <a:gd name="T62" fmla="*/ 801 w 852"/>
              <a:gd name="T63" fmla="*/ 425 h 576"/>
              <a:gd name="T64" fmla="*/ 851 w 852"/>
              <a:gd name="T65" fmla="*/ 375 h 576"/>
              <a:gd name="T66" fmla="*/ 851 w 852"/>
              <a:gd name="T67" fmla="*/ 375 h 576"/>
              <a:gd name="T68" fmla="*/ 826 w 852"/>
              <a:gd name="T69" fmla="*/ 350 h 576"/>
              <a:gd name="T70" fmla="*/ 776 w 852"/>
              <a:gd name="T71" fmla="*/ 37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2" h="576">
                <a:moveTo>
                  <a:pt x="776" y="375"/>
                </a:moveTo>
                <a:lnTo>
                  <a:pt x="776" y="375"/>
                </a:lnTo>
                <a:cubicBezTo>
                  <a:pt x="751" y="375"/>
                  <a:pt x="725" y="375"/>
                  <a:pt x="725" y="350"/>
                </a:cubicBezTo>
                <a:lnTo>
                  <a:pt x="725" y="350"/>
                </a:lnTo>
                <a:cubicBezTo>
                  <a:pt x="701" y="325"/>
                  <a:pt x="701" y="275"/>
                  <a:pt x="725" y="250"/>
                </a:cubicBezTo>
                <a:cubicBezTo>
                  <a:pt x="751" y="225"/>
                  <a:pt x="676" y="150"/>
                  <a:pt x="651" y="125"/>
                </a:cubicBezTo>
                <a:cubicBezTo>
                  <a:pt x="651" y="100"/>
                  <a:pt x="626" y="50"/>
                  <a:pt x="601" y="0"/>
                </a:cubicBezTo>
                <a:cubicBezTo>
                  <a:pt x="576" y="25"/>
                  <a:pt x="551" y="25"/>
                  <a:pt x="551" y="25"/>
                </a:cubicBezTo>
                <a:cubicBezTo>
                  <a:pt x="551" y="50"/>
                  <a:pt x="526" y="50"/>
                  <a:pt x="501" y="50"/>
                </a:cubicBezTo>
                <a:cubicBezTo>
                  <a:pt x="476" y="50"/>
                  <a:pt x="476" y="50"/>
                  <a:pt x="451" y="75"/>
                </a:cubicBezTo>
                <a:cubicBezTo>
                  <a:pt x="426" y="75"/>
                  <a:pt x="426" y="75"/>
                  <a:pt x="400" y="75"/>
                </a:cubicBezTo>
                <a:cubicBezTo>
                  <a:pt x="400" y="75"/>
                  <a:pt x="376" y="50"/>
                  <a:pt x="351" y="50"/>
                </a:cubicBezTo>
                <a:cubicBezTo>
                  <a:pt x="326" y="50"/>
                  <a:pt x="276" y="50"/>
                  <a:pt x="251" y="50"/>
                </a:cubicBezTo>
                <a:lnTo>
                  <a:pt x="226" y="50"/>
                </a:lnTo>
                <a:cubicBezTo>
                  <a:pt x="226" y="50"/>
                  <a:pt x="226" y="50"/>
                  <a:pt x="226" y="75"/>
                </a:cubicBezTo>
                <a:cubicBezTo>
                  <a:pt x="200" y="75"/>
                  <a:pt x="176" y="100"/>
                  <a:pt x="151" y="100"/>
                </a:cubicBezTo>
                <a:cubicBezTo>
                  <a:pt x="151" y="125"/>
                  <a:pt x="100" y="225"/>
                  <a:pt x="76" y="250"/>
                </a:cubicBezTo>
                <a:cubicBezTo>
                  <a:pt x="26" y="275"/>
                  <a:pt x="0" y="275"/>
                  <a:pt x="0" y="300"/>
                </a:cubicBezTo>
                <a:cubicBezTo>
                  <a:pt x="0" y="300"/>
                  <a:pt x="51" y="325"/>
                  <a:pt x="51" y="350"/>
                </a:cubicBezTo>
                <a:cubicBezTo>
                  <a:pt x="51" y="375"/>
                  <a:pt x="51" y="375"/>
                  <a:pt x="76" y="375"/>
                </a:cubicBezTo>
                <a:cubicBezTo>
                  <a:pt x="100" y="375"/>
                  <a:pt x="76" y="425"/>
                  <a:pt x="76" y="450"/>
                </a:cubicBezTo>
                <a:cubicBezTo>
                  <a:pt x="100" y="450"/>
                  <a:pt x="200" y="450"/>
                  <a:pt x="200" y="475"/>
                </a:cubicBezTo>
                <a:lnTo>
                  <a:pt x="200" y="500"/>
                </a:lnTo>
                <a:cubicBezTo>
                  <a:pt x="226" y="525"/>
                  <a:pt x="251" y="550"/>
                  <a:pt x="251" y="550"/>
                </a:cubicBezTo>
                <a:cubicBezTo>
                  <a:pt x="251" y="550"/>
                  <a:pt x="326" y="550"/>
                  <a:pt x="351" y="550"/>
                </a:cubicBezTo>
                <a:cubicBezTo>
                  <a:pt x="351" y="550"/>
                  <a:pt x="426" y="550"/>
                  <a:pt x="451" y="550"/>
                </a:cubicBezTo>
                <a:cubicBezTo>
                  <a:pt x="476" y="575"/>
                  <a:pt x="501" y="550"/>
                  <a:pt x="526" y="525"/>
                </a:cubicBezTo>
                <a:cubicBezTo>
                  <a:pt x="526" y="525"/>
                  <a:pt x="601" y="500"/>
                  <a:pt x="626" y="525"/>
                </a:cubicBezTo>
                <a:cubicBezTo>
                  <a:pt x="651" y="525"/>
                  <a:pt x="701" y="525"/>
                  <a:pt x="701" y="525"/>
                </a:cubicBezTo>
                <a:cubicBezTo>
                  <a:pt x="701" y="550"/>
                  <a:pt x="725" y="550"/>
                  <a:pt x="751" y="550"/>
                </a:cubicBezTo>
                <a:lnTo>
                  <a:pt x="751" y="525"/>
                </a:lnTo>
                <a:cubicBezTo>
                  <a:pt x="751" y="475"/>
                  <a:pt x="776" y="450"/>
                  <a:pt x="801" y="425"/>
                </a:cubicBezTo>
                <a:cubicBezTo>
                  <a:pt x="826" y="425"/>
                  <a:pt x="851" y="425"/>
                  <a:pt x="851" y="375"/>
                </a:cubicBezTo>
                <a:lnTo>
                  <a:pt x="851" y="375"/>
                </a:lnTo>
                <a:lnTo>
                  <a:pt x="826" y="350"/>
                </a:lnTo>
                <a:cubicBezTo>
                  <a:pt x="801" y="350"/>
                  <a:pt x="776" y="375"/>
                  <a:pt x="776" y="3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7" name="Freeform 193">
            <a:extLst>
              <a:ext uri="{FF2B5EF4-FFF2-40B4-BE49-F238E27FC236}">
                <a16:creationId xmlns:a16="http://schemas.microsoft.com/office/drawing/2014/main" id="{1CBB4FE7-3E45-8249-9D01-1B2F7EDC4FA4}"/>
              </a:ext>
            </a:extLst>
          </p:cNvPr>
          <p:cNvSpPr>
            <a:spLocks noChangeArrowheads="1"/>
          </p:cNvSpPr>
          <p:nvPr/>
        </p:nvSpPr>
        <p:spPr bwMode="auto">
          <a:xfrm>
            <a:off x="6427876" y="3401948"/>
            <a:ext cx="184217" cy="104061"/>
          </a:xfrm>
          <a:custGeom>
            <a:avLst/>
            <a:gdLst>
              <a:gd name="T0" fmla="*/ 450 w 576"/>
              <a:gd name="T1" fmla="*/ 25 h 326"/>
              <a:gd name="T2" fmla="*/ 450 w 576"/>
              <a:gd name="T3" fmla="*/ 25 h 326"/>
              <a:gd name="T4" fmla="*/ 350 w 576"/>
              <a:gd name="T5" fmla="*/ 25 h 326"/>
              <a:gd name="T6" fmla="*/ 275 w 576"/>
              <a:gd name="T7" fmla="*/ 50 h 326"/>
              <a:gd name="T8" fmla="*/ 175 w 576"/>
              <a:gd name="T9" fmla="*/ 50 h 326"/>
              <a:gd name="T10" fmla="*/ 75 w 576"/>
              <a:gd name="T11" fmla="*/ 50 h 326"/>
              <a:gd name="T12" fmla="*/ 24 w 576"/>
              <a:gd name="T13" fmla="*/ 0 h 326"/>
              <a:gd name="T14" fmla="*/ 0 w 576"/>
              <a:gd name="T15" fmla="*/ 25 h 326"/>
              <a:gd name="T16" fmla="*/ 0 w 576"/>
              <a:gd name="T17" fmla="*/ 75 h 326"/>
              <a:gd name="T18" fmla="*/ 50 w 576"/>
              <a:gd name="T19" fmla="*/ 150 h 326"/>
              <a:gd name="T20" fmla="*/ 0 w 576"/>
              <a:gd name="T21" fmla="*/ 175 h 326"/>
              <a:gd name="T22" fmla="*/ 0 w 576"/>
              <a:gd name="T23" fmla="*/ 225 h 326"/>
              <a:gd name="T24" fmla="*/ 50 w 576"/>
              <a:gd name="T25" fmla="*/ 300 h 326"/>
              <a:gd name="T26" fmla="*/ 75 w 576"/>
              <a:gd name="T27" fmla="*/ 325 h 326"/>
              <a:gd name="T28" fmla="*/ 200 w 576"/>
              <a:gd name="T29" fmla="*/ 325 h 326"/>
              <a:gd name="T30" fmla="*/ 300 w 576"/>
              <a:gd name="T31" fmla="*/ 325 h 326"/>
              <a:gd name="T32" fmla="*/ 350 w 576"/>
              <a:gd name="T33" fmla="*/ 300 h 326"/>
              <a:gd name="T34" fmla="*/ 375 w 576"/>
              <a:gd name="T35" fmla="*/ 300 h 326"/>
              <a:gd name="T36" fmla="*/ 375 w 576"/>
              <a:gd name="T37" fmla="*/ 275 h 326"/>
              <a:gd name="T38" fmla="*/ 475 w 576"/>
              <a:gd name="T39" fmla="*/ 275 h 326"/>
              <a:gd name="T40" fmla="*/ 525 w 576"/>
              <a:gd name="T41" fmla="*/ 250 h 326"/>
              <a:gd name="T42" fmla="*/ 500 w 576"/>
              <a:gd name="T43" fmla="*/ 225 h 326"/>
              <a:gd name="T44" fmla="*/ 500 w 576"/>
              <a:gd name="T45" fmla="*/ 175 h 326"/>
              <a:gd name="T46" fmla="*/ 575 w 576"/>
              <a:gd name="T47" fmla="*/ 75 h 326"/>
              <a:gd name="T48" fmla="*/ 575 w 576"/>
              <a:gd name="T49" fmla="*/ 50 h 326"/>
              <a:gd name="T50" fmla="*/ 525 w 576"/>
              <a:gd name="T51" fmla="*/ 25 h 326"/>
              <a:gd name="T52" fmla="*/ 450 w 576"/>
              <a:gd name="T53"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326">
                <a:moveTo>
                  <a:pt x="450" y="25"/>
                </a:moveTo>
                <a:lnTo>
                  <a:pt x="450" y="25"/>
                </a:lnTo>
                <a:cubicBezTo>
                  <a:pt x="425" y="0"/>
                  <a:pt x="350" y="25"/>
                  <a:pt x="350" y="25"/>
                </a:cubicBezTo>
                <a:cubicBezTo>
                  <a:pt x="325" y="50"/>
                  <a:pt x="300" y="75"/>
                  <a:pt x="275" y="50"/>
                </a:cubicBezTo>
                <a:cubicBezTo>
                  <a:pt x="250" y="50"/>
                  <a:pt x="175" y="50"/>
                  <a:pt x="175" y="50"/>
                </a:cubicBezTo>
                <a:cubicBezTo>
                  <a:pt x="150" y="50"/>
                  <a:pt x="75" y="50"/>
                  <a:pt x="75" y="50"/>
                </a:cubicBezTo>
                <a:cubicBezTo>
                  <a:pt x="75" y="50"/>
                  <a:pt x="50" y="25"/>
                  <a:pt x="24" y="0"/>
                </a:cubicBezTo>
                <a:cubicBezTo>
                  <a:pt x="24" y="25"/>
                  <a:pt x="24" y="25"/>
                  <a:pt x="0" y="25"/>
                </a:cubicBezTo>
                <a:lnTo>
                  <a:pt x="0" y="75"/>
                </a:lnTo>
                <a:cubicBezTo>
                  <a:pt x="24" y="100"/>
                  <a:pt x="50" y="150"/>
                  <a:pt x="50" y="150"/>
                </a:cubicBezTo>
                <a:cubicBezTo>
                  <a:pt x="24" y="150"/>
                  <a:pt x="0" y="175"/>
                  <a:pt x="0" y="175"/>
                </a:cubicBezTo>
                <a:cubicBezTo>
                  <a:pt x="0" y="200"/>
                  <a:pt x="0" y="225"/>
                  <a:pt x="0" y="225"/>
                </a:cubicBezTo>
                <a:cubicBezTo>
                  <a:pt x="24" y="225"/>
                  <a:pt x="50" y="275"/>
                  <a:pt x="50" y="300"/>
                </a:cubicBezTo>
                <a:cubicBezTo>
                  <a:pt x="75" y="300"/>
                  <a:pt x="75" y="300"/>
                  <a:pt x="75" y="325"/>
                </a:cubicBezTo>
                <a:cubicBezTo>
                  <a:pt x="124" y="300"/>
                  <a:pt x="200" y="300"/>
                  <a:pt x="200" y="325"/>
                </a:cubicBezTo>
                <a:cubicBezTo>
                  <a:pt x="224" y="325"/>
                  <a:pt x="300" y="325"/>
                  <a:pt x="300" y="325"/>
                </a:cubicBezTo>
                <a:cubicBezTo>
                  <a:pt x="325" y="325"/>
                  <a:pt x="350" y="325"/>
                  <a:pt x="350" y="300"/>
                </a:cubicBezTo>
                <a:lnTo>
                  <a:pt x="375" y="300"/>
                </a:lnTo>
                <a:cubicBezTo>
                  <a:pt x="375" y="275"/>
                  <a:pt x="375" y="275"/>
                  <a:pt x="375" y="275"/>
                </a:cubicBezTo>
                <a:cubicBezTo>
                  <a:pt x="400" y="250"/>
                  <a:pt x="450" y="250"/>
                  <a:pt x="475" y="275"/>
                </a:cubicBezTo>
                <a:cubicBezTo>
                  <a:pt x="500" y="275"/>
                  <a:pt x="500" y="275"/>
                  <a:pt x="525" y="250"/>
                </a:cubicBezTo>
                <a:cubicBezTo>
                  <a:pt x="525" y="250"/>
                  <a:pt x="525" y="225"/>
                  <a:pt x="500" y="225"/>
                </a:cubicBezTo>
                <a:cubicBezTo>
                  <a:pt x="500" y="225"/>
                  <a:pt x="475" y="175"/>
                  <a:pt x="500" y="175"/>
                </a:cubicBezTo>
                <a:cubicBezTo>
                  <a:pt x="500" y="150"/>
                  <a:pt x="525" y="100"/>
                  <a:pt x="575" y="75"/>
                </a:cubicBezTo>
                <a:cubicBezTo>
                  <a:pt x="575" y="75"/>
                  <a:pt x="575" y="75"/>
                  <a:pt x="575" y="50"/>
                </a:cubicBezTo>
                <a:cubicBezTo>
                  <a:pt x="549" y="50"/>
                  <a:pt x="525" y="50"/>
                  <a:pt x="525" y="25"/>
                </a:cubicBezTo>
                <a:cubicBezTo>
                  <a:pt x="525" y="25"/>
                  <a:pt x="475" y="25"/>
                  <a:pt x="4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8" name="Freeform 194">
            <a:extLst>
              <a:ext uri="{FF2B5EF4-FFF2-40B4-BE49-F238E27FC236}">
                <a16:creationId xmlns:a16="http://schemas.microsoft.com/office/drawing/2014/main" id="{8B0B3DE0-23A4-1944-87DF-40C04B6D0ADE}"/>
              </a:ext>
            </a:extLst>
          </p:cNvPr>
          <p:cNvSpPr>
            <a:spLocks noChangeArrowheads="1"/>
          </p:cNvSpPr>
          <p:nvPr/>
        </p:nvSpPr>
        <p:spPr bwMode="auto">
          <a:xfrm>
            <a:off x="6371625" y="3465230"/>
            <a:ext cx="80155" cy="64687"/>
          </a:xfrm>
          <a:custGeom>
            <a:avLst/>
            <a:gdLst>
              <a:gd name="T0" fmla="*/ 51 w 252"/>
              <a:gd name="T1" fmla="*/ 200 h 201"/>
              <a:gd name="T2" fmla="*/ 51 w 252"/>
              <a:gd name="T3" fmla="*/ 200 h 201"/>
              <a:gd name="T4" fmla="*/ 51 w 252"/>
              <a:gd name="T5" fmla="*/ 200 h 201"/>
              <a:gd name="T6" fmla="*/ 76 w 252"/>
              <a:gd name="T7" fmla="*/ 200 h 201"/>
              <a:gd name="T8" fmla="*/ 76 w 252"/>
              <a:gd name="T9" fmla="*/ 200 h 201"/>
              <a:gd name="T10" fmla="*/ 76 w 252"/>
              <a:gd name="T11" fmla="*/ 200 h 201"/>
              <a:gd name="T12" fmla="*/ 76 w 252"/>
              <a:gd name="T13" fmla="*/ 200 h 201"/>
              <a:gd name="T14" fmla="*/ 100 w 252"/>
              <a:gd name="T15" fmla="*/ 200 h 201"/>
              <a:gd name="T16" fmla="*/ 100 w 252"/>
              <a:gd name="T17" fmla="*/ 200 h 201"/>
              <a:gd name="T18" fmla="*/ 100 w 252"/>
              <a:gd name="T19" fmla="*/ 175 h 201"/>
              <a:gd name="T20" fmla="*/ 126 w 252"/>
              <a:gd name="T21" fmla="*/ 175 h 201"/>
              <a:gd name="T22" fmla="*/ 126 w 252"/>
              <a:gd name="T23" fmla="*/ 175 h 201"/>
              <a:gd name="T24" fmla="*/ 176 w 252"/>
              <a:gd name="T25" fmla="*/ 150 h 201"/>
              <a:gd name="T26" fmla="*/ 251 w 252"/>
              <a:gd name="T27" fmla="*/ 125 h 201"/>
              <a:gd name="T28" fmla="*/ 251 w 252"/>
              <a:gd name="T29" fmla="*/ 125 h 201"/>
              <a:gd name="T30" fmla="*/ 226 w 252"/>
              <a:gd name="T31" fmla="*/ 100 h 201"/>
              <a:gd name="T32" fmla="*/ 176 w 252"/>
              <a:gd name="T33" fmla="*/ 25 h 201"/>
              <a:gd name="T34" fmla="*/ 176 w 252"/>
              <a:gd name="T35" fmla="*/ 25 h 201"/>
              <a:gd name="T36" fmla="*/ 176 w 252"/>
              <a:gd name="T37" fmla="*/ 25 h 201"/>
              <a:gd name="T38" fmla="*/ 176 w 252"/>
              <a:gd name="T39" fmla="*/ 0 h 201"/>
              <a:gd name="T40" fmla="*/ 26 w 252"/>
              <a:gd name="T41" fmla="*/ 50 h 201"/>
              <a:gd name="T42" fmla="*/ 26 w 252"/>
              <a:gd name="T43" fmla="*/ 25 h 201"/>
              <a:gd name="T44" fmla="*/ 0 w 252"/>
              <a:gd name="T45" fmla="*/ 125 h 201"/>
              <a:gd name="T46" fmla="*/ 51 w 252"/>
              <a:gd name="T47" fmla="*/ 2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2" h="201">
                <a:moveTo>
                  <a:pt x="51" y="200"/>
                </a:moveTo>
                <a:lnTo>
                  <a:pt x="51" y="200"/>
                </a:lnTo>
                <a:lnTo>
                  <a:pt x="51" y="200"/>
                </a:lnTo>
                <a:cubicBezTo>
                  <a:pt x="51" y="200"/>
                  <a:pt x="51" y="200"/>
                  <a:pt x="76" y="200"/>
                </a:cubicBezTo>
                <a:lnTo>
                  <a:pt x="76" y="200"/>
                </a:lnTo>
                <a:lnTo>
                  <a:pt x="76" y="200"/>
                </a:lnTo>
                <a:lnTo>
                  <a:pt x="76" y="200"/>
                </a:lnTo>
                <a:lnTo>
                  <a:pt x="100" y="200"/>
                </a:lnTo>
                <a:lnTo>
                  <a:pt x="100" y="200"/>
                </a:lnTo>
                <a:cubicBezTo>
                  <a:pt x="100" y="200"/>
                  <a:pt x="100" y="200"/>
                  <a:pt x="100" y="175"/>
                </a:cubicBezTo>
                <a:cubicBezTo>
                  <a:pt x="100" y="175"/>
                  <a:pt x="100" y="175"/>
                  <a:pt x="126" y="175"/>
                </a:cubicBezTo>
                <a:lnTo>
                  <a:pt x="126" y="175"/>
                </a:lnTo>
                <a:cubicBezTo>
                  <a:pt x="151" y="175"/>
                  <a:pt x="151" y="150"/>
                  <a:pt x="176" y="150"/>
                </a:cubicBezTo>
                <a:cubicBezTo>
                  <a:pt x="176" y="175"/>
                  <a:pt x="251" y="125"/>
                  <a:pt x="251" y="125"/>
                </a:cubicBezTo>
                <a:lnTo>
                  <a:pt x="251" y="125"/>
                </a:lnTo>
                <a:cubicBezTo>
                  <a:pt x="251" y="100"/>
                  <a:pt x="251" y="100"/>
                  <a:pt x="226" y="100"/>
                </a:cubicBezTo>
                <a:cubicBezTo>
                  <a:pt x="226" y="75"/>
                  <a:pt x="200" y="25"/>
                  <a:pt x="176" y="25"/>
                </a:cubicBezTo>
                <a:lnTo>
                  <a:pt x="176" y="25"/>
                </a:lnTo>
                <a:lnTo>
                  <a:pt x="176" y="25"/>
                </a:lnTo>
                <a:cubicBezTo>
                  <a:pt x="176" y="25"/>
                  <a:pt x="176" y="25"/>
                  <a:pt x="176" y="0"/>
                </a:cubicBezTo>
                <a:cubicBezTo>
                  <a:pt x="126" y="25"/>
                  <a:pt x="26" y="50"/>
                  <a:pt x="26" y="50"/>
                </a:cubicBezTo>
                <a:cubicBezTo>
                  <a:pt x="26" y="50"/>
                  <a:pt x="26" y="50"/>
                  <a:pt x="26" y="25"/>
                </a:cubicBezTo>
                <a:cubicBezTo>
                  <a:pt x="0" y="75"/>
                  <a:pt x="0" y="100"/>
                  <a:pt x="0" y="125"/>
                </a:cubicBezTo>
                <a:cubicBezTo>
                  <a:pt x="0" y="150"/>
                  <a:pt x="26" y="175"/>
                  <a:pt x="51" y="200"/>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69" name="Freeform 195">
            <a:extLst>
              <a:ext uri="{FF2B5EF4-FFF2-40B4-BE49-F238E27FC236}">
                <a16:creationId xmlns:a16="http://schemas.microsoft.com/office/drawing/2014/main" id="{6F2CFDDD-D552-314A-A9D2-2301BF095452}"/>
              </a:ext>
            </a:extLst>
          </p:cNvPr>
          <p:cNvSpPr>
            <a:spLocks noChangeArrowheads="1"/>
          </p:cNvSpPr>
          <p:nvPr/>
        </p:nvSpPr>
        <p:spPr bwMode="auto">
          <a:xfrm>
            <a:off x="6427875" y="3082732"/>
            <a:ext cx="534372" cy="310779"/>
          </a:xfrm>
          <a:custGeom>
            <a:avLst/>
            <a:gdLst>
              <a:gd name="T0" fmla="*/ 1475 w 1676"/>
              <a:gd name="T1" fmla="*/ 625 h 976"/>
              <a:gd name="T2" fmla="*/ 1625 w 1676"/>
              <a:gd name="T3" fmla="*/ 575 h 976"/>
              <a:gd name="T4" fmla="*/ 1625 w 1676"/>
              <a:gd name="T5" fmla="*/ 475 h 976"/>
              <a:gd name="T6" fmla="*/ 1625 w 1676"/>
              <a:gd name="T7" fmla="*/ 425 h 976"/>
              <a:gd name="T8" fmla="*/ 1600 w 1676"/>
              <a:gd name="T9" fmla="*/ 350 h 976"/>
              <a:gd name="T10" fmla="*/ 1450 w 1676"/>
              <a:gd name="T11" fmla="*/ 325 h 976"/>
              <a:gd name="T12" fmla="*/ 1350 w 1676"/>
              <a:gd name="T13" fmla="*/ 275 h 976"/>
              <a:gd name="T14" fmla="*/ 1275 w 1676"/>
              <a:gd name="T15" fmla="*/ 250 h 976"/>
              <a:gd name="T16" fmla="*/ 1200 w 1676"/>
              <a:gd name="T17" fmla="*/ 175 h 976"/>
              <a:gd name="T18" fmla="*/ 1100 w 1676"/>
              <a:gd name="T19" fmla="*/ 100 h 976"/>
              <a:gd name="T20" fmla="*/ 1000 w 1676"/>
              <a:gd name="T21" fmla="*/ 25 h 976"/>
              <a:gd name="T22" fmla="*/ 900 w 1676"/>
              <a:gd name="T23" fmla="*/ 50 h 976"/>
              <a:gd name="T24" fmla="*/ 825 w 1676"/>
              <a:gd name="T25" fmla="*/ 50 h 976"/>
              <a:gd name="T26" fmla="*/ 749 w 1676"/>
              <a:gd name="T27" fmla="*/ 125 h 976"/>
              <a:gd name="T28" fmla="*/ 600 w 1676"/>
              <a:gd name="T29" fmla="*/ 100 h 976"/>
              <a:gd name="T30" fmla="*/ 475 w 1676"/>
              <a:gd name="T31" fmla="*/ 100 h 976"/>
              <a:gd name="T32" fmla="*/ 224 w 1676"/>
              <a:gd name="T33" fmla="*/ 74 h 976"/>
              <a:gd name="T34" fmla="*/ 124 w 1676"/>
              <a:gd name="T35" fmla="*/ 100 h 976"/>
              <a:gd name="T36" fmla="*/ 150 w 1676"/>
              <a:gd name="T37" fmla="*/ 225 h 976"/>
              <a:gd name="T38" fmla="*/ 24 w 1676"/>
              <a:gd name="T39" fmla="*/ 350 h 976"/>
              <a:gd name="T40" fmla="*/ 0 w 1676"/>
              <a:gd name="T41" fmla="*/ 500 h 976"/>
              <a:gd name="T42" fmla="*/ 50 w 1676"/>
              <a:gd name="T43" fmla="*/ 550 h 976"/>
              <a:gd name="T44" fmla="*/ 175 w 1676"/>
              <a:gd name="T45" fmla="*/ 550 h 976"/>
              <a:gd name="T46" fmla="*/ 275 w 1676"/>
              <a:gd name="T47" fmla="*/ 575 h 976"/>
              <a:gd name="T48" fmla="*/ 375 w 1676"/>
              <a:gd name="T49" fmla="*/ 525 h 976"/>
              <a:gd name="T50" fmla="*/ 575 w 1676"/>
              <a:gd name="T51" fmla="*/ 525 h 976"/>
              <a:gd name="T52" fmla="*/ 700 w 1676"/>
              <a:gd name="T53" fmla="*/ 675 h 976"/>
              <a:gd name="T54" fmla="*/ 650 w 1676"/>
              <a:gd name="T55" fmla="*/ 725 h 976"/>
              <a:gd name="T56" fmla="*/ 549 w 1676"/>
              <a:gd name="T57" fmla="*/ 850 h 976"/>
              <a:gd name="T58" fmla="*/ 650 w 1676"/>
              <a:gd name="T59" fmla="*/ 850 h 976"/>
              <a:gd name="T60" fmla="*/ 725 w 1676"/>
              <a:gd name="T61" fmla="*/ 800 h 976"/>
              <a:gd name="T62" fmla="*/ 900 w 1676"/>
              <a:gd name="T63" fmla="*/ 700 h 976"/>
              <a:gd name="T64" fmla="*/ 1075 w 1676"/>
              <a:gd name="T65" fmla="*/ 775 h 976"/>
              <a:gd name="T66" fmla="*/ 1050 w 1676"/>
              <a:gd name="T67" fmla="*/ 900 h 976"/>
              <a:gd name="T68" fmla="*/ 1125 w 1676"/>
              <a:gd name="T69" fmla="*/ 950 h 976"/>
              <a:gd name="T70" fmla="*/ 1325 w 1676"/>
              <a:gd name="T71" fmla="*/ 900 h 976"/>
              <a:gd name="T72" fmla="*/ 1175 w 1676"/>
              <a:gd name="T73" fmla="*/ 800 h 976"/>
              <a:gd name="T74" fmla="*/ 1400 w 1676"/>
              <a:gd name="T75" fmla="*/ 675 h 976"/>
              <a:gd name="T76" fmla="*/ 1475 w 1676"/>
              <a:gd name="T77" fmla="*/ 625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76" h="976">
                <a:moveTo>
                  <a:pt x="1475" y="625"/>
                </a:moveTo>
                <a:lnTo>
                  <a:pt x="1475" y="625"/>
                </a:lnTo>
                <a:cubicBezTo>
                  <a:pt x="1500" y="625"/>
                  <a:pt x="1550" y="575"/>
                  <a:pt x="1550" y="575"/>
                </a:cubicBezTo>
                <a:cubicBezTo>
                  <a:pt x="1575" y="575"/>
                  <a:pt x="1625" y="575"/>
                  <a:pt x="1625" y="575"/>
                </a:cubicBezTo>
                <a:cubicBezTo>
                  <a:pt x="1625" y="550"/>
                  <a:pt x="1650" y="525"/>
                  <a:pt x="1650" y="500"/>
                </a:cubicBezTo>
                <a:lnTo>
                  <a:pt x="1625" y="475"/>
                </a:lnTo>
                <a:cubicBezTo>
                  <a:pt x="1625" y="475"/>
                  <a:pt x="1650" y="475"/>
                  <a:pt x="1650" y="450"/>
                </a:cubicBezTo>
                <a:lnTo>
                  <a:pt x="1625" y="425"/>
                </a:lnTo>
                <a:cubicBezTo>
                  <a:pt x="1625" y="425"/>
                  <a:pt x="1675" y="399"/>
                  <a:pt x="1675" y="375"/>
                </a:cubicBezTo>
                <a:cubicBezTo>
                  <a:pt x="1650" y="375"/>
                  <a:pt x="1625" y="375"/>
                  <a:pt x="1600" y="350"/>
                </a:cubicBezTo>
                <a:cubicBezTo>
                  <a:pt x="1575" y="350"/>
                  <a:pt x="1550" y="350"/>
                  <a:pt x="1525" y="325"/>
                </a:cubicBezTo>
                <a:cubicBezTo>
                  <a:pt x="1500" y="325"/>
                  <a:pt x="1450" y="325"/>
                  <a:pt x="1450" y="325"/>
                </a:cubicBezTo>
                <a:cubicBezTo>
                  <a:pt x="1450" y="299"/>
                  <a:pt x="1425" y="275"/>
                  <a:pt x="1400" y="275"/>
                </a:cubicBezTo>
                <a:cubicBezTo>
                  <a:pt x="1400" y="250"/>
                  <a:pt x="1375" y="275"/>
                  <a:pt x="1350" y="275"/>
                </a:cubicBezTo>
                <a:cubicBezTo>
                  <a:pt x="1350" y="275"/>
                  <a:pt x="1325" y="299"/>
                  <a:pt x="1300" y="275"/>
                </a:cubicBezTo>
                <a:lnTo>
                  <a:pt x="1275" y="250"/>
                </a:lnTo>
                <a:cubicBezTo>
                  <a:pt x="1250" y="275"/>
                  <a:pt x="1225" y="250"/>
                  <a:pt x="1225" y="250"/>
                </a:cubicBezTo>
                <a:cubicBezTo>
                  <a:pt x="1225" y="225"/>
                  <a:pt x="1200" y="175"/>
                  <a:pt x="1200" y="175"/>
                </a:cubicBezTo>
                <a:cubicBezTo>
                  <a:pt x="1175" y="150"/>
                  <a:pt x="1125" y="175"/>
                  <a:pt x="1125" y="150"/>
                </a:cubicBezTo>
                <a:cubicBezTo>
                  <a:pt x="1100" y="125"/>
                  <a:pt x="1100" y="100"/>
                  <a:pt x="1100" y="100"/>
                </a:cubicBezTo>
                <a:cubicBezTo>
                  <a:pt x="1100" y="74"/>
                  <a:pt x="1100" y="50"/>
                  <a:pt x="1075" y="25"/>
                </a:cubicBezTo>
                <a:cubicBezTo>
                  <a:pt x="1075" y="0"/>
                  <a:pt x="1025" y="0"/>
                  <a:pt x="1000" y="25"/>
                </a:cubicBezTo>
                <a:cubicBezTo>
                  <a:pt x="1000" y="25"/>
                  <a:pt x="950" y="0"/>
                  <a:pt x="950" y="25"/>
                </a:cubicBezTo>
                <a:cubicBezTo>
                  <a:pt x="925" y="25"/>
                  <a:pt x="925" y="50"/>
                  <a:pt x="900" y="50"/>
                </a:cubicBezTo>
                <a:cubicBezTo>
                  <a:pt x="900" y="50"/>
                  <a:pt x="875" y="50"/>
                  <a:pt x="875" y="25"/>
                </a:cubicBezTo>
                <a:cubicBezTo>
                  <a:pt x="850" y="50"/>
                  <a:pt x="825" y="50"/>
                  <a:pt x="825" y="50"/>
                </a:cubicBezTo>
                <a:lnTo>
                  <a:pt x="749" y="100"/>
                </a:lnTo>
                <a:cubicBezTo>
                  <a:pt x="749" y="125"/>
                  <a:pt x="749" y="150"/>
                  <a:pt x="749" y="125"/>
                </a:cubicBezTo>
                <a:cubicBezTo>
                  <a:pt x="725" y="125"/>
                  <a:pt x="675" y="125"/>
                  <a:pt x="650" y="125"/>
                </a:cubicBezTo>
                <a:cubicBezTo>
                  <a:pt x="650" y="150"/>
                  <a:pt x="625" y="100"/>
                  <a:pt x="600" y="100"/>
                </a:cubicBezTo>
                <a:cubicBezTo>
                  <a:pt x="575" y="125"/>
                  <a:pt x="549" y="100"/>
                  <a:pt x="525" y="100"/>
                </a:cubicBezTo>
                <a:cubicBezTo>
                  <a:pt x="525" y="125"/>
                  <a:pt x="500" y="100"/>
                  <a:pt x="475" y="100"/>
                </a:cubicBezTo>
                <a:cubicBezTo>
                  <a:pt x="450" y="74"/>
                  <a:pt x="400" y="100"/>
                  <a:pt x="375" y="74"/>
                </a:cubicBezTo>
                <a:cubicBezTo>
                  <a:pt x="375" y="74"/>
                  <a:pt x="250" y="74"/>
                  <a:pt x="224" y="74"/>
                </a:cubicBezTo>
                <a:cubicBezTo>
                  <a:pt x="200" y="74"/>
                  <a:pt x="175" y="74"/>
                  <a:pt x="175" y="100"/>
                </a:cubicBezTo>
                <a:cubicBezTo>
                  <a:pt x="150" y="125"/>
                  <a:pt x="124" y="100"/>
                  <a:pt x="124" y="100"/>
                </a:cubicBezTo>
                <a:cubicBezTo>
                  <a:pt x="124" y="125"/>
                  <a:pt x="124" y="125"/>
                  <a:pt x="124" y="150"/>
                </a:cubicBezTo>
                <a:cubicBezTo>
                  <a:pt x="124" y="150"/>
                  <a:pt x="175" y="225"/>
                  <a:pt x="150" y="225"/>
                </a:cubicBezTo>
                <a:cubicBezTo>
                  <a:pt x="150" y="250"/>
                  <a:pt x="124" y="250"/>
                  <a:pt x="124" y="275"/>
                </a:cubicBezTo>
                <a:cubicBezTo>
                  <a:pt x="100" y="275"/>
                  <a:pt x="24" y="350"/>
                  <a:pt x="24" y="350"/>
                </a:cubicBezTo>
                <a:cubicBezTo>
                  <a:pt x="24" y="375"/>
                  <a:pt x="50" y="425"/>
                  <a:pt x="24" y="425"/>
                </a:cubicBezTo>
                <a:cubicBezTo>
                  <a:pt x="24" y="425"/>
                  <a:pt x="0" y="475"/>
                  <a:pt x="0" y="500"/>
                </a:cubicBezTo>
                <a:lnTo>
                  <a:pt x="24" y="525"/>
                </a:lnTo>
                <a:cubicBezTo>
                  <a:pt x="50" y="550"/>
                  <a:pt x="50" y="550"/>
                  <a:pt x="50" y="550"/>
                </a:cubicBezTo>
                <a:lnTo>
                  <a:pt x="75" y="550"/>
                </a:lnTo>
                <a:cubicBezTo>
                  <a:pt x="100" y="550"/>
                  <a:pt x="150" y="550"/>
                  <a:pt x="175" y="550"/>
                </a:cubicBezTo>
                <a:cubicBezTo>
                  <a:pt x="200" y="550"/>
                  <a:pt x="224" y="575"/>
                  <a:pt x="224" y="575"/>
                </a:cubicBezTo>
                <a:cubicBezTo>
                  <a:pt x="250" y="575"/>
                  <a:pt x="250" y="575"/>
                  <a:pt x="275" y="575"/>
                </a:cubicBezTo>
                <a:cubicBezTo>
                  <a:pt x="300" y="550"/>
                  <a:pt x="300" y="550"/>
                  <a:pt x="325" y="550"/>
                </a:cubicBezTo>
                <a:cubicBezTo>
                  <a:pt x="350" y="550"/>
                  <a:pt x="375" y="550"/>
                  <a:pt x="375" y="525"/>
                </a:cubicBezTo>
                <a:cubicBezTo>
                  <a:pt x="375" y="525"/>
                  <a:pt x="475" y="500"/>
                  <a:pt x="500" y="500"/>
                </a:cubicBezTo>
                <a:cubicBezTo>
                  <a:pt x="500" y="500"/>
                  <a:pt x="549" y="525"/>
                  <a:pt x="575" y="525"/>
                </a:cubicBezTo>
                <a:cubicBezTo>
                  <a:pt x="575" y="525"/>
                  <a:pt x="625" y="550"/>
                  <a:pt x="625" y="575"/>
                </a:cubicBezTo>
                <a:cubicBezTo>
                  <a:pt x="650" y="625"/>
                  <a:pt x="675" y="675"/>
                  <a:pt x="700" y="675"/>
                </a:cubicBezTo>
                <a:cubicBezTo>
                  <a:pt x="700" y="700"/>
                  <a:pt x="700" y="725"/>
                  <a:pt x="700" y="750"/>
                </a:cubicBezTo>
                <a:cubicBezTo>
                  <a:pt x="700" y="750"/>
                  <a:pt x="675" y="750"/>
                  <a:pt x="650" y="725"/>
                </a:cubicBezTo>
                <a:cubicBezTo>
                  <a:pt x="625" y="725"/>
                  <a:pt x="600" y="750"/>
                  <a:pt x="600" y="775"/>
                </a:cubicBezTo>
                <a:cubicBezTo>
                  <a:pt x="600" y="800"/>
                  <a:pt x="575" y="850"/>
                  <a:pt x="549" y="850"/>
                </a:cubicBezTo>
                <a:cubicBezTo>
                  <a:pt x="549" y="875"/>
                  <a:pt x="575" y="875"/>
                  <a:pt x="600" y="875"/>
                </a:cubicBezTo>
                <a:cubicBezTo>
                  <a:pt x="600" y="875"/>
                  <a:pt x="625" y="850"/>
                  <a:pt x="650" y="850"/>
                </a:cubicBezTo>
                <a:lnTo>
                  <a:pt x="675" y="875"/>
                </a:lnTo>
                <a:cubicBezTo>
                  <a:pt x="675" y="825"/>
                  <a:pt x="675" y="850"/>
                  <a:pt x="725" y="800"/>
                </a:cubicBezTo>
                <a:cubicBezTo>
                  <a:pt x="775" y="775"/>
                  <a:pt x="775" y="725"/>
                  <a:pt x="800" y="725"/>
                </a:cubicBezTo>
                <a:cubicBezTo>
                  <a:pt x="850" y="700"/>
                  <a:pt x="850" y="700"/>
                  <a:pt x="900" y="700"/>
                </a:cubicBezTo>
                <a:cubicBezTo>
                  <a:pt x="950" y="700"/>
                  <a:pt x="875" y="750"/>
                  <a:pt x="925" y="750"/>
                </a:cubicBezTo>
                <a:cubicBezTo>
                  <a:pt x="950" y="775"/>
                  <a:pt x="1075" y="750"/>
                  <a:pt x="1075" y="775"/>
                </a:cubicBezTo>
                <a:cubicBezTo>
                  <a:pt x="1075" y="800"/>
                  <a:pt x="950" y="850"/>
                  <a:pt x="950" y="850"/>
                </a:cubicBezTo>
                <a:cubicBezTo>
                  <a:pt x="950" y="875"/>
                  <a:pt x="1025" y="875"/>
                  <a:pt x="1050" y="900"/>
                </a:cubicBezTo>
                <a:cubicBezTo>
                  <a:pt x="1075" y="900"/>
                  <a:pt x="1025" y="950"/>
                  <a:pt x="1050" y="975"/>
                </a:cubicBezTo>
                <a:cubicBezTo>
                  <a:pt x="1050" y="975"/>
                  <a:pt x="1100" y="975"/>
                  <a:pt x="1125" y="950"/>
                </a:cubicBezTo>
                <a:cubicBezTo>
                  <a:pt x="1150" y="925"/>
                  <a:pt x="1175" y="925"/>
                  <a:pt x="1200" y="900"/>
                </a:cubicBezTo>
                <a:cubicBezTo>
                  <a:pt x="1250" y="875"/>
                  <a:pt x="1325" y="900"/>
                  <a:pt x="1325" y="900"/>
                </a:cubicBezTo>
                <a:cubicBezTo>
                  <a:pt x="1350" y="875"/>
                  <a:pt x="1325" y="875"/>
                  <a:pt x="1250" y="875"/>
                </a:cubicBezTo>
                <a:cubicBezTo>
                  <a:pt x="1175" y="875"/>
                  <a:pt x="1175" y="800"/>
                  <a:pt x="1175" y="800"/>
                </a:cubicBezTo>
                <a:cubicBezTo>
                  <a:pt x="1175" y="775"/>
                  <a:pt x="1250" y="725"/>
                  <a:pt x="1275" y="725"/>
                </a:cubicBezTo>
                <a:cubicBezTo>
                  <a:pt x="1325" y="725"/>
                  <a:pt x="1350" y="700"/>
                  <a:pt x="1400" y="675"/>
                </a:cubicBezTo>
                <a:cubicBezTo>
                  <a:pt x="1425" y="675"/>
                  <a:pt x="1450" y="675"/>
                  <a:pt x="1475" y="650"/>
                </a:cubicBezTo>
                <a:lnTo>
                  <a:pt x="1475" y="625"/>
                </a:ln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0" name="Freeform 196">
            <a:extLst>
              <a:ext uri="{FF2B5EF4-FFF2-40B4-BE49-F238E27FC236}">
                <a16:creationId xmlns:a16="http://schemas.microsoft.com/office/drawing/2014/main" id="{2C9C6FF5-D41D-4747-87C8-4D91DAD71C34}"/>
              </a:ext>
            </a:extLst>
          </p:cNvPr>
          <p:cNvSpPr>
            <a:spLocks noChangeArrowheads="1"/>
          </p:cNvSpPr>
          <p:nvPr/>
        </p:nvSpPr>
        <p:spPr bwMode="auto">
          <a:xfrm>
            <a:off x="6451781" y="2923827"/>
            <a:ext cx="286873" cy="208124"/>
          </a:xfrm>
          <a:custGeom>
            <a:avLst/>
            <a:gdLst>
              <a:gd name="T0" fmla="*/ 825 w 901"/>
              <a:gd name="T1" fmla="*/ 325 h 651"/>
              <a:gd name="T2" fmla="*/ 825 w 901"/>
              <a:gd name="T3" fmla="*/ 325 h 651"/>
              <a:gd name="T4" fmla="*/ 775 w 901"/>
              <a:gd name="T5" fmla="*/ 274 h 651"/>
              <a:gd name="T6" fmla="*/ 750 w 901"/>
              <a:gd name="T7" fmla="*/ 225 h 651"/>
              <a:gd name="T8" fmla="*/ 725 w 901"/>
              <a:gd name="T9" fmla="*/ 150 h 651"/>
              <a:gd name="T10" fmla="*/ 725 w 901"/>
              <a:gd name="T11" fmla="*/ 74 h 651"/>
              <a:gd name="T12" fmla="*/ 625 w 901"/>
              <a:gd name="T13" fmla="*/ 50 h 651"/>
              <a:gd name="T14" fmla="*/ 575 w 901"/>
              <a:gd name="T15" fmla="*/ 50 h 651"/>
              <a:gd name="T16" fmla="*/ 525 w 901"/>
              <a:gd name="T17" fmla="*/ 25 h 651"/>
              <a:gd name="T18" fmla="*/ 474 w 901"/>
              <a:gd name="T19" fmla="*/ 25 h 651"/>
              <a:gd name="T20" fmla="*/ 474 w 901"/>
              <a:gd name="T21" fmla="*/ 0 h 651"/>
              <a:gd name="T22" fmla="*/ 450 w 901"/>
              <a:gd name="T23" fmla="*/ 25 h 651"/>
              <a:gd name="T24" fmla="*/ 425 w 901"/>
              <a:gd name="T25" fmla="*/ 50 h 651"/>
              <a:gd name="T26" fmla="*/ 350 w 901"/>
              <a:gd name="T27" fmla="*/ 74 h 651"/>
              <a:gd name="T28" fmla="*/ 325 w 901"/>
              <a:gd name="T29" fmla="*/ 125 h 651"/>
              <a:gd name="T30" fmla="*/ 325 w 901"/>
              <a:gd name="T31" fmla="*/ 150 h 651"/>
              <a:gd name="T32" fmla="*/ 275 w 901"/>
              <a:gd name="T33" fmla="*/ 174 h 651"/>
              <a:gd name="T34" fmla="*/ 225 w 901"/>
              <a:gd name="T35" fmla="*/ 225 h 651"/>
              <a:gd name="T36" fmla="*/ 225 w 901"/>
              <a:gd name="T37" fmla="*/ 274 h 651"/>
              <a:gd name="T38" fmla="*/ 149 w 901"/>
              <a:gd name="T39" fmla="*/ 274 h 651"/>
              <a:gd name="T40" fmla="*/ 125 w 901"/>
              <a:gd name="T41" fmla="*/ 300 h 651"/>
              <a:gd name="T42" fmla="*/ 49 w 901"/>
              <a:gd name="T43" fmla="*/ 300 h 651"/>
              <a:gd name="T44" fmla="*/ 49 w 901"/>
              <a:gd name="T45" fmla="*/ 300 h 651"/>
              <a:gd name="T46" fmla="*/ 49 w 901"/>
              <a:gd name="T47" fmla="*/ 374 h 651"/>
              <a:gd name="T48" fmla="*/ 75 w 901"/>
              <a:gd name="T49" fmla="*/ 474 h 651"/>
              <a:gd name="T50" fmla="*/ 0 w 901"/>
              <a:gd name="T51" fmla="*/ 500 h 651"/>
              <a:gd name="T52" fmla="*/ 49 w 901"/>
              <a:gd name="T53" fmla="*/ 550 h 651"/>
              <a:gd name="T54" fmla="*/ 49 w 901"/>
              <a:gd name="T55" fmla="*/ 600 h 651"/>
              <a:gd name="T56" fmla="*/ 100 w 901"/>
              <a:gd name="T57" fmla="*/ 600 h 651"/>
              <a:gd name="T58" fmla="*/ 149 w 901"/>
              <a:gd name="T59" fmla="*/ 574 h 651"/>
              <a:gd name="T60" fmla="*/ 300 w 901"/>
              <a:gd name="T61" fmla="*/ 574 h 651"/>
              <a:gd name="T62" fmla="*/ 400 w 901"/>
              <a:gd name="T63" fmla="*/ 600 h 651"/>
              <a:gd name="T64" fmla="*/ 450 w 901"/>
              <a:gd name="T65" fmla="*/ 600 h 651"/>
              <a:gd name="T66" fmla="*/ 525 w 901"/>
              <a:gd name="T67" fmla="*/ 600 h 651"/>
              <a:gd name="T68" fmla="*/ 575 w 901"/>
              <a:gd name="T69" fmla="*/ 625 h 651"/>
              <a:gd name="T70" fmla="*/ 674 w 901"/>
              <a:gd name="T71" fmla="*/ 625 h 651"/>
              <a:gd name="T72" fmla="*/ 674 w 901"/>
              <a:gd name="T73" fmla="*/ 600 h 651"/>
              <a:gd name="T74" fmla="*/ 750 w 901"/>
              <a:gd name="T75" fmla="*/ 550 h 651"/>
              <a:gd name="T76" fmla="*/ 800 w 901"/>
              <a:gd name="T77" fmla="*/ 525 h 651"/>
              <a:gd name="T78" fmla="*/ 800 w 901"/>
              <a:gd name="T79" fmla="*/ 500 h 651"/>
              <a:gd name="T80" fmla="*/ 775 w 901"/>
              <a:gd name="T81" fmla="*/ 400 h 651"/>
              <a:gd name="T82" fmla="*/ 850 w 901"/>
              <a:gd name="T83" fmla="*/ 425 h 651"/>
              <a:gd name="T84" fmla="*/ 900 w 901"/>
              <a:gd name="T85" fmla="*/ 374 h 651"/>
              <a:gd name="T86" fmla="*/ 825 w 901"/>
              <a:gd name="T87" fmla="*/ 32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1" h="651">
                <a:moveTo>
                  <a:pt x="825" y="325"/>
                </a:moveTo>
                <a:lnTo>
                  <a:pt x="825" y="325"/>
                </a:lnTo>
                <a:cubicBezTo>
                  <a:pt x="825" y="325"/>
                  <a:pt x="800" y="274"/>
                  <a:pt x="775" y="274"/>
                </a:cubicBezTo>
                <a:cubicBezTo>
                  <a:pt x="750" y="250"/>
                  <a:pt x="750" y="225"/>
                  <a:pt x="750" y="225"/>
                </a:cubicBezTo>
                <a:cubicBezTo>
                  <a:pt x="725" y="200"/>
                  <a:pt x="725" y="174"/>
                  <a:pt x="725" y="150"/>
                </a:cubicBezTo>
                <a:cubicBezTo>
                  <a:pt x="725" y="125"/>
                  <a:pt x="725" y="100"/>
                  <a:pt x="725" y="74"/>
                </a:cubicBezTo>
                <a:cubicBezTo>
                  <a:pt x="700" y="74"/>
                  <a:pt x="650" y="50"/>
                  <a:pt x="625" y="50"/>
                </a:cubicBezTo>
                <a:cubicBezTo>
                  <a:pt x="600" y="74"/>
                  <a:pt x="600" y="74"/>
                  <a:pt x="575" y="50"/>
                </a:cubicBezTo>
                <a:cubicBezTo>
                  <a:pt x="575" y="50"/>
                  <a:pt x="550" y="25"/>
                  <a:pt x="525" y="25"/>
                </a:cubicBezTo>
                <a:cubicBezTo>
                  <a:pt x="500" y="50"/>
                  <a:pt x="500" y="25"/>
                  <a:pt x="474" y="25"/>
                </a:cubicBezTo>
                <a:cubicBezTo>
                  <a:pt x="474" y="25"/>
                  <a:pt x="474" y="25"/>
                  <a:pt x="474" y="0"/>
                </a:cubicBezTo>
                <a:cubicBezTo>
                  <a:pt x="474" y="25"/>
                  <a:pt x="450" y="25"/>
                  <a:pt x="450" y="25"/>
                </a:cubicBezTo>
                <a:cubicBezTo>
                  <a:pt x="425" y="25"/>
                  <a:pt x="425" y="50"/>
                  <a:pt x="425" y="50"/>
                </a:cubicBezTo>
                <a:cubicBezTo>
                  <a:pt x="400" y="50"/>
                  <a:pt x="375" y="50"/>
                  <a:pt x="350" y="74"/>
                </a:cubicBezTo>
                <a:cubicBezTo>
                  <a:pt x="325" y="74"/>
                  <a:pt x="325" y="100"/>
                  <a:pt x="325" y="125"/>
                </a:cubicBezTo>
                <a:lnTo>
                  <a:pt x="325" y="150"/>
                </a:lnTo>
                <a:cubicBezTo>
                  <a:pt x="300" y="150"/>
                  <a:pt x="300" y="174"/>
                  <a:pt x="275" y="174"/>
                </a:cubicBezTo>
                <a:cubicBezTo>
                  <a:pt x="275" y="174"/>
                  <a:pt x="250" y="200"/>
                  <a:pt x="225" y="225"/>
                </a:cubicBezTo>
                <a:lnTo>
                  <a:pt x="225" y="274"/>
                </a:lnTo>
                <a:cubicBezTo>
                  <a:pt x="200" y="274"/>
                  <a:pt x="175" y="274"/>
                  <a:pt x="149" y="274"/>
                </a:cubicBezTo>
                <a:cubicBezTo>
                  <a:pt x="149" y="300"/>
                  <a:pt x="125" y="325"/>
                  <a:pt x="125" y="300"/>
                </a:cubicBezTo>
                <a:cubicBezTo>
                  <a:pt x="100" y="300"/>
                  <a:pt x="75" y="300"/>
                  <a:pt x="49" y="300"/>
                </a:cubicBezTo>
                <a:lnTo>
                  <a:pt x="49" y="300"/>
                </a:lnTo>
                <a:cubicBezTo>
                  <a:pt x="25" y="350"/>
                  <a:pt x="49" y="374"/>
                  <a:pt x="49" y="374"/>
                </a:cubicBezTo>
                <a:cubicBezTo>
                  <a:pt x="75" y="400"/>
                  <a:pt x="75" y="450"/>
                  <a:pt x="75" y="474"/>
                </a:cubicBezTo>
                <a:cubicBezTo>
                  <a:pt x="49" y="474"/>
                  <a:pt x="0" y="500"/>
                  <a:pt x="0" y="500"/>
                </a:cubicBezTo>
                <a:cubicBezTo>
                  <a:pt x="0" y="525"/>
                  <a:pt x="49" y="550"/>
                  <a:pt x="49" y="550"/>
                </a:cubicBezTo>
                <a:cubicBezTo>
                  <a:pt x="25" y="574"/>
                  <a:pt x="25" y="600"/>
                  <a:pt x="49" y="600"/>
                </a:cubicBezTo>
                <a:cubicBezTo>
                  <a:pt x="49" y="600"/>
                  <a:pt x="75" y="625"/>
                  <a:pt x="100" y="600"/>
                </a:cubicBezTo>
                <a:cubicBezTo>
                  <a:pt x="100" y="574"/>
                  <a:pt x="125" y="574"/>
                  <a:pt x="149" y="574"/>
                </a:cubicBezTo>
                <a:cubicBezTo>
                  <a:pt x="175" y="574"/>
                  <a:pt x="300" y="574"/>
                  <a:pt x="300" y="574"/>
                </a:cubicBezTo>
                <a:cubicBezTo>
                  <a:pt x="325" y="600"/>
                  <a:pt x="375" y="574"/>
                  <a:pt x="400" y="600"/>
                </a:cubicBezTo>
                <a:cubicBezTo>
                  <a:pt x="425" y="600"/>
                  <a:pt x="450" y="625"/>
                  <a:pt x="450" y="600"/>
                </a:cubicBezTo>
                <a:cubicBezTo>
                  <a:pt x="474" y="600"/>
                  <a:pt x="500" y="625"/>
                  <a:pt x="525" y="600"/>
                </a:cubicBezTo>
                <a:cubicBezTo>
                  <a:pt x="550" y="600"/>
                  <a:pt x="575" y="650"/>
                  <a:pt x="575" y="625"/>
                </a:cubicBezTo>
                <a:cubicBezTo>
                  <a:pt x="600" y="625"/>
                  <a:pt x="650" y="625"/>
                  <a:pt x="674" y="625"/>
                </a:cubicBezTo>
                <a:cubicBezTo>
                  <a:pt x="674" y="650"/>
                  <a:pt x="674" y="625"/>
                  <a:pt x="674" y="600"/>
                </a:cubicBezTo>
                <a:lnTo>
                  <a:pt x="750" y="550"/>
                </a:lnTo>
                <a:cubicBezTo>
                  <a:pt x="750" y="550"/>
                  <a:pt x="775" y="550"/>
                  <a:pt x="800" y="525"/>
                </a:cubicBezTo>
                <a:lnTo>
                  <a:pt x="800" y="500"/>
                </a:lnTo>
                <a:cubicBezTo>
                  <a:pt x="775" y="450"/>
                  <a:pt x="750" y="425"/>
                  <a:pt x="775" y="400"/>
                </a:cubicBezTo>
                <a:cubicBezTo>
                  <a:pt x="775" y="400"/>
                  <a:pt x="825" y="425"/>
                  <a:pt x="850" y="425"/>
                </a:cubicBezTo>
                <a:cubicBezTo>
                  <a:pt x="850" y="400"/>
                  <a:pt x="900" y="400"/>
                  <a:pt x="900" y="374"/>
                </a:cubicBezTo>
                <a:cubicBezTo>
                  <a:pt x="875" y="350"/>
                  <a:pt x="850" y="325"/>
                  <a:pt x="825" y="3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1" name="Freeform 197">
            <a:extLst>
              <a:ext uri="{FF2B5EF4-FFF2-40B4-BE49-F238E27FC236}">
                <a16:creationId xmlns:a16="http://schemas.microsoft.com/office/drawing/2014/main" id="{E735D26D-36C4-1C41-973A-D20BF7EB4E81}"/>
              </a:ext>
            </a:extLst>
          </p:cNvPr>
          <p:cNvSpPr>
            <a:spLocks noChangeArrowheads="1"/>
          </p:cNvSpPr>
          <p:nvPr/>
        </p:nvSpPr>
        <p:spPr bwMode="auto">
          <a:xfrm>
            <a:off x="6380061" y="2843672"/>
            <a:ext cx="223592" cy="104061"/>
          </a:xfrm>
          <a:custGeom>
            <a:avLst/>
            <a:gdLst>
              <a:gd name="T0" fmla="*/ 250 w 700"/>
              <a:gd name="T1" fmla="*/ 224 h 325"/>
              <a:gd name="T2" fmla="*/ 250 w 700"/>
              <a:gd name="T3" fmla="*/ 224 h 325"/>
              <a:gd name="T4" fmla="*/ 374 w 700"/>
              <a:gd name="T5" fmla="*/ 224 h 325"/>
              <a:gd name="T6" fmla="*/ 425 w 700"/>
              <a:gd name="T7" fmla="*/ 250 h 325"/>
              <a:gd name="T8" fmla="*/ 500 w 700"/>
              <a:gd name="T9" fmla="*/ 300 h 325"/>
              <a:gd name="T10" fmla="*/ 550 w 700"/>
              <a:gd name="T11" fmla="*/ 324 h 325"/>
              <a:gd name="T12" fmla="*/ 575 w 700"/>
              <a:gd name="T13" fmla="*/ 324 h 325"/>
              <a:gd name="T14" fmla="*/ 650 w 700"/>
              <a:gd name="T15" fmla="*/ 300 h 325"/>
              <a:gd name="T16" fmla="*/ 675 w 700"/>
              <a:gd name="T17" fmla="*/ 275 h 325"/>
              <a:gd name="T18" fmla="*/ 699 w 700"/>
              <a:gd name="T19" fmla="*/ 250 h 325"/>
              <a:gd name="T20" fmla="*/ 675 w 700"/>
              <a:gd name="T21" fmla="*/ 200 h 325"/>
              <a:gd name="T22" fmla="*/ 650 w 700"/>
              <a:gd name="T23" fmla="*/ 150 h 325"/>
              <a:gd name="T24" fmla="*/ 650 w 700"/>
              <a:gd name="T25" fmla="*/ 100 h 325"/>
              <a:gd name="T26" fmla="*/ 625 w 700"/>
              <a:gd name="T27" fmla="*/ 75 h 325"/>
              <a:gd name="T28" fmla="*/ 550 w 700"/>
              <a:gd name="T29" fmla="*/ 75 h 325"/>
              <a:gd name="T30" fmla="*/ 450 w 700"/>
              <a:gd name="T31" fmla="*/ 24 h 325"/>
              <a:gd name="T32" fmla="*/ 350 w 700"/>
              <a:gd name="T33" fmla="*/ 24 h 325"/>
              <a:gd name="T34" fmla="*/ 325 w 700"/>
              <a:gd name="T35" fmla="*/ 100 h 325"/>
              <a:gd name="T36" fmla="*/ 250 w 700"/>
              <a:gd name="T37" fmla="*/ 150 h 325"/>
              <a:gd name="T38" fmla="*/ 174 w 700"/>
              <a:gd name="T39" fmla="*/ 50 h 325"/>
              <a:gd name="T40" fmla="*/ 74 w 700"/>
              <a:gd name="T41" fmla="*/ 100 h 325"/>
              <a:gd name="T42" fmla="*/ 50 w 700"/>
              <a:gd name="T43" fmla="*/ 175 h 325"/>
              <a:gd name="T44" fmla="*/ 25 w 700"/>
              <a:gd name="T45" fmla="*/ 250 h 325"/>
              <a:gd name="T46" fmla="*/ 25 w 700"/>
              <a:gd name="T47" fmla="*/ 250 h 325"/>
              <a:gd name="T48" fmla="*/ 100 w 700"/>
              <a:gd name="T49" fmla="*/ 224 h 325"/>
              <a:gd name="T50" fmla="*/ 250 w 700"/>
              <a:gd name="T51" fmla="*/ 22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0" h="325">
                <a:moveTo>
                  <a:pt x="250" y="224"/>
                </a:moveTo>
                <a:lnTo>
                  <a:pt x="250" y="224"/>
                </a:lnTo>
                <a:cubicBezTo>
                  <a:pt x="274" y="224"/>
                  <a:pt x="325" y="250"/>
                  <a:pt x="374" y="224"/>
                </a:cubicBezTo>
                <a:cubicBezTo>
                  <a:pt x="400" y="224"/>
                  <a:pt x="400" y="275"/>
                  <a:pt x="425" y="250"/>
                </a:cubicBezTo>
                <a:cubicBezTo>
                  <a:pt x="450" y="250"/>
                  <a:pt x="475" y="275"/>
                  <a:pt x="500" y="300"/>
                </a:cubicBezTo>
                <a:cubicBezTo>
                  <a:pt x="525" y="324"/>
                  <a:pt x="550" y="324"/>
                  <a:pt x="550" y="324"/>
                </a:cubicBezTo>
                <a:lnTo>
                  <a:pt x="575" y="324"/>
                </a:lnTo>
                <a:cubicBezTo>
                  <a:pt x="600" y="300"/>
                  <a:pt x="625" y="300"/>
                  <a:pt x="650" y="300"/>
                </a:cubicBezTo>
                <a:cubicBezTo>
                  <a:pt x="650" y="300"/>
                  <a:pt x="650" y="275"/>
                  <a:pt x="675" y="275"/>
                </a:cubicBezTo>
                <a:cubicBezTo>
                  <a:pt x="675" y="275"/>
                  <a:pt x="699" y="275"/>
                  <a:pt x="699" y="250"/>
                </a:cubicBezTo>
                <a:cubicBezTo>
                  <a:pt x="699" y="250"/>
                  <a:pt x="699" y="224"/>
                  <a:pt x="675" y="200"/>
                </a:cubicBezTo>
                <a:cubicBezTo>
                  <a:pt x="675" y="200"/>
                  <a:pt x="650" y="175"/>
                  <a:pt x="650" y="150"/>
                </a:cubicBezTo>
                <a:cubicBezTo>
                  <a:pt x="650" y="124"/>
                  <a:pt x="650" y="124"/>
                  <a:pt x="650" y="100"/>
                </a:cubicBezTo>
                <a:lnTo>
                  <a:pt x="625" y="75"/>
                </a:lnTo>
                <a:cubicBezTo>
                  <a:pt x="600" y="75"/>
                  <a:pt x="550" y="75"/>
                  <a:pt x="550" y="75"/>
                </a:cubicBezTo>
                <a:cubicBezTo>
                  <a:pt x="525" y="75"/>
                  <a:pt x="450" y="24"/>
                  <a:pt x="450" y="24"/>
                </a:cubicBezTo>
                <a:cubicBezTo>
                  <a:pt x="450" y="0"/>
                  <a:pt x="400" y="0"/>
                  <a:pt x="350" y="24"/>
                </a:cubicBezTo>
                <a:cubicBezTo>
                  <a:pt x="325" y="50"/>
                  <a:pt x="325" y="75"/>
                  <a:pt x="325" y="100"/>
                </a:cubicBezTo>
                <a:cubicBezTo>
                  <a:pt x="325" y="150"/>
                  <a:pt x="274" y="150"/>
                  <a:pt x="250" y="150"/>
                </a:cubicBezTo>
                <a:cubicBezTo>
                  <a:pt x="225" y="150"/>
                  <a:pt x="200" y="75"/>
                  <a:pt x="174" y="50"/>
                </a:cubicBezTo>
                <a:cubicBezTo>
                  <a:pt x="150" y="24"/>
                  <a:pt x="125" y="75"/>
                  <a:pt x="74" y="100"/>
                </a:cubicBezTo>
                <a:cubicBezTo>
                  <a:pt x="50" y="100"/>
                  <a:pt x="74" y="150"/>
                  <a:pt x="50" y="175"/>
                </a:cubicBezTo>
                <a:cubicBezTo>
                  <a:pt x="25" y="175"/>
                  <a:pt x="0" y="200"/>
                  <a:pt x="25" y="250"/>
                </a:cubicBezTo>
                <a:lnTo>
                  <a:pt x="25" y="250"/>
                </a:lnTo>
                <a:cubicBezTo>
                  <a:pt x="74" y="250"/>
                  <a:pt x="100" y="250"/>
                  <a:pt x="100" y="224"/>
                </a:cubicBezTo>
                <a:cubicBezTo>
                  <a:pt x="150" y="224"/>
                  <a:pt x="225" y="224"/>
                  <a:pt x="250" y="22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2" name="Freeform 198">
            <a:extLst>
              <a:ext uri="{FF2B5EF4-FFF2-40B4-BE49-F238E27FC236}">
                <a16:creationId xmlns:a16="http://schemas.microsoft.com/office/drawing/2014/main" id="{AF98E3F8-54B6-9D46-A2D0-1F94990D88E5}"/>
              </a:ext>
            </a:extLst>
          </p:cNvPr>
          <p:cNvSpPr>
            <a:spLocks noChangeArrowheads="1"/>
          </p:cNvSpPr>
          <p:nvPr/>
        </p:nvSpPr>
        <p:spPr bwMode="auto">
          <a:xfrm>
            <a:off x="6380063" y="2915389"/>
            <a:ext cx="175780" cy="112499"/>
          </a:xfrm>
          <a:custGeom>
            <a:avLst/>
            <a:gdLst>
              <a:gd name="T0" fmla="*/ 100 w 551"/>
              <a:gd name="T1" fmla="*/ 176 h 352"/>
              <a:gd name="T2" fmla="*/ 100 w 551"/>
              <a:gd name="T3" fmla="*/ 176 h 352"/>
              <a:gd name="T4" fmla="*/ 150 w 551"/>
              <a:gd name="T5" fmla="*/ 176 h 352"/>
              <a:gd name="T6" fmla="*/ 200 w 551"/>
              <a:gd name="T7" fmla="*/ 226 h 352"/>
              <a:gd name="T8" fmla="*/ 200 w 551"/>
              <a:gd name="T9" fmla="*/ 276 h 352"/>
              <a:gd name="T10" fmla="*/ 274 w 551"/>
              <a:gd name="T11" fmla="*/ 326 h 352"/>
              <a:gd name="T12" fmla="*/ 350 w 551"/>
              <a:gd name="T13" fmla="*/ 326 h 352"/>
              <a:gd name="T14" fmla="*/ 374 w 551"/>
              <a:gd name="T15" fmla="*/ 300 h 352"/>
              <a:gd name="T16" fmla="*/ 450 w 551"/>
              <a:gd name="T17" fmla="*/ 300 h 352"/>
              <a:gd name="T18" fmla="*/ 450 w 551"/>
              <a:gd name="T19" fmla="*/ 251 h 352"/>
              <a:gd name="T20" fmla="*/ 500 w 551"/>
              <a:gd name="T21" fmla="*/ 200 h 352"/>
              <a:gd name="T22" fmla="*/ 550 w 551"/>
              <a:gd name="T23" fmla="*/ 176 h 352"/>
              <a:gd name="T24" fmla="*/ 550 w 551"/>
              <a:gd name="T25" fmla="*/ 151 h 352"/>
              <a:gd name="T26" fmla="*/ 550 w 551"/>
              <a:gd name="T27" fmla="*/ 100 h 352"/>
              <a:gd name="T28" fmla="*/ 500 w 551"/>
              <a:gd name="T29" fmla="*/ 76 h 352"/>
              <a:gd name="T30" fmla="*/ 425 w 551"/>
              <a:gd name="T31" fmla="*/ 26 h 352"/>
              <a:gd name="T32" fmla="*/ 374 w 551"/>
              <a:gd name="T33" fmla="*/ 0 h 352"/>
              <a:gd name="T34" fmla="*/ 250 w 551"/>
              <a:gd name="T35" fmla="*/ 0 h 352"/>
              <a:gd name="T36" fmla="*/ 100 w 551"/>
              <a:gd name="T37" fmla="*/ 0 h 352"/>
              <a:gd name="T38" fmla="*/ 25 w 551"/>
              <a:gd name="T39" fmla="*/ 26 h 352"/>
              <a:gd name="T40" fmla="*/ 25 w 551"/>
              <a:gd name="T41" fmla="*/ 126 h 352"/>
              <a:gd name="T42" fmla="*/ 25 w 551"/>
              <a:gd name="T43" fmla="*/ 151 h 352"/>
              <a:gd name="T44" fmla="*/ 100 w 551"/>
              <a:gd name="T45"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1" h="352">
                <a:moveTo>
                  <a:pt x="100" y="176"/>
                </a:moveTo>
                <a:lnTo>
                  <a:pt x="100" y="176"/>
                </a:lnTo>
                <a:cubicBezTo>
                  <a:pt x="100" y="176"/>
                  <a:pt x="125" y="200"/>
                  <a:pt x="150" y="176"/>
                </a:cubicBezTo>
                <a:cubicBezTo>
                  <a:pt x="150" y="176"/>
                  <a:pt x="200" y="200"/>
                  <a:pt x="200" y="226"/>
                </a:cubicBezTo>
                <a:cubicBezTo>
                  <a:pt x="200" y="226"/>
                  <a:pt x="174" y="276"/>
                  <a:pt x="200" y="276"/>
                </a:cubicBezTo>
                <a:cubicBezTo>
                  <a:pt x="200" y="276"/>
                  <a:pt x="274" y="300"/>
                  <a:pt x="274" y="326"/>
                </a:cubicBezTo>
                <a:cubicBezTo>
                  <a:pt x="300" y="326"/>
                  <a:pt x="325" y="326"/>
                  <a:pt x="350" y="326"/>
                </a:cubicBezTo>
                <a:cubicBezTo>
                  <a:pt x="350" y="351"/>
                  <a:pt x="374" y="326"/>
                  <a:pt x="374" y="300"/>
                </a:cubicBezTo>
                <a:cubicBezTo>
                  <a:pt x="400" y="300"/>
                  <a:pt x="425" y="300"/>
                  <a:pt x="450" y="300"/>
                </a:cubicBezTo>
                <a:lnTo>
                  <a:pt x="450" y="251"/>
                </a:lnTo>
                <a:cubicBezTo>
                  <a:pt x="475" y="226"/>
                  <a:pt x="500" y="200"/>
                  <a:pt x="500" y="200"/>
                </a:cubicBezTo>
                <a:cubicBezTo>
                  <a:pt x="525" y="200"/>
                  <a:pt x="525" y="176"/>
                  <a:pt x="550" y="176"/>
                </a:cubicBezTo>
                <a:lnTo>
                  <a:pt x="550" y="151"/>
                </a:lnTo>
                <a:cubicBezTo>
                  <a:pt x="550" y="126"/>
                  <a:pt x="550" y="126"/>
                  <a:pt x="550" y="100"/>
                </a:cubicBezTo>
                <a:cubicBezTo>
                  <a:pt x="550" y="100"/>
                  <a:pt x="525" y="100"/>
                  <a:pt x="500" y="76"/>
                </a:cubicBezTo>
                <a:cubicBezTo>
                  <a:pt x="475" y="51"/>
                  <a:pt x="450" y="26"/>
                  <a:pt x="425" y="26"/>
                </a:cubicBezTo>
                <a:cubicBezTo>
                  <a:pt x="400" y="51"/>
                  <a:pt x="400" y="0"/>
                  <a:pt x="374" y="0"/>
                </a:cubicBezTo>
                <a:cubicBezTo>
                  <a:pt x="325" y="26"/>
                  <a:pt x="274" y="0"/>
                  <a:pt x="250" y="0"/>
                </a:cubicBezTo>
                <a:cubicBezTo>
                  <a:pt x="225" y="0"/>
                  <a:pt x="150" y="0"/>
                  <a:pt x="100" y="0"/>
                </a:cubicBezTo>
                <a:cubicBezTo>
                  <a:pt x="100" y="26"/>
                  <a:pt x="74" y="26"/>
                  <a:pt x="25" y="26"/>
                </a:cubicBezTo>
                <a:cubicBezTo>
                  <a:pt x="50" y="76"/>
                  <a:pt x="50" y="100"/>
                  <a:pt x="25" y="126"/>
                </a:cubicBezTo>
                <a:cubicBezTo>
                  <a:pt x="0" y="151"/>
                  <a:pt x="25" y="151"/>
                  <a:pt x="25" y="151"/>
                </a:cubicBezTo>
                <a:cubicBezTo>
                  <a:pt x="50" y="151"/>
                  <a:pt x="74" y="151"/>
                  <a:pt x="100" y="1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4" name="Freeform 199">
            <a:extLst>
              <a:ext uri="{FF2B5EF4-FFF2-40B4-BE49-F238E27FC236}">
                <a16:creationId xmlns:a16="http://schemas.microsoft.com/office/drawing/2014/main" id="{25AAB147-90AB-0C49-998B-3B2E248473BA}"/>
              </a:ext>
            </a:extLst>
          </p:cNvPr>
          <p:cNvSpPr>
            <a:spLocks noChangeArrowheads="1"/>
          </p:cNvSpPr>
          <p:nvPr/>
        </p:nvSpPr>
        <p:spPr bwMode="auto">
          <a:xfrm>
            <a:off x="5956784" y="3273980"/>
            <a:ext cx="136405" cy="71717"/>
          </a:xfrm>
          <a:custGeom>
            <a:avLst/>
            <a:gdLst>
              <a:gd name="T0" fmla="*/ 375 w 427"/>
              <a:gd name="T1" fmla="*/ 100 h 226"/>
              <a:gd name="T2" fmla="*/ 375 w 427"/>
              <a:gd name="T3" fmla="*/ 100 h 226"/>
              <a:gd name="T4" fmla="*/ 326 w 427"/>
              <a:gd name="T5" fmla="*/ 75 h 226"/>
              <a:gd name="T6" fmla="*/ 326 w 427"/>
              <a:gd name="T7" fmla="*/ 25 h 226"/>
              <a:gd name="T8" fmla="*/ 275 w 427"/>
              <a:gd name="T9" fmla="*/ 0 h 226"/>
              <a:gd name="T10" fmla="*/ 200 w 427"/>
              <a:gd name="T11" fmla="*/ 0 h 226"/>
              <a:gd name="T12" fmla="*/ 126 w 427"/>
              <a:gd name="T13" fmla="*/ 0 h 226"/>
              <a:gd name="T14" fmla="*/ 126 w 427"/>
              <a:gd name="T15" fmla="*/ 25 h 226"/>
              <a:gd name="T16" fmla="*/ 75 w 427"/>
              <a:gd name="T17" fmla="*/ 50 h 226"/>
              <a:gd name="T18" fmla="*/ 0 w 427"/>
              <a:gd name="T19" fmla="*/ 125 h 226"/>
              <a:gd name="T20" fmla="*/ 26 w 427"/>
              <a:gd name="T21" fmla="*/ 175 h 226"/>
              <a:gd name="T22" fmla="*/ 51 w 427"/>
              <a:gd name="T23" fmla="*/ 175 h 226"/>
              <a:gd name="T24" fmla="*/ 75 w 427"/>
              <a:gd name="T25" fmla="*/ 225 h 226"/>
              <a:gd name="T26" fmla="*/ 75 w 427"/>
              <a:gd name="T27" fmla="*/ 225 h 226"/>
              <a:gd name="T28" fmla="*/ 151 w 427"/>
              <a:gd name="T29" fmla="*/ 225 h 226"/>
              <a:gd name="T30" fmla="*/ 200 w 427"/>
              <a:gd name="T31" fmla="*/ 150 h 226"/>
              <a:gd name="T32" fmla="*/ 251 w 427"/>
              <a:gd name="T33" fmla="*/ 200 h 226"/>
              <a:gd name="T34" fmla="*/ 275 w 427"/>
              <a:gd name="T35" fmla="*/ 175 h 226"/>
              <a:gd name="T36" fmla="*/ 326 w 427"/>
              <a:gd name="T37" fmla="*/ 150 h 226"/>
              <a:gd name="T38" fmla="*/ 351 w 427"/>
              <a:gd name="T39" fmla="*/ 150 h 226"/>
              <a:gd name="T40" fmla="*/ 375 w 427"/>
              <a:gd name="T41" fmla="*/ 125 h 226"/>
              <a:gd name="T42" fmla="*/ 400 w 427"/>
              <a:gd name="T43" fmla="*/ 125 h 226"/>
              <a:gd name="T44" fmla="*/ 426 w 427"/>
              <a:gd name="T45" fmla="*/ 100 h 226"/>
              <a:gd name="T46" fmla="*/ 375 w 427"/>
              <a:gd name="T47" fmla="*/ 10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7" h="226">
                <a:moveTo>
                  <a:pt x="375" y="100"/>
                </a:moveTo>
                <a:lnTo>
                  <a:pt x="375" y="100"/>
                </a:lnTo>
                <a:cubicBezTo>
                  <a:pt x="351" y="100"/>
                  <a:pt x="326" y="75"/>
                  <a:pt x="326" y="75"/>
                </a:cubicBezTo>
                <a:cubicBezTo>
                  <a:pt x="326" y="50"/>
                  <a:pt x="326" y="50"/>
                  <a:pt x="326" y="25"/>
                </a:cubicBezTo>
                <a:cubicBezTo>
                  <a:pt x="300" y="25"/>
                  <a:pt x="275" y="0"/>
                  <a:pt x="275" y="0"/>
                </a:cubicBezTo>
                <a:cubicBezTo>
                  <a:pt x="251" y="0"/>
                  <a:pt x="226" y="0"/>
                  <a:pt x="200" y="0"/>
                </a:cubicBezTo>
                <a:cubicBezTo>
                  <a:pt x="200" y="0"/>
                  <a:pt x="151" y="0"/>
                  <a:pt x="126" y="0"/>
                </a:cubicBezTo>
                <a:cubicBezTo>
                  <a:pt x="126" y="25"/>
                  <a:pt x="126" y="25"/>
                  <a:pt x="126" y="25"/>
                </a:cubicBezTo>
                <a:cubicBezTo>
                  <a:pt x="100" y="25"/>
                  <a:pt x="75" y="50"/>
                  <a:pt x="75" y="50"/>
                </a:cubicBezTo>
                <a:cubicBezTo>
                  <a:pt x="51" y="75"/>
                  <a:pt x="26" y="100"/>
                  <a:pt x="0" y="125"/>
                </a:cubicBezTo>
                <a:cubicBezTo>
                  <a:pt x="0" y="175"/>
                  <a:pt x="0" y="200"/>
                  <a:pt x="26" y="175"/>
                </a:cubicBezTo>
                <a:cubicBezTo>
                  <a:pt x="26" y="150"/>
                  <a:pt x="51" y="150"/>
                  <a:pt x="51" y="175"/>
                </a:cubicBezTo>
                <a:cubicBezTo>
                  <a:pt x="51" y="200"/>
                  <a:pt x="75" y="200"/>
                  <a:pt x="75" y="225"/>
                </a:cubicBezTo>
                <a:lnTo>
                  <a:pt x="75" y="225"/>
                </a:lnTo>
                <a:cubicBezTo>
                  <a:pt x="100" y="225"/>
                  <a:pt x="151" y="225"/>
                  <a:pt x="151" y="225"/>
                </a:cubicBezTo>
                <a:cubicBezTo>
                  <a:pt x="175" y="225"/>
                  <a:pt x="200" y="150"/>
                  <a:pt x="200" y="150"/>
                </a:cubicBezTo>
                <a:cubicBezTo>
                  <a:pt x="200" y="150"/>
                  <a:pt x="226" y="200"/>
                  <a:pt x="251" y="200"/>
                </a:cubicBezTo>
                <a:cubicBezTo>
                  <a:pt x="275" y="225"/>
                  <a:pt x="275" y="200"/>
                  <a:pt x="275" y="175"/>
                </a:cubicBezTo>
                <a:cubicBezTo>
                  <a:pt x="275" y="150"/>
                  <a:pt x="300" y="150"/>
                  <a:pt x="326" y="150"/>
                </a:cubicBezTo>
                <a:cubicBezTo>
                  <a:pt x="326" y="150"/>
                  <a:pt x="351" y="175"/>
                  <a:pt x="351" y="150"/>
                </a:cubicBezTo>
                <a:cubicBezTo>
                  <a:pt x="351" y="125"/>
                  <a:pt x="375" y="125"/>
                  <a:pt x="375" y="125"/>
                </a:cubicBezTo>
                <a:cubicBezTo>
                  <a:pt x="400" y="125"/>
                  <a:pt x="400" y="125"/>
                  <a:pt x="400" y="125"/>
                </a:cubicBezTo>
                <a:cubicBezTo>
                  <a:pt x="426" y="100"/>
                  <a:pt x="426" y="100"/>
                  <a:pt x="426" y="100"/>
                </a:cubicBezTo>
                <a:cubicBezTo>
                  <a:pt x="400" y="100"/>
                  <a:pt x="375" y="75"/>
                  <a:pt x="375"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5" name="Freeform 200">
            <a:extLst>
              <a:ext uri="{FF2B5EF4-FFF2-40B4-BE49-F238E27FC236}">
                <a16:creationId xmlns:a16="http://schemas.microsoft.com/office/drawing/2014/main" id="{C7BCD970-B499-C24F-961A-B50A1B33F990}"/>
              </a:ext>
            </a:extLst>
          </p:cNvPr>
          <p:cNvSpPr>
            <a:spLocks noChangeArrowheads="1"/>
          </p:cNvSpPr>
          <p:nvPr/>
        </p:nvSpPr>
        <p:spPr bwMode="auto">
          <a:xfrm>
            <a:off x="6387094" y="2261487"/>
            <a:ext cx="319217" cy="502028"/>
          </a:xfrm>
          <a:custGeom>
            <a:avLst/>
            <a:gdLst>
              <a:gd name="T0" fmla="*/ 850 w 1001"/>
              <a:gd name="T1" fmla="*/ 1301 h 1576"/>
              <a:gd name="T2" fmla="*/ 850 w 1001"/>
              <a:gd name="T3" fmla="*/ 1301 h 1576"/>
              <a:gd name="T4" fmla="*/ 975 w 1001"/>
              <a:gd name="T5" fmla="*/ 1176 h 1576"/>
              <a:gd name="T6" fmla="*/ 950 w 1001"/>
              <a:gd name="T7" fmla="*/ 1101 h 1576"/>
              <a:gd name="T8" fmla="*/ 850 w 1001"/>
              <a:gd name="T9" fmla="*/ 1001 h 1576"/>
              <a:gd name="T10" fmla="*/ 900 w 1001"/>
              <a:gd name="T11" fmla="*/ 950 h 1576"/>
              <a:gd name="T12" fmla="*/ 850 w 1001"/>
              <a:gd name="T13" fmla="*/ 901 h 1576"/>
              <a:gd name="T14" fmla="*/ 850 w 1001"/>
              <a:gd name="T15" fmla="*/ 850 h 1576"/>
              <a:gd name="T16" fmla="*/ 825 w 1001"/>
              <a:gd name="T17" fmla="*/ 825 h 1576"/>
              <a:gd name="T18" fmla="*/ 825 w 1001"/>
              <a:gd name="T19" fmla="*/ 801 h 1576"/>
              <a:gd name="T20" fmla="*/ 825 w 1001"/>
              <a:gd name="T21" fmla="*/ 725 h 1576"/>
              <a:gd name="T22" fmla="*/ 850 w 1001"/>
              <a:gd name="T23" fmla="*/ 676 h 1576"/>
              <a:gd name="T24" fmla="*/ 775 w 1001"/>
              <a:gd name="T25" fmla="*/ 525 h 1576"/>
              <a:gd name="T26" fmla="*/ 800 w 1001"/>
              <a:gd name="T27" fmla="*/ 476 h 1576"/>
              <a:gd name="T28" fmla="*/ 850 w 1001"/>
              <a:gd name="T29" fmla="*/ 401 h 1576"/>
              <a:gd name="T30" fmla="*/ 775 w 1001"/>
              <a:gd name="T31" fmla="*/ 350 h 1576"/>
              <a:gd name="T32" fmla="*/ 725 w 1001"/>
              <a:gd name="T33" fmla="*/ 301 h 1576"/>
              <a:gd name="T34" fmla="*/ 700 w 1001"/>
              <a:gd name="T35" fmla="*/ 250 h 1576"/>
              <a:gd name="T36" fmla="*/ 725 w 1001"/>
              <a:gd name="T37" fmla="*/ 200 h 1576"/>
              <a:gd name="T38" fmla="*/ 750 w 1001"/>
              <a:gd name="T39" fmla="*/ 175 h 1576"/>
              <a:gd name="T40" fmla="*/ 775 w 1001"/>
              <a:gd name="T41" fmla="*/ 150 h 1576"/>
              <a:gd name="T42" fmla="*/ 775 w 1001"/>
              <a:gd name="T43" fmla="*/ 76 h 1576"/>
              <a:gd name="T44" fmla="*/ 674 w 1001"/>
              <a:gd name="T45" fmla="*/ 25 h 1576"/>
              <a:gd name="T46" fmla="*/ 600 w 1001"/>
              <a:gd name="T47" fmla="*/ 25 h 1576"/>
              <a:gd name="T48" fmla="*/ 525 w 1001"/>
              <a:gd name="T49" fmla="*/ 50 h 1576"/>
              <a:gd name="T50" fmla="*/ 450 w 1001"/>
              <a:gd name="T51" fmla="*/ 100 h 1576"/>
              <a:gd name="T52" fmla="*/ 450 w 1001"/>
              <a:gd name="T53" fmla="*/ 175 h 1576"/>
              <a:gd name="T54" fmla="*/ 400 w 1001"/>
              <a:gd name="T55" fmla="*/ 250 h 1576"/>
              <a:gd name="T56" fmla="*/ 349 w 1001"/>
              <a:gd name="T57" fmla="*/ 225 h 1576"/>
              <a:gd name="T58" fmla="*/ 275 w 1001"/>
              <a:gd name="T59" fmla="*/ 225 h 1576"/>
              <a:gd name="T60" fmla="*/ 175 w 1001"/>
              <a:gd name="T61" fmla="*/ 225 h 1576"/>
              <a:gd name="T62" fmla="*/ 75 w 1001"/>
              <a:gd name="T63" fmla="*/ 150 h 1576"/>
              <a:gd name="T64" fmla="*/ 0 w 1001"/>
              <a:gd name="T65" fmla="*/ 175 h 1576"/>
              <a:gd name="T66" fmla="*/ 100 w 1001"/>
              <a:gd name="T67" fmla="*/ 250 h 1576"/>
              <a:gd name="T68" fmla="*/ 249 w 1001"/>
              <a:gd name="T69" fmla="*/ 350 h 1576"/>
              <a:gd name="T70" fmla="*/ 249 w 1001"/>
              <a:gd name="T71" fmla="*/ 425 h 1576"/>
              <a:gd name="T72" fmla="*/ 275 w 1001"/>
              <a:gd name="T73" fmla="*/ 525 h 1576"/>
              <a:gd name="T74" fmla="*/ 275 w 1001"/>
              <a:gd name="T75" fmla="*/ 601 h 1576"/>
              <a:gd name="T76" fmla="*/ 275 w 1001"/>
              <a:gd name="T77" fmla="*/ 650 h 1576"/>
              <a:gd name="T78" fmla="*/ 300 w 1001"/>
              <a:gd name="T79" fmla="*/ 701 h 1576"/>
              <a:gd name="T80" fmla="*/ 375 w 1001"/>
              <a:gd name="T81" fmla="*/ 725 h 1576"/>
              <a:gd name="T82" fmla="*/ 400 w 1001"/>
              <a:gd name="T83" fmla="*/ 801 h 1576"/>
              <a:gd name="T84" fmla="*/ 400 w 1001"/>
              <a:gd name="T85" fmla="*/ 825 h 1576"/>
              <a:gd name="T86" fmla="*/ 325 w 1001"/>
              <a:gd name="T87" fmla="*/ 876 h 1576"/>
              <a:gd name="T88" fmla="*/ 249 w 1001"/>
              <a:gd name="T89" fmla="*/ 976 h 1576"/>
              <a:gd name="T90" fmla="*/ 175 w 1001"/>
              <a:gd name="T91" fmla="*/ 1001 h 1576"/>
              <a:gd name="T92" fmla="*/ 125 w 1001"/>
              <a:gd name="T93" fmla="*/ 1050 h 1576"/>
              <a:gd name="T94" fmla="*/ 75 w 1001"/>
              <a:gd name="T95" fmla="*/ 1101 h 1576"/>
              <a:gd name="T96" fmla="*/ 25 w 1001"/>
              <a:gd name="T97" fmla="*/ 1150 h 1576"/>
              <a:gd name="T98" fmla="*/ 25 w 1001"/>
              <a:gd name="T99" fmla="*/ 1201 h 1576"/>
              <a:gd name="T100" fmla="*/ 49 w 1001"/>
              <a:gd name="T101" fmla="*/ 1276 h 1576"/>
              <a:gd name="T102" fmla="*/ 49 w 1001"/>
              <a:gd name="T103" fmla="*/ 1376 h 1576"/>
              <a:gd name="T104" fmla="*/ 25 w 1001"/>
              <a:gd name="T105" fmla="*/ 1476 h 1576"/>
              <a:gd name="T106" fmla="*/ 125 w 1001"/>
              <a:gd name="T107" fmla="*/ 1501 h 1576"/>
              <a:gd name="T108" fmla="*/ 175 w 1001"/>
              <a:gd name="T109" fmla="*/ 1550 h 1576"/>
              <a:gd name="T110" fmla="*/ 275 w 1001"/>
              <a:gd name="T111" fmla="*/ 1550 h 1576"/>
              <a:gd name="T112" fmla="*/ 575 w 1001"/>
              <a:gd name="T113" fmla="*/ 1501 h 1576"/>
              <a:gd name="T114" fmla="*/ 650 w 1001"/>
              <a:gd name="T115" fmla="*/ 1476 h 1576"/>
              <a:gd name="T116" fmla="*/ 700 w 1001"/>
              <a:gd name="T117" fmla="*/ 1425 h 1576"/>
              <a:gd name="T118" fmla="*/ 850 w 1001"/>
              <a:gd name="T119" fmla="*/ 1301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1" h="1576">
                <a:moveTo>
                  <a:pt x="850" y="1301"/>
                </a:moveTo>
                <a:lnTo>
                  <a:pt x="850" y="1301"/>
                </a:lnTo>
                <a:cubicBezTo>
                  <a:pt x="874" y="1250"/>
                  <a:pt x="975" y="1225"/>
                  <a:pt x="975" y="1176"/>
                </a:cubicBezTo>
                <a:cubicBezTo>
                  <a:pt x="1000" y="1150"/>
                  <a:pt x="1000" y="1150"/>
                  <a:pt x="950" y="1101"/>
                </a:cubicBezTo>
                <a:cubicBezTo>
                  <a:pt x="925" y="1050"/>
                  <a:pt x="850" y="1025"/>
                  <a:pt x="850" y="1001"/>
                </a:cubicBezTo>
                <a:cubicBezTo>
                  <a:pt x="825" y="1001"/>
                  <a:pt x="900" y="976"/>
                  <a:pt x="900" y="950"/>
                </a:cubicBezTo>
                <a:cubicBezTo>
                  <a:pt x="900" y="925"/>
                  <a:pt x="850" y="925"/>
                  <a:pt x="850" y="901"/>
                </a:cubicBezTo>
                <a:cubicBezTo>
                  <a:pt x="825" y="876"/>
                  <a:pt x="874" y="876"/>
                  <a:pt x="850" y="850"/>
                </a:cubicBezTo>
                <a:cubicBezTo>
                  <a:pt x="850" y="850"/>
                  <a:pt x="825" y="850"/>
                  <a:pt x="825" y="825"/>
                </a:cubicBezTo>
                <a:cubicBezTo>
                  <a:pt x="800" y="825"/>
                  <a:pt x="850" y="825"/>
                  <a:pt x="825" y="801"/>
                </a:cubicBezTo>
                <a:cubicBezTo>
                  <a:pt x="825" y="776"/>
                  <a:pt x="800" y="750"/>
                  <a:pt x="825" y="725"/>
                </a:cubicBezTo>
                <a:cubicBezTo>
                  <a:pt x="850" y="701"/>
                  <a:pt x="874" y="725"/>
                  <a:pt x="850" y="676"/>
                </a:cubicBezTo>
                <a:cubicBezTo>
                  <a:pt x="825" y="625"/>
                  <a:pt x="775" y="550"/>
                  <a:pt x="775" y="525"/>
                </a:cubicBezTo>
                <a:cubicBezTo>
                  <a:pt x="750" y="525"/>
                  <a:pt x="775" y="501"/>
                  <a:pt x="800" y="476"/>
                </a:cubicBezTo>
                <a:cubicBezTo>
                  <a:pt x="800" y="476"/>
                  <a:pt x="850" y="425"/>
                  <a:pt x="850" y="401"/>
                </a:cubicBezTo>
                <a:cubicBezTo>
                  <a:pt x="850" y="401"/>
                  <a:pt x="800" y="350"/>
                  <a:pt x="775" y="350"/>
                </a:cubicBezTo>
                <a:cubicBezTo>
                  <a:pt x="775" y="325"/>
                  <a:pt x="750" y="325"/>
                  <a:pt x="725" y="301"/>
                </a:cubicBezTo>
                <a:cubicBezTo>
                  <a:pt x="700" y="275"/>
                  <a:pt x="700" y="275"/>
                  <a:pt x="700" y="250"/>
                </a:cubicBezTo>
                <a:cubicBezTo>
                  <a:pt x="725" y="225"/>
                  <a:pt x="725" y="225"/>
                  <a:pt x="725" y="200"/>
                </a:cubicBezTo>
                <a:cubicBezTo>
                  <a:pt x="725" y="175"/>
                  <a:pt x="750" y="200"/>
                  <a:pt x="750" y="175"/>
                </a:cubicBezTo>
                <a:cubicBezTo>
                  <a:pt x="775" y="150"/>
                  <a:pt x="775" y="150"/>
                  <a:pt x="775" y="150"/>
                </a:cubicBezTo>
                <a:cubicBezTo>
                  <a:pt x="775" y="125"/>
                  <a:pt x="775" y="100"/>
                  <a:pt x="775" y="76"/>
                </a:cubicBezTo>
                <a:cubicBezTo>
                  <a:pt x="775" y="50"/>
                  <a:pt x="700" y="50"/>
                  <a:pt x="674" y="25"/>
                </a:cubicBezTo>
                <a:cubicBezTo>
                  <a:pt x="674" y="0"/>
                  <a:pt x="625" y="0"/>
                  <a:pt x="600" y="25"/>
                </a:cubicBezTo>
                <a:cubicBezTo>
                  <a:pt x="600" y="50"/>
                  <a:pt x="525" y="25"/>
                  <a:pt x="525" y="50"/>
                </a:cubicBezTo>
                <a:cubicBezTo>
                  <a:pt x="525" y="76"/>
                  <a:pt x="450" y="76"/>
                  <a:pt x="450" y="100"/>
                </a:cubicBezTo>
                <a:cubicBezTo>
                  <a:pt x="450" y="125"/>
                  <a:pt x="475" y="200"/>
                  <a:pt x="450" y="175"/>
                </a:cubicBezTo>
                <a:cubicBezTo>
                  <a:pt x="400" y="175"/>
                  <a:pt x="425" y="200"/>
                  <a:pt x="400" y="250"/>
                </a:cubicBezTo>
                <a:cubicBezTo>
                  <a:pt x="375" y="275"/>
                  <a:pt x="375" y="225"/>
                  <a:pt x="349" y="225"/>
                </a:cubicBezTo>
                <a:cubicBezTo>
                  <a:pt x="325" y="225"/>
                  <a:pt x="275" y="200"/>
                  <a:pt x="275" y="225"/>
                </a:cubicBezTo>
                <a:cubicBezTo>
                  <a:pt x="249" y="250"/>
                  <a:pt x="225" y="225"/>
                  <a:pt x="175" y="225"/>
                </a:cubicBezTo>
                <a:cubicBezTo>
                  <a:pt x="125" y="200"/>
                  <a:pt x="100" y="150"/>
                  <a:pt x="75" y="150"/>
                </a:cubicBezTo>
                <a:cubicBezTo>
                  <a:pt x="49" y="150"/>
                  <a:pt x="25" y="150"/>
                  <a:pt x="0" y="175"/>
                </a:cubicBezTo>
                <a:cubicBezTo>
                  <a:pt x="49" y="200"/>
                  <a:pt x="75" y="250"/>
                  <a:pt x="100" y="250"/>
                </a:cubicBezTo>
                <a:cubicBezTo>
                  <a:pt x="149" y="275"/>
                  <a:pt x="249" y="301"/>
                  <a:pt x="249" y="350"/>
                </a:cubicBezTo>
                <a:cubicBezTo>
                  <a:pt x="249" y="376"/>
                  <a:pt x="225" y="425"/>
                  <a:pt x="249" y="425"/>
                </a:cubicBezTo>
                <a:cubicBezTo>
                  <a:pt x="275" y="450"/>
                  <a:pt x="249" y="501"/>
                  <a:pt x="275" y="525"/>
                </a:cubicBezTo>
                <a:cubicBezTo>
                  <a:pt x="300" y="525"/>
                  <a:pt x="275" y="601"/>
                  <a:pt x="275" y="601"/>
                </a:cubicBezTo>
                <a:cubicBezTo>
                  <a:pt x="249" y="601"/>
                  <a:pt x="275" y="625"/>
                  <a:pt x="275" y="650"/>
                </a:cubicBezTo>
                <a:cubicBezTo>
                  <a:pt x="300" y="650"/>
                  <a:pt x="300" y="676"/>
                  <a:pt x="300" y="701"/>
                </a:cubicBezTo>
                <a:cubicBezTo>
                  <a:pt x="325" y="701"/>
                  <a:pt x="349" y="701"/>
                  <a:pt x="375" y="725"/>
                </a:cubicBezTo>
                <a:cubicBezTo>
                  <a:pt x="400" y="750"/>
                  <a:pt x="400" y="776"/>
                  <a:pt x="400" y="801"/>
                </a:cubicBezTo>
                <a:cubicBezTo>
                  <a:pt x="400" y="825"/>
                  <a:pt x="400" y="850"/>
                  <a:pt x="400" y="825"/>
                </a:cubicBezTo>
                <a:cubicBezTo>
                  <a:pt x="375" y="825"/>
                  <a:pt x="349" y="825"/>
                  <a:pt x="325" y="876"/>
                </a:cubicBezTo>
                <a:cubicBezTo>
                  <a:pt x="325" y="901"/>
                  <a:pt x="275" y="950"/>
                  <a:pt x="249" y="976"/>
                </a:cubicBezTo>
                <a:cubicBezTo>
                  <a:pt x="200" y="976"/>
                  <a:pt x="200" y="1001"/>
                  <a:pt x="175" y="1001"/>
                </a:cubicBezTo>
                <a:cubicBezTo>
                  <a:pt x="149" y="1025"/>
                  <a:pt x="125" y="1025"/>
                  <a:pt x="125" y="1050"/>
                </a:cubicBezTo>
                <a:cubicBezTo>
                  <a:pt x="125" y="1101"/>
                  <a:pt x="100" y="1101"/>
                  <a:pt x="75" y="1101"/>
                </a:cubicBezTo>
                <a:cubicBezTo>
                  <a:pt x="49" y="1101"/>
                  <a:pt x="49" y="1150"/>
                  <a:pt x="25" y="1150"/>
                </a:cubicBezTo>
                <a:cubicBezTo>
                  <a:pt x="0" y="1176"/>
                  <a:pt x="0" y="1176"/>
                  <a:pt x="25" y="1201"/>
                </a:cubicBezTo>
                <a:cubicBezTo>
                  <a:pt x="49" y="1225"/>
                  <a:pt x="25" y="1250"/>
                  <a:pt x="49" y="1276"/>
                </a:cubicBezTo>
                <a:cubicBezTo>
                  <a:pt x="49" y="1301"/>
                  <a:pt x="75" y="1325"/>
                  <a:pt x="49" y="1376"/>
                </a:cubicBezTo>
                <a:cubicBezTo>
                  <a:pt x="25" y="1425"/>
                  <a:pt x="25" y="1476"/>
                  <a:pt x="25" y="1476"/>
                </a:cubicBezTo>
                <a:cubicBezTo>
                  <a:pt x="49" y="1476"/>
                  <a:pt x="100" y="1501"/>
                  <a:pt x="125" y="1501"/>
                </a:cubicBezTo>
                <a:cubicBezTo>
                  <a:pt x="149" y="1501"/>
                  <a:pt x="149" y="1550"/>
                  <a:pt x="175" y="1550"/>
                </a:cubicBezTo>
                <a:cubicBezTo>
                  <a:pt x="200" y="1526"/>
                  <a:pt x="200" y="1575"/>
                  <a:pt x="275" y="1550"/>
                </a:cubicBezTo>
                <a:cubicBezTo>
                  <a:pt x="349" y="1550"/>
                  <a:pt x="500" y="1501"/>
                  <a:pt x="575" y="1501"/>
                </a:cubicBezTo>
                <a:cubicBezTo>
                  <a:pt x="600" y="1501"/>
                  <a:pt x="625" y="1501"/>
                  <a:pt x="650" y="1476"/>
                </a:cubicBezTo>
                <a:cubicBezTo>
                  <a:pt x="674" y="1476"/>
                  <a:pt x="674" y="1450"/>
                  <a:pt x="700" y="1425"/>
                </a:cubicBezTo>
                <a:cubicBezTo>
                  <a:pt x="750" y="1401"/>
                  <a:pt x="825" y="1350"/>
                  <a:pt x="850" y="1301"/>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6" name="Freeform 201">
            <a:extLst>
              <a:ext uri="{FF2B5EF4-FFF2-40B4-BE49-F238E27FC236}">
                <a16:creationId xmlns:a16="http://schemas.microsoft.com/office/drawing/2014/main" id="{45A1C971-BC08-CE47-8DD0-BA0EB231A7E3}"/>
              </a:ext>
            </a:extLst>
          </p:cNvPr>
          <p:cNvSpPr>
            <a:spLocks noChangeArrowheads="1"/>
          </p:cNvSpPr>
          <p:nvPr/>
        </p:nvSpPr>
        <p:spPr bwMode="auto">
          <a:xfrm>
            <a:off x="5622097" y="3138983"/>
            <a:ext cx="438747" cy="367028"/>
          </a:xfrm>
          <a:custGeom>
            <a:avLst/>
            <a:gdLst>
              <a:gd name="T0" fmla="*/ 1201 w 1377"/>
              <a:gd name="T1" fmla="*/ 275 h 1151"/>
              <a:gd name="T2" fmla="*/ 1101 w 1377"/>
              <a:gd name="T3" fmla="*/ 224 h 1151"/>
              <a:gd name="T4" fmla="*/ 950 w 1377"/>
              <a:gd name="T5" fmla="*/ 175 h 1151"/>
              <a:gd name="T6" fmla="*/ 876 w 1377"/>
              <a:gd name="T7" fmla="*/ 150 h 1151"/>
              <a:gd name="T8" fmla="*/ 800 w 1377"/>
              <a:gd name="T9" fmla="*/ 75 h 1151"/>
              <a:gd name="T10" fmla="*/ 700 w 1377"/>
              <a:gd name="T11" fmla="*/ 25 h 1151"/>
              <a:gd name="T12" fmla="*/ 676 w 1377"/>
              <a:gd name="T13" fmla="*/ 0 h 1151"/>
              <a:gd name="T14" fmla="*/ 525 w 1377"/>
              <a:gd name="T15" fmla="*/ 150 h 1151"/>
              <a:gd name="T16" fmla="*/ 350 w 1377"/>
              <a:gd name="T17" fmla="*/ 175 h 1151"/>
              <a:gd name="T18" fmla="*/ 300 w 1377"/>
              <a:gd name="T19" fmla="*/ 325 h 1151"/>
              <a:gd name="T20" fmla="*/ 176 w 1377"/>
              <a:gd name="T21" fmla="*/ 275 h 1151"/>
              <a:gd name="T22" fmla="*/ 25 w 1377"/>
              <a:gd name="T23" fmla="*/ 350 h 1151"/>
              <a:gd name="T24" fmla="*/ 150 w 1377"/>
              <a:gd name="T25" fmla="*/ 450 h 1151"/>
              <a:gd name="T26" fmla="*/ 275 w 1377"/>
              <a:gd name="T27" fmla="*/ 500 h 1151"/>
              <a:gd name="T28" fmla="*/ 350 w 1377"/>
              <a:gd name="T29" fmla="*/ 650 h 1151"/>
              <a:gd name="T30" fmla="*/ 300 w 1377"/>
              <a:gd name="T31" fmla="*/ 950 h 1151"/>
              <a:gd name="T32" fmla="*/ 350 w 1377"/>
              <a:gd name="T33" fmla="*/ 975 h 1151"/>
              <a:gd name="T34" fmla="*/ 525 w 1377"/>
              <a:gd name="T35" fmla="*/ 1000 h 1151"/>
              <a:gd name="T36" fmla="*/ 676 w 1377"/>
              <a:gd name="T37" fmla="*/ 1050 h 1151"/>
              <a:gd name="T38" fmla="*/ 776 w 1377"/>
              <a:gd name="T39" fmla="*/ 1025 h 1151"/>
              <a:gd name="T40" fmla="*/ 1025 w 1377"/>
              <a:gd name="T41" fmla="*/ 975 h 1151"/>
              <a:gd name="T42" fmla="*/ 1176 w 1377"/>
              <a:gd name="T43" fmla="*/ 900 h 1151"/>
              <a:gd name="T44" fmla="*/ 1150 w 1377"/>
              <a:gd name="T45" fmla="*/ 850 h 1151"/>
              <a:gd name="T46" fmla="*/ 1101 w 1377"/>
              <a:gd name="T47" fmla="*/ 750 h 1151"/>
              <a:gd name="T48" fmla="*/ 1125 w 1377"/>
              <a:gd name="T49" fmla="*/ 700 h 1151"/>
              <a:gd name="T50" fmla="*/ 1101 w 1377"/>
              <a:gd name="T51" fmla="*/ 600 h 1151"/>
              <a:gd name="T52" fmla="*/ 1050 w 1377"/>
              <a:gd name="T53" fmla="*/ 550 h 1151"/>
              <a:gd name="T54" fmla="*/ 1176 w 1377"/>
              <a:gd name="T55" fmla="*/ 450 h 1151"/>
              <a:gd name="T56" fmla="*/ 1225 w 1377"/>
              <a:gd name="T57" fmla="*/ 300 h 1151"/>
              <a:gd name="T58" fmla="*/ 1350 w 1377"/>
              <a:gd name="T59" fmla="*/ 975 h 1151"/>
              <a:gd name="T60" fmla="*/ 1301 w 1377"/>
              <a:gd name="T61" fmla="*/ 1025 h 1151"/>
              <a:gd name="T62" fmla="*/ 1350 w 1377"/>
              <a:gd name="T63" fmla="*/ 97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7" h="1151">
                <a:moveTo>
                  <a:pt x="1201" y="275"/>
                </a:moveTo>
                <a:lnTo>
                  <a:pt x="1201" y="275"/>
                </a:lnTo>
                <a:cubicBezTo>
                  <a:pt x="1201" y="275"/>
                  <a:pt x="1176" y="250"/>
                  <a:pt x="1150" y="250"/>
                </a:cubicBezTo>
                <a:cubicBezTo>
                  <a:pt x="1125" y="250"/>
                  <a:pt x="1101" y="250"/>
                  <a:pt x="1101" y="224"/>
                </a:cubicBezTo>
                <a:cubicBezTo>
                  <a:pt x="1076" y="200"/>
                  <a:pt x="1025" y="200"/>
                  <a:pt x="1000" y="200"/>
                </a:cubicBezTo>
                <a:cubicBezTo>
                  <a:pt x="976" y="200"/>
                  <a:pt x="976" y="175"/>
                  <a:pt x="950" y="175"/>
                </a:cubicBezTo>
                <a:cubicBezTo>
                  <a:pt x="925" y="175"/>
                  <a:pt x="925" y="150"/>
                  <a:pt x="925" y="124"/>
                </a:cubicBezTo>
                <a:cubicBezTo>
                  <a:pt x="925" y="124"/>
                  <a:pt x="900" y="150"/>
                  <a:pt x="876" y="150"/>
                </a:cubicBezTo>
                <a:cubicBezTo>
                  <a:pt x="850" y="150"/>
                  <a:pt x="850" y="124"/>
                  <a:pt x="850" y="124"/>
                </a:cubicBezTo>
                <a:cubicBezTo>
                  <a:pt x="850" y="100"/>
                  <a:pt x="800" y="100"/>
                  <a:pt x="800" y="75"/>
                </a:cubicBezTo>
                <a:cubicBezTo>
                  <a:pt x="776" y="75"/>
                  <a:pt x="750" y="50"/>
                  <a:pt x="750" y="50"/>
                </a:cubicBezTo>
                <a:cubicBezTo>
                  <a:pt x="725" y="75"/>
                  <a:pt x="725" y="25"/>
                  <a:pt x="700" y="25"/>
                </a:cubicBezTo>
                <a:cubicBezTo>
                  <a:pt x="700" y="0"/>
                  <a:pt x="700" y="0"/>
                  <a:pt x="700" y="0"/>
                </a:cubicBezTo>
                <a:lnTo>
                  <a:pt x="676" y="0"/>
                </a:lnTo>
                <a:cubicBezTo>
                  <a:pt x="650" y="0"/>
                  <a:pt x="625" y="25"/>
                  <a:pt x="625" y="100"/>
                </a:cubicBezTo>
                <a:cubicBezTo>
                  <a:pt x="625" y="150"/>
                  <a:pt x="576" y="150"/>
                  <a:pt x="525" y="150"/>
                </a:cubicBezTo>
                <a:cubicBezTo>
                  <a:pt x="475" y="150"/>
                  <a:pt x="475" y="200"/>
                  <a:pt x="475" y="224"/>
                </a:cubicBezTo>
                <a:cubicBezTo>
                  <a:pt x="450" y="250"/>
                  <a:pt x="350" y="200"/>
                  <a:pt x="350" y="175"/>
                </a:cubicBezTo>
                <a:cubicBezTo>
                  <a:pt x="325" y="150"/>
                  <a:pt x="250" y="175"/>
                  <a:pt x="300" y="224"/>
                </a:cubicBezTo>
                <a:cubicBezTo>
                  <a:pt x="325" y="250"/>
                  <a:pt x="325" y="300"/>
                  <a:pt x="300" y="325"/>
                </a:cubicBezTo>
                <a:cubicBezTo>
                  <a:pt x="275" y="325"/>
                  <a:pt x="250" y="300"/>
                  <a:pt x="225" y="325"/>
                </a:cubicBezTo>
                <a:cubicBezTo>
                  <a:pt x="200" y="325"/>
                  <a:pt x="200" y="300"/>
                  <a:pt x="176" y="275"/>
                </a:cubicBezTo>
                <a:cubicBezTo>
                  <a:pt x="125" y="275"/>
                  <a:pt x="125" y="300"/>
                  <a:pt x="75" y="300"/>
                </a:cubicBezTo>
                <a:cubicBezTo>
                  <a:pt x="25" y="300"/>
                  <a:pt x="0" y="325"/>
                  <a:pt x="25" y="350"/>
                </a:cubicBezTo>
                <a:cubicBezTo>
                  <a:pt x="25" y="350"/>
                  <a:pt x="0" y="375"/>
                  <a:pt x="25" y="400"/>
                </a:cubicBezTo>
                <a:cubicBezTo>
                  <a:pt x="50" y="425"/>
                  <a:pt x="100" y="425"/>
                  <a:pt x="150" y="450"/>
                </a:cubicBezTo>
                <a:cubicBezTo>
                  <a:pt x="200" y="475"/>
                  <a:pt x="200" y="450"/>
                  <a:pt x="225" y="450"/>
                </a:cubicBezTo>
                <a:cubicBezTo>
                  <a:pt x="250" y="475"/>
                  <a:pt x="250" y="475"/>
                  <a:pt x="275" y="500"/>
                </a:cubicBezTo>
                <a:cubicBezTo>
                  <a:pt x="275" y="525"/>
                  <a:pt x="300" y="575"/>
                  <a:pt x="325" y="575"/>
                </a:cubicBezTo>
                <a:cubicBezTo>
                  <a:pt x="376" y="600"/>
                  <a:pt x="350" y="625"/>
                  <a:pt x="350" y="650"/>
                </a:cubicBezTo>
                <a:cubicBezTo>
                  <a:pt x="376" y="675"/>
                  <a:pt x="350" y="725"/>
                  <a:pt x="350" y="775"/>
                </a:cubicBezTo>
                <a:cubicBezTo>
                  <a:pt x="350" y="800"/>
                  <a:pt x="325" y="925"/>
                  <a:pt x="300" y="950"/>
                </a:cubicBezTo>
                <a:lnTo>
                  <a:pt x="300" y="950"/>
                </a:lnTo>
                <a:cubicBezTo>
                  <a:pt x="325" y="950"/>
                  <a:pt x="350" y="950"/>
                  <a:pt x="350" y="975"/>
                </a:cubicBezTo>
                <a:cubicBezTo>
                  <a:pt x="376" y="975"/>
                  <a:pt x="425" y="1000"/>
                  <a:pt x="450" y="1000"/>
                </a:cubicBezTo>
                <a:cubicBezTo>
                  <a:pt x="475" y="1025"/>
                  <a:pt x="525" y="1025"/>
                  <a:pt x="525" y="1000"/>
                </a:cubicBezTo>
                <a:cubicBezTo>
                  <a:pt x="525" y="975"/>
                  <a:pt x="550" y="1000"/>
                  <a:pt x="550" y="1025"/>
                </a:cubicBezTo>
                <a:cubicBezTo>
                  <a:pt x="576" y="1025"/>
                  <a:pt x="650" y="1025"/>
                  <a:pt x="676" y="1050"/>
                </a:cubicBezTo>
                <a:cubicBezTo>
                  <a:pt x="700" y="1050"/>
                  <a:pt x="725" y="1050"/>
                  <a:pt x="776" y="1050"/>
                </a:cubicBezTo>
                <a:cubicBezTo>
                  <a:pt x="776" y="1025"/>
                  <a:pt x="776" y="1025"/>
                  <a:pt x="776" y="1025"/>
                </a:cubicBezTo>
                <a:cubicBezTo>
                  <a:pt x="750" y="975"/>
                  <a:pt x="800" y="925"/>
                  <a:pt x="850" y="925"/>
                </a:cubicBezTo>
                <a:cubicBezTo>
                  <a:pt x="876" y="925"/>
                  <a:pt x="976" y="950"/>
                  <a:pt x="1025" y="975"/>
                </a:cubicBezTo>
                <a:cubicBezTo>
                  <a:pt x="1050" y="975"/>
                  <a:pt x="1076" y="975"/>
                  <a:pt x="1125" y="925"/>
                </a:cubicBezTo>
                <a:cubicBezTo>
                  <a:pt x="1150" y="900"/>
                  <a:pt x="1176" y="900"/>
                  <a:pt x="1176" y="900"/>
                </a:cubicBezTo>
                <a:cubicBezTo>
                  <a:pt x="1176" y="875"/>
                  <a:pt x="1176" y="875"/>
                  <a:pt x="1201" y="850"/>
                </a:cubicBezTo>
                <a:cubicBezTo>
                  <a:pt x="1201" y="850"/>
                  <a:pt x="1176" y="850"/>
                  <a:pt x="1150" y="850"/>
                </a:cubicBezTo>
                <a:cubicBezTo>
                  <a:pt x="1125" y="850"/>
                  <a:pt x="1101" y="825"/>
                  <a:pt x="1125" y="800"/>
                </a:cubicBezTo>
                <a:cubicBezTo>
                  <a:pt x="1150" y="775"/>
                  <a:pt x="1125" y="775"/>
                  <a:pt x="1101" y="750"/>
                </a:cubicBezTo>
                <a:cubicBezTo>
                  <a:pt x="1076" y="725"/>
                  <a:pt x="1101" y="725"/>
                  <a:pt x="1125" y="725"/>
                </a:cubicBezTo>
                <a:cubicBezTo>
                  <a:pt x="1125" y="725"/>
                  <a:pt x="1150" y="700"/>
                  <a:pt x="1125" y="700"/>
                </a:cubicBezTo>
                <a:cubicBezTo>
                  <a:pt x="1125" y="675"/>
                  <a:pt x="1125" y="675"/>
                  <a:pt x="1125" y="650"/>
                </a:cubicBezTo>
                <a:cubicBezTo>
                  <a:pt x="1125" y="625"/>
                  <a:pt x="1101" y="625"/>
                  <a:pt x="1101" y="600"/>
                </a:cubicBezTo>
                <a:cubicBezTo>
                  <a:pt x="1101" y="575"/>
                  <a:pt x="1076" y="575"/>
                  <a:pt x="1076" y="600"/>
                </a:cubicBezTo>
                <a:cubicBezTo>
                  <a:pt x="1050" y="625"/>
                  <a:pt x="1050" y="600"/>
                  <a:pt x="1050" y="550"/>
                </a:cubicBezTo>
                <a:cubicBezTo>
                  <a:pt x="1076" y="525"/>
                  <a:pt x="1101" y="500"/>
                  <a:pt x="1125" y="475"/>
                </a:cubicBezTo>
                <a:cubicBezTo>
                  <a:pt x="1125" y="475"/>
                  <a:pt x="1150" y="450"/>
                  <a:pt x="1176" y="450"/>
                </a:cubicBezTo>
                <a:cubicBezTo>
                  <a:pt x="1176" y="450"/>
                  <a:pt x="1176" y="400"/>
                  <a:pt x="1176" y="375"/>
                </a:cubicBezTo>
                <a:cubicBezTo>
                  <a:pt x="1201" y="350"/>
                  <a:pt x="1201" y="325"/>
                  <a:pt x="1225" y="300"/>
                </a:cubicBezTo>
                <a:cubicBezTo>
                  <a:pt x="1250" y="275"/>
                  <a:pt x="1225" y="275"/>
                  <a:pt x="1201" y="275"/>
                </a:cubicBezTo>
                <a:close/>
                <a:moveTo>
                  <a:pt x="1350" y="975"/>
                </a:moveTo>
                <a:lnTo>
                  <a:pt x="1350" y="975"/>
                </a:lnTo>
                <a:cubicBezTo>
                  <a:pt x="1325" y="975"/>
                  <a:pt x="1325" y="1000"/>
                  <a:pt x="1301" y="1025"/>
                </a:cubicBezTo>
                <a:cubicBezTo>
                  <a:pt x="1250" y="1050"/>
                  <a:pt x="1301" y="1150"/>
                  <a:pt x="1325" y="1150"/>
                </a:cubicBezTo>
                <a:cubicBezTo>
                  <a:pt x="1376" y="1150"/>
                  <a:pt x="1376" y="975"/>
                  <a:pt x="1350" y="975"/>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7" name="Freeform 202">
            <a:extLst>
              <a:ext uri="{FF2B5EF4-FFF2-40B4-BE49-F238E27FC236}">
                <a16:creationId xmlns:a16="http://schemas.microsoft.com/office/drawing/2014/main" id="{5F82A221-22C0-E544-A7F3-E2EC7162828E}"/>
              </a:ext>
            </a:extLst>
          </p:cNvPr>
          <p:cNvSpPr>
            <a:spLocks noChangeArrowheads="1"/>
          </p:cNvSpPr>
          <p:nvPr/>
        </p:nvSpPr>
        <p:spPr bwMode="auto">
          <a:xfrm>
            <a:off x="6156468" y="3306325"/>
            <a:ext cx="104061" cy="56249"/>
          </a:xfrm>
          <a:custGeom>
            <a:avLst/>
            <a:gdLst>
              <a:gd name="T0" fmla="*/ 0 w 326"/>
              <a:gd name="T1" fmla="*/ 150 h 176"/>
              <a:gd name="T2" fmla="*/ 0 w 326"/>
              <a:gd name="T3" fmla="*/ 150 h 176"/>
              <a:gd name="T4" fmla="*/ 49 w 326"/>
              <a:gd name="T5" fmla="*/ 150 h 176"/>
              <a:gd name="T6" fmla="*/ 74 w 326"/>
              <a:gd name="T7" fmla="*/ 175 h 176"/>
              <a:gd name="T8" fmla="*/ 149 w 326"/>
              <a:gd name="T9" fmla="*/ 150 h 176"/>
              <a:gd name="T10" fmla="*/ 200 w 326"/>
              <a:gd name="T11" fmla="*/ 150 h 176"/>
              <a:gd name="T12" fmla="*/ 225 w 326"/>
              <a:gd name="T13" fmla="*/ 125 h 176"/>
              <a:gd name="T14" fmla="*/ 249 w 326"/>
              <a:gd name="T15" fmla="*/ 75 h 176"/>
              <a:gd name="T16" fmla="*/ 325 w 326"/>
              <a:gd name="T17" fmla="*/ 25 h 176"/>
              <a:gd name="T18" fmla="*/ 300 w 326"/>
              <a:gd name="T19" fmla="*/ 0 h 176"/>
              <a:gd name="T20" fmla="*/ 225 w 326"/>
              <a:gd name="T21" fmla="*/ 25 h 176"/>
              <a:gd name="T22" fmla="*/ 149 w 326"/>
              <a:gd name="T23" fmla="*/ 50 h 176"/>
              <a:gd name="T24" fmla="*/ 49 w 326"/>
              <a:gd name="T25" fmla="*/ 25 h 176"/>
              <a:gd name="T26" fmla="*/ 0 w 326"/>
              <a:gd name="T27" fmla="*/ 25 h 176"/>
              <a:gd name="T28" fmla="*/ 0 w 326"/>
              <a:gd name="T29" fmla="*/ 1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6" h="176">
                <a:moveTo>
                  <a:pt x="0" y="150"/>
                </a:moveTo>
                <a:lnTo>
                  <a:pt x="0" y="150"/>
                </a:lnTo>
                <a:cubicBezTo>
                  <a:pt x="25" y="150"/>
                  <a:pt x="49" y="125"/>
                  <a:pt x="49" y="150"/>
                </a:cubicBezTo>
                <a:cubicBezTo>
                  <a:pt x="74" y="150"/>
                  <a:pt x="74" y="150"/>
                  <a:pt x="74" y="175"/>
                </a:cubicBezTo>
                <a:cubicBezTo>
                  <a:pt x="99" y="175"/>
                  <a:pt x="125" y="150"/>
                  <a:pt x="149" y="150"/>
                </a:cubicBezTo>
                <a:cubicBezTo>
                  <a:pt x="149" y="150"/>
                  <a:pt x="200" y="175"/>
                  <a:pt x="200" y="150"/>
                </a:cubicBezTo>
                <a:lnTo>
                  <a:pt x="225" y="125"/>
                </a:lnTo>
                <a:cubicBezTo>
                  <a:pt x="249" y="125"/>
                  <a:pt x="249" y="75"/>
                  <a:pt x="249" y="75"/>
                </a:cubicBezTo>
                <a:cubicBezTo>
                  <a:pt x="274" y="75"/>
                  <a:pt x="325" y="25"/>
                  <a:pt x="325" y="25"/>
                </a:cubicBezTo>
                <a:lnTo>
                  <a:pt x="300" y="0"/>
                </a:lnTo>
                <a:cubicBezTo>
                  <a:pt x="274" y="0"/>
                  <a:pt x="274" y="25"/>
                  <a:pt x="225" y="25"/>
                </a:cubicBezTo>
                <a:cubicBezTo>
                  <a:pt x="200" y="25"/>
                  <a:pt x="174" y="50"/>
                  <a:pt x="149" y="50"/>
                </a:cubicBezTo>
                <a:cubicBezTo>
                  <a:pt x="125" y="50"/>
                  <a:pt x="74" y="25"/>
                  <a:pt x="49" y="25"/>
                </a:cubicBezTo>
                <a:cubicBezTo>
                  <a:pt x="25" y="25"/>
                  <a:pt x="25" y="25"/>
                  <a:pt x="0" y="25"/>
                </a:cubicBezTo>
                <a:cubicBezTo>
                  <a:pt x="0" y="50"/>
                  <a:pt x="0" y="100"/>
                  <a:pt x="0" y="150"/>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8" name="Freeform 203">
            <a:extLst>
              <a:ext uri="{FF2B5EF4-FFF2-40B4-BE49-F238E27FC236}">
                <a16:creationId xmlns:a16="http://schemas.microsoft.com/office/drawing/2014/main" id="{C85B3030-E253-7641-B234-56E8EC4375F4}"/>
              </a:ext>
            </a:extLst>
          </p:cNvPr>
          <p:cNvSpPr>
            <a:spLocks noChangeArrowheads="1"/>
          </p:cNvSpPr>
          <p:nvPr/>
        </p:nvSpPr>
        <p:spPr bwMode="auto">
          <a:xfrm>
            <a:off x="6363189" y="3497573"/>
            <a:ext cx="191249" cy="184219"/>
          </a:xfrm>
          <a:custGeom>
            <a:avLst/>
            <a:gdLst>
              <a:gd name="T0" fmla="*/ 575 w 601"/>
              <a:gd name="T1" fmla="*/ 0 h 576"/>
              <a:gd name="T2" fmla="*/ 575 w 601"/>
              <a:gd name="T3" fmla="*/ 0 h 576"/>
              <a:gd name="T4" fmla="*/ 550 w 601"/>
              <a:gd name="T5" fmla="*/ 0 h 576"/>
              <a:gd name="T6" fmla="*/ 500 w 601"/>
              <a:gd name="T7" fmla="*/ 25 h 576"/>
              <a:gd name="T8" fmla="*/ 400 w 601"/>
              <a:gd name="T9" fmla="*/ 25 h 576"/>
              <a:gd name="T10" fmla="*/ 275 w 601"/>
              <a:gd name="T11" fmla="*/ 25 h 576"/>
              <a:gd name="T12" fmla="*/ 275 w 601"/>
              <a:gd name="T13" fmla="*/ 25 h 576"/>
              <a:gd name="T14" fmla="*/ 200 w 601"/>
              <a:gd name="T15" fmla="*/ 50 h 576"/>
              <a:gd name="T16" fmla="*/ 150 w 601"/>
              <a:gd name="T17" fmla="*/ 75 h 576"/>
              <a:gd name="T18" fmla="*/ 75 w 601"/>
              <a:gd name="T19" fmla="*/ 100 h 576"/>
              <a:gd name="T20" fmla="*/ 50 w 601"/>
              <a:gd name="T21" fmla="*/ 150 h 576"/>
              <a:gd name="T22" fmla="*/ 24 w 601"/>
              <a:gd name="T23" fmla="*/ 175 h 576"/>
              <a:gd name="T24" fmla="*/ 0 w 601"/>
              <a:gd name="T25" fmla="*/ 225 h 576"/>
              <a:gd name="T26" fmla="*/ 0 w 601"/>
              <a:gd name="T27" fmla="*/ 225 h 576"/>
              <a:gd name="T28" fmla="*/ 50 w 601"/>
              <a:gd name="T29" fmla="*/ 325 h 576"/>
              <a:gd name="T30" fmla="*/ 124 w 601"/>
              <a:gd name="T31" fmla="*/ 350 h 576"/>
              <a:gd name="T32" fmla="*/ 200 w 601"/>
              <a:gd name="T33" fmla="*/ 375 h 576"/>
              <a:gd name="T34" fmla="*/ 100 w 601"/>
              <a:gd name="T35" fmla="*/ 375 h 576"/>
              <a:gd name="T36" fmla="*/ 124 w 601"/>
              <a:gd name="T37" fmla="*/ 450 h 576"/>
              <a:gd name="T38" fmla="*/ 175 w 601"/>
              <a:gd name="T39" fmla="*/ 525 h 576"/>
              <a:gd name="T40" fmla="*/ 250 w 601"/>
              <a:gd name="T41" fmla="*/ 575 h 576"/>
              <a:gd name="T42" fmla="*/ 250 w 601"/>
              <a:gd name="T43" fmla="*/ 475 h 576"/>
              <a:gd name="T44" fmla="*/ 300 w 601"/>
              <a:gd name="T45" fmla="*/ 475 h 576"/>
              <a:gd name="T46" fmla="*/ 275 w 601"/>
              <a:gd name="T47" fmla="*/ 425 h 576"/>
              <a:gd name="T48" fmla="*/ 300 w 601"/>
              <a:gd name="T49" fmla="*/ 400 h 576"/>
              <a:gd name="T50" fmla="*/ 375 w 601"/>
              <a:gd name="T51" fmla="*/ 400 h 576"/>
              <a:gd name="T52" fmla="*/ 324 w 601"/>
              <a:gd name="T53" fmla="*/ 325 h 576"/>
              <a:gd name="T54" fmla="*/ 250 w 601"/>
              <a:gd name="T55" fmla="*/ 325 h 576"/>
              <a:gd name="T56" fmla="*/ 300 w 601"/>
              <a:gd name="T57" fmla="*/ 275 h 576"/>
              <a:gd name="T58" fmla="*/ 224 w 601"/>
              <a:gd name="T59" fmla="*/ 175 h 576"/>
              <a:gd name="T60" fmla="*/ 250 w 601"/>
              <a:gd name="T61" fmla="*/ 150 h 576"/>
              <a:gd name="T62" fmla="*/ 324 w 601"/>
              <a:gd name="T63" fmla="*/ 150 h 576"/>
              <a:gd name="T64" fmla="*/ 350 w 601"/>
              <a:gd name="T65" fmla="*/ 100 h 576"/>
              <a:gd name="T66" fmla="*/ 400 w 601"/>
              <a:gd name="T67" fmla="*/ 100 h 576"/>
              <a:gd name="T68" fmla="*/ 475 w 601"/>
              <a:gd name="T69" fmla="*/ 75 h 576"/>
              <a:gd name="T70" fmla="*/ 550 w 601"/>
              <a:gd name="T71" fmla="*/ 100 h 576"/>
              <a:gd name="T72" fmla="*/ 575 w 601"/>
              <a:gd name="T73" fmla="*/ 75 h 576"/>
              <a:gd name="T74" fmla="*/ 600 w 601"/>
              <a:gd name="T75" fmla="*/ 25 h 576"/>
              <a:gd name="T76" fmla="*/ 575 w 601"/>
              <a:gd name="T77"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1" h="576">
                <a:moveTo>
                  <a:pt x="575" y="0"/>
                </a:moveTo>
                <a:lnTo>
                  <a:pt x="575" y="0"/>
                </a:lnTo>
                <a:lnTo>
                  <a:pt x="550" y="0"/>
                </a:lnTo>
                <a:cubicBezTo>
                  <a:pt x="550" y="25"/>
                  <a:pt x="525" y="25"/>
                  <a:pt x="500" y="25"/>
                </a:cubicBezTo>
                <a:cubicBezTo>
                  <a:pt x="500" y="25"/>
                  <a:pt x="424" y="25"/>
                  <a:pt x="400" y="25"/>
                </a:cubicBezTo>
                <a:cubicBezTo>
                  <a:pt x="400" y="0"/>
                  <a:pt x="324" y="0"/>
                  <a:pt x="275" y="25"/>
                </a:cubicBezTo>
                <a:lnTo>
                  <a:pt x="275" y="25"/>
                </a:lnTo>
                <a:cubicBezTo>
                  <a:pt x="275" y="25"/>
                  <a:pt x="200" y="75"/>
                  <a:pt x="200" y="50"/>
                </a:cubicBezTo>
                <a:cubicBezTo>
                  <a:pt x="175" y="50"/>
                  <a:pt x="175" y="75"/>
                  <a:pt x="150" y="75"/>
                </a:cubicBezTo>
                <a:cubicBezTo>
                  <a:pt x="124" y="100"/>
                  <a:pt x="75" y="75"/>
                  <a:pt x="75" y="100"/>
                </a:cubicBezTo>
                <a:cubicBezTo>
                  <a:pt x="75" y="100"/>
                  <a:pt x="75" y="125"/>
                  <a:pt x="50" y="150"/>
                </a:cubicBezTo>
                <a:cubicBezTo>
                  <a:pt x="24" y="175"/>
                  <a:pt x="50" y="175"/>
                  <a:pt x="24" y="175"/>
                </a:cubicBezTo>
                <a:cubicBezTo>
                  <a:pt x="0" y="175"/>
                  <a:pt x="0" y="200"/>
                  <a:pt x="0" y="225"/>
                </a:cubicBezTo>
                <a:lnTo>
                  <a:pt x="0" y="225"/>
                </a:lnTo>
                <a:cubicBezTo>
                  <a:pt x="24" y="250"/>
                  <a:pt x="50" y="275"/>
                  <a:pt x="50" y="325"/>
                </a:cubicBezTo>
                <a:cubicBezTo>
                  <a:pt x="50" y="350"/>
                  <a:pt x="100" y="375"/>
                  <a:pt x="124" y="350"/>
                </a:cubicBezTo>
                <a:cubicBezTo>
                  <a:pt x="150" y="325"/>
                  <a:pt x="200" y="350"/>
                  <a:pt x="200" y="375"/>
                </a:cubicBezTo>
                <a:cubicBezTo>
                  <a:pt x="200" y="375"/>
                  <a:pt x="150" y="350"/>
                  <a:pt x="100" y="375"/>
                </a:cubicBezTo>
                <a:cubicBezTo>
                  <a:pt x="75" y="400"/>
                  <a:pt x="124" y="425"/>
                  <a:pt x="124" y="450"/>
                </a:cubicBezTo>
                <a:cubicBezTo>
                  <a:pt x="124" y="475"/>
                  <a:pt x="150" y="525"/>
                  <a:pt x="175" y="525"/>
                </a:cubicBezTo>
                <a:cubicBezTo>
                  <a:pt x="200" y="525"/>
                  <a:pt x="250" y="575"/>
                  <a:pt x="250" y="575"/>
                </a:cubicBezTo>
                <a:cubicBezTo>
                  <a:pt x="275" y="550"/>
                  <a:pt x="224" y="475"/>
                  <a:pt x="250" y="475"/>
                </a:cubicBezTo>
                <a:cubicBezTo>
                  <a:pt x="250" y="450"/>
                  <a:pt x="300" y="500"/>
                  <a:pt x="300" y="475"/>
                </a:cubicBezTo>
                <a:cubicBezTo>
                  <a:pt x="324" y="450"/>
                  <a:pt x="300" y="425"/>
                  <a:pt x="275" y="425"/>
                </a:cubicBezTo>
                <a:cubicBezTo>
                  <a:pt x="224" y="425"/>
                  <a:pt x="275" y="400"/>
                  <a:pt x="300" y="400"/>
                </a:cubicBezTo>
                <a:cubicBezTo>
                  <a:pt x="324" y="425"/>
                  <a:pt x="350" y="400"/>
                  <a:pt x="375" y="400"/>
                </a:cubicBezTo>
                <a:cubicBezTo>
                  <a:pt x="375" y="400"/>
                  <a:pt x="400" y="350"/>
                  <a:pt x="324" y="325"/>
                </a:cubicBezTo>
                <a:cubicBezTo>
                  <a:pt x="275" y="325"/>
                  <a:pt x="300" y="375"/>
                  <a:pt x="250" y="325"/>
                </a:cubicBezTo>
                <a:cubicBezTo>
                  <a:pt x="224" y="300"/>
                  <a:pt x="300" y="300"/>
                  <a:pt x="300" y="275"/>
                </a:cubicBezTo>
                <a:cubicBezTo>
                  <a:pt x="300" y="250"/>
                  <a:pt x="250" y="200"/>
                  <a:pt x="224" y="175"/>
                </a:cubicBezTo>
                <a:cubicBezTo>
                  <a:pt x="200" y="150"/>
                  <a:pt x="250" y="125"/>
                  <a:pt x="250" y="150"/>
                </a:cubicBezTo>
                <a:cubicBezTo>
                  <a:pt x="275" y="175"/>
                  <a:pt x="324" y="175"/>
                  <a:pt x="324" y="150"/>
                </a:cubicBezTo>
                <a:cubicBezTo>
                  <a:pt x="350" y="150"/>
                  <a:pt x="300" y="100"/>
                  <a:pt x="350" y="100"/>
                </a:cubicBezTo>
                <a:cubicBezTo>
                  <a:pt x="400" y="75"/>
                  <a:pt x="400" y="100"/>
                  <a:pt x="400" y="100"/>
                </a:cubicBezTo>
                <a:cubicBezTo>
                  <a:pt x="424" y="100"/>
                  <a:pt x="450" y="75"/>
                  <a:pt x="475" y="75"/>
                </a:cubicBezTo>
                <a:cubicBezTo>
                  <a:pt x="500" y="75"/>
                  <a:pt x="525" y="75"/>
                  <a:pt x="550" y="100"/>
                </a:cubicBezTo>
                <a:lnTo>
                  <a:pt x="575" y="75"/>
                </a:lnTo>
                <a:cubicBezTo>
                  <a:pt x="575" y="50"/>
                  <a:pt x="600" y="50"/>
                  <a:pt x="600" y="25"/>
                </a:cubicBezTo>
                <a:cubicBezTo>
                  <a:pt x="600" y="25"/>
                  <a:pt x="600" y="0"/>
                  <a:pt x="575" y="0"/>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79" name="Freeform 204">
            <a:extLst>
              <a:ext uri="{FF2B5EF4-FFF2-40B4-BE49-F238E27FC236}">
                <a16:creationId xmlns:a16="http://schemas.microsoft.com/office/drawing/2014/main" id="{51F7648E-61DA-BB4E-B5D8-D3801A452507}"/>
              </a:ext>
            </a:extLst>
          </p:cNvPr>
          <p:cNvSpPr>
            <a:spLocks noChangeArrowheads="1"/>
          </p:cNvSpPr>
          <p:nvPr/>
        </p:nvSpPr>
        <p:spPr bwMode="auto">
          <a:xfrm>
            <a:off x="5454756" y="2971637"/>
            <a:ext cx="136405" cy="151875"/>
          </a:xfrm>
          <a:custGeom>
            <a:avLst/>
            <a:gdLst>
              <a:gd name="T0" fmla="*/ 375 w 426"/>
              <a:gd name="T1" fmla="*/ 150 h 476"/>
              <a:gd name="T2" fmla="*/ 375 w 426"/>
              <a:gd name="T3" fmla="*/ 150 h 476"/>
              <a:gd name="T4" fmla="*/ 350 w 426"/>
              <a:gd name="T5" fmla="*/ 124 h 476"/>
              <a:gd name="T6" fmla="*/ 300 w 426"/>
              <a:gd name="T7" fmla="*/ 150 h 476"/>
              <a:gd name="T8" fmla="*/ 225 w 426"/>
              <a:gd name="T9" fmla="*/ 124 h 476"/>
              <a:gd name="T10" fmla="*/ 250 w 426"/>
              <a:gd name="T11" fmla="*/ 75 h 476"/>
              <a:gd name="T12" fmla="*/ 275 w 426"/>
              <a:gd name="T13" fmla="*/ 24 h 476"/>
              <a:gd name="T14" fmla="*/ 275 w 426"/>
              <a:gd name="T15" fmla="*/ 24 h 476"/>
              <a:gd name="T16" fmla="*/ 175 w 426"/>
              <a:gd name="T17" fmla="*/ 50 h 476"/>
              <a:gd name="T18" fmla="*/ 225 w 426"/>
              <a:gd name="T19" fmla="*/ 75 h 476"/>
              <a:gd name="T20" fmla="*/ 150 w 426"/>
              <a:gd name="T21" fmla="*/ 124 h 476"/>
              <a:gd name="T22" fmla="*/ 50 w 426"/>
              <a:gd name="T23" fmla="*/ 124 h 476"/>
              <a:gd name="T24" fmla="*/ 50 w 426"/>
              <a:gd name="T25" fmla="*/ 200 h 476"/>
              <a:gd name="T26" fmla="*/ 100 w 426"/>
              <a:gd name="T27" fmla="*/ 250 h 476"/>
              <a:gd name="T28" fmla="*/ 75 w 426"/>
              <a:gd name="T29" fmla="*/ 350 h 476"/>
              <a:gd name="T30" fmla="*/ 0 w 426"/>
              <a:gd name="T31" fmla="*/ 400 h 476"/>
              <a:gd name="T32" fmla="*/ 100 w 426"/>
              <a:gd name="T33" fmla="*/ 475 h 476"/>
              <a:gd name="T34" fmla="*/ 275 w 426"/>
              <a:gd name="T35" fmla="*/ 400 h 476"/>
              <a:gd name="T36" fmla="*/ 375 w 426"/>
              <a:gd name="T37" fmla="*/ 375 h 476"/>
              <a:gd name="T38" fmla="*/ 375 w 426"/>
              <a:gd name="T39" fmla="*/ 175 h 476"/>
              <a:gd name="T40" fmla="*/ 375 w 426"/>
              <a:gd name="T41" fmla="*/ 15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 h="476">
                <a:moveTo>
                  <a:pt x="375" y="150"/>
                </a:moveTo>
                <a:lnTo>
                  <a:pt x="375" y="150"/>
                </a:lnTo>
                <a:lnTo>
                  <a:pt x="350" y="124"/>
                </a:lnTo>
                <a:cubicBezTo>
                  <a:pt x="300" y="75"/>
                  <a:pt x="300" y="124"/>
                  <a:pt x="300" y="150"/>
                </a:cubicBezTo>
                <a:cubicBezTo>
                  <a:pt x="300" y="175"/>
                  <a:pt x="250" y="124"/>
                  <a:pt x="225" y="124"/>
                </a:cubicBezTo>
                <a:lnTo>
                  <a:pt x="250" y="75"/>
                </a:lnTo>
                <a:cubicBezTo>
                  <a:pt x="275" y="75"/>
                  <a:pt x="275" y="50"/>
                  <a:pt x="275" y="24"/>
                </a:cubicBezTo>
                <a:lnTo>
                  <a:pt x="275" y="24"/>
                </a:lnTo>
                <a:cubicBezTo>
                  <a:pt x="225" y="0"/>
                  <a:pt x="175" y="0"/>
                  <a:pt x="175" y="50"/>
                </a:cubicBezTo>
                <a:cubicBezTo>
                  <a:pt x="175" y="75"/>
                  <a:pt x="225" y="50"/>
                  <a:pt x="225" y="75"/>
                </a:cubicBezTo>
                <a:cubicBezTo>
                  <a:pt x="225" y="100"/>
                  <a:pt x="175" y="100"/>
                  <a:pt x="150" y="124"/>
                </a:cubicBezTo>
                <a:cubicBezTo>
                  <a:pt x="100" y="150"/>
                  <a:pt x="75" y="100"/>
                  <a:pt x="50" y="124"/>
                </a:cubicBezTo>
                <a:cubicBezTo>
                  <a:pt x="0" y="150"/>
                  <a:pt x="75" y="150"/>
                  <a:pt x="50" y="200"/>
                </a:cubicBezTo>
                <a:cubicBezTo>
                  <a:pt x="25" y="224"/>
                  <a:pt x="50" y="224"/>
                  <a:pt x="100" y="250"/>
                </a:cubicBezTo>
                <a:cubicBezTo>
                  <a:pt x="150" y="300"/>
                  <a:pt x="75" y="300"/>
                  <a:pt x="75" y="350"/>
                </a:cubicBezTo>
                <a:cubicBezTo>
                  <a:pt x="75" y="375"/>
                  <a:pt x="25" y="375"/>
                  <a:pt x="0" y="400"/>
                </a:cubicBezTo>
                <a:cubicBezTo>
                  <a:pt x="0" y="424"/>
                  <a:pt x="50" y="475"/>
                  <a:pt x="100" y="475"/>
                </a:cubicBezTo>
                <a:cubicBezTo>
                  <a:pt x="125" y="475"/>
                  <a:pt x="225" y="450"/>
                  <a:pt x="275" y="400"/>
                </a:cubicBezTo>
                <a:cubicBezTo>
                  <a:pt x="300" y="375"/>
                  <a:pt x="325" y="400"/>
                  <a:pt x="375" y="375"/>
                </a:cubicBezTo>
                <a:cubicBezTo>
                  <a:pt x="425" y="375"/>
                  <a:pt x="400" y="200"/>
                  <a:pt x="375" y="175"/>
                </a:cubicBezTo>
                <a:cubicBezTo>
                  <a:pt x="375" y="150"/>
                  <a:pt x="375" y="150"/>
                  <a:pt x="37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0" name="Freeform 205">
            <a:extLst>
              <a:ext uri="{FF2B5EF4-FFF2-40B4-BE49-F238E27FC236}">
                <a16:creationId xmlns:a16="http://schemas.microsoft.com/office/drawing/2014/main" id="{0C627CEF-3382-5647-B338-824F0553C44C}"/>
              </a:ext>
            </a:extLst>
          </p:cNvPr>
          <p:cNvSpPr>
            <a:spLocks noChangeArrowheads="1"/>
          </p:cNvSpPr>
          <p:nvPr/>
        </p:nvSpPr>
        <p:spPr bwMode="auto">
          <a:xfrm>
            <a:off x="6013034" y="2859140"/>
            <a:ext cx="143436" cy="136405"/>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1" name="Freeform 206">
            <a:extLst>
              <a:ext uri="{FF2B5EF4-FFF2-40B4-BE49-F238E27FC236}">
                <a16:creationId xmlns:a16="http://schemas.microsoft.com/office/drawing/2014/main" id="{C64F4678-9483-0A4F-B118-5E163521201F}"/>
              </a:ext>
            </a:extLst>
          </p:cNvPr>
          <p:cNvSpPr>
            <a:spLocks noChangeArrowheads="1"/>
          </p:cNvSpPr>
          <p:nvPr/>
        </p:nvSpPr>
        <p:spPr bwMode="auto">
          <a:xfrm>
            <a:off x="6108657" y="2309300"/>
            <a:ext cx="375467" cy="662339"/>
          </a:xfrm>
          <a:custGeom>
            <a:avLst/>
            <a:gdLst>
              <a:gd name="T0" fmla="*/ 1151 w 1177"/>
              <a:gd name="T1" fmla="*/ 500 h 2077"/>
              <a:gd name="T2" fmla="*/ 1151 w 1177"/>
              <a:gd name="T3" fmla="*/ 375 h 2077"/>
              <a:gd name="T4" fmla="*/ 1125 w 1177"/>
              <a:gd name="T5" fmla="*/ 200 h 2077"/>
              <a:gd name="T6" fmla="*/ 876 w 1177"/>
              <a:gd name="T7" fmla="*/ 25 h 2077"/>
              <a:gd name="T8" fmla="*/ 751 w 1177"/>
              <a:gd name="T9" fmla="*/ 125 h 2077"/>
              <a:gd name="T10" fmla="*/ 625 w 1177"/>
              <a:gd name="T11" fmla="*/ 175 h 2077"/>
              <a:gd name="T12" fmla="*/ 501 w 1177"/>
              <a:gd name="T13" fmla="*/ 251 h 2077"/>
              <a:gd name="T14" fmla="*/ 451 w 1177"/>
              <a:gd name="T15" fmla="*/ 375 h 2077"/>
              <a:gd name="T16" fmla="*/ 376 w 1177"/>
              <a:gd name="T17" fmla="*/ 500 h 2077"/>
              <a:gd name="T18" fmla="*/ 300 w 1177"/>
              <a:gd name="T19" fmla="*/ 600 h 2077"/>
              <a:gd name="T20" fmla="*/ 250 w 1177"/>
              <a:gd name="T21" fmla="*/ 775 h 2077"/>
              <a:gd name="T22" fmla="*/ 200 w 1177"/>
              <a:gd name="T23" fmla="*/ 826 h 2077"/>
              <a:gd name="T24" fmla="*/ 100 w 1177"/>
              <a:gd name="T25" fmla="*/ 975 h 2077"/>
              <a:gd name="T26" fmla="*/ 100 w 1177"/>
              <a:gd name="T27" fmla="*/ 1151 h 2077"/>
              <a:gd name="T28" fmla="*/ 125 w 1177"/>
              <a:gd name="T29" fmla="*/ 1275 h 2077"/>
              <a:gd name="T30" fmla="*/ 125 w 1177"/>
              <a:gd name="T31" fmla="*/ 1400 h 2077"/>
              <a:gd name="T32" fmla="*/ 51 w 1177"/>
              <a:gd name="T33" fmla="*/ 1500 h 2077"/>
              <a:gd name="T34" fmla="*/ 0 w 1177"/>
              <a:gd name="T35" fmla="*/ 1576 h 2077"/>
              <a:gd name="T36" fmla="*/ 51 w 1177"/>
              <a:gd name="T37" fmla="*/ 1676 h 2077"/>
              <a:gd name="T38" fmla="*/ 125 w 1177"/>
              <a:gd name="T39" fmla="*/ 1851 h 2077"/>
              <a:gd name="T40" fmla="*/ 176 w 1177"/>
              <a:gd name="T41" fmla="*/ 1976 h 2077"/>
              <a:gd name="T42" fmla="*/ 250 w 1177"/>
              <a:gd name="T43" fmla="*/ 2051 h 2077"/>
              <a:gd name="T44" fmla="*/ 300 w 1177"/>
              <a:gd name="T45" fmla="*/ 1951 h 2077"/>
              <a:gd name="T46" fmla="*/ 451 w 1177"/>
              <a:gd name="T47" fmla="*/ 1900 h 2077"/>
              <a:gd name="T48" fmla="*/ 525 w 1177"/>
              <a:gd name="T49" fmla="*/ 1826 h 2077"/>
              <a:gd name="T50" fmla="*/ 501 w 1177"/>
              <a:gd name="T51" fmla="*/ 1776 h 2077"/>
              <a:gd name="T52" fmla="*/ 551 w 1177"/>
              <a:gd name="T53" fmla="*/ 1576 h 2077"/>
              <a:gd name="T54" fmla="*/ 701 w 1177"/>
              <a:gd name="T55" fmla="*/ 1425 h 2077"/>
              <a:gd name="T56" fmla="*/ 551 w 1177"/>
              <a:gd name="T57" fmla="*/ 1300 h 2077"/>
              <a:gd name="T58" fmla="*/ 576 w 1177"/>
              <a:gd name="T59" fmla="*/ 1126 h 2077"/>
              <a:gd name="T60" fmla="*/ 625 w 1177"/>
              <a:gd name="T61" fmla="*/ 1000 h 2077"/>
              <a:gd name="T62" fmla="*/ 801 w 1177"/>
              <a:gd name="T63" fmla="*/ 875 h 2077"/>
              <a:gd name="T64" fmla="*/ 925 w 1177"/>
              <a:gd name="T65" fmla="*/ 675 h 2077"/>
              <a:gd name="T66" fmla="*/ 1025 w 1177"/>
              <a:gd name="T67" fmla="*/ 551 h 2077"/>
              <a:gd name="T68" fmla="*/ 1176 w 1177"/>
              <a:gd name="T69" fmla="*/ 551 h 2077"/>
              <a:gd name="T70" fmla="*/ 701 w 1177"/>
              <a:gd name="T71" fmla="*/ 1726 h 2077"/>
              <a:gd name="T72" fmla="*/ 625 w 1177"/>
              <a:gd name="T73" fmla="*/ 1851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7" h="2077">
                <a:moveTo>
                  <a:pt x="1151" y="500"/>
                </a:moveTo>
                <a:lnTo>
                  <a:pt x="1151" y="500"/>
                </a:lnTo>
                <a:cubicBezTo>
                  <a:pt x="1151" y="475"/>
                  <a:pt x="1125" y="451"/>
                  <a:pt x="1151" y="451"/>
                </a:cubicBezTo>
                <a:cubicBezTo>
                  <a:pt x="1151" y="451"/>
                  <a:pt x="1176" y="375"/>
                  <a:pt x="1151" y="375"/>
                </a:cubicBezTo>
                <a:cubicBezTo>
                  <a:pt x="1125" y="351"/>
                  <a:pt x="1151" y="300"/>
                  <a:pt x="1125" y="275"/>
                </a:cubicBezTo>
                <a:cubicBezTo>
                  <a:pt x="1101" y="275"/>
                  <a:pt x="1125" y="226"/>
                  <a:pt x="1125" y="200"/>
                </a:cubicBezTo>
                <a:cubicBezTo>
                  <a:pt x="1125" y="151"/>
                  <a:pt x="1025" y="125"/>
                  <a:pt x="976" y="100"/>
                </a:cubicBezTo>
                <a:cubicBezTo>
                  <a:pt x="925" y="100"/>
                  <a:pt x="901" y="50"/>
                  <a:pt x="876" y="25"/>
                </a:cubicBezTo>
                <a:cubicBezTo>
                  <a:pt x="825" y="0"/>
                  <a:pt x="825" y="75"/>
                  <a:pt x="825" y="100"/>
                </a:cubicBezTo>
                <a:cubicBezTo>
                  <a:pt x="825" y="151"/>
                  <a:pt x="776" y="151"/>
                  <a:pt x="751" y="125"/>
                </a:cubicBezTo>
                <a:cubicBezTo>
                  <a:pt x="725" y="100"/>
                  <a:pt x="701" y="125"/>
                  <a:pt x="651" y="100"/>
                </a:cubicBezTo>
                <a:cubicBezTo>
                  <a:pt x="625" y="75"/>
                  <a:pt x="625" y="151"/>
                  <a:pt x="625" y="175"/>
                </a:cubicBezTo>
                <a:cubicBezTo>
                  <a:pt x="625" y="200"/>
                  <a:pt x="601" y="200"/>
                  <a:pt x="576" y="200"/>
                </a:cubicBezTo>
                <a:cubicBezTo>
                  <a:pt x="525" y="200"/>
                  <a:pt x="501" y="226"/>
                  <a:pt x="501" y="251"/>
                </a:cubicBezTo>
                <a:cubicBezTo>
                  <a:pt x="501" y="275"/>
                  <a:pt x="451" y="300"/>
                  <a:pt x="476" y="326"/>
                </a:cubicBezTo>
                <a:cubicBezTo>
                  <a:pt x="476" y="326"/>
                  <a:pt x="451" y="351"/>
                  <a:pt x="451" y="375"/>
                </a:cubicBezTo>
                <a:cubicBezTo>
                  <a:pt x="425" y="375"/>
                  <a:pt x="400" y="426"/>
                  <a:pt x="400" y="426"/>
                </a:cubicBezTo>
                <a:cubicBezTo>
                  <a:pt x="376" y="451"/>
                  <a:pt x="400" y="475"/>
                  <a:pt x="376" y="500"/>
                </a:cubicBezTo>
                <a:cubicBezTo>
                  <a:pt x="351" y="500"/>
                  <a:pt x="325" y="500"/>
                  <a:pt x="300" y="500"/>
                </a:cubicBezTo>
                <a:cubicBezTo>
                  <a:pt x="300" y="526"/>
                  <a:pt x="300" y="551"/>
                  <a:pt x="300" y="600"/>
                </a:cubicBezTo>
                <a:cubicBezTo>
                  <a:pt x="300" y="626"/>
                  <a:pt x="276" y="675"/>
                  <a:pt x="250" y="726"/>
                </a:cubicBezTo>
                <a:cubicBezTo>
                  <a:pt x="200" y="751"/>
                  <a:pt x="250" y="751"/>
                  <a:pt x="250" y="775"/>
                </a:cubicBezTo>
                <a:cubicBezTo>
                  <a:pt x="276" y="775"/>
                  <a:pt x="276" y="800"/>
                  <a:pt x="250" y="826"/>
                </a:cubicBezTo>
                <a:cubicBezTo>
                  <a:pt x="250" y="851"/>
                  <a:pt x="225" y="826"/>
                  <a:pt x="200" y="826"/>
                </a:cubicBezTo>
                <a:cubicBezTo>
                  <a:pt x="176" y="826"/>
                  <a:pt x="125" y="851"/>
                  <a:pt x="100" y="875"/>
                </a:cubicBezTo>
                <a:cubicBezTo>
                  <a:pt x="76" y="926"/>
                  <a:pt x="76" y="951"/>
                  <a:pt x="100" y="975"/>
                </a:cubicBezTo>
                <a:cubicBezTo>
                  <a:pt x="100" y="1000"/>
                  <a:pt x="76" y="1026"/>
                  <a:pt x="100" y="1075"/>
                </a:cubicBezTo>
                <a:cubicBezTo>
                  <a:pt x="125" y="1126"/>
                  <a:pt x="76" y="1126"/>
                  <a:pt x="100" y="1151"/>
                </a:cubicBezTo>
                <a:cubicBezTo>
                  <a:pt x="100" y="1200"/>
                  <a:pt x="151" y="1200"/>
                  <a:pt x="151" y="1226"/>
                </a:cubicBezTo>
                <a:cubicBezTo>
                  <a:pt x="151" y="1275"/>
                  <a:pt x="125" y="1275"/>
                  <a:pt x="125" y="1275"/>
                </a:cubicBezTo>
                <a:cubicBezTo>
                  <a:pt x="100" y="1275"/>
                  <a:pt x="100" y="1300"/>
                  <a:pt x="125" y="1326"/>
                </a:cubicBezTo>
                <a:cubicBezTo>
                  <a:pt x="151" y="1326"/>
                  <a:pt x="125" y="1400"/>
                  <a:pt x="125" y="1400"/>
                </a:cubicBezTo>
                <a:cubicBezTo>
                  <a:pt x="125" y="1425"/>
                  <a:pt x="51" y="1400"/>
                  <a:pt x="76" y="1425"/>
                </a:cubicBezTo>
                <a:cubicBezTo>
                  <a:pt x="76" y="1451"/>
                  <a:pt x="51" y="1500"/>
                  <a:pt x="51" y="1500"/>
                </a:cubicBezTo>
                <a:cubicBezTo>
                  <a:pt x="51" y="1526"/>
                  <a:pt x="51" y="1576"/>
                  <a:pt x="25" y="1576"/>
                </a:cubicBezTo>
                <a:lnTo>
                  <a:pt x="0" y="1576"/>
                </a:lnTo>
                <a:lnTo>
                  <a:pt x="0" y="1576"/>
                </a:lnTo>
                <a:cubicBezTo>
                  <a:pt x="0" y="1600"/>
                  <a:pt x="0" y="1651"/>
                  <a:pt x="51" y="1676"/>
                </a:cubicBezTo>
                <a:cubicBezTo>
                  <a:pt x="76" y="1700"/>
                  <a:pt x="51" y="1726"/>
                  <a:pt x="76" y="1776"/>
                </a:cubicBezTo>
                <a:cubicBezTo>
                  <a:pt x="100" y="1800"/>
                  <a:pt x="100" y="1826"/>
                  <a:pt x="125" y="1851"/>
                </a:cubicBezTo>
                <a:cubicBezTo>
                  <a:pt x="151" y="1876"/>
                  <a:pt x="151" y="1900"/>
                  <a:pt x="151" y="1926"/>
                </a:cubicBezTo>
                <a:cubicBezTo>
                  <a:pt x="125" y="1951"/>
                  <a:pt x="176" y="1951"/>
                  <a:pt x="176" y="1976"/>
                </a:cubicBezTo>
                <a:cubicBezTo>
                  <a:pt x="176" y="1976"/>
                  <a:pt x="151" y="2026"/>
                  <a:pt x="176" y="2051"/>
                </a:cubicBezTo>
                <a:cubicBezTo>
                  <a:pt x="176" y="2076"/>
                  <a:pt x="200" y="2051"/>
                  <a:pt x="250" y="2051"/>
                </a:cubicBezTo>
                <a:cubicBezTo>
                  <a:pt x="276" y="2051"/>
                  <a:pt x="276" y="2026"/>
                  <a:pt x="276" y="2000"/>
                </a:cubicBezTo>
                <a:cubicBezTo>
                  <a:pt x="276" y="1951"/>
                  <a:pt x="300" y="1976"/>
                  <a:pt x="300" y="1951"/>
                </a:cubicBezTo>
                <a:cubicBezTo>
                  <a:pt x="300" y="1951"/>
                  <a:pt x="351" y="1926"/>
                  <a:pt x="376" y="1951"/>
                </a:cubicBezTo>
                <a:cubicBezTo>
                  <a:pt x="425" y="1976"/>
                  <a:pt x="425" y="1951"/>
                  <a:pt x="451" y="1900"/>
                </a:cubicBezTo>
                <a:cubicBezTo>
                  <a:pt x="451" y="1876"/>
                  <a:pt x="451" y="1926"/>
                  <a:pt x="476" y="1926"/>
                </a:cubicBezTo>
                <a:cubicBezTo>
                  <a:pt x="476" y="1926"/>
                  <a:pt x="501" y="1876"/>
                  <a:pt x="525" y="1826"/>
                </a:cubicBezTo>
                <a:cubicBezTo>
                  <a:pt x="551" y="1800"/>
                  <a:pt x="525" y="1800"/>
                  <a:pt x="501" y="1851"/>
                </a:cubicBezTo>
                <a:cubicBezTo>
                  <a:pt x="451" y="1876"/>
                  <a:pt x="476" y="1800"/>
                  <a:pt x="501" y="1776"/>
                </a:cubicBezTo>
                <a:cubicBezTo>
                  <a:pt x="501" y="1751"/>
                  <a:pt x="501" y="1651"/>
                  <a:pt x="501" y="1651"/>
                </a:cubicBezTo>
                <a:cubicBezTo>
                  <a:pt x="501" y="1626"/>
                  <a:pt x="525" y="1600"/>
                  <a:pt x="551" y="1576"/>
                </a:cubicBezTo>
                <a:cubicBezTo>
                  <a:pt x="601" y="1576"/>
                  <a:pt x="651" y="1526"/>
                  <a:pt x="651" y="1500"/>
                </a:cubicBezTo>
                <a:cubicBezTo>
                  <a:pt x="625" y="1476"/>
                  <a:pt x="701" y="1451"/>
                  <a:pt x="701" y="1425"/>
                </a:cubicBezTo>
                <a:cubicBezTo>
                  <a:pt x="701" y="1400"/>
                  <a:pt x="625" y="1351"/>
                  <a:pt x="601" y="1326"/>
                </a:cubicBezTo>
                <a:cubicBezTo>
                  <a:pt x="576" y="1326"/>
                  <a:pt x="551" y="1326"/>
                  <a:pt x="551" y="1300"/>
                </a:cubicBezTo>
                <a:cubicBezTo>
                  <a:pt x="551" y="1300"/>
                  <a:pt x="525" y="1226"/>
                  <a:pt x="525" y="1200"/>
                </a:cubicBezTo>
                <a:cubicBezTo>
                  <a:pt x="525" y="1175"/>
                  <a:pt x="576" y="1151"/>
                  <a:pt x="576" y="1126"/>
                </a:cubicBezTo>
                <a:cubicBezTo>
                  <a:pt x="576" y="1075"/>
                  <a:pt x="576" y="1051"/>
                  <a:pt x="601" y="1051"/>
                </a:cubicBezTo>
                <a:cubicBezTo>
                  <a:pt x="625" y="1026"/>
                  <a:pt x="601" y="1000"/>
                  <a:pt x="625" y="1000"/>
                </a:cubicBezTo>
                <a:cubicBezTo>
                  <a:pt x="676" y="1000"/>
                  <a:pt x="676" y="951"/>
                  <a:pt x="701" y="926"/>
                </a:cubicBezTo>
                <a:cubicBezTo>
                  <a:pt x="751" y="900"/>
                  <a:pt x="751" y="900"/>
                  <a:pt x="801" y="875"/>
                </a:cubicBezTo>
                <a:cubicBezTo>
                  <a:pt x="851" y="851"/>
                  <a:pt x="925" y="800"/>
                  <a:pt x="925" y="775"/>
                </a:cubicBezTo>
                <a:cubicBezTo>
                  <a:pt x="951" y="726"/>
                  <a:pt x="876" y="700"/>
                  <a:pt x="925" y="675"/>
                </a:cubicBezTo>
                <a:cubicBezTo>
                  <a:pt x="976" y="651"/>
                  <a:pt x="925" y="600"/>
                  <a:pt x="951" y="600"/>
                </a:cubicBezTo>
                <a:cubicBezTo>
                  <a:pt x="1001" y="575"/>
                  <a:pt x="1001" y="575"/>
                  <a:pt x="1025" y="551"/>
                </a:cubicBezTo>
                <a:cubicBezTo>
                  <a:pt x="1051" y="526"/>
                  <a:pt x="1076" y="551"/>
                  <a:pt x="1125" y="551"/>
                </a:cubicBezTo>
                <a:cubicBezTo>
                  <a:pt x="1151" y="526"/>
                  <a:pt x="1151" y="551"/>
                  <a:pt x="1176" y="551"/>
                </a:cubicBezTo>
                <a:cubicBezTo>
                  <a:pt x="1176" y="526"/>
                  <a:pt x="1176" y="500"/>
                  <a:pt x="1151" y="500"/>
                </a:cubicBezTo>
                <a:close/>
                <a:moveTo>
                  <a:pt x="701" y="1726"/>
                </a:moveTo>
                <a:lnTo>
                  <a:pt x="701" y="1726"/>
                </a:lnTo>
                <a:cubicBezTo>
                  <a:pt x="625" y="1726"/>
                  <a:pt x="601" y="1826"/>
                  <a:pt x="625" y="1851"/>
                </a:cubicBezTo>
                <a:cubicBezTo>
                  <a:pt x="625" y="1851"/>
                  <a:pt x="751" y="1726"/>
                  <a:pt x="701" y="1726"/>
                </a:cubicBezTo>
                <a:close/>
              </a:path>
            </a:pathLst>
          </a:custGeom>
          <a:no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2" name="Freeform 207">
            <a:extLst>
              <a:ext uri="{FF2B5EF4-FFF2-40B4-BE49-F238E27FC236}">
                <a16:creationId xmlns:a16="http://schemas.microsoft.com/office/drawing/2014/main" id="{44F3D6B6-512D-6F4E-A604-839E6984E10D}"/>
              </a:ext>
            </a:extLst>
          </p:cNvPr>
          <p:cNvSpPr>
            <a:spLocks noChangeArrowheads="1"/>
          </p:cNvSpPr>
          <p:nvPr/>
        </p:nvSpPr>
        <p:spPr bwMode="auto">
          <a:xfrm>
            <a:off x="6419437" y="2771951"/>
            <a:ext cx="182811" cy="95624"/>
          </a:xfrm>
          <a:custGeom>
            <a:avLst/>
            <a:gdLst>
              <a:gd name="T0" fmla="*/ 525 w 575"/>
              <a:gd name="T1" fmla="*/ 100 h 301"/>
              <a:gd name="T2" fmla="*/ 525 w 575"/>
              <a:gd name="T3" fmla="*/ 100 h 301"/>
              <a:gd name="T4" fmla="*/ 550 w 575"/>
              <a:gd name="T5" fmla="*/ 25 h 301"/>
              <a:gd name="T6" fmla="*/ 525 w 575"/>
              <a:gd name="T7" fmla="*/ 49 h 301"/>
              <a:gd name="T8" fmla="*/ 350 w 575"/>
              <a:gd name="T9" fmla="*/ 25 h 301"/>
              <a:gd name="T10" fmla="*/ 175 w 575"/>
              <a:gd name="T11" fmla="*/ 49 h 301"/>
              <a:gd name="T12" fmla="*/ 125 w 575"/>
              <a:gd name="T13" fmla="*/ 100 h 301"/>
              <a:gd name="T14" fmla="*/ 149 w 575"/>
              <a:gd name="T15" fmla="*/ 175 h 301"/>
              <a:gd name="T16" fmla="*/ 200 w 575"/>
              <a:gd name="T17" fmla="*/ 200 h 301"/>
              <a:gd name="T18" fmla="*/ 225 w 575"/>
              <a:gd name="T19" fmla="*/ 249 h 301"/>
              <a:gd name="T20" fmla="*/ 225 w 575"/>
              <a:gd name="T21" fmla="*/ 249 h 301"/>
              <a:gd name="T22" fmla="*/ 325 w 575"/>
              <a:gd name="T23" fmla="*/ 249 h 301"/>
              <a:gd name="T24" fmla="*/ 425 w 575"/>
              <a:gd name="T25" fmla="*/ 300 h 301"/>
              <a:gd name="T26" fmla="*/ 500 w 575"/>
              <a:gd name="T27" fmla="*/ 300 h 301"/>
              <a:gd name="T28" fmla="*/ 500 w 575"/>
              <a:gd name="T29" fmla="*/ 275 h 301"/>
              <a:gd name="T30" fmla="*/ 525 w 575"/>
              <a:gd name="T31" fmla="*/ 249 h 301"/>
              <a:gd name="T32" fmla="*/ 500 w 575"/>
              <a:gd name="T33" fmla="*/ 200 h 301"/>
              <a:gd name="T34" fmla="*/ 500 w 575"/>
              <a:gd name="T35" fmla="*/ 149 h 301"/>
              <a:gd name="T36" fmla="*/ 525 w 575"/>
              <a:gd name="T37" fmla="*/ 100 h 301"/>
              <a:gd name="T38" fmla="*/ 49 w 575"/>
              <a:gd name="T39" fmla="*/ 149 h 301"/>
              <a:gd name="T40" fmla="*/ 49 w 575"/>
              <a:gd name="T41" fmla="*/ 149 h 301"/>
              <a:gd name="T42" fmla="*/ 0 w 575"/>
              <a:gd name="T43" fmla="*/ 249 h 301"/>
              <a:gd name="T44" fmla="*/ 100 w 575"/>
              <a:gd name="T45" fmla="*/ 175 h 301"/>
              <a:gd name="T46" fmla="*/ 49 w 575"/>
              <a:gd name="T47" fmla="*/ 149 h 301"/>
              <a:gd name="T48" fmla="*/ 75 w 575"/>
              <a:gd name="T49" fmla="*/ 125 h 301"/>
              <a:gd name="T50" fmla="*/ 75 w 575"/>
              <a:gd name="T51" fmla="*/ 125 h 301"/>
              <a:gd name="T52" fmla="*/ 25 w 575"/>
              <a:gd name="T53" fmla="*/ 125 h 301"/>
              <a:gd name="T54" fmla="*/ 75 w 575"/>
              <a:gd name="T5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5" h="301">
                <a:moveTo>
                  <a:pt x="525" y="100"/>
                </a:moveTo>
                <a:lnTo>
                  <a:pt x="525" y="100"/>
                </a:lnTo>
                <a:cubicBezTo>
                  <a:pt x="550" y="75"/>
                  <a:pt x="574" y="49"/>
                  <a:pt x="550" y="25"/>
                </a:cubicBezTo>
                <a:cubicBezTo>
                  <a:pt x="550" y="25"/>
                  <a:pt x="550" y="25"/>
                  <a:pt x="525" y="49"/>
                </a:cubicBezTo>
                <a:cubicBezTo>
                  <a:pt x="500" y="49"/>
                  <a:pt x="400" y="0"/>
                  <a:pt x="350" y="25"/>
                </a:cubicBezTo>
                <a:cubicBezTo>
                  <a:pt x="300" y="25"/>
                  <a:pt x="200" y="25"/>
                  <a:pt x="175" y="49"/>
                </a:cubicBezTo>
                <a:cubicBezTo>
                  <a:pt x="149" y="75"/>
                  <a:pt x="100" y="75"/>
                  <a:pt x="125" y="100"/>
                </a:cubicBezTo>
                <a:cubicBezTo>
                  <a:pt x="149" y="125"/>
                  <a:pt x="125" y="149"/>
                  <a:pt x="149" y="175"/>
                </a:cubicBezTo>
                <a:cubicBezTo>
                  <a:pt x="175" y="200"/>
                  <a:pt x="175" y="200"/>
                  <a:pt x="200" y="200"/>
                </a:cubicBezTo>
                <a:cubicBezTo>
                  <a:pt x="225" y="200"/>
                  <a:pt x="249" y="200"/>
                  <a:pt x="225" y="249"/>
                </a:cubicBezTo>
                <a:lnTo>
                  <a:pt x="225" y="249"/>
                </a:lnTo>
                <a:cubicBezTo>
                  <a:pt x="275" y="225"/>
                  <a:pt x="325" y="225"/>
                  <a:pt x="325" y="249"/>
                </a:cubicBezTo>
                <a:cubicBezTo>
                  <a:pt x="325" y="249"/>
                  <a:pt x="400" y="300"/>
                  <a:pt x="425" y="300"/>
                </a:cubicBezTo>
                <a:cubicBezTo>
                  <a:pt x="425" y="300"/>
                  <a:pt x="475" y="300"/>
                  <a:pt x="500" y="300"/>
                </a:cubicBezTo>
                <a:lnTo>
                  <a:pt x="500" y="275"/>
                </a:lnTo>
                <a:cubicBezTo>
                  <a:pt x="525" y="275"/>
                  <a:pt x="550" y="275"/>
                  <a:pt x="525" y="249"/>
                </a:cubicBezTo>
                <a:cubicBezTo>
                  <a:pt x="525" y="225"/>
                  <a:pt x="525" y="225"/>
                  <a:pt x="500" y="200"/>
                </a:cubicBezTo>
                <a:cubicBezTo>
                  <a:pt x="500" y="175"/>
                  <a:pt x="500" y="149"/>
                  <a:pt x="500" y="149"/>
                </a:cubicBezTo>
                <a:cubicBezTo>
                  <a:pt x="500" y="125"/>
                  <a:pt x="525" y="125"/>
                  <a:pt x="525" y="100"/>
                </a:cubicBezTo>
                <a:close/>
                <a:moveTo>
                  <a:pt x="49" y="149"/>
                </a:moveTo>
                <a:lnTo>
                  <a:pt x="49" y="149"/>
                </a:lnTo>
                <a:cubicBezTo>
                  <a:pt x="0" y="175"/>
                  <a:pt x="0" y="249"/>
                  <a:pt x="0" y="249"/>
                </a:cubicBezTo>
                <a:cubicBezTo>
                  <a:pt x="25" y="249"/>
                  <a:pt x="100" y="200"/>
                  <a:pt x="100" y="175"/>
                </a:cubicBezTo>
                <a:cubicBezTo>
                  <a:pt x="125" y="149"/>
                  <a:pt x="100" y="149"/>
                  <a:pt x="49" y="149"/>
                </a:cubicBezTo>
                <a:close/>
                <a:moveTo>
                  <a:pt x="75" y="125"/>
                </a:moveTo>
                <a:lnTo>
                  <a:pt x="75" y="125"/>
                </a:lnTo>
                <a:cubicBezTo>
                  <a:pt x="100" y="100"/>
                  <a:pt x="0" y="100"/>
                  <a:pt x="25" y="125"/>
                </a:cubicBezTo>
                <a:cubicBezTo>
                  <a:pt x="49" y="149"/>
                  <a:pt x="75" y="149"/>
                  <a:pt x="75" y="12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3" name="Freeform 208">
            <a:extLst>
              <a:ext uri="{FF2B5EF4-FFF2-40B4-BE49-F238E27FC236}">
                <a16:creationId xmlns:a16="http://schemas.microsoft.com/office/drawing/2014/main" id="{A5791F17-7918-EC44-8D5F-3EAE58FA56F5}"/>
              </a:ext>
            </a:extLst>
          </p:cNvPr>
          <p:cNvSpPr>
            <a:spLocks noChangeArrowheads="1"/>
          </p:cNvSpPr>
          <p:nvPr/>
        </p:nvSpPr>
        <p:spPr bwMode="auto">
          <a:xfrm>
            <a:off x="5917408" y="2196800"/>
            <a:ext cx="773432" cy="653901"/>
          </a:xfrm>
          <a:custGeom>
            <a:avLst/>
            <a:gdLst>
              <a:gd name="T0" fmla="*/ 2325 w 2426"/>
              <a:gd name="T1" fmla="*/ 250 h 2051"/>
              <a:gd name="T2" fmla="*/ 2375 w 2426"/>
              <a:gd name="T3" fmla="*/ 176 h 2051"/>
              <a:gd name="T4" fmla="*/ 2300 w 2426"/>
              <a:gd name="T5" fmla="*/ 100 h 2051"/>
              <a:gd name="T6" fmla="*/ 2149 w 2426"/>
              <a:gd name="T7" fmla="*/ 125 h 2051"/>
              <a:gd name="T8" fmla="*/ 2075 w 2426"/>
              <a:gd name="T9" fmla="*/ 76 h 2051"/>
              <a:gd name="T10" fmla="*/ 1950 w 2426"/>
              <a:gd name="T11" fmla="*/ 100 h 2051"/>
              <a:gd name="T12" fmla="*/ 1950 w 2426"/>
              <a:gd name="T13" fmla="*/ 50 h 2051"/>
              <a:gd name="T14" fmla="*/ 1824 w 2426"/>
              <a:gd name="T15" fmla="*/ 50 h 2051"/>
              <a:gd name="T16" fmla="*/ 1724 w 2426"/>
              <a:gd name="T17" fmla="*/ 125 h 2051"/>
              <a:gd name="T18" fmla="*/ 1650 w 2426"/>
              <a:gd name="T19" fmla="*/ 150 h 2051"/>
              <a:gd name="T20" fmla="*/ 1675 w 2426"/>
              <a:gd name="T21" fmla="*/ 76 h 2051"/>
              <a:gd name="T22" fmla="*/ 1600 w 2426"/>
              <a:gd name="T23" fmla="*/ 176 h 2051"/>
              <a:gd name="T24" fmla="*/ 1524 w 2426"/>
              <a:gd name="T25" fmla="*/ 225 h 2051"/>
              <a:gd name="T26" fmla="*/ 1475 w 2426"/>
              <a:gd name="T27" fmla="*/ 276 h 2051"/>
              <a:gd name="T28" fmla="*/ 1375 w 2426"/>
              <a:gd name="T29" fmla="*/ 200 h 2051"/>
              <a:gd name="T30" fmla="*/ 1275 w 2426"/>
              <a:gd name="T31" fmla="*/ 276 h 2051"/>
              <a:gd name="T32" fmla="*/ 1150 w 2426"/>
              <a:gd name="T33" fmla="*/ 300 h 2051"/>
              <a:gd name="T34" fmla="*/ 1175 w 2426"/>
              <a:gd name="T35" fmla="*/ 400 h 2051"/>
              <a:gd name="T36" fmla="*/ 1075 w 2426"/>
              <a:gd name="T37" fmla="*/ 400 h 2051"/>
              <a:gd name="T38" fmla="*/ 999 w 2426"/>
              <a:gd name="T39" fmla="*/ 400 h 2051"/>
              <a:gd name="T40" fmla="*/ 775 w 2426"/>
              <a:gd name="T41" fmla="*/ 550 h 2051"/>
              <a:gd name="T42" fmla="*/ 975 w 2426"/>
              <a:gd name="T43" fmla="*/ 475 h 2051"/>
              <a:gd name="T44" fmla="*/ 1075 w 2426"/>
              <a:gd name="T45" fmla="*/ 525 h 2051"/>
              <a:gd name="T46" fmla="*/ 975 w 2426"/>
              <a:gd name="T47" fmla="*/ 550 h 2051"/>
              <a:gd name="T48" fmla="*/ 799 w 2426"/>
              <a:gd name="T49" fmla="*/ 776 h 2051"/>
              <a:gd name="T50" fmla="*/ 699 w 2426"/>
              <a:gd name="T51" fmla="*/ 950 h 2051"/>
              <a:gd name="T52" fmla="*/ 576 w 2426"/>
              <a:gd name="T53" fmla="*/ 1025 h 2051"/>
              <a:gd name="T54" fmla="*/ 525 w 2426"/>
              <a:gd name="T55" fmla="*/ 1125 h 2051"/>
              <a:gd name="T56" fmla="*/ 376 w 2426"/>
              <a:gd name="T57" fmla="*/ 1225 h 2051"/>
              <a:gd name="T58" fmla="*/ 225 w 2426"/>
              <a:gd name="T59" fmla="*/ 1350 h 2051"/>
              <a:gd name="T60" fmla="*/ 125 w 2426"/>
              <a:gd name="T61" fmla="*/ 1425 h 2051"/>
              <a:gd name="T62" fmla="*/ 0 w 2426"/>
              <a:gd name="T63" fmla="*/ 1501 h 2051"/>
              <a:gd name="T64" fmla="*/ 25 w 2426"/>
              <a:gd name="T65" fmla="*/ 1625 h 2051"/>
              <a:gd name="T66" fmla="*/ 75 w 2426"/>
              <a:gd name="T67" fmla="*/ 1750 h 2051"/>
              <a:gd name="T68" fmla="*/ 100 w 2426"/>
              <a:gd name="T69" fmla="*/ 1801 h 2051"/>
              <a:gd name="T70" fmla="*/ 25 w 2426"/>
              <a:gd name="T71" fmla="*/ 1850 h 2051"/>
              <a:gd name="T72" fmla="*/ 100 w 2426"/>
              <a:gd name="T73" fmla="*/ 1901 h 2051"/>
              <a:gd name="T74" fmla="*/ 276 w 2426"/>
              <a:gd name="T75" fmla="*/ 2026 h 2051"/>
              <a:gd name="T76" fmla="*/ 551 w 2426"/>
              <a:gd name="T77" fmla="*/ 1826 h 2051"/>
              <a:gd name="T78" fmla="*/ 624 w 2426"/>
              <a:gd name="T79" fmla="*/ 1926 h 2051"/>
              <a:gd name="T80" fmla="*/ 724 w 2426"/>
              <a:gd name="T81" fmla="*/ 1750 h 2051"/>
              <a:gd name="T82" fmla="*/ 750 w 2426"/>
              <a:gd name="T83" fmla="*/ 1576 h 2051"/>
              <a:gd name="T84" fmla="*/ 699 w 2426"/>
              <a:gd name="T85" fmla="*/ 1325 h 2051"/>
              <a:gd name="T86" fmla="*/ 849 w 2426"/>
              <a:gd name="T87" fmla="*/ 1176 h 2051"/>
              <a:gd name="T88" fmla="*/ 899 w 2426"/>
              <a:gd name="T89" fmla="*/ 950 h 2051"/>
              <a:gd name="T90" fmla="*/ 999 w 2426"/>
              <a:gd name="T91" fmla="*/ 776 h 2051"/>
              <a:gd name="T92" fmla="*/ 1100 w 2426"/>
              <a:gd name="T93" fmla="*/ 601 h 2051"/>
              <a:gd name="T94" fmla="*/ 1250 w 2426"/>
              <a:gd name="T95" fmla="*/ 450 h 2051"/>
              <a:gd name="T96" fmla="*/ 1475 w 2426"/>
              <a:gd name="T97" fmla="*/ 375 h 2051"/>
              <a:gd name="T98" fmla="*/ 1650 w 2426"/>
              <a:gd name="T99" fmla="*/ 425 h 2051"/>
              <a:gd name="T100" fmla="*/ 1875 w 2426"/>
              <a:gd name="T101" fmla="*/ 450 h 2051"/>
              <a:gd name="T102" fmla="*/ 2000 w 2426"/>
              <a:gd name="T103" fmla="*/ 250 h 2051"/>
              <a:gd name="T104" fmla="*/ 2250 w 2426"/>
              <a:gd name="T105" fmla="*/ 276 h 2051"/>
              <a:gd name="T106" fmla="*/ 2375 w 2426"/>
              <a:gd name="T107" fmla="*/ 276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26" h="2051">
                <a:moveTo>
                  <a:pt x="2349" y="250"/>
                </a:moveTo>
                <a:lnTo>
                  <a:pt x="2349" y="250"/>
                </a:lnTo>
                <a:cubicBezTo>
                  <a:pt x="2349" y="276"/>
                  <a:pt x="2325" y="276"/>
                  <a:pt x="2325" y="250"/>
                </a:cubicBezTo>
                <a:cubicBezTo>
                  <a:pt x="2325" y="225"/>
                  <a:pt x="2250" y="200"/>
                  <a:pt x="2250" y="200"/>
                </a:cubicBezTo>
                <a:cubicBezTo>
                  <a:pt x="2250" y="200"/>
                  <a:pt x="2275" y="200"/>
                  <a:pt x="2300" y="200"/>
                </a:cubicBezTo>
                <a:cubicBezTo>
                  <a:pt x="2325" y="225"/>
                  <a:pt x="2349" y="200"/>
                  <a:pt x="2375" y="176"/>
                </a:cubicBezTo>
                <a:cubicBezTo>
                  <a:pt x="2400" y="150"/>
                  <a:pt x="2425" y="176"/>
                  <a:pt x="2425" y="150"/>
                </a:cubicBezTo>
                <a:lnTo>
                  <a:pt x="2375" y="125"/>
                </a:lnTo>
                <a:cubicBezTo>
                  <a:pt x="2375" y="100"/>
                  <a:pt x="2349" y="76"/>
                  <a:pt x="2300" y="100"/>
                </a:cubicBezTo>
                <a:cubicBezTo>
                  <a:pt x="2275" y="100"/>
                  <a:pt x="2275" y="76"/>
                  <a:pt x="2250" y="76"/>
                </a:cubicBezTo>
                <a:cubicBezTo>
                  <a:pt x="2250" y="50"/>
                  <a:pt x="2175" y="76"/>
                  <a:pt x="2175" y="125"/>
                </a:cubicBezTo>
                <a:cubicBezTo>
                  <a:pt x="2175" y="150"/>
                  <a:pt x="2149" y="150"/>
                  <a:pt x="2149" y="125"/>
                </a:cubicBezTo>
                <a:cubicBezTo>
                  <a:pt x="2175" y="100"/>
                  <a:pt x="2149" y="76"/>
                  <a:pt x="2175" y="76"/>
                </a:cubicBezTo>
                <a:cubicBezTo>
                  <a:pt x="2200" y="76"/>
                  <a:pt x="2175" y="25"/>
                  <a:pt x="2125" y="25"/>
                </a:cubicBezTo>
                <a:cubicBezTo>
                  <a:pt x="2075" y="25"/>
                  <a:pt x="2075" y="50"/>
                  <a:pt x="2075" y="76"/>
                </a:cubicBezTo>
                <a:cubicBezTo>
                  <a:pt x="2100" y="76"/>
                  <a:pt x="2050" y="150"/>
                  <a:pt x="2025" y="150"/>
                </a:cubicBezTo>
                <a:cubicBezTo>
                  <a:pt x="2000" y="150"/>
                  <a:pt x="2025" y="100"/>
                  <a:pt x="2025" y="76"/>
                </a:cubicBezTo>
                <a:cubicBezTo>
                  <a:pt x="2025" y="50"/>
                  <a:pt x="2000" y="50"/>
                  <a:pt x="1950" y="100"/>
                </a:cubicBezTo>
                <a:cubicBezTo>
                  <a:pt x="1925" y="150"/>
                  <a:pt x="1900" y="176"/>
                  <a:pt x="1875" y="176"/>
                </a:cubicBezTo>
                <a:cubicBezTo>
                  <a:pt x="1850" y="200"/>
                  <a:pt x="1850" y="150"/>
                  <a:pt x="1900" y="125"/>
                </a:cubicBezTo>
                <a:cubicBezTo>
                  <a:pt x="1925" y="100"/>
                  <a:pt x="1925" y="50"/>
                  <a:pt x="1950" y="50"/>
                </a:cubicBezTo>
                <a:cubicBezTo>
                  <a:pt x="1975" y="50"/>
                  <a:pt x="1975" y="25"/>
                  <a:pt x="1950" y="25"/>
                </a:cubicBezTo>
                <a:cubicBezTo>
                  <a:pt x="1900" y="0"/>
                  <a:pt x="1900" y="50"/>
                  <a:pt x="1875" y="50"/>
                </a:cubicBezTo>
                <a:cubicBezTo>
                  <a:pt x="1875" y="76"/>
                  <a:pt x="1824" y="50"/>
                  <a:pt x="1824" y="50"/>
                </a:cubicBezTo>
                <a:cubicBezTo>
                  <a:pt x="1824" y="76"/>
                  <a:pt x="1800" y="76"/>
                  <a:pt x="1800" y="100"/>
                </a:cubicBezTo>
                <a:cubicBezTo>
                  <a:pt x="1824" y="100"/>
                  <a:pt x="1800" y="125"/>
                  <a:pt x="1775" y="100"/>
                </a:cubicBezTo>
                <a:cubicBezTo>
                  <a:pt x="1775" y="76"/>
                  <a:pt x="1724" y="100"/>
                  <a:pt x="1724" y="125"/>
                </a:cubicBezTo>
                <a:cubicBezTo>
                  <a:pt x="1700" y="150"/>
                  <a:pt x="1675" y="150"/>
                  <a:pt x="1700" y="150"/>
                </a:cubicBezTo>
                <a:cubicBezTo>
                  <a:pt x="1700" y="176"/>
                  <a:pt x="1700" y="200"/>
                  <a:pt x="1675" y="225"/>
                </a:cubicBezTo>
                <a:cubicBezTo>
                  <a:pt x="1650" y="225"/>
                  <a:pt x="1675" y="150"/>
                  <a:pt x="1650" y="150"/>
                </a:cubicBezTo>
                <a:cubicBezTo>
                  <a:pt x="1624" y="150"/>
                  <a:pt x="1650" y="125"/>
                  <a:pt x="1675" y="125"/>
                </a:cubicBezTo>
                <a:cubicBezTo>
                  <a:pt x="1700" y="125"/>
                  <a:pt x="1724" y="76"/>
                  <a:pt x="1724" y="76"/>
                </a:cubicBezTo>
                <a:cubicBezTo>
                  <a:pt x="1724" y="50"/>
                  <a:pt x="1675" y="50"/>
                  <a:pt x="1675" y="76"/>
                </a:cubicBezTo>
                <a:cubicBezTo>
                  <a:pt x="1675" y="100"/>
                  <a:pt x="1650" y="100"/>
                  <a:pt x="1600" y="100"/>
                </a:cubicBezTo>
                <a:cubicBezTo>
                  <a:pt x="1575" y="100"/>
                  <a:pt x="1575" y="125"/>
                  <a:pt x="1624" y="150"/>
                </a:cubicBezTo>
                <a:cubicBezTo>
                  <a:pt x="1650" y="176"/>
                  <a:pt x="1600" y="200"/>
                  <a:pt x="1600" y="176"/>
                </a:cubicBezTo>
                <a:cubicBezTo>
                  <a:pt x="1575" y="150"/>
                  <a:pt x="1550" y="176"/>
                  <a:pt x="1524" y="176"/>
                </a:cubicBezTo>
                <a:cubicBezTo>
                  <a:pt x="1500" y="176"/>
                  <a:pt x="1575" y="200"/>
                  <a:pt x="1575" y="225"/>
                </a:cubicBezTo>
                <a:cubicBezTo>
                  <a:pt x="1575" y="225"/>
                  <a:pt x="1524" y="200"/>
                  <a:pt x="1524" y="225"/>
                </a:cubicBezTo>
                <a:cubicBezTo>
                  <a:pt x="1524" y="225"/>
                  <a:pt x="1475" y="200"/>
                  <a:pt x="1475" y="176"/>
                </a:cubicBezTo>
                <a:cubicBezTo>
                  <a:pt x="1475" y="176"/>
                  <a:pt x="1400" y="200"/>
                  <a:pt x="1450" y="200"/>
                </a:cubicBezTo>
                <a:cubicBezTo>
                  <a:pt x="1475" y="225"/>
                  <a:pt x="1475" y="225"/>
                  <a:pt x="1475" y="276"/>
                </a:cubicBezTo>
                <a:cubicBezTo>
                  <a:pt x="1475" y="300"/>
                  <a:pt x="1424" y="276"/>
                  <a:pt x="1424" y="250"/>
                </a:cubicBezTo>
                <a:cubicBezTo>
                  <a:pt x="1450" y="225"/>
                  <a:pt x="1400" y="225"/>
                  <a:pt x="1375" y="250"/>
                </a:cubicBezTo>
                <a:cubicBezTo>
                  <a:pt x="1350" y="250"/>
                  <a:pt x="1400" y="200"/>
                  <a:pt x="1375" y="200"/>
                </a:cubicBezTo>
                <a:cubicBezTo>
                  <a:pt x="1375" y="176"/>
                  <a:pt x="1350" y="200"/>
                  <a:pt x="1300" y="200"/>
                </a:cubicBezTo>
                <a:cubicBezTo>
                  <a:pt x="1275" y="200"/>
                  <a:pt x="1275" y="200"/>
                  <a:pt x="1275" y="225"/>
                </a:cubicBezTo>
                <a:cubicBezTo>
                  <a:pt x="1300" y="250"/>
                  <a:pt x="1300" y="276"/>
                  <a:pt x="1275" y="276"/>
                </a:cubicBezTo>
                <a:cubicBezTo>
                  <a:pt x="1250" y="250"/>
                  <a:pt x="1250" y="276"/>
                  <a:pt x="1250" y="276"/>
                </a:cubicBezTo>
                <a:cubicBezTo>
                  <a:pt x="1250" y="300"/>
                  <a:pt x="1224" y="300"/>
                  <a:pt x="1224" y="300"/>
                </a:cubicBezTo>
                <a:cubicBezTo>
                  <a:pt x="1200" y="276"/>
                  <a:pt x="1175" y="276"/>
                  <a:pt x="1150" y="300"/>
                </a:cubicBezTo>
                <a:cubicBezTo>
                  <a:pt x="1124" y="325"/>
                  <a:pt x="1100" y="325"/>
                  <a:pt x="1100" y="350"/>
                </a:cubicBezTo>
                <a:cubicBezTo>
                  <a:pt x="1100" y="375"/>
                  <a:pt x="1124" y="350"/>
                  <a:pt x="1150" y="350"/>
                </a:cubicBezTo>
                <a:cubicBezTo>
                  <a:pt x="1175" y="375"/>
                  <a:pt x="1150" y="375"/>
                  <a:pt x="1175" y="400"/>
                </a:cubicBezTo>
                <a:lnTo>
                  <a:pt x="1175" y="425"/>
                </a:lnTo>
                <a:cubicBezTo>
                  <a:pt x="1150" y="400"/>
                  <a:pt x="1124" y="400"/>
                  <a:pt x="1124" y="425"/>
                </a:cubicBezTo>
                <a:cubicBezTo>
                  <a:pt x="1100" y="450"/>
                  <a:pt x="1100" y="425"/>
                  <a:pt x="1075" y="400"/>
                </a:cubicBezTo>
                <a:cubicBezTo>
                  <a:pt x="1050" y="375"/>
                  <a:pt x="1050" y="425"/>
                  <a:pt x="1024" y="425"/>
                </a:cubicBezTo>
                <a:cubicBezTo>
                  <a:pt x="999" y="400"/>
                  <a:pt x="1050" y="375"/>
                  <a:pt x="1050" y="350"/>
                </a:cubicBezTo>
                <a:cubicBezTo>
                  <a:pt x="1024" y="325"/>
                  <a:pt x="1024" y="350"/>
                  <a:pt x="999" y="400"/>
                </a:cubicBezTo>
                <a:cubicBezTo>
                  <a:pt x="950" y="425"/>
                  <a:pt x="924" y="425"/>
                  <a:pt x="924" y="425"/>
                </a:cubicBezTo>
                <a:cubicBezTo>
                  <a:pt x="950" y="450"/>
                  <a:pt x="899" y="450"/>
                  <a:pt x="899" y="475"/>
                </a:cubicBezTo>
                <a:cubicBezTo>
                  <a:pt x="875" y="501"/>
                  <a:pt x="824" y="525"/>
                  <a:pt x="775" y="550"/>
                </a:cubicBezTo>
                <a:cubicBezTo>
                  <a:pt x="724" y="576"/>
                  <a:pt x="775" y="576"/>
                  <a:pt x="799" y="550"/>
                </a:cubicBezTo>
                <a:cubicBezTo>
                  <a:pt x="824" y="525"/>
                  <a:pt x="849" y="550"/>
                  <a:pt x="875" y="525"/>
                </a:cubicBezTo>
                <a:cubicBezTo>
                  <a:pt x="924" y="501"/>
                  <a:pt x="950" y="475"/>
                  <a:pt x="975" y="475"/>
                </a:cubicBezTo>
                <a:cubicBezTo>
                  <a:pt x="975" y="501"/>
                  <a:pt x="999" y="501"/>
                  <a:pt x="1024" y="475"/>
                </a:cubicBezTo>
                <a:cubicBezTo>
                  <a:pt x="1050" y="450"/>
                  <a:pt x="1075" y="450"/>
                  <a:pt x="1075" y="475"/>
                </a:cubicBezTo>
                <a:cubicBezTo>
                  <a:pt x="1100" y="475"/>
                  <a:pt x="1050" y="501"/>
                  <a:pt x="1075" y="525"/>
                </a:cubicBezTo>
                <a:cubicBezTo>
                  <a:pt x="1100" y="550"/>
                  <a:pt x="1050" y="550"/>
                  <a:pt x="1050" y="525"/>
                </a:cubicBezTo>
                <a:cubicBezTo>
                  <a:pt x="1050" y="525"/>
                  <a:pt x="1024" y="501"/>
                  <a:pt x="999" y="525"/>
                </a:cubicBezTo>
                <a:lnTo>
                  <a:pt x="975" y="550"/>
                </a:lnTo>
                <a:cubicBezTo>
                  <a:pt x="950" y="550"/>
                  <a:pt x="924" y="601"/>
                  <a:pt x="924" y="625"/>
                </a:cubicBezTo>
                <a:cubicBezTo>
                  <a:pt x="924" y="650"/>
                  <a:pt x="899" y="625"/>
                  <a:pt x="899" y="650"/>
                </a:cubicBezTo>
                <a:cubicBezTo>
                  <a:pt x="899" y="676"/>
                  <a:pt x="849" y="725"/>
                  <a:pt x="799" y="776"/>
                </a:cubicBezTo>
                <a:cubicBezTo>
                  <a:pt x="775" y="801"/>
                  <a:pt x="799" y="825"/>
                  <a:pt x="799" y="850"/>
                </a:cubicBezTo>
                <a:cubicBezTo>
                  <a:pt x="775" y="876"/>
                  <a:pt x="724" y="850"/>
                  <a:pt x="724" y="850"/>
                </a:cubicBezTo>
                <a:cubicBezTo>
                  <a:pt x="699" y="876"/>
                  <a:pt x="724" y="925"/>
                  <a:pt x="699" y="950"/>
                </a:cubicBezTo>
                <a:cubicBezTo>
                  <a:pt x="675" y="950"/>
                  <a:pt x="699" y="976"/>
                  <a:pt x="699" y="1001"/>
                </a:cubicBezTo>
                <a:cubicBezTo>
                  <a:pt x="699" y="1025"/>
                  <a:pt x="650" y="1001"/>
                  <a:pt x="650" y="1001"/>
                </a:cubicBezTo>
                <a:cubicBezTo>
                  <a:pt x="650" y="1025"/>
                  <a:pt x="599" y="1025"/>
                  <a:pt x="576" y="1025"/>
                </a:cubicBezTo>
                <a:cubicBezTo>
                  <a:pt x="576" y="1050"/>
                  <a:pt x="599" y="1076"/>
                  <a:pt x="624" y="1101"/>
                </a:cubicBezTo>
                <a:cubicBezTo>
                  <a:pt x="650" y="1101"/>
                  <a:pt x="599" y="1125"/>
                  <a:pt x="599" y="1101"/>
                </a:cubicBezTo>
                <a:cubicBezTo>
                  <a:pt x="599" y="1076"/>
                  <a:pt x="576" y="1125"/>
                  <a:pt x="525" y="1125"/>
                </a:cubicBezTo>
                <a:cubicBezTo>
                  <a:pt x="476" y="1150"/>
                  <a:pt x="500" y="1201"/>
                  <a:pt x="476" y="1201"/>
                </a:cubicBezTo>
                <a:cubicBezTo>
                  <a:pt x="425" y="1201"/>
                  <a:pt x="451" y="1250"/>
                  <a:pt x="425" y="1276"/>
                </a:cubicBezTo>
                <a:cubicBezTo>
                  <a:pt x="400" y="1276"/>
                  <a:pt x="400" y="1225"/>
                  <a:pt x="376" y="1225"/>
                </a:cubicBezTo>
                <a:cubicBezTo>
                  <a:pt x="325" y="1225"/>
                  <a:pt x="325" y="1250"/>
                  <a:pt x="351" y="1276"/>
                </a:cubicBezTo>
                <a:cubicBezTo>
                  <a:pt x="376" y="1301"/>
                  <a:pt x="325" y="1276"/>
                  <a:pt x="300" y="1301"/>
                </a:cubicBezTo>
                <a:cubicBezTo>
                  <a:pt x="276" y="1325"/>
                  <a:pt x="225" y="1325"/>
                  <a:pt x="225" y="1350"/>
                </a:cubicBezTo>
                <a:cubicBezTo>
                  <a:pt x="200" y="1376"/>
                  <a:pt x="251" y="1376"/>
                  <a:pt x="276" y="1376"/>
                </a:cubicBezTo>
                <a:cubicBezTo>
                  <a:pt x="276" y="1401"/>
                  <a:pt x="225" y="1401"/>
                  <a:pt x="176" y="1376"/>
                </a:cubicBezTo>
                <a:cubicBezTo>
                  <a:pt x="151" y="1376"/>
                  <a:pt x="151" y="1425"/>
                  <a:pt x="125" y="1425"/>
                </a:cubicBezTo>
                <a:cubicBezTo>
                  <a:pt x="100" y="1401"/>
                  <a:pt x="75" y="1450"/>
                  <a:pt x="100" y="1450"/>
                </a:cubicBezTo>
                <a:cubicBezTo>
                  <a:pt x="100" y="1476"/>
                  <a:pt x="75" y="1476"/>
                  <a:pt x="51" y="1476"/>
                </a:cubicBezTo>
                <a:cubicBezTo>
                  <a:pt x="25" y="1450"/>
                  <a:pt x="25" y="1501"/>
                  <a:pt x="0" y="1501"/>
                </a:cubicBezTo>
                <a:cubicBezTo>
                  <a:pt x="0" y="1525"/>
                  <a:pt x="51" y="1550"/>
                  <a:pt x="51" y="1550"/>
                </a:cubicBezTo>
                <a:cubicBezTo>
                  <a:pt x="51" y="1576"/>
                  <a:pt x="0" y="1601"/>
                  <a:pt x="25" y="1601"/>
                </a:cubicBezTo>
                <a:cubicBezTo>
                  <a:pt x="51" y="1601"/>
                  <a:pt x="51" y="1625"/>
                  <a:pt x="25" y="1625"/>
                </a:cubicBezTo>
                <a:cubicBezTo>
                  <a:pt x="0" y="1625"/>
                  <a:pt x="0" y="1650"/>
                  <a:pt x="25" y="1676"/>
                </a:cubicBezTo>
                <a:cubicBezTo>
                  <a:pt x="51" y="1701"/>
                  <a:pt x="0" y="1701"/>
                  <a:pt x="25" y="1726"/>
                </a:cubicBezTo>
                <a:cubicBezTo>
                  <a:pt x="51" y="1750"/>
                  <a:pt x="51" y="1726"/>
                  <a:pt x="75" y="1750"/>
                </a:cubicBezTo>
                <a:cubicBezTo>
                  <a:pt x="75" y="1775"/>
                  <a:pt x="100" y="1750"/>
                  <a:pt x="125" y="1726"/>
                </a:cubicBezTo>
                <a:cubicBezTo>
                  <a:pt x="176" y="1701"/>
                  <a:pt x="176" y="1750"/>
                  <a:pt x="151" y="1750"/>
                </a:cubicBezTo>
                <a:cubicBezTo>
                  <a:pt x="125" y="1750"/>
                  <a:pt x="100" y="1775"/>
                  <a:pt x="100" y="1801"/>
                </a:cubicBezTo>
                <a:cubicBezTo>
                  <a:pt x="100" y="1826"/>
                  <a:pt x="75" y="1801"/>
                  <a:pt x="75" y="1775"/>
                </a:cubicBezTo>
                <a:cubicBezTo>
                  <a:pt x="75" y="1750"/>
                  <a:pt x="25" y="1775"/>
                  <a:pt x="25" y="1801"/>
                </a:cubicBezTo>
                <a:cubicBezTo>
                  <a:pt x="51" y="1826"/>
                  <a:pt x="25" y="1850"/>
                  <a:pt x="25" y="1850"/>
                </a:cubicBezTo>
                <a:cubicBezTo>
                  <a:pt x="25" y="1876"/>
                  <a:pt x="75" y="1876"/>
                  <a:pt x="75" y="1850"/>
                </a:cubicBezTo>
                <a:cubicBezTo>
                  <a:pt x="100" y="1826"/>
                  <a:pt x="125" y="1826"/>
                  <a:pt x="125" y="1850"/>
                </a:cubicBezTo>
                <a:cubicBezTo>
                  <a:pt x="151" y="1876"/>
                  <a:pt x="100" y="1876"/>
                  <a:pt x="100" y="1901"/>
                </a:cubicBezTo>
                <a:cubicBezTo>
                  <a:pt x="100" y="1926"/>
                  <a:pt x="75" y="1901"/>
                  <a:pt x="75" y="1926"/>
                </a:cubicBezTo>
                <a:cubicBezTo>
                  <a:pt x="51" y="1950"/>
                  <a:pt x="151" y="2001"/>
                  <a:pt x="176" y="2001"/>
                </a:cubicBezTo>
                <a:cubicBezTo>
                  <a:pt x="200" y="2001"/>
                  <a:pt x="225" y="2050"/>
                  <a:pt x="276" y="2026"/>
                </a:cubicBezTo>
                <a:cubicBezTo>
                  <a:pt x="325" y="2026"/>
                  <a:pt x="425" y="1926"/>
                  <a:pt x="451" y="1901"/>
                </a:cubicBezTo>
                <a:cubicBezTo>
                  <a:pt x="476" y="1876"/>
                  <a:pt x="500" y="1901"/>
                  <a:pt x="525" y="1901"/>
                </a:cubicBezTo>
                <a:cubicBezTo>
                  <a:pt x="525" y="1876"/>
                  <a:pt x="525" y="1826"/>
                  <a:pt x="551" y="1826"/>
                </a:cubicBezTo>
                <a:lnTo>
                  <a:pt x="576" y="1876"/>
                </a:lnTo>
                <a:cubicBezTo>
                  <a:pt x="599" y="1876"/>
                  <a:pt x="599" y="1901"/>
                  <a:pt x="599" y="1926"/>
                </a:cubicBezTo>
                <a:lnTo>
                  <a:pt x="624" y="1926"/>
                </a:lnTo>
                <a:cubicBezTo>
                  <a:pt x="650" y="1926"/>
                  <a:pt x="650" y="1876"/>
                  <a:pt x="650" y="1850"/>
                </a:cubicBezTo>
                <a:cubicBezTo>
                  <a:pt x="650" y="1850"/>
                  <a:pt x="675" y="1801"/>
                  <a:pt x="675" y="1775"/>
                </a:cubicBezTo>
                <a:cubicBezTo>
                  <a:pt x="650" y="1750"/>
                  <a:pt x="724" y="1775"/>
                  <a:pt x="724" y="1750"/>
                </a:cubicBezTo>
                <a:cubicBezTo>
                  <a:pt x="724" y="1750"/>
                  <a:pt x="750" y="1676"/>
                  <a:pt x="724" y="1676"/>
                </a:cubicBezTo>
                <a:cubicBezTo>
                  <a:pt x="699" y="1650"/>
                  <a:pt x="699" y="1625"/>
                  <a:pt x="724" y="1625"/>
                </a:cubicBezTo>
                <a:cubicBezTo>
                  <a:pt x="724" y="1625"/>
                  <a:pt x="750" y="1625"/>
                  <a:pt x="750" y="1576"/>
                </a:cubicBezTo>
                <a:cubicBezTo>
                  <a:pt x="750" y="1550"/>
                  <a:pt x="699" y="1550"/>
                  <a:pt x="699" y="1501"/>
                </a:cubicBezTo>
                <a:cubicBezTo>
                  <a:pt x="675" y="1476"/>
                  <a:pt x="724" y="1476"/>
                  <a:pt x="699" y="1425"/>
                </a:cubicBezTo>
                <a:cubicBezTo>
                  <a:pt x="675" y="1376"/>
                  <a:pt x="699" y="1350"/>
                  <a:pt x="699" y="1325"/>
                </a:cubicBezTo>
                <a:cubicBezTo>
                  <a:pt x="675" y="1301"/>
                  <a:pt x="675" y="1276"/>
                  <a:pt x="699" y="1225"/>
                </a:cubicBezTo>
                <a:cubicBezTo>
                  <a:pt x="724" y="1201"/>
                  <a:pt x="775" y="1176"/>
                  <a:pt x="799" y="1176"/>
                </a:cubicBezTo>
                <a:cubicBezTo>
                  <a:pt x="824" y="1176"/>
                  <a:pt x="849" y="1201"/>
                  <a:pt x="849" y="1176"/>
                </a:cubicBezTo>
                <a:cubicBezTo>
                  <a:pt x="875" y="1150"/>
                  <a:pt x="875" y="1125"/>
                  <a:pt x="849" y="1125"/>
                </a:cubicBezTo>
                <a:cubicBezTo>
                  <a:pt x="849" y="1101"/>
                  <a:pt x="799" y="1101"/>
                  <a:pt x="849" y="1076"/>
                </a:cubicBezTo>
                <a:cubicBezTo>
                  <a:pt x="875" y="1025"/>
                  <a:pt x="899" y="976"/>
                  <a:pt x="899" y="950"/>
                </a:cubicBezTo>
                <a:cubicBezTo>
                  <a:pt x="899" y="901"/>
                  <a:pt x="899" y="876"/>
                  <a:pt x="899" y="850"/>
                </a:cubicBezTo>
                <a:cubicBezTo>
                  <a:pt x="924" y="850"/>
                  <a:pt x="950" y="850"/>
                  <a:pt x="975" y="850"/>
                </a:cubicBezTo>
                <a:cubicBezTo>
                  <a:pt x="999" y="825"/>
                  <a:pt x="975" y="801"/>
                  <a:pt x="999" y="776"/>
                </a:cubicBezTo>
                <a:cubicBezTo>
                  <a:pt x="999" y="776"/>
                  <a:pt x="1024" y="725"/>
                  <a:pt x="1050" y="725"/>
                </a:cubicBezTo>
                <a:cubicBezTo>
                  <a:pt x="1050" y="701"/>
                  <a:pt x="1075" y="676"/>
                  <a:pt x="1075" y="676"/>
                </a:cubicBezTo>
                <a:cubicBezTo>
                  <a:pt x="1050" y="650"/>
                  <a:pt x="1100" y="625"/>
                  <a:pt x="1100" y="601"/>
                </a:cubicBezTo>
                <a:cubicBezTo>
                  <a:pt x="1100" y="576"/>
                  <a:pt x="1124" y="550"/>
                  <a:pt x="1175" y="550"/>
                </a:cubicBezTo>
                <a:cubicBezTo>
                  <a:pt x="1200" y="550"/>
                  <a:pt x="1224" y="550"/>
                  <a:pt x="1224" y="525"/>
                </a:cubicBezTo>
                <a:cubicBezTo>
                  <a:pt x="1224" y="501"/>
                  <a:pt x="1224" y="425"/>
                  <a:pt x="1250" y="450"/>
                </a:cubicBezTo>
                <a:cubicBezTo>
                  <a:pt x="1300" y="475"/>
                  <a:pt x="1324" y="450"/>
                  <a:pt x="1350" y="475"/>
                </a:cubicBezTo>
                <a:cubicBezTo>
                  <a:pt x="1375" y="501"/>
                  <a:pt x="1424" y="501"/>
                  <a:pt x="1424" y="450"/>
                </a:cubicBezTo>
                <a:cubicBezTo>
                  <a:pt x="1424" y="425"/>
                  <a:pt x="1424" y="350"/>
                  <a:pt x="1475" y="375"/>
                </a:cubicBezTo>
                <a:lnTo>
                  <a:pt x="1475" y="375"/>
                </a:lnTo>
                <a:cubicBezTo>
                  <a:pt x="1500" y="350"/>
                  <a:pt x="1524" y="350"/>
                  <a:pt x="1550" y="350"/>
                </a:cubicBezTo>
                <a:cubicBezTo>
                  <a:pt x="1575" y="350"/>
                  <a:pt x="1600" y="400"/>
                  <a:pt x="1650" y="425"/>
                </a:cubicBezTo>
                <a:cubicBezTo>
                  <a:pt x="1700" y="425"/>
                  <a:pt x="1724" y="450"/>
                  <a:pt x="1750" y="425"/>
                </a:cubicBezTo>
                <a:cubicBezTo>
                  <a:pt x="1750" y="400"/>
                  <a:pt x="1800" y="425"/>
                  <a:pt x="1824" y="425"/>
                </a:cubicBezTo>
                <a:cubicBezTo>
                  <a:pt x="1850" y="425"/>
                  <a:pt x="1850" y="475"/>
                  <a:pt x="1875" y="450"/>
                </a:cubicBezTo>
                <a:cubicBezTo>
                  <a:pt x="1900" y="400"/>
                  <a:pt x="1875" y="375"/>
                  <a:pt x="1925" y="375"/>
                </a:cubicBezTo>
                <a:cubicBezTo>
                  <a:pt x="1950" y="400"/>
                  <a:pt x="1925" y="325"/>
                  <a:pt x="1925" y="300"/>
                </a:cubicBezTo>
                <a:cubicBezTo>
                  <a:pt x="1925" y="276"/>
                  <a:pt x="2000" y="276"/>
                  <a:pt x="2000" y="250"/>
                </a:cubicBezTo>
                <a:cubicBezTo>
                  <a:pt x="2000" y="225"/>
                  <a:pt x="2075" y="250"/>
                  <a:pt x="2075" y="225"/>
                </a:cubicBezTo>
                <a:cubicBezTo>
                  <a:pt x="2100" y="200"/>
                  <a:pt x="2149" y="200"/>
                  <a:pt x="2149" y="225"/>
                </a:cubicBezTo>
                <a:cubicBezTo>
                  <a:pt x="2175" y="250"/>
                  <a:pt x="2250" y="250"/>
                  <a:pt x="2250" y="276"/>
                </a:cubicBezTo>
                <a:cubicBezTo>
                  <a:pt x="2250" y="300"/>
                  <a:pt x="2250" y="325"/>
                  <a:pt x="2250" y="350"/>
                </a:cubicBezTo>
                <a:cubicBezTo>
                  <a:pt x="2275" y="325"/>
                  <a:pt x="2275" y="325"/>
                  <a:pt x="2300" y="325"/>
                </a:cubicBezTo>
                <a:cubicBezTo>
                  <a:pt x="2325" y="325"/>
                  <a:pt x="2349" y="276"/>
                  <a:pt x="2375" y="276"/>
                </a:cubicBezTo>
                <a:cubicBezTo>
                  <a:pt x="2400" y="276"/>
                  <a:pt x="2425" y="276"/>
                  <a:pt x="2425" y="250"/>
                </a:cubicBezTo>
                <a:cubicBezTo>
                  <a:pt x="2400" y="225"/>
                  <a:pt x="2349" y="225"/>
                  <a:pt x="2349" y="2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4" name="Freeform 209">
            <a:extLst>
              <a:ext uri="{FF2B5EF4-FFF2-40B4-BE49-F238E27FC236}">
                <a16:creationId xmlns:a16="http://schemas.microsoft.com/office/drawing/2014/main" id="{9F8BC4A0-52B4-A04D-BA68-30D80E229DD2}"/>
              </a:ext>
            </a:extLst>
          </p:cNvPr>
          <p:cNvSpPr>
            <a:spLocks noChangeArrowheads="1"/>
          </p:cNvSpPr>
          <p:nvPr/>
        </p:nvSpPr>
        <p:spPr bwMode="auto">
          <a:xfrm>
            <a:off x="6347717" y="2963202"/>
            <a:ext cx="95624" cy="47812"/>
          </a:xfrm>
          <a:custGeom>
            <a:avLst/>
            <a:gdLst>
              <a:gd name="T0" fmla="*/ 250 w 301"/>
              <a:gd name="T1" fmla="*/ 25 h 150"/>
              <a:gd name="T2" fmla="*/ 250 w 301"/>
              <a:gd name="T3" fmla="*/ 25 h 150"/>
              <a:gd name="T4" fmla="*/ 200 w 301"/>
              <a:gd name="T5" fmla="*/ 25 h 150"/>
              <a:gd name="T6" fmla="*/ 125 w 301"/>
              <a:gd name="T7" fmla="*/ 0 h 150"/>
              <a:gd name="T8" fmla="*/ 150 w 301"/>
              <a:gd name="T9" fmla="*/ 25 h 150"/>
              <a:gd name="T10" fmla="*/ 125 w 301"/>
              <a:gd name="T11" fmla="*/ 75 h 150"/>
              <a:gd name="T12" fmla="*/ 74 w 301"/>
              <a:gd name="T13" fmla="*/ 75 h 150"/>
              <a:gd name="T14" fmla="*/ 0 w 301"/>
              <a:gd name="T15" fmla="*/ 75 h 150"/>
              <a:gd name="T16" fmla="*/ 0 w 301"/>
              <a:gd name="T17" fmla="*/ 100 h 150"/>
              <a:gd name="T18" fmla="*/ 50 w 301"/>
              <a:gd name="T19" fmla="*/ 125 h 150"/>
              <a:gd name="T20" fmla="*/ 300 w 301"/>
              <a:gd name="T21" fmla="*/ 125 h 150"/>
              <a:gd name="T22" fmla="*/ 300 w 301"/>
              <a:gd name="T23" fmla="*/ 75 h 150"/>
              <a:gd name="T24" fmla="*/ 250 w 301"/>
              <a:gd name="T25" fmla="*/ 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50">
                <a:moveTo>
                  <a:pt x="250" y="25"/>
                </a:moveTo>
                <a:lnTo>
                  <a:pt x="250" y="25"/>
                </a:lnTo>
                <a:cubicBezTo>
                  <a:pt x="225" y="49"/>
                  <a:pt x="200" y="25"/>
                  <a:pt x="200" y="25"/>
                </a:cubicBezTo>
                <a:cubicBezTo>
                  <a:pt x="174" y="0"/>
                  <a:pt x="150" y="0"/>
                  <a:pt x="125" y="0"/>
                </a:cubicBezTo>
                <a:cubicBezTo>
                  <a:pt x="125" y="25"/>
                  <a:pt x="150" y="25"/>
                  <a:pt x="150" y="25"/>
                </a:cubicBezTo>
                <a:cubicBezTo>
                  <a:pt x="150" y="49"/>
                  <a:pt x="100" y="49"/>
                  <a:pt x="125" y="75"/>
                </a:cubicBezTo>
                <a:cubicBezTo>
                  <a:pt x="125" y="100"/>
                  <a:pt x="74" y="100"/>
                  <a:pt x="74" y="75"/>
                </a:cubicBezTo>
                <a:cubicBezTo>
                  <a:pt x="74" y="49"/>
                  <a:pt x="0" y="49"/>
                  <a:pt x="0" y="75"/>
                </a:cubicBezTo>
                <a:lnTo>
                  <a:pt x="0" y="100"/>
                </a:lnTo>
                <a:cubicBezTo>
                  <a:pt x="25" y="100"/>
                  <a:pt x="50" y="125"/>
                  <a:pt x="50" y="125"/>
                </a:cubicBezTo>
                <a:cubicBezTo>
                  <a:pt x="50" y="125"/>
                  <a:pt x="225" y="149"/>
                  <a:pt x="300" y="125"/>
                </a:cubicBezTo>
                <a:lnTo>
                  <a:pt x="300" y="75"/>
                </a:lnTo>
                <a:cubicBezTo>
                  <a:pt x="300" y="49"/>
                  <a:pt x="250" y="25"/>
                  <a:pt x="2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5" name="Freeform 210">
            <a:extLst>
              <a:ext uri="{FF2B5EF4-FFF2-40B4-BE49-F238E27FC236}">
                <a16:creationId xmlns:a16="http://schemas.microsoft.com/office/drawing/2014/main" id="{53407540-75E5-064A-BC83-D6F772A9DF41}"/>
              </a:ext>
            </a:extLst>
          </p:cNvPr>
          <p:cNvSpPr>
            <a:spLocks noChangeArrowheads="1"/>
          </p:cNvSpPr>
          <p:nvPr/>
        </p:nvSpPr>
        <p:spPr bwMode="auto">
          <a:xfrm>
            <a:off x="6347717" y="2963202"/>
            <a:ext cx="95624" cy="47812"/>
          </a:xfrm>
          <a:custGeom>
            <a:avLst/>
            <a:gdLst>
              <a:gd name="T0" fmla="*/ 250 w 301"/>
              <a:gd name="T1" fmla="*/ 25 h 150"/>
              <a:gd name="T2" fmla="*/ 250 w 301"/>
              <a:gd name="T3" fmla="*/ 25 h 150"/>
              <a:gd name="T4" fmla="*/ 200 w 301"/>
              <a:gd name="T5" fmla="*/ 25 h 150"/>
              <a:gd name="T6" fmla="*/ 125 w 301"/>
              <a:gd name="T7" fmla="*/ 0 h 150"/>
              <a:gd name="T8" fmla="*/ 150 w 301"/>
              <a:gd name="T9" fmla="*/ 25 h 150"/>
              <a:gd name="T10" fmla="*/ 125 w 301"/>
              <a:gd name="T11" fmla="*/ 75 h 150"/>
              <a:gd name="T12" fmla="*/ 74 w 301"/>
              <a:gd name="T13" fmla="*/ 75 h 150"/>
              <a:gd name="T14" fmla="*/ 0 w 301"/>
              <a:gd name="T15" fmla="*/ 75 h 150"/>
              <a:gd name="T16" fmla="*/ 0 w 301"/>
              <a:gd name="T17" fmla="*/ 100 h 150"/>
              <a:gd name="T18" fmla="*/ 50 w 301"/>
              <a:gd name="T19" fmla="*/ 125 h 150"/>
              <a:gd name="T20" fmla="*/ 300 w 301"/>
              <a:gd name="T21" fmla="*/ 125 h 150"/>
              <a:gd name="T22" fmla="*/ 300 w 301"/>
              <a:gd name="T23" fmla="*/ 75 h 150"/>
              <a:gd name="T24" fmla="*/ 250 w 301"/>
              <a:gd name="T25" fmla="*/ 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50">
                <a:moveTo>
                  <a:pt x="250" y="25"/>
                </a:moveTo>
                <a:lnTo>
                  <a:pt x="250" y="25"/>
                </a:lnTo>
                <a:cubicBezTo>
                  <a:pt x="225" y="49"/>
                  <a:pt x="200" y="25"/>
                  <a:pt x="200" y="25"/>
                </a:cubicBezTo>
                <a:cubicBezTo>
                  <a:pt x="174" y="0"/>
                  <a:pt x="150" y="0"/>
                  <a:pt x="125" y="0"/>
                </a:cubicBezTo>
                <a:cubicBezTo>
                  <a:pt x="125" y="25"/>
                  <a:pt x="150" y="25"/>
                  <a:pt x="150" y="25"/>
                </a:cubicBezTo>
                <a:cubicBezTo>
                  <a:pt x="150" y="49"/>
                  <a:pt x="100" y="49"/>
                  <a:pt x="125" y="75"/>
                </a:cubicBezTo>
                <a:cubicBezTo>
                  <a:pt x="125" y="100"/>
                  <a:pt x="74" y="100"/>
                  <a:pt x="74" y="75"/>
                </a:cubicBezTo>
                <a:cubicBezTo>
                  <a:pt x="74" y="49"/>
                  <a:pt x="0" y="49"/>
                  <a:pt x="0" y="75"/>
                </a:cubicBezTo>
                <a:lnTo>
                  <a:pt x="0" y="100"/>
                </a:lnTo>
                <a:cubicBezTo>
                  <a:pt x="25" y="100"/>
                  <a:pt x="50" y="125"/>
                  <a:pt x="50" y="125"/>
                </a:cubicBezTo>
                <a:cubicBezTo>
                  <a:pt x="50" y="125"/>
                  <a:pt x="225" y="149"/>
                  <a:pt x="300" y="125"/>
                </a:cubicBezTo>
                <a:lnTo>
                  <a:pt x="300" y="75"/>
                </a:lnTo>
                <a:cubicBezTo>
                  <a:pt x="300" y="49"/>
                  <a:pt x="250" y="25"/>
                  <a:pt x="2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6" name="Freeform 211">
            <a:extLst>
              <a:ext uri="{FF2B5EF4-FFF2-40B4-BE49-F238E27FC236}">
                <a16:creationId xmlns:a16="http://schemas.microsoft.com/office/drawing/2014/main" id="{B2F69197-20E2-B549-ABDD-7755B120FC65}"/>
              </a:ext>
            </a:extLst>
          </p:cNvPr>
          <p:cNvSpPr>
            <a:spLocks noChangeArrowheads="1"/>
          </p:cNvSpPr>
          <p:nvPr/>
        </p:nvSpPr>
        <p:spPr bwMode="auto">
          <a:xfrm>
            <a:off x="6315377" y="3432886"/>
            <a:ext cx="32343" cy="47812"/>
          </a:xfrm>
          <a:custGeom>
            <a:avLst/>
            <a:gdLst>
              <a:gd name="T0" fmla="*/ 25 w 101"/>
              <a:gd name="T1" fmla="*/ 0 h 151"/>
              <a:gd name="T2" fmla="*/ 25 w 101"/>
              <a:gd name="T3" fmla="*/ 0 h 151"/>
              <a:gd name="T4" fmla="*/ 0 w 101"/>
              <a:gd name="T5" fmla="*/ 75 h 151"/>
              <a:gd name="T6" fmla="*/ 0 w 101"/>
              <a:gd name="T7" fmla="*/ 100 h 151"/>
              <a:gd name="T8" fmla="*/ 50 w 101"/>
              <a:gd name="T9" fmla="*/ 150 h 151"/>
              <a:gd name="T10" fmla="*/ 74 w 101"/>
              <a:gd name="T11" fmla="*/ 150 h 151"/>
              <a:gd name="T12" fmla="*/ 100 w 101"/>
              <a:gd name="T13" fmla="*/ 100 h 151"/>
              <a:gd name="T14" fmla="*/ 25 w 101"/>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51">
                <a:moveTo>
                  <a:pt x="25" y="0"/>
                </a:moveTo>
                <a:lnTo>
                  <a:pt x="25" y="0"/>
                </a:lnTo>
                <a:cubicBezTo>
                  <a:pt x="25" y="25"/>
                  <a:pt x="0" y="75"/>
                  <a:pt x="0" y="75"/>
                </a:cubicBezTo>
                <a:lnTo>
                  <a:pt x="0" y="100"/>
                </a:lnTo>
                <a:cubicBezTo>
                  <a:pt x="25" y="125"/>
                  <a:pt x="50" y="150"/>
                  <a:pt x="50" y="150"/>
                </a:cubicBezTo>
                <a:cubicBezTo>
                  <a:pt x="50" y="150"/>
                  <a:pt x="50" y="150"/>
                  <a:pt x="74" y="150"/>
                </a:cubicBezTo>
                <a:cubicBezTo>
                  <a:pt x="74" y="125"/>
                  <a:pt x="100" y="100"/>
                  <a:pt x="100" y="100"/>
                </a:cubicBezTo>
                <a:cubicBezTo>
                  <a:pt x="74" y="75"/>
                  <a:pt x="50" y="25"/>
                  <a:pt x="25" y="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7" name="Freeform 212">
            <a:extLst>
              <a:ext uri="{FF2B5EF4-FFF2-40B4-BE49-F238E27FC236}">
                <a16:creationId xmlns:a16="http://schemas.microsoft.com/office/drawing/2014/main" id="{D5F23FE5-72AC-574E-9D5C-A9005A2B8C05}"/>
              </a:ext>
            </a:extLst>
          </p:cNvPr>
          <p:cNvSpPr>
            <a:spLocks noChangeArrowheads="1"/>
          </p:cNvSpPr>
          <p:nvPr/>
        </p:nvSpPr>
        <p:spPr bwMode="auto">
          <a:xfrm>
            <a:off x="6323813" y="3330229"/>
            <a:ext cx="119531" cy="151875"/>
          </a:xfrm>
          <a:custGeom>
            <a:avLst/>
            <a:gdLst>
              <a:gd name="T0" fmla="*/ 325 w 376"/>
              <a:gd name="T1" fmla="*/ 300 h 476"/>
              <a:gd name="T2" fmla="*/ 325 w 376"/>
              <a:gd name="T3" fmla="*/ 300 h 476"/>
              <a:gd name="T4" fmla="*/ 325 w 376"/>
              <a:gd name="T5" fmla="*/ 250 h 476"/>
              <a:gd name="T6" fmla="*/ 349 w 376"/>
              <a:gd name="T7" fmla="*/ 200 h 476"/>
              <a:gd name="T8" fmla="*/ 225 w 376"/>
              <a:gd name="T9" fmla="*/ 175 h 476"/>
              <a:gd name="T10" fmla="*/ 225 w 376"/>
              <a:gd name="T11" fmla="*/ 100 h 476"/>
              <a:gd name="T12" fmla="*/ 200 w 376"/>
              <a:gd name="T13" fmla="*/ 75 h 476"/>
              <a:gd name="T14" fmla="*/ 149 w 376"/>
              <a:gd name="T15" fmla="*/ 25 h 476"/>
              <a:gd name="T16" fmla="*/ 149 w 376"/>
              <a:gd name="T17" fmla="*/ 25 h 476"/>
              <a:gd name="T18" fmla="*/ 125 w 376"/>
              <a:gd name="T19" fmla="*/ 0 h 476"/>
              <a:gd name="T20" fmla="*/ 100 w 376"/>
              <a:gd name="T21" fmla="*/ 0 h 476"/>
              <a:gd name="T22" fmla="*/ 0 w 376"/>
              <a:gd name="T23" fmla="*/ 25 h 476"/>
              <a:gd name="T24" fmla="*/ 25 w 376"/>
              <a:gd name="T25" fmla="*/ 75 h 476"/>
              <a:gd name="T26" fmla="*/ 49 w 376"/>
              <a:gd name="T27" fmla="*/ 150 h 476"/>
              <a:gd name="T28" fmla="*/ 49 w 376"/>
              <a:gd name="T29" fmla="*/ 300 h 476"/>
              <a:gd name="T30" fmla="*/ 0 w 376"/>
              <a:gd name="T31" fmla="*/ 325 h 476"/>
              <a:gd name="T32" fmla="*/ 75 w 376"/>
              <a:gd name="T33" fmla="*/ 425 h 476"/>
              <a:gd name="T34" fmla="*/ 75 w 376"/>
              <a:gd name="T35" fmla="*/ 425 h 476"/>
              <a:gd name="T36" fmla="*/ 175 w 376"/>
              <a:gd name="T37" fmla="*/ 475 h 476"/>
              <a:gd name="T38" fmla="*/ 325 w 376"/>
              <a:gd name="T39" fmla="*/ 425 h 476"/>
              <a:gd name="T40" fmla="*/ 325 w 376"/>
              <a:gd name="T41" fmla="*/ 400 h 476"/>
              <a:gd name="T42" fmla="*/ 375 w 376"/>
              <a:gd name="T43" fmla="*/ 375 h 476"/>
              <a:gd name="T44" fmla="*/ 325 w 376"/>
              <a:gd name="T45" fmla="*/ 30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6" h="476">
                <a:moveTo>
                  <a:pt x="325" y="300"/>
                </a:moveTo>
                <a:lnTo>
                  <a:pt x="325" y="300"/>
                </a:lnTo>
                <a:lnTo>
                  <a:pt x="325" y="250"/>
                </a:lnTo>
                <a:cubicBezTo>
                  <a:pt x="349" y="225"/>
                  <a:pt x="349" y="225"/>
                  <a:pt x="349" y="200"/>
                </a:cubicBezTo>
                <a:cubicBezTo>
                  <a:pt x="349" y="175"/>
                  <a:pt x="249" y="175"/>
                  <a:pt x="225" y="175"/>
                </a:cubicBezTo>
                <a:cubicBezTo>
                  <a:pt x="225" y="150"/>
                  <a:pt x="249" y="100"/>
                  <a:pt x="225" y="100"/>
                </a:cubicBezTo>
                <a:cubicBezTo>
                  <a:pt x="200" y="100"/>
                  <a:pt x="200" y="100"/>
                  <a:pt x="200" y="75"/>
                </a:cubicBezTo>
                <a:cubicBezTo>
                  <a:pt x="200" y="50"/>
                  <a:pt x="149" y="25"/>
                  <a:pt x="149" y="25"/>
                </a:cubicBezTo>
                <a:lnTo>
                  <a:pt x="149" y="25"/>
                </a:lnTo>
                <a:cubicBezTo>
                  <a:pt x="149" y="0"/>
                  <a:pt x="125" y="0"/>
                  <a:pt x="125" y="0"/>
                </a:cubicBezTo>
                <a:lnTo>
                  <a:pt x="100" y="0"/>
                </a:lnTo>
                <a:cubicBezTo>
                  <a:pt x="100" y="0"/>
                  <a:pt x="25" y="25"/>
                  <a:pt x="0" y="25"/>
                </a:cubicBezTo>
                <a:cubicBezTo>
                  <a:pt x="0" y="50"/>
                  <a:pt x="0" y="75"/>
                  <a:pt x="25" y="75"/>
                </a:cubicBezTo>
                <a:cubicBezTo>
                  <a:pt x="49" y="100"/>
                  <a:pt x="49" y="125"/>
                  <a:pt x="49" y="150"/>
                </a:cubicBezTo>
                <a:cubicBezTo>
                  <a:pt x="49" y="175"/>
                  <a:pt x="49" y="300"/>
                  <a:pt x="49" y="300"/>
                </a:cubicBezTo>
                <a:cubicBezTo>
                  <a:pt x="25" y="300"/>
                  <a:pt x="25" y="300"/>
                  <a:pt x="0" y="325"/>
                </a:cubicBezTo>
                <a:cubicBezTo>
                  <a:pt x="25" y="350"/>
                  <a:pt x="49" y="400"/>
                  <a:pt x="75" y="425"/>
                </a:cubicBezTo>
                <a:lnTo>
                  <a:pt x="75" y="425"/>
                </a:lnTo>
                <a:cubicBezTo>
                  <a:pt x="100" y="425"/>
                  <a:pt x="175" y="475"/>
                  <a:pt x="175" y="475"/>
                </a:cubicBezTo>
                <a:cubicBezTo>
                  <a:pt x="175" y="475"/>
                  <a:pt x="275" y="450"/>
                  <a:pt x="325" y="425"/>
                </a:cubicBezTo>
                <a:cubicBezTo>
                  <a:pt x="325" y="425"/>
                  <a:pt x="325" y="425"/>
                  <a:pt x="325" y="400"/>
                </a:cubicBezTo>
                <a:cubicBezTo>
                  <a:pt x="325" y="400"/>
                  <a:pt x="349" y="375"/>
                  <a:pt x="375" y="375"/>
                </a:cubicBezTo>
                <a:cubicBezTo>
                  <a:pt x="375" y="375"/>
                  <a:pt x="349" y="325"/>
                  <a:pt x="325" y="3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8" name="Freeform 213">
            <a:extLst>
              <a:ext uri="{FF2B5EF4-FFF2-40B4-BE49-F238E27FC236}">
                <a16:creationId xmlns:a16="http://schemas.microsoft.com/office/drawing/2014/main" id="{2B45B90F-8324-F240-BD02-9EA255EA386F}"/>
              </a:ext>
            </a:extLst>
          </p:cNvPr>
          <p:cNvSpPr>
            <a:spLocks noChangeArrowheads="1"/>
          </p:cNvSpPr>
          <p:nvPr/>
        </p:nvSpPr>
        <p:spPr bwMode="auto">
          <a:xfrm>
            <a:off x="3045866" y="4397569"/>
            <a:ext cx="71719" cy="39375"/>
          </a:xfrm>
          <a:custGeom>
            <a:avLst/>
            <a:gdLst>
              <a:gd name="T0" fmla="*/ 225 w 226"/>
              <a:gd name="T1" fmla="*/ 49 h 125"/>
              <a:gd name="T2" fmla="*/ 225 w 226"/>
              <a:gd name="T3" fmla="*/ 49 h 125"/>
              <a:gd name="T4" fmla="*/ 125 w 226"/>
              <a:gd name="T5" fmla="*/ 24 h 125"/>
              <a:gd name="T6" fmla="*/ 75 w 226"/>
              <a:gd name="T7" fmla="*/ 0 h 125"/>
              <a:gd name="T8" fmla="*/ 75 w 226"/>
              <a:gd name="T9" fmla="*/ 0 h 125"/>
              <a:gd name="T10" fmla="*/ 0 w 226"/>
              <a:gd name="T11" fmla="*/ 49 h 125"/>
              <a:gd name="T12" fmla="*/ 175 w 226"/>
              <a:gd name="T13" fmla="*/ 124 h 125"/>
              <a:gd name="T14" fmla="*/ 225 w 226"/>
              <a:gd name="T15" fmla="*/ 100 h 125"/>
              <a:gd name="T16" fmla="*/ 225 w 226"/>
              <a:gd name="T17" fmla="*/ 4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25">
                <a:moveTo>
                  <a:pt x="225" y="49"/>
                </a:moveTo>
                <a:lnTo>
                  <a:pt x="225" y="49"/>
                </a:lnTo>
                <a:cubicBezTo>
                  <a:pt x="200" y="24"/>
                  <a:pt x="151" y="49"/>
                  <a:pt x="125" y="24"/>
                </a:cubicBezTo>
                <a:cubicBezTo>
                  <a:pt x="100" y="0"/>
                  <a:pt x="75" y="0"/>
                  <a:pt x="75" y="0"/>
                </a:cubicBezTo>
                <a:lnTo>
                  <a:pt x="75" y="0"/>
                </a:lnTo>
                <a:cubicBezTo>
                  <a:pt x="51" y="0"/>
                  <a:pt x="25" y="24"/>
                  <a:pt x="0" y="49"/>
                </a:cubicBezTo>
                <a:cubicBezTo>
                  <a:pt x="25" y="75"/>
                  <a:pt x="151" y="124"/>
                  <a:pt x="175" y="124"/>
                </a:cubicBezTo>
                <a:cubicBezTo>
                  <a:pt x="200" y="124"/>
                  <a:pt x="200" y="100"/>
                  <a:pt x="225" y="100"/>
                </a:cubicBezTo>
                <a:cubicBezTo>
                  <a:pt x="225" y="75"/>
                  <a:pt x="225" y="49"/>
                  <a:pt x="225"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89" name="Freeform 214">
            <a:extLst>
              <a:ext uri="{FF2B5EF4-FFF2-40B4-BE49-F238E27FC236}">
                <a16:creationId xmlns:a16="http://schemas.microsoft.com/office/drawing/2014/main" id="{6F63A251-9ACE-8349-B148-DE4F7DE99EF6}"/>
              </a:ext>
            </a:extLst>
          </p:cNvPr>
          <p:cNvSpPr>
            <a:spLocks noChangeArrowheads="1"/>
          </p:cNvSpPr>
          <p:nvPr/>
        </p:nvSpPr>
        <p:spPr bwMode="auto">
          <a:xfrm>
            <a:off x="3069772" y="4342724"/>
            <a:ext cx="184217" cy="104061"/>
          </a:xfrm>
          <a:custGeom>
            <a:avLst/>
            <a:gdLst>
              <a:gd name="T0" fmla="*/ 250 w 577"/>
              <a:gd name="T1" fmla="*/ 276 h 326"/>
              <a:gd name="T2" fmla="*/ 250 w 577"/>
              <a:gd name="T3" fmla="*/ 276 h 326"/>
              <a:gd name="T4" fmla="*/ 276 w 577"/>
              <a:gd name="T5" fmla="*/ 225 h 326"/>
              <a:gd name="T6" fmla="*/ 376 w 577"/>
              <a:gd name="T7" fmla="*/ 176 h 326"/>
              <a:gd name="T8" fmla="*/ 476 w 577"/>
              <a:gd name="T9" fmla="*/ 151 h 326"/>
              <a:gd name="T10" fmla="*/ 576 w 577"/>
              <a:gd name="T11" fmla="*/ 125 h 326"/>
              <a:gd name="T12" fmla="*/ 476 w 577"/>
              <a:gd name="T13" fmla="*/ 51 h 326"/>
              <a:gd name="T14" fmla="*/ 276 w 577"/>
              <a:gd name="T15" fmla="*/ 51 h 326"/>
              <a:gd name="T16" fmla="*/ 100 w 577"/>
              <a:gd name="T17" fmla="*/ 51 h 326"/>
              <a:gd name="T18" fmla="*/ 100 w 577"/>
              <a:gd name="T19" fmla="*/ 51 h 326"/>
              <a:gd name="T20" fmla="*/ 50 w 577"/>
              <a:gd name="T21" fmla="*/ 100 h 326"/>
              <a:gd name="T22" fmla="*/ 0 w 577"/>
              <a:gd name="T23" fmla="*/ 176 h 326"/>
              <a:gd name="T24" fmla="*/ 50 w 577"/>
              <a:gd name="T25" fmla="*/ 200 h 326"/>
              <a:gd name="T26" fmla="*/ 150 w 577"/>
              <a:gd name="T27" fmla="*/ 225 h 326"/>
              <a:gd name="T28" fmla="*/ 150 w 577"/>
              <a:gd name="T29" fmla="*/ 276 h 326"/>
              <a:gd name="T30" fmla="*/ 176 w 577"/>
              <a:gd name="T31" fmla="*/ 276 h 326"/>
              <a:gd name="T32" fmla="*/ 176 w 577"/>
              <a:gd name="T33" fmla="*/ 325 h 326"/>
              <a:gd name="T34" fmla="*/ 201 w 577"/>
              <a:gd name="T35" fmla="*/ 300 h 326"/>
              <a:gd name="T36" fmla="*/ 250 w 577"/>
              <a:gd name="T37" fmla="*/ 27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326">
                <a:moveTo>
                  <a:pt x="250" y="276"/>
                </a:moveTo>
                <a:lnTo>
                  <a:pt x="250" y="276"/>
                </a:lnTo>
                <a:cubicBezTo>
                  <a:pt x="250" y="276"/>
                  <a:pt x="225" y="225"/>
                  <a:pt x="276" y="225"/>
                </a:cubicBezTo>
                <a:cubicBezTo>
                  <a:pt x="325" y="225"/>
                  <a:pt x="376" y="225"/>
                  <a:pt x="376" y="176"/>
                </a:cubicBezTo>
                <a:cubicBezTo>
                  <a:pt x="376" y="151"/>
                  <a:pt x="450" y="151"/>
                  <a:pt x="476" y="151"/>
                </a:cubicBezTo>
                <a:cubicBezTo>
                  <a:pt x="476" y="151"/>
                  <a:pt x="525" y="125"/>
                  <a:pt x="576" y="125"/>
                </a:cubicBezTo>
                <a:cubicBezTo>
                  <a:pt x="576" y="76"/>
                  <a:pt x="501" y="76"/>
                  <a:pt x="476" y="51"/>
                </a:cubicBezTo>
                <a:cubicBezTo>
                  <a:pt x="425" y="0"/>
                  <a:pt x="325" y="25"/>
                  <a:pt x="276" y="51"/>
                </a:cubicBezTo>
                <a:cubicBezTo>
                  <a:pt x="225" y="51"/>
                  <a:pt x="150" y="25"/>
                  <a:pt x="100" y="51"/>
                </a:cubicBezTo>
                <a:lnTo>
                  <a:pt x="100" y="51"/>
                </a:lnTo>
                <a:cubicBezTo>
                  <a:pt x="76" y="76"/>
                  <a:pt x="50" y="76"/>
                  <a:pt x="50" y="100"/>
                </a:cubicBezTo>
                <a:cubicBezTo>
                  <a:pt x="0" y="125"/>
                  <a:pt x="0" y="176"/>
                  <a:pt x="0" y="176"/>
                </a:cubicBezTo>
                <a:cubicBezTo>
                  <a:pt x="0" y="176"/>
                  <a:pt x="25" y="176"/>
                  <a:pt x="50" y="200"/>
                </a:cubicBezTo>
                <a:cubicBezTo>
                  <a:pt x="76" y="225"/>
                  <a:pt x="125" y="200"/>
                  <a:pt x="150" y="225"/>
                </a:cubicBezTo>
                <a:cubicBezTo>
                  <a:pt x="150" y="225"/>
                  <a:pt x="150" y="251"/>
                  <a:pt x="150" y="276"/>
                </a:cubicBezTo>
                <a:cubicBezTo>
                  <a:pt x="150" y="276"/>
                  <a:pt x="150" y="276"/>
                  <a:pt x="176" y="276"/>
                </a:cubicBezTo>
                <a:cubicBezTo>
                  <a:pt x="176" y="300"/>
                  <a:pt x="176" y="300"/>
                  <a:pt x="176" y="325"/>
                </a:cubicBezTo>
                <a:cubicBezTo>
                  <a:pt x="201" y="300"/>
                  <a:pt x="201" y="300"/>
                  <a:pt x="201" y="300"/>
                </a:cubicBezTo>
                <a:cubicBezTo>
                  <a:pt x="201" y="300"/>
                  <a:pt x="225" y="300"/>
                  <a:pt x="250" y="2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0" name="Freeform 215">
            <a:extLst>
              <a:ext uri="{FF2B5EF4-FFF2-40B4-BE49-F238E27FC236}">
                <a16:creationId xmlns:a16="http://schemas.microsoft.com/office/drawing/2014/main" id="{83F1AA8F-9CC7-944F-973E-D065FEB2BC95}"/>
              </a:ext>
            </a:extLst>
          </p:cNvPr>
          <p:cNvSpPr>
            <a:spLocks noChangeArrowheads="1"/>
          </p:cNvSpPr>
          <p:nvPr/>
        </p:nvSpPr>
        <p:spPr bwMode="auto">
          <a:xfrm>
            <a:off x="2233090" y="3531255"/>
            <a:ext cx="916869" cy="566715"/>
          </a:xfrm>
          <a:custGeom>
            <a:avLst/>
            <a:gdLst>
              <a:gd name="T0" fmla="*/ 2401 w 2876"/>
              <a:gd name="T1" fmla="*/ 1674 h 1775"/>
              <a:gd name="T2" fmla="*/ 2450 w 2876"/>
              <a:gd name="T3" fmla="*/ 1549 h 1775"/>
              <a:gd name="T4" fmla="*/ 2650 w 2876"/>
              <a:gd name="T5" fmla="*/ 1500 h 1775"/>
              <a:gd name="T6" fmla="*/ 2750 w 2876"/>
              <a:gd name="T7" fmla="*/ 1449 h 1775"/>
              <a:gd name="T8" fmla="*/ 2801 w 2876"/>
              <a:gd name="T9" fmla="*/ 1224 h 1775"/>
              <a:gd name="T10" fmla="*/ 2775 w 2876"/>
              <a:gd name="T11" fmla="*/ 1124 h 1775"/>
              <a:gd name="T12" fmla="*/ 2525 w 2876"/>
              <a:gd name="T13" fmla="*/ 1249 h 1775"/>
              <a:gd name="T14" fmla="*/ 2425 w 2876"/>
              <a:gd name="T15" fmla="*/ 1425 h 1775"/>
              <a:gd name="T16" fmla="*/ 2125 w 2876"/>
              <a:gd name="T17" fmla="*/ 1449 h 1775"/>
              <a:gd name="T18" fmla="*/ 1975 w 2876"/>
              <a:gd name="T19" fmla="*/ 1300 h 1775"/>
              <a:gd name="T20" fmla="*/ 1825 w 2876"/>
              <a:gd name="T21" fmla="*/ 1000 h 1775"/>
              <a:gd name="T22" fmla="*/ 1875 w 2876"/>
              <a:gd name="T23" fmla="*/ 701 h 1775"/>
              <a:gd name="T24" fmla="*/ 1700 w 2876"/>
              <a:gd name="T25" fmla="*/ 625 h 1775"/>
              <a:gd name="T26" fmla="*/ 1650 w 2876"/>
              <a:gd name="T27" fmla="*/ 501 h 1775"/>
              <a:gd name="T28" fmla="*/ 1400 w 2876"/>
              <a:gd name="T29" fmla="*/ 275 h 1775"/>
              <a:gd name="T30" fmla="*/ 1225 w 2876"/>
              <a:gd name="T31" fmla="*/ 325 h 1775"/>
              <a:gd name="T32" fmla="*/ 1125 w 2876"/>
              <a:gd name="T33" fmla="*/ 175 h 1775"/>
              <a:gd name="T34" fmla="*/ 875 w 2876"/>
              <a:gd name="T35" fmla="*/ 75 h 1775"/>
              <a:gd name="T36" fmla="*/ 575 w 2876"/>
              <a:gd name="T37" fmla="*/ 125 h 1775"/>
              <a:gd name="T38" fmla="*/ 225 w 2876"/>
              <a:gd name="T39" fmla="*/ 0 h 1775"/>
              <a:gd name="T40" fmla="*/ 50 w 2876"/>
              <a:gd name="T41" fmla="*/ 100 h 1775"/>
              <a:gd name="T42" fmla="*/ 250 w 2876"/>
              <a:gd name="T43" fmla="*/ 375 h 1775"/>
              <a:gd name="T44" fmla="*/ 225 w 2876"/>
              <a:gd name="T45" fmla="*/ 501 h 1775"/>
              <a:gd name="T46" fmla="*/ 450 w 2876"/>
              <a:gd name="T47" fmla="*/ 650 h 1775"/>
              <a:gd name="T48" fmla="*/ 575 w 2876"/>
              <a:gd name="T49" fmla="*/ 874 h 1775"/>
              <a:gd name="T50" fmla="*/ 725 w 2876"/>
              <a:gd name="T51" fmla="*/ 949 h 1775"/>
              <a:gd name="T52" fmla="*/ 625 w 2876"/>
              <a:gd name="T53" fmla="*/ 849 h 1775"/>
              <a:gd name="T54" fmla="*/ 550 w 2876"/>
              <a:gd name="T55" fmla="*/ 625 h 1775"/>
              <a:gd name="T56" fmla="*/ 375 w 2876"/>
              <a:gd name="T57" fmla="*/ 401 h 1775"/>
              <a:gd name="T58" fmla="*/ 300 w 2876"/>
              <a:gd name="T59" fmla="*/ 301 h 1775"/>
              <a:gd name="T60" fmla="*/ 225 w 2876"/>
              <a:gd name="T61" fmla="*/ 100 h 1775"/>
              <a:gd name="T62" fmla="*/ 275 w 2876"/>
              <a:gd name="T63" fmla="*/ 100 h 1775"/>
              <a:gd name="T64" fmla="*/ 400 w 2876"/>
              <a:gd name="T65" fmla="*/ 125 h 1775"/>
              <a:gd name="T66" fmla="*/ 425 w 2876"/>
              <a:gd name="T67" fmla="*/ 350 h 1775"/>
              <a:gd name="T68" fmla="*/ 550 w 2876"/>
              <a:gd name="T69" fmla="*/ 450 h 1775"/>
              <a:gd name="T70" fmla="*/ 675 w 2876"/>
              <a:gd name="T71" fmla="*/ 550 h 1775"/>
              <a:gd name="T72" fmla="*/ 750 w 2876"/>
              <a:gd name="T73" fmla="*/ 675 h 1775"/>
              <a:gd name="T74" fmla="*/ 875 w 2876"/>
              <a:gd name="T75" fmla="*/ 799 h 1775"/>
              <a:gd name="T76" fmla="*/ 1125 w 2876"/>
              <a:gd name="T77" fmla="*/ 1124 h 1775"/>
              <a:gd name="T78" fmla="*/ 1100 w 2876"/>
              <a:gd name="T79" fmla="*/ 1224 h 1775"/>
              <a:gd name="T80" fmla="*/ 1300 w 2876"/>
              <a:gd name="T81" fmla="*/ 1449 h 1775"/>
              <a:gd name="T82" fmla="*/ 1650 w 2876"/>
              <a:gd name="T83" fmla="*/ 1574 h 1775"/>
              <a:gd name="T84" fmla="*/ 2050 w 2876"/>
              <a:gd name="T85" fmla="*/ 1674 h 1775"/>
              <a:gd name="T86" fmla="*/ 2325 w 2876"/>
              <a:gd name="T87" fmla="*/ 1774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6" h="1775">
                <a:moveTo>
                  <a:pt x="2401" y="1674"/>
                </a:moveTo>
                <a:lnTo>
                  <a:pt x="2401" y="1674"/>
                </a:lnTo>
                <a:cubicBezTo>
                  <a:pt x="2401" y="1674"/>
                  <a:pt x="2501" y="1674"/>
                  <a:pt x="2525" y="1649"/>
                </a:cubicBezTo>
                <a:cubicBezTo>
                  <a:pt x="2525" y="1625"/>
                  <a:pt x="2450" y="1574"/>
                  <a:pt x="2450" y="1549"/>
                </a:cubicBezTo>
                <a:cubicBezTo>
                  <a:pt x="2450" y="1549"/>
                  <a:pt x="2450" y="1500"/>
                  <a:pt x="2475" y="1500"/>
                </a:cubicBezTo>
                <a:cubicBezTo>
                  <a:pt x="2501" y="1500"/>
                  <a:pt x="2650" y="1500"/>
                  <a:pt x="2650" y="1500"/>
                </a:cubicBezTo>
                <a:cubicBezTo>
                  <a:pt x="2650" y="1500"/>
                  <a:pt x="2675" y="1425"/>
                  <a:pt x="2701" y="1425"/>
                </a:cubicBezTo>
                <a:cubicBezTo>
                  <a:pt x="2725" y="1425"/>
                  <a:pt x="2750" y="1449"/>
                  <a:pt x="2750" y="1449"/>
                </a:cubicBezTo>
                <a:cubicBezTo>
                  <a:pt x="2775" y="1425"/>
                  <a:pt x="2801" y="1374"/>
                  <a:pt x="2801" y="1324"/>
                </a:cubicBezTo>
                <a:cubicBezTo>
                  <a:pt x="2801" y="1274"/>
                  <a:pt x="2775" y="1249"/>
                  <a:pt x="2801" y="1224"/>
                </a:cubicBezTo>
                <a:cubicBezTo>
                  <a:pt x="2850" y="1200"/>
                  <a:pt x="2875" y="1200"/>
                  <a:pt x="2875" y="1149"/>
                </a:cubicBezTo>
                <a:cubicBezTo>
                  <a:pt x="2850" y="1100"/>
                  <a:pt x="2826" y="1149"/>
                  <a:pt x="2775" y="1124"/>
                </a:cubicBezTo>
                <a:cubicBezTo>
                  <a:pt x="2750" y="1100"/>
                  <a:pt x="2725" y="1124"/>
                  <a:pt x="2625" y="1124"/>
                </a:cubicBezTo>
                <a:cubicBezTo>
                  <a:pt x="2550" y="1149"/>
                  <a:pt x="2501" y="1174"/>
                  <a:pt x="2525" y="1249"/>
                </a:cubicBezTo>
                <a:cubicBezTo>
                  <a:pt x="2525" y="1300"/>
                  <a:pt x="2475" y="1274"/>
                  <a:pt x="2475" y="1324"/>
                </a:cubicBezTo>
                <a:cubicBezTo>
                  <a:pt x="2501" y="1374"/>
                  <a:pt x="2425" y="1374"/>
                  <a:pt x="2425" y="1425"/>
                </a:cubicBezTo>
                <a:cubicBezTo>
                  <a:pt x="2425" y="1449"/>
                  <a:pt x="2375" y="1425"/>
                  <a:pt x="2350" y="1400"/>
                </a:cubicBezTo>
                <a:cubicBezTo>
                  <a:pt x="2325" y="1400"/>
                  <a:pt x="2150" y="1449"/>
                  <a:pt x="2125" y="1449"/>
                </a:cubicBezTo>
                <a:cubicBezTo>
                  <a:pt x="2101" y="1449"/>
                  <a:pt x="2050" y="1400"/>
                  <a:pt x="2025" y="1400"/>
                </a:cubicBezTo>
                <a:cubicBezTo>
                  <a:pt x="2001" y="1400"/>
                  <a:pt x="1975" y="1349"/>
                  <a:pt x="1975" y="1300"/>
                </a:cubicBezTo>
                <a:cubicBezTo>
                  <a:pt x="1975" y="1274"/>
                  <a:pt x="1901" y="1224"/>
                  <a:pt x="1875" y="1174"/>
                </a:cubicBezTo>
                <a:cubicBezTo>
                  <a:pt x="1850" y="1149"/>
                  <a:pt x="1850" y="1049"/>
                  <a:pt x="1825" y="1000"/>
                </a:cubicBezTo>
                <a:cubicBezTo>
                  <a:pt x="1825" y="949"/>
                  <a:pt x="1825" y="849"/>
                  <a:pt x="1875" y="750"/>
                </a:cubicBezTo>
                <a:cubicBezTo>
                  <a:pt x="1875" y="725"/>
                  <a:pt x="1875" y="701"/>
                  <a:pt x="1875" y="701"/>
                </a:cubicBezTo>
                <a:cubicBezTo>
                  <a:pt x="1850" y="701"/>
                  <a:pt x="1850" y="675"/>
                  <a:pt x="1825" y="675"/>
                </a:cubicBezTo>
                <a:cubicBezTo>
                  <a:pt x="1800" y="675"/>
                  <a:pt x="1725" y="625"/>
                  <a:pt x="1700" y="625"/>
                </a:cubicBezTo>
                <a:cubicBezTo>
                  <a:pt x="1700" y="625"/>
                  <a:pt x="1700" y="601"/>
                  <a:pt x="1675" y="575"/>
                </a:cubicBezTo>
                <a:cubicBezTo>
                  <a:pt x="1675" y="550"/>
                  <a:pt x="1675" y="525"/>
                  <a:pt x="1650" y="501"/>
                </a:cubicBezTo>
                <a:cubicBezTo>
                  <a:pt x="1650" y="501"/>
                  <a:pt x="1575" y="450"/>
                  <a:pt x="1575" y="375"/>
                </a:cubicBezTo>
                <a:cubicBezTo>
                  <a:pt x="1550" y="325"/>
                  <a:pt x="1450" y="301"/>
                  <a:pt x="1400" y="275"/>
                </a:cubicBezTo>
                <a:cubicBezTo>
                  <a:pt x="1350" y="275"/>
                  <a:pt x="1350" y="375"/>
                  <a:pt x="1325" y="375"/>
                </a:cubicBezTo>
                <a:cubicBezTo>
                  <a:pt x="1325" y="375"/>
                  <a:pt x="1250" y="325"/>
                  <a:pt x="1225" y="325"/>
                </a:cubicBezTo>
                <a:cubicBezTo>
                  <a:pt x="1200" y="301"/>
                  <a:pt x="1175" y="275"/>
                  <a:pt x="1175" y="250"/>
                </a:cubicBezTo>
                <a:cubicBezTo>
                  <a:pt x="1175" y="225"/>
                  <a:pt x="1150" y="201"/>
                  <a:pt x="1125" y="175"/>
                </a:cubicBezTo>
                <a:cubicBezTo>
                  <a:pt x="1100" y="175"/>
                  <a:pt x="1025" y="75"/>
                  <a:pt x="1025" y="75"/>
                </a:cubicBezTo>
                <a:cubicBezTo>
                  <a:pt x="875" y="75"/>
                  <a:pt x="875" y="75"/>
                  <a:pt x="875" y="75"/>
                </a:cubicBezTo>
                <a:cubicBezTo>
                  <a:pt x="850" y="125"/>
                  <a:pt x="850" y="125"/>
                  <a:pt x="850" y="125"/>
                </a:cubicBezTo>
                <a:cubicBezTo>
                  <a:pt x="575" y="125"/>
                  <a:pt x="575" y="125"/>
                  <a:pt x="575" y="125"/>
                </a:cubicBezTo>
                <a:cubicBezTo>
                  <a:pt x="575" y="125"/>
                  <a:pt x="375" y="50"/>
                  <a:pt x="325" y="50"/>
                </a:cubicBezTo>
                <a:cubicBezTo>
                  <a:pt x="300" y="25"/>
                  <a:pt x="225" y="0"/>
                  <a:pt x="225" y="0"/>
                </a:cubicBezTo>
                <a:cubicBezTo>
                  <a:pt x="0" y="25"/>
                  <a:pt x="0" y="25"/>
                  <a:pt x="0" y="25"/>
                </a:cubicBezTo>
                <a:cubicBezTo>
                  <a:pt x="25" y="50"/>
                  <a:pt x="25" y="75"/>
                  <a:pt x="50" y="100"/>
                </a:cubicBezTo>
                <a:cubicBezTo>
                  <a:pt x="100" y="150"/>
                  <a:pt x="125" y="250"/>
                  <a:pt x="150" y="275"/>
                </a:cubicBezTo>
                <a:cubicBezTo>
                  <a:pt x="150" y="325"/>
                  <a:pt x="200" y="350"/>
                  <a:pt x="250" y="375"/>
                </a:cubicBezTo>
                <a:cubicBezTo>
                  <a:pt x="300" y="401"/>
                  <a:pt x="300" y="475"/>
                  <a:pt x="300" y="501"/>
                </a:cubicBezTo>
                <a:cubicBezTo>
                  <a:pt x="300" y="525"/>
                  <a:pt x="225" y="475"/>
                  <a:pt x="225" y="501"/>
                </a:cubicBezTo>
                <a:cubicBezTo>
                  <a:pt x="225" y="525"/>
                  <a:pt x="300" y="601"/>
                  <a:pt x="350" y="601"/>
                </a:cubicBezTo>
                <a:cubicBezTo>
                  <a:pt x="375" y="601"/>
                  <a:pt x="400" y="601"/>
                  <a:pt x="450" y="650"/>
                </a:cubicBezTo>
                <a:cubicBezTo>
                  <a:pt x="500" y="701"/>
                  <a:pt x="500" y="750"/>
                  <a:pt x="475" y="774"/>
                </a:cubicBezTo>
                <a:cubicBezTo>
                  <a:pt x="450" y="799"/>
                  <a:pt x="525" y="824"/>
                  <a:pt x="575" y="874"/>
                </a:cubicBezTo>
                <a:cubicBezTo>
                  <a:pt x="650" y="900"/>
                  <a:pt x="675" y="974"/>
                  <a:pt x="675" y="1000"/>
                </a:cubicBezTo>
                <a:cubicBezTo>
                  <a:pt x="675" y="1000"/>
                  <a:pt x="725" y="1000"/>
                  <a:pt x="725" y="949"/>
                </a:cubicBezTo>
                <a:cubicBezTo>
                  <a:pt x="725" y="924"/>
                  <a:pt x="700" y="924"/>
                  <a:pt x="700" y="874"/>
                </a:cubicBezTo>
                <a:cubicBezTo>
                  <a:pt x="700" y="849"/>
                  <a:pt x="650" y="849"/>
                  <a:pt x="625" y="849"/>
                </a:cubicBezTo>
                <a:cubicBezTo>
                  <a:pt x="600" y="849"/>
                  <a:pt x="625" y="799"/>
                  <a:pt x="600" y="774"/>
                </a:cubicBezTo>
                <a:cubicBezTo>
                  <a:pt x="575" y="750"/>
                  <a:pt x="550" y="675"/>
                  <a:pt x="550" y="625"/>
                </a:cubicBezTo>
                <a:cubicBezTo>
                  <a:pt x="525" y="601"/>
                  <a:pt x="475" y="550"/>
                  <a:pt x="450" y="501"/>
                </a:cubicBezTo>
                <a:cubicBezTo>
                  <a:pt x="400" y="450"/>
                  <a:pt x="375" y="401"/>
                  <a:pt x="375" y="401"/>
                </a:cubicBezTo>
                <a:cubicBezTo>
                  <a:pt x="350" y="375"/>
                  <a:pt x="400" y="350"/>
                  <a:pt x="375" y="350"/>
                </a:cubicBezTo>
                <a:cubicBezTo>
                  <a:pt x="350" y="325"/>
                  <a:pt x="325" y="325"/>
                  <a:pt x="300" y="301"/>
                </a:cubicBezTo>
                <a:cubicBezTo>
                  <a:pt x="275" y="301"/>
                  <a:pt x="250" y="275"/>
                  <a:pt x="250" y="225"/>
                </a:cubicBezTo>
                <a:cubicBezTo>
                  <a:pt x="250" y="201"/>
                  <a:pt x="225" y="125"/>
                  <a:pt x="225" y="100"/>
                </a:cubicBezTo>
                <a:cubicBezTo>
                  <a:pt x="200" y="75"/>
                  <a:pt x="250" y="75"/>
                  <a:pt x="250" y="75"/>
                </a:cubicBezTo>
                <a:cubicBezTo>
                  <a:pt x="250" y="100"/>
                  <a:pt x="275" y="100"/>
                  <a:pt x="275" y="100"/>
                </a:cubicBezTo>
                <a:cubicBezTo>
                  <a:pt x="300" y="100"/>
                  <a:pt x="325" y="100"/>
                  <a:pt x="325" y="125"/>
                </a:cubicBezTo>
                <a:cubicBezTo>
                  <a:pt x="350" y="150"/>
                  <a:pt x="375" y="125"/>
                  <a:pt x="400" y="125"/>
                </a:cubicBezTo>
                <a:cubicBezTo>
                  <a:pt x="425" y="150"/>
                  <a:pt x="350" y="150"/>
                  <a:pt x="425" y="250"/>
                </a:cubicBezTo>
                <a:cubicBezTo>
                  <a:pt x="475" y="350"/>
                  <a:pt x="425" y="301"/>
                  <a:pt x="425" y="350"/>
                </a:cubicBezTo>
                <a:cubicBezTo>
                  <a:pt x="425" y="425"/>
                  <a:pt x="475" y="401"/>
                  <a:pt x="475" y="375"/>
                </a:cubicBezTo>
                <a:cubicBezTo>
                  <a:pt x="475" y="375"/>
                  <a:pt x="525" y="401"/>
                  <a:pt x="550" y="450"/>
                </a:cubicBezTo>
                <a:cubicBezTo>
                  <a:pt x="575" y="475"/>
                  <a:pt x="625" y="475"/>
                  <a:pt x="625" y="501"/>
                </a:cubicBezTo>
                <a:cubicBezTo>
                  <a:pt x="625" y="525"/>
                  <a:pt x="625" y="550"/>
                  <a:pt x="675" y="550"/>
                </a:cubicBezTo>
                <a:cubicBezTo>
                  <a:pt x="700" y="575"/>
                  <a:pt x="700" y="601"/>
                  <a:pt x="725" y="601"/>
                </a:cubicBezTo>
                <a:cubicBezTo>
                  <a:pt x="750" y="601"/>
                  <a:pt x="750" y="625"/>
                  <a:pt x="750" y="675"/>
                </a:cubicBezTo>
                <a:cubicBezTo>
                  <a:pt x="725" y="701"/>
                  <a:pt x="750" y="725"/>
                  <a:pt x="800" y="725"/>
                </a:cubicBezTo>
                <a:cubicBezTo>
                  <a:pt x="850" y="750"/>
                  <a:pt x="825" y="774"/>
                  <a:pt x="875" y="799"/>
                </a:cubicBezTo>
                <a:cubicBezTo>
                  <a:pt x="925" y="849"/>
                  <a:pt x="1050" y="1000"/>
                  <a:pt x="1075" y="1024"/>
                </a:cubicBezTo>
                <a:cubicBezTo>
                  <a:pt x="1100" y="1074"/>
                  <a:pt x="1125" y="1100"/>
                  <a:pt x="1125" y="1124"/>
                </a:cubicBezTo>
                <a:cubicBezTo>
                  <a:pt x="1150" y="1174"/>
                  <a:pt x="1100" y="1174"/>
                  <a:pt x="1125" y="1200"/>
                </a:cubicBezTo>
                <a:cubicBezTo>
                  <a:pt x="1150" y="1224"/>
                  <a:pt x="1100" y="1224"/>
                  <a:pt x="1100" y="1224"/>
                </a:cubicBezTo>
                <a:cubicBezTo>
                  <a:pt x="1100" y="1249"/>
                  <a:pt x="1125" y="1349"/>
                  <a:pt x="1175" y="1349"/>
                </a:cubicBezTo>
                <a:cubicBezTo>
                  <a:pt x="1225" y="1349"/>
                  <a:pt x="1275" y="1425"/>
                  <a:pt x="1300" y="1449"/>
                </a:cubicBezTo>
                <a:cubicBezTo>
                  <a:pt x="1350" y="1474"/>
                  <a:pt x="1400" y="1474"/>
                  <a:pt x="1450" y="1500"/>
                </a:cubicBezTo>
                <a:cubicBezTo>
                  <a:pt x="1500" y="1500"/>
                  <a:pt x="1550" y="1549"/>
                  <a:pt x="1650" y="1574"/>
                </a:cubicBezTo>
                <a:cubicBezTo>
                  <a:pt x="1725" y="1600"/>
                  <a:pt x="1800" y="1649"/>
                  <a:pt x="1850" y="1674"/>
                </a:cubicBezTo>
                <a:cubicBezTo>
                  <a:pt x="1901" y="1700"/>
                  <a:pt x="1975" y="1700"/>
                  <a:pt x="2050" y="1674"/>
                </a:cubicBezTo>
                <a:cubicBezTo>
                  <a:pt x="2125" y="1625"/>
                  <a:pt x="2175" y="1674"/>
                  <a:pt x="2225" y="1700"/>
                </a:cubicBezTo>
                <a:cubicBezTo>
                  <a:pt x="2225" y="1700"/>
                  <a:pt x="2275" y="1725"/>
                  <a:pt x="2325" y="1774"/>
                </a:cubicBezTo>
                <a:cubicBezTo>
                  <a:pt x="2350" y="1725"/>
                  <a:pt x="2375" y="1674"/>
                  <a:pt x="2401" y="16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1" name="Freeform 216">
            <a:extLst>
              <a:ext uri="{FF2B5EF4-FFF2-40B4-BE49-F238E27FC236}">
                <a16:creationId xmlns:a16="http://schemas.microsoft.com/office/drawing/2014/main" id="{FB8BD43C-BA15-1443-9639-6E81173EDA7A}"/>
              </a:ext>
            </a:extLst>
          </p:cNvPr>
          <p:cNvSpPr>
            <a:spLocks noChangeArrowheads="1"/>
          </p:cNvSpPr>
          <p:nvPr/>
        </p:nvSpPr>
        <p:spPr bwMode="auto">
          <a:xfrm>
            <a:off x="2974145" y="4294912"/>
            <a:ext cx="127968" cy="119531"/>
          </a:xfrm>
          <a:custGeom>
            <a:avLst/>
            <a:gdLst>
              <a:gd name="T0" fmla="*/ 350 w 401"/>
              <a:gd name="T1" fmla="*/ 249 h 375"/>
              <a:gd name="T2" fmla="*/ 350 w 401"/>
              <a:gd name="T3" fmla="*/ 249 h 375"/>
              <a:gd name="T4" fmla="*/ 400 w 401"/>
              <a:gd name="T5" fmla="*/ 200 h 375"/>
              <a:gd name="T6" fmla="*/ 350 w 401"/>
              <a:gd name="T7" fmla="*/ 174 h 375"/>
              <a:gd name="T8" fmla="*/ 300 w 401"/>
              <a:gd name="T9" fmla="*/ 174 h 375"/>
              <a:gd name="T10" fmla="*/ 300 w 401"/>
              <a:gd name="T11" fmla="*/ 0 h 375"/>
              <a:gd name="T12" fmla="*/ 150 w 401"/>
              <a:gd name="T13" fmla="*/ 0 h 375"/>
              <a:gd name="T14" fmla="*/ 125 w 401"/>
              <a:gd name="T15" fmla="*/ 49 h 375"/>
              <a:gd name="T16" fmla="*/ 200 w 401"/>
              <a:gd name="T17" fmla="*/ 149 h 375"/>
              <a:gd name="T18" fmla="*/ 76 w 401"/>
              <a:gd name="T19" fmla="*/ 174 h 375"/>
              <a:gd name="T20" fmla="*/ 0 w 401"/>
              <a:gd name="T21" fmla="*/ 274 h 375"/>
              <a:gd name="T22" fmla="*/ 100 w 401"/>
              <a:gd name="T23" fmla="*/ 349 h 375"/>
              <a:gd name="T24" fmla="*/ 225 w 401"/>
              <a:gd name="T25" fmla="*/ 374 h 375"/>
              <a:gd name="T26" fmla="*/ 225 w 401"/>
              <a:gd name="T27" fmla="*/ 374 h 375"/>
              <a:gd name="T28" fmla="*/ 300 w 401"/>
              <a:gd name="T29" fmla="*/ 325 h 375"/>
              <a:gd name="T30" fmla="*/ 350 w 401"/>
              <a:gd name="T31" fmla="*/ 24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375">
                <a:moveTo>
                  <a:pt x="350" y="249"/>
                </a:moveTo>
                <a:lnTo>
                  <a:pt x="350" y="249"/>
                </a:lnTo>
                <a:cubicBezTo>
                  <a:pt x="350" y="225"/>
                  <a:pt x="376" y="225"/>
                  <a:pt x="400" y="200"/>
                </a:cubicBezTo>
                <a:cubicBezTo>
                  <a:pt x="350" y="225"/>
                  <a:pt x="350" y="200"/>
                  <a:pt x="350" y="174"/>
                </a:cubicBezTo>
                <a:cubicBezTo>
                  <a:pt x="300" y="174"/>
                  <a:pt x="300" y="174"/>
                  <a:pt x="300" y="174"/>
                </a:cubicBezTo>
                <a:cubicBezTo>
                  <a:pt x="300" y="0"/>
                  <a:pt x="300" y="0"/>
                  <a:pt x="300" y="0"/>
                </a:cubicBezTo>
                <a:cubicBezTo>
                  <a:pt x="276" y="0"/>
                  <a:pt x="176" y="0"/>
                  <a:pt x="150" y="0"/>
                </a:cubicBezTo>
                <a:cubicBezTo>
                  <a:pt x="125" y="0"/>
                  <a:pt x="125" y="49"/>
                  <a:pt x="125" y="49"/>
                </a:cubicBezTo>
                <a:cubicBezTo>
                  <a:pt x="125" y="74"/>
                  <a:pt x="200" y="125"/>
                  <a:pt x="200" y="149"/>
                </a:cubicBezTo>
                <a:cubicBezTo>
                  <a:pt x="176" y="174"/>
                  <a:pt x="76" y="174"/>
                  <a:pt x="76" y="174"/>
                </a:cubicBezTo>
                <a:cubicBezTo>
                  <a:pt x="50" y="174"/>
                  <a:pt x="25" y="225"/>
                  <a:pt x="0" y="274"/>
                </a:cubicBezTo>
                <a:cubicBezTo>
                  <a:pt x="25" y="300"/>
                  <a:pt x="76" y="349"/>
                  <a:pt x="100" y="349"/>
                </a:cubicBezTo>
                <a:cubicBezTo>
                  <a:pt x="125" y="374"/>
                  <a:pt x="200" y="349"/>
                  <a:pt x="225" y="374"/>
                </a:cubicBezTo>
                <a:lnTo>
                  <a:pt x="225" y="374"/>
                </a:lnTo>
                <a:cubicBezTo>
                  <a:pt x="250" y="349"/>
                  <a:pt x="276" y="325"/>
                  <a:pt x="300" y="325"/>
                </a:cubicBezTo>
                <a:cubicBezTo>
                  <a:pt x="325" y="325"/>
                  <a:pt x="300" y="274"/>
                  <a:pt x="350" y="2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2" name="Freeform 217">
            <a:extLst>
              <a:ext uri="{FF2B5EF4-FFF2-40B4-BE49-F238E27FC236}">
                <a16:creationId xmlns:a16="http://schemas.microsoft.com/office/drawing/2014/main" id="{763F2942-F606-5547-9AAA-29D156D04E24}"/>
              </a:ext>
            </a:extLst>
          </p:cNvPr>
          <p:cNvSpPr>
            <a:spLocks noChangeArrowheads="1"/>
          </p:cNvSpPr>
          <p:nvPr/>
        </p:nvSpPr>
        <p:spPr bwMode="auto">
          <a:xfrm>
            <a:off x="3069771" y="4271006"/>
            <a:ext cx="40780" cy="80156"/>
          </a:xfrm>
          <a:custGeom>
            <a:avLst/>
            <a:gdLst>
              <a:gd name="T0" fmla="*/ 25 w 126"/>
              <a:gd name="T1" fmla="*/ 75 h 250"/>
              <a:gd name="T2" fmla="*/ 25 w 126"/>
              <a:gd name="T3" fmla="*/ 75 h 250"/>
              <a:gd name="T4" fmla="*/ 0 w 126"/>
              <a:gd name="T5" fmla="*/ 75 h 250"/>
              <a:gd name="T6" fmla="*/ 0 w 126"/>
              <a:gd name="T7" fmla="*/ 249 h 250"/>
              <a:gd name="T8" fmla="*/ 50 w 126"/>
              <a:gd name="T9" fmla="*/ 249 h 250"/>
              <a:gd name="T10" fmla="*/ 76 w 126"/>
              <a:gd name="T11" fmla="*/ 200 h 250"/>
              <a:gd name="T12" fmla="*/ 100 w 126"/>
              <a:gd name="T13" fmla="*/ 49 h 250"/>
              <a:gd name="T14" fmla="*/ 125 w 126"/>
              <a:gd name="T15" fmla="*/ 24 h 250"/>
              <a:gd name="T16" fmla="*/ 76 w 126"/>
              <a:gd name="T17" fmla="*/ 0 h 250"/>
              <a:gd name="T18" fmla="*/ 25 w 126"/>
              <a:gd name="T19" fmla="*/ 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250">
                <a:moveTo>
                  <a:pt x="25" y="75"/>
                </a:moveTo>
                <a:lnTo>
                  <a:pt x="25" y="75"/>
                </a:lnTo>
                <a:cubicBezTo>
                  <a:pt x="25" y="75"/>
                  <a:pt x="25" y="75"/>
                  <a:pt x="0" y="75"/>
                </a:cubicBezTo>
                <a:cubicBezTo>
                  <a:pt x="0" y="249"/>
                  <a:pt x="0" y="249"/>
                  <a:pt x="0" y="249"/>
                </a:cubicBezTo>
                <a:cubicBezTo>
                  <a:pt x="50" y="249"/>
                  <a:pt x="50" y="249"/>
                  <a:pt x="50" y="249"/>
                </a:cubicBezTo>
                <a:cubicBezTo>
                  <a:pt x="50" y="224"/>
                  <a:pt x="76" y="224"/>
                  <a:pt x="76" y="200"/>
                </a:cubicBezTo>
                <a:cubicBezTo>
                  <a:pt x="125" y="175"/>
                  <a:pt x="76" y="49"/>
                  <a:pt x="100" y="49"/>
                </a:cubicBezTo>
                <a:cubicBezTo>
                  <a:pt x="125" y="49"/>
                  <a:pt x="125" y="49"/>
                  <a:pt x="125" y="24"/>
                </a:cubicBezTo>
                <a:cubicBezTo>
                  <a:pt x="125" y="24"/>
                  <a:pt x="100" y="0"/>
                  <a:pt x="76" y="0"/>
                </a:cubicBezTo>
                <a:cubicBezTo>
                  <a:pt x="50" y="0"/>
                  <a:pt x="25" y="75"/>
                  <a:pt x="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3" name="Freeform 218">
            <a:extLst>
              <a:ext uri="{FF2B5EF4-FFF2-40B4-BE49-F238E27FC236}">
                <a16:creationId xmlns:a16="http://schemas.microsoft.com/office/drawing/2014/main" id="{4C88C8FB-D6C3-7A44-A069-E11C23E68438}"/>
              </a:ext>
            </a:extLst>
          </p:cNvPr>
          <p:cNvSpPr>
            <a:spLocks noChangeArrowheads="1"/>
          </p:cNvSpPr>
          <p:nvPr/>
        </p:nvSpPr>
        <p:spPr bwMode="auto">
          <a:xfrm>
            <a:off x="3508517" y="4214755"/>
            <a:ext cx="95624" cy="80156"/>
          </a:xfrm>
          <a:custGeom>
            <a:avLst/>
            <a:gdLst>
              <a:gd name="T0" fmla="*/ 150 w 301"/>
              <a:gd name="T1" fmla="*/ 25 h 252"/>
              <a:gd name="T2" fmla="*/ 150 w 301"/>
              <a:gd name="T3" fmla="*/ 25 h 252"/>
              <a:gd name="T4" fmla="*/ 200 w 301"/>
              <a:gd name="T5" fmla="*/ 151 h 252"/>
              <a:gd name="T6" fmla="*/ 25 w 301"/>
              <a:gd name="T7" fmla="*/ 200 h 252"/>
              <a:gd name="T8" fmla="*/ 150 w 301"/>
              <a:gd name="T9" fmla="*/ 225 h 252"/>
              <a:gd name="T10" fmla="*/ 274 w 301"/>
              <a:gd name="T11" fmla="*/ 225 h 252"/>
              <a:gd name="T12" fmla="*/ 300 w 301"/>
              <a:gd name="T13" fmla="*/ 51 h 252"/>
              <a:gd name="T14" fmla="*/ 150 w 301"/>
              <a:gd name="T15" fmla="*/ 25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52">
                <a:moveTo>
                  <a:pt x="150" y="25"/>
                </a:moveTo>
                <a:lnTo>
                  <a:pt x="150" y="25"/>
                </a:lnTo>
                <a:cubicBezTo>
                  <a:pt x="100" y="51"/>
                  <a:pt x="200" y="125"/>
                  <a:pt x="200" y="151"/>
                </a:cubicBezTo>
                <a:cubicBezTo>
                  <a:pt x="200" y="200"/>
                  <a:pt x="25" y="151"/>
                  <a:pt x="25" y="200"/>
                </a:cubicBezTo>
                <a:cubicBezTo>
                  <a:pt x="0" y="200"/>
                  <a:pt x="74" y="251"/>
                  <a:pt x="150" y="225"/>
                </a:cubicBezTo>
                <a:cubicBezTo>
                  <a:pt x="200" y="200"/>
                  <a:pt x="250" y="225"/>
                  <a:pt x="274" y="225"/>
                </a:cubicBezTo>
                <a:cubicBezTo>
                  <a:pt x="274" y="176"/>
                  <a:pt x="274" y="100"/>
                  <a:pt x="300" y="51"/>
                </a:cubicBezTo>
                <a:cubicBezTo>
                  <a:pt x="225" y="51"/>
                  <a:pt x="174" y="0"/>
                  <a:pt x="150" y="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4" name="Freeform 219">
            <a:extLst>
              <a:ext uri="{FF2B5EF4-FFF2-40B4-BE49-F238E27FC236}">
                <a16:creationId xmlns:a16="http://schemas.microsoft.com/office/drawing/2014/main" id="{9C6562BC-51F6-6340-9508-EACA163BAD61}"/>
              </a:ext>
            </a:extLst>
          </p:cNvPr>
          <p:cNvSpPr>
            <a:spLocks noChangeArrowheads="1"/>
          </p:cNvSpPr>
          <p:nvPr/>
        </p:nvSpPr>
        <p:spPr bwMode="auto">
          <a:xfrm>
            <a:off x="3597111" y="4230226"/>
            <a:ext cx="104061" cy="64687"/>
          </a:xfrm>
          <a:custGeom>
            <a:avLst/>
            <a:gdLst>
              <a:gd name="T0" fmla="*/ 126 w 327"/>
              <a:gd name="T1" fmla="*/ 149 h 201"/>
              <a:gd name="T2" fmla="*/ 126 w 327"/>
              <a:gd name="T3" fmla="*/ 149 h 201"/>
              <a:gd name="T4" fmla="*/ 326 w 327"/>
              <a:gd name="T5" fmla="*/ 100 h 201"/>
              <a:gd name="T6" fmla="*/ 76 w 327"/>
              <a:gd name="T7" fmla="*/ 0 h 201"/>
              <a:gd name="T8" fmla="*/ 26 w 327"/>
              <a:gd name="T9" fmla="*/ 0 h 201"/>
              <a:gd name="T10" fmla="*/ 0 w 327"/>
              <a:gd name="T11" fmla="*/ 174 h 201"/>
              <a:gd name="T12" fmla="*/ 0 w 327"/>
              <a:gd name="T13" fmla="*/ 200 h 201"/>
              <a:gd name="T14" fmla="*/ 126 w 327"/>
              <a:gd name="T15" fmla="*/ 14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01">
                <a:moveTo>
                  <a:pt x="126" y="149"/>
                </a:moveTo>
                <a:lnTo>
                  <a:pt x="126" y="149"/>
                </a:lnTo>
                <a:cubicBezTo>
                  <a:pt x="200" y="125"/>
                  <a:pt x="326" y="174"/>
                  <a:pt x="326" y="100"/>
                </a:cubicBezTo>
                <a:cubicBezTo>
                  <a:pt x="326" y="49"/>
                  <a:pt x="126" y="0"/>
                  <a:pt x="76" y="0"/>
                </a:cubicBezTo>
                <a:cubicBezTo>
                  <a:pt x="51" y="0"/>
                  <a:pt x="26" y="0"/>
                  <a:pt x="26" y="0"/>
                </a:cubicBezTo>
                <a:cubicBezTo>
                  <a:pt x="0" y="49"/>
                  <a:pt x="0" y="125"/>
                  <a:pt x="0" y="174"/>
                </a:cubicBezTo>
                <a:cubicBezTo>
                  <a:pt x="0" y="174"/>
                  <a:pt x="0" y="174"/>
                  <a:pt x="0" y="200"/>
                </a:cubicBezTo>
                <a:cubicBezTo>
                  <a:pt x="26" y="200"/>
                  <a:pt x="51" y="174"/>
                  <a:pt x="126" y="1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5" name="Freeform 220">
            <a:extLst>
              <a:ext uri="{FF2B5EF4-FFF2-40B4-BE49-F238E27FC236}">
                <a16:creationId xmlns:a16="http://schemas.microsoft.com/office/drawing/2014/main" id="{E0615F6B-9000-8947-A9C2-0B287893CC5D}"/>
              </a:ext>
            </a:extLst>
          </p:cNvPr>
          <p:cNvSpPr>
            <a:spLocks noChangeArrowheads="1"/>
          </p:cNvSpPr>
          <p:nvPr/>
        </p:nvSpPr>
        <p:spPr bwMode="auto">
          <a:xfrm>
            <a:off x="3126020" y="4382097"/>
            <a:ext cx="127968" cy="127968"/>
          </a:xfrm>
          <a:custGeom>
            <a:avLst/>
            <a:gdLst>
              <a:gd name="T0" fmla="*/ 225 w 401"/>
              <a:gd name="T1" fmla="*/ 375 h 401"/>
              <a:gd name="T2" fmla="*/ 225 w 401"/>
              <a:gd name="T3" fmla="*/ 375 h 401"/>
              <a:gd name="T4" fmla="*/ 300 w 401"/>
              <a:gd name="T5" fmla="*/ 400 h 401"/>
              <a:gd name="T6" fmla="*/ 349 w 401"/>
              <a:gd name="T7" fmla="*/ 400 h 401"/>
              <a:gd name="T8" fmla="*/ 349 w 401"/>
              <a:gd name="T9" fmla="*/ 375 h 401"/>
              <a:gd name="T10" fmla="*/ 374 w 401"/>
              <a:gd name="T11" fmla="*/ 251 h 401"/>
              <a:gd name="T12" fmla="*/ 374 w 401"/>
              <a:gd name="T13" fmla="*/ 100 h 401"/>
              <a:gd name="T14" fmla="*/ 400 w 401"/>
              <a:gd name="T15" fmla="*/ 0 h 401"/>
              <a:gd name="T16" fmla="*/ 400 w 401"/>
              <a:gd name="T17" fmla="*/ 0 h 401"/>
              <a:gd name="T18" fmla="*/ 300 w 401"/>
              <a:gd name="T19" fmla="*/ 26 h 401"/>
              <a:gd name="T20" fmla="*/ 200 w 401"/>
              <a:gd name="T21" fmla="*/ 51 h 401"/>
              <a:gd name="T22" fmla="*/ 100 w 401"/>
              <a:gd name="T23" fmla="*/ 100 h 401"/>
              <a:gd name="T24" fmla="*/ 74 w 401"/>
              <a:gd name="T25" fmla="*/ 151 h 401"/>
              <a:gd name="T26" fmla="*/ 25 w 401"/>
              <a:gd name="T27" fmla="*/ 175 h 401"/>
              <a:gd name="T28" fmla="*/ 0 w 401"/>
              <a:gd name="T29" fmla="*/ 200 h 401"/>
              <a:gd name="T30" fmla="*/ 25 w 401"/>
              <a:gd name="T31" fmla="*/ 226 h 401"/>
              <a:gd name="T32" fmla="*/ 125 w 401"/>
              <a:gd name="T33" fmla="*/ 351 h 401"/>
              <a:gd name="T34" fmla="*/ 174 w 401"/>
              <a:gd name="T35" fmla="*/ 375 h 401"/>
              <a:gd name="T36" fmla="*/ 225 w 401"/>
              <a:gd name="T37" fmla="*/ 37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01">
                <a:moveTo>
                  <a:pt x="225" y="375"/>
                </a:moveTo>
                <a:lnTo>
                  <a:pt x="225" y="375"/>
                </a:lnTo>
                <a:cubicBezTo>
                  <a:pt x="225" y="400"/>
                  <a:pt x="274" y="375"/>
                  <a:pt x="300" y="400"/>
                </a:cubicBezTo>
                <a:cubicBezTo>
                  <a:pt x="325" y="400"/>
                  <a:pt x="325" y="400"/>
                  <a:pt x="349" y="400"/>
                </a:cubicBezTo>
                <a:lnTo>
                  <a:pt x="349" y="375"/>
                </a:lnTo>
                <a:cubicBezTo>
                  <a:pt x="325" y="351"/>
                  <a:pt x="349" y="300"/>
                  <a:pt x="374" y="251"/>
                </a:cubicBezTo>
                <a:cubicBezTo>
                  <a:pt x="374" y="226"/>
                  <a:pt x="349" y="126"/>
                  <a:pt x="374" y="100"/>
                </a:cubicBezTo>
                <a:cubicBezTo>
                  <a:pt x="400" y="75"/>
                  <a:pt x="374" y="51"/>
                  <a:pt x="400" y="0"/>
                </a:cubicBezTo>
                <a:lnTo>
                  <a:pt x="400" y="0"/>
                </a:lnTo>
                <a:cubicBezTo>
                  <a:pt x="349" y="0"/>
                  <a:pt x="300" y="26"/>
                  <a:pt x="300" y="26"/>
                </a:cubicBezTo>
                <a:cubicBezTo>
                  <a:pt x="274" y="26"/>
                  <a:pt x="200" y="26"/>
                  <a:pt x="200" y="51"/>
                </a:cubicBezTo>
                <a:cubicBezTo>
                  <a:pt x="200" y="100"/>
                  <a:pt x="149" y="100"/>
                  <a:pt x="100" y="100"/>
                </a:cubicBezTo>
                <a:cubicBezTo>
                  <a:pt x="49" y="100"/>
                  <a:pt x="74" y="151"/>
                  <a:pt x="74" y="151"/>
                </a:cubicBezTo>
                <a:cubicBezTo>
                  <a:pt x="49" y="175"/>
                  <a:pt x="25" y="175"/>
                  <a:pt x="25" y="175"/>
                </a:cubicBezTo>
                <a:cubicBezTo>
                  <a:pt x="0" y="200"/>
                  <a:pt x="0" y="200"/>
                  <a:pt x="0" y="200"/>
                </a:cubicBezTo>
                <a:cubicBezTo>
                  <a:pt x="0" y="200"/>
                  <a:pt x="0" y="226"/>
                  <a:pt x="25" y="226"/>
                </a:cubicBezTo>
                <a:cubicBezTo>
                  <a:pt x="49" y="251"/>
                  <a:pt x="100" y="325"/>
                  <a:pt x="125" y="351"/>
                </a:cubicBezTo>
                <a:cubicBezTo>
                  <a:pt x="149" y="351"/>
                  <a:pt x="149" y="351"/>
                  <a:pt x="174" y="375"/>
                </a:cubicBezTo>
                <a:cubicBezTo>
                  <a:pt x="174" y="375"/>
                  <a:pt x="200" y="375"/>
                  <a:pt x="225" y="3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6" name="Freeform 221">
            <a:extLst>
              <a:ext uri="{FF2B5EF4-FFF2-40B4-BE49-F238E27FC236}">
                <a16:creationId xmlns:a16="http://schemas.microsoft.com/office/drawing/2014/main" id="{8DB1E512-0645-ED4D-A461-190996012B5B}"/>
              </a:ext>
            </a:extLst>
          </p:cNvPr>
          <p:cNvSpPr>
            <a:spLocks noChangeArrowheads="1"/>
          </p:cNvSpPr>
          <p:nvPr/>
        </p:nvSpPr>
        <p:spPr bwMode="auto">
          <a:xfrm>
            <a:off x="4003515" y="5777089"/>
            <a:ext cx="143436" cy="160312"/>
          </a:xfrm>
          <a:custGeom>
            <a:avLst/>
            <a:gdLst>
              <a:gd name="T0" fmla="*/ 450 w 451"/>
              <a:gd name="T1" fmla="*/ 251 h 501"/>
              <a:gd name="T2" fmla="*/ 450 w 451"/>
              <a:gd name="T3" fmla="*/ 251 h 501"/>
              <a:gd name="T4" fmla="*/ 375 w 451"/>
              <a:gd name="T5" fmla="*/ 175 h 501"/>
              <a:gd name="T6" fmla="*/ 275 w 451"/>
              <a:gd name="T7" fmla="*/ 75 h 501"/>
              <a:gd name="T8" fmla="*/ 225 w 451"/>
              <a:gd name="T9" fmla="*/ 100 h 501"/>
              <a:gd name="T10" fmla="*/ 175 w 451"/>
              <a:gd name="T11" fmla="*/ 25 h 501"/>
              <a:gd name="T12" fmla="*/ 100 w 451"/>
              <a:gd name="T13" fmla="*/ 0 h 501"/>
              <a:gd name="T14" fmla="*/ 75 w 451"/>
              <a:gd name="T15" fmla="*/ 0 h 501"/>
              <a:gd name="T16" fmla="*/ 50 w 451"/>
              <a:gd name="T17" fmla="*/ 51 h 501"/>
              <a:gd name="T18" fmla="*/ 25 w 451"/>
              <a:gd name="T19" fmla="*/ 225 h 501"/>
              <a:gd name="T20" fmla="*/ 0 w 451"/>
              <a:gd name="T21" fmla="*/ 351 h 501"/>
              <a:gd name="T22" fmla="*/ 25 w 451"/>
              <a:gd name="T23" fmla="*/ 400 h 501"/>
              <a:gd name="T24" fmla="*/ 0 w 451"/>
              <a:gd name="T25" fmla="*/ 451 h 501"/>
              <a:gd name="T26" fmla="*/ 50 w 451"/>
              <a:gd name="T27" fmla="*/ 451 h 501"/>
              <a:gd name="T28" fmla="*/ 175 w 451"/>
              <a:gd name="T29" fmla="*/ 500 h 501"/>
              <a:gd name="T30" fmla="*/ 250 w 451"/>
              <a:gd name="T31" fmla="*/ 500 h 501"/>
              <a:gd name="T32" fmla="*/ 375 w 451"/>
              <a:gd name="T33" fmla="*/ 475 h 501"/>
              <a:gd name="T34" fmla="*/ 450 w 451"/>
              <a:gd name="T35" fmla="*/ 375 h 501"/>
              <a:gd name="T36" fmla="*/ 450 w 451"/>
              <a:gd name="T37" fmla="*/ 25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 h="501">
                <a:moveTo>
                  <a:pt x="450" y="251"/>
                </a:moveTo>
                <a:lnTo>
                  <a:pt x="450" y="251"/>
                </a:lnTo>
                <a:cubicBezTo>
                  <a:pt x="450" y="200"/>
                  <a:pt x="400" y="175"/>
                  <a:pt x="375" y="175"/>
                </a:cubicBezTo>
                <a:cubicBezTo>
                  <a:pt x="375" y="151"/>
                  <a:pt x="300" y="125"/>
                  <a:pt x="275" y="75"/>
                </a:cubicBezTo>
                <a:cubicBezTo>
                  <a:pt x="250" y="51"/>
                  <a:pt x="250" y="100"/>
                  <a:pt x="225" y="100"/>
                </a:cubicBezTo>
                <a:cubicBezTo>
                  <a:pt x="225" y="100"/>
                  <a:pt x="225" y="75"/>
                  <a:pt x="175" y="25"/>
                </a:cubicBezTo>
                <a:cubicBezTo>
                  <a:pt x="150" y="0"/>
                  <a:pt x="125" y="0"/>
                  <a:pt x="100" y="0"/>
                </a:cubicBezTo>
                <a:cubicBezTo>
                  <a:pt x="100" y="0"/>
                  <a:pt x="100" y="0"/>
                  <a:pt x="75" y="0"/>
                </a:cubicBezTo>
                <a:cubicBezTo>
                  <a:pt x="50" y="25"/>
                  <a:pt x="50" y="51"/>
                  <a:pt x="50" y="51"/>
                </a:cubicBezTo>
                <a:cubicBezTo>
                  <a:pt x="50" y="100"/>
                  <a:pt x="25" y="151"/>
                  <a:pt x="25" y="225"/>
                </a:cubicBezTo>
                <a:cubicBezTo>
                  <a:pt x="25" y="300"/>
                  <a:pt x="0" y="275"/>
                  <a:pt x="0" y="351"/>
                </a:cubicBezTo>
                <a:cubicBezTo>
                  <a:pt x="0" y="400"/>
                  <a:pt x="0" y="400"/>
                  <a:pt x="25" y="400"/>
                </a:cubicBezTo>
                <a:cubicBezTo>
                  <a:pt x="25" y="400"/>
                  <a:pt x="25" y="425"/>
                  <a:pt x="0" y="451"/>
                </a:cubicBezTo>
                <a:cubicBezTo>
                  <a:pt x="25" y="451"/>
                  <a:pt x="25" y="451"/>
                  <a:pt x="50" y="451"/>
                </a:cubicBezTo>
                <a:cubicBezTo>
                  <a:pt x="75" y="451"/>
                  <a:pt x="125" y="475"/>
                  <a:pt x="175" y="500"/>
                </a:cubicBezTo>
                <a:cubicBezTo>
                  <a:pt x="225" y="500"/>
                  <a:pt x="200" y="475"/>
                  <a:pt x="250" y="500"/>
                </a:cubicBezTo>
                <a:cubicBezTo>
                  <a:pt x="275" y="500"/>
                  <a:pt x="325" y="500"/>
                  <a:pt x="375" y="475"/>
                </a:cubicBezTo>
                <a:cubicBezTo>
                  <a:pt x="425" y="451"/>
                  <a:pt x="425" y="425"/>
                  <a:pt x="450" y="375"/>
                </a:cubicBezTo>
                <a:cubicBezTo>
                  <a:pt x="425" y="325"/>
                  <a:pt x="450" y="275"/>
                  <a:pt x="450" y="2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7" name="Freeform 222">
            <a:extLst>
              <a:ext uri="{FF2B5EF4-FFF2-40B4-BE49-F238E27FC236}">
                <a16:creationId xmlns:a16="http://schemas.microsoft.com/office/drawing/2014/main" id="{7FB53BCD-00D7-8446-A3C4-1FE947AE05D8}"/>
              </a:ext>
            </a:extLst>
          </p:cNvPr>
          <p:cNvSpPr>
            <a:spLocks noChangeArrowheads="1"/>
          </p:cNvSpPr>
          <p:nvPr/>
        </p:nvSpPr>
        <p:spPr bwMode="auto">
          <a:xfrm>
            <a:off x="3540861" y="5505684"/>
            <a:ext cx="606091" cy="1196712"/>
          </a:xfrm>
          <a:custGeom>
            <a:avLst/>
            <a:gdLst>
              <a:gd name="T0" fmla="*/ 725 w 1901"/>
              <a:gd name="T1" fmla="*/ 3675 h 3752"/>
              <a:gd name="T2" fmla="*/ 475 w 1901"/>
              <a:gd name="T3" fmla="*/ 3501 h 3752"/>
              <a:gd name="T4" fmla="*/ 450 w 1901"/>
              <a:gd name="T5" fmla="*/ 3401 h 3752"/>
              <a:gd name="T6" fmla="*/ 625 w 1901"/>
              <a:gd name="T7" fmla="*/ 3726 h 3752"/>
              <a:gd name="T8" fmla="*/ 775 w 1901"/>
              <a:gd name="T9" fmla="*/ 3701 h 3752"/>
              <a:gd name="T10" fmla="*/ 1875 w 1901"/>
              <a:gd name="T11" fmla="*/ 375 h 3752"/>
              <a:gd name="T12" fmla="*/ 1800 w 1901"/>
              <a:gd name="T13" fmla="*/ 375 h 3752"/>
              <a:gd name="T14" fmla="*/ 1750 w 1901"/>
              <a:gd name="T15" fmla="*/ 525 h 3752"/>
              <a:gd name="T16" fmla="*/ 1600 w 1901"/>
              <a:gd name="T17" fmla="*/ 575 h 3752"/>
              <a:gd name="T18" fmla="*/ 1425 w 1901"/>
              <a:gd name="T19" fmla="*/ 550 h 3752"/>
              <a:gd name="T20" fmla="*/ 1525 w 1901"/>
              <a:gd name="T21" fmla="*/ 350 h 3752"/>
              <a:gd name="T22" fmla="*/ 1250 w 1901"/>
              <a:gd name="T23" fmla="*/ 225 h 3752"/>
              <a:gd name="T24" fmla="*/ 1025 w 1901"/>
              <a:gd name="T25" fmla="*/ 25 h 3752"/>
              <a:gd name="T26" fmla="*/ 875 w 1901"/>
              <a:gd name="T27" fmla="*/ 75 h 3752"/>
              <a:gd name="T28" fmla="*/ 675 w 1901"/>
              <a:gd name="T29" fmla="*/ 25 h 3752"/>
              <a:gd name="T30" fmla="*/ 600 w 1901"/>
              <a:gd name="T31" fmla="*/ 200 h 3752"/>
              <a:gd name="T32" fmla="*/ 475 w 1901"/>
              <a:gd name="T33" fmla="*/ 350 h 3752"/>
              <a:gd name="T34" fmla="*/ 500 w 1901"/>
              <a:gd name="T35" fmla="*/ 525 h 3752"/>
              <a:gd name="T36" fmla="*/ 400 w 1901"/>
              <a:gd name="T37" fmla="*/ 650 h 3752"/>
              <a:gd name="T38" fmla="*/ 325 w 1901"/>
              <a:gd name="T39" fmla="*/ 775 h 3752"/>
              <a:gd name="T40" fmla="*/ 300 w 1901"/>
              <a:gd name="T41" fmla="*/ 950 h 3752"/>
              <a:gd name="T42" fmla="*/ 325 w 1901"/>
              <a:gd name="T43" fmla="*/ 1150 h 3752"/>
              <a:gd name="T44" fmla="*/ 325 w 1901"/>
              <a:gd name="T45" fmla="*/ 1301 h 3752"/>
              <a:gd name="T46" fmla="*/ 300 w 1901"/>
              <a:gd name="T47" fmla="*/ 1501 h 3752"/>
              <a:gd name="T48" fmla="*/ 225 w 1901"/>
              <a:gd name="T49" fmla="*/ 1701 h 3752"/>
              <a:gd name="T50" fmla="*/ 200 w 1901"/>
              <a:gd name="T51" fmla="*/ 1801 h 3752"/>
              <a:gd name="T52" fmla="*/ 174 w 1901"/>
              <a:gd name="T53" fmla="*/ 1925 h 3752"/>
              <a:gd name="T54" fmla="*/ 150 w 1901"/>
              <a:gd name="T55" fmla="*/ 2050 h 3752"/>
              <a:gd name="T56" fmla="*/ 150 w 1901"/>
              <a:gd name="T57" fmla="*/ 2250 h 3752"/>
              <a:gd name="T58" fmla="*/ 174 w 1901"/>
              <a:gd name="T59" fmla="*/ 2375 h 3752"/>
              <a:gd name="T60" fmla="*/ 200 w 1901"/>
              <a:gd name="T61" fmla="*/ 2450 h 3752"/>
              <a:gd name="T62" fmla="*/ 174 w 1901"/>
              <a:gd name="T63" fmla="*/ 2526 h 3752"/>
              <a:gd name="T64" fmla="*/ 174 w 1901"/>
              <a:gd name="T65" fmla="*/ 2675 h 3752"/>
              <a:gd name="T66" fmla="*/ 100 w 1901"/>
              <a:gd name="T67" fmla="*/ 2801 h 3752"/>
              <a:gd name="T68" fmla="*/ 74 w 1901"/>
              <a:gd name="T69" fmla="*/ 2950 h 3752"/>
              <a:gd name="T70" fmla="*/ 25 w 1901"/>
              <a:gd name="T71" fmla="*/ 3101 h 3752"/>
              <a:gd name="T72" fmla="*/ 125 w 1901"/>
              <a:gd name="T73" fmla="*/ 3201 h 3752"/>
              <a:gd name="T74" fmla="*/ 174 w 1901"/>
              <a:gd name="T75" fmla="*/ 3326 h 3752"/>
              <a:gd name="T76" fmla="*/ 374 w 1901"/>
              <a:gd name="T77" fmla="*/ 3351 h 3752"/>
              <a:gd name="T78" fmla="*/ 425 w 1901"/>
              <a:gd name="T79" fmla="*/ 3275 h 3752"/>
              <a:gd name="T80" fmla="*/ 425 w 1901"/>
              <a:gd name="T81" fmla="*/ 3126 h 3752"/>
              <a:gd name="T82" fmla="*/ 550 w 1901"/>
              <a:gd name="T83" fmla="*/ 3026 h 3752"/>
              <a:gd name="T84" fmla="*/ 725 w 1901"/>
              <a:gd name="T85" fmla="*/ 2826 h 3752"/>
              <a:gd name="T86" fmla="*/ 650 w 1901"/>
              <a:gd name="T87" fmla="*/ 2701 h 3752"/>
              <a:gd name="T88" fmla="*/ 725 w 1901"/>
              <a:gd name="T89" fmla="*/ 2475 h 3752"/>
              <a:gd name="T90" fmla="*/ 775 w 1901"/>
              <a:gd name="T91" fmla="*/ 2375 h 3752"/>
              <a:gd name="T92" fmla="*/ 850 w 1901"/>
              <a:gd name="T93" fmla="*/ 2250 h 3752"/>
              <a:gd name="T94" fmla="*/ 900 w 1901"/>
              <a:gd name="T95" fmla="*/ 2226 h 3752"/>
              <a:gd name="T96" fmla="*/ 875 w 1901"/>
              <a:gd name="T97" fmla="*/ 2175 h 3752"/>
              <a:gd name="T98" fmla="*/ 800 w 1901"/>
              <a:gd name="T99" fmla="*/ 2075 h 3752"/>
              <a:gd name="T100" fmla="*/ 950 w 1901"/>
              <a:gd name="T101" fmla="*/ 2026 h 3752"/>
              <a:gd name="T102" fmla="*/ 1075 w 1901"/>
              <a:gd name="T103" fmla="*/ 1901 h 3752"/>
              <a:gd name="T104" fmla="*/ 1100 w 1901"/>
              <a:gd name="T105" fmla="*/ 1775 h 3752"/>
              <a:gd name="T106" fmla="*/ 1525 w 1901"/>
              <a:gd name="T107" fmla="*/ 1675 h 3752"/>
              <a:gd name="T108" fmla="*/ 1575 w 1901"/>
              <a:gd name="T109" fmla="*/ 1501 h 3752"/>
              <a:gd name="T110" fmla="*/ 1500 w 1901"/>
              <a:gd name="T111" fmla="*/ 1350 h 3752"/>
              <a:gd name="T112" fmla="*/ 1450 w 1901"/>
              <a:gd name="T113" fmla="*/ 1301 h 3752"/>
              <a:gd name="T114" fmla="*/ 1450 w 1901"/>
              <a:gd name="T115" fmla="*/ 1201 h 3752"/>
              <a:gd name="T116" fmla="*/ 1500 w 1901"/>
              <a:gd name="T117" fmla="*/ 901 h 3752"/>
              <a:gd name="T118" fmla="*/ 1775 w 1901"/>
              <a:gd name="T119" fmla="*/ 575 h 3752"/>
              <a:gd name="T120" fmla="*/ 1875 w 1901"/>
              <a:gd name="T121" fmla="*/ 375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1" h="3752">
                <a:moveTo>
                  <a:pt x="725" y="3675"/>
                </a:moveTo>
                <a:lnTo>
                  <a:pt x="725" y="3675"/>
                </a:lnTo>
                <a:cubicBezTo>
                  <a:pt x="675" y="3675"/>
                  <a:pt x="550" y="3575"/>
                  <a:pt x="525" y="3551"/>
                </a:cubicBezTo>
                <a:cubicBezTo>
                  <a:pt x="500" y="3526"/>
                  <a:pt x="525" y="3501"/>
                  <a:pt x="475" y="3501"/>
                </a:cubicBezTo>
                <a:cubicBezTo>
                  <a:pt x="450" y="3501"/>
                  <a:pt x="475" y="3475"/>
                  <a:pt x="500" y="3475"/>
                </a:cubicBezTo>
                <a:cubicBezTo>
                  <a:pt x="500" y="3451"/>
                  <a:pt x="475" y="3426"/>
                  <a:pt x="450" y="3401"/>
                </a:cubicBezTo>
                <a:cubicBezTo>
                  <a:pt x="450" y="3475"/>
                  <a:pt x="450" y="3726"/>
                  <a:pt x="450" y="3726"/>
                </a:cubicBezTo>
                <a:cubicBezTo>
                  <a:pt x="475" y="3726"/>
                  <a:pt x="575" y="3701"/>
                  <a:pt x="625" y="3726"/>
                </a:cubicBezTo>
                <a:cubicBezTo>
                  <a:pt x="625" y="3726"/>
                  <a:pt x="650" y="3751"/>
                  <a:pt x="650" y="3726"/>
                </a:cubicBezTo>
                <a:cubicBezTo>
                  <a:pt x="675" y="3701"/>
                  <a:pt x="750" y="3726"/>
                  <a:pt x="775" y="3701"/>
                </a:cubicBezTo>
                <a:cubicBezTo>
                  <a:pt x="800" y="3675"/>
                  <a:pt x="775" y="3675"/>
                  <a:pt x="725" y="3675"/>
                </a:cubicBezTo>
                <a:close/>
                <a:moveTo>
                  <a:pt x="1875" y="375"/>
                </a:moveTo>
                <a:lnTo>
                  <a:pt x="1875" y="375"/>
                </a:lnTo>
                <a:cubicBezTo>
                  <a:pt x="1850" y="375"/>
                  <a:pt x="1825" y="375"/>
                  <a:pt x="1800" y="375"/>
                </a:cubicBezTo>
                <a:lnTo>
                  <a:pt x="1800" y="375"/>
                </a:lnTo>
                <a:cubicBezTo>
                  <a:pt x="1825" y="425"/>
                  <a:pt x="1800" y="525"/>
                  <a:pt x="1750" y="525"/>
                </a:cubicBezTo>
                <a:cubicBezTo>
                  <a:pt x="1725" y="525"/>
                  <a:pt x="1700" y="575"/>
                  <a:pt x="1675" y="550"/>
                </a:cubicBezTo>
                <a:cubicBezTo>
                  <a:pt x="1675" y="550"/>
                  <a:pt x="1625" y="600"/>
                  <a:pt x="1600" y="575"/>
                </a:cubicBezTo>
                <a:cubicBezTo>
                  <a:pt x="1575" y="550"/>
                  <a:pt x="1550" y="575"/>
                  <a:pt x="1525" y="575"/>
                </a:cubicBezTo>
                <a:cubicBezTo>
                  <a:pt x="1500" y="550"/>
                  <a:pt x="1425" y="575"/>
                  <a:pt x="1425" y="550"/>
                </a:cubicBezTo>
                <a:cubicBezTo>
                  <a:pt x="1425" y="525"/>
                  <a:pt x="1450" y="525"/>
                  <a:pt x="1450" y="475"/>
                </a:cubicBezTo>
                <a:cubicBezTo>
                  <a:pt x="1450" y="425"/>
                  <a:pt x="1550" y="375"/>
                  <a:pt x="1525" y="350"/>
                </a:cubicBezTo>
                <a:cubicBezTo>
                  <a:pt x="1525" y="350"/>
                  <a:pt x="1375" y="300"/>
                  <a:pt x="1350" y="275"/>
                </a:cubicBezTo>
                <a:cubicBezTo>
                  <a:pt x="1350" y="250"/>
                  <a:pt x="1300" y="225"/>
                  <a:pt x="1250" y="225"/>
                </a:cubicBezTo>
                <a:cubicBezTo>
                  <a:pt x="1200" y="225"/>
                  <a:pt x="1200" y="175"/>
                  <a:pt x="1150" y="150"/>
                </a:cubicBezTo>
                <a:cubicBezTo>
                  <a:pt x="1100" y="125"/>
                  <a:pt x="1050" y="50"/>
                  <a:pt x="1025" y="25"/>
                </a:cubicBezTo>
                <a:cubicBezTo>
                  <a:pt x="975" y="25"/>
                  <a:pt x="925" y="0"/>
                  <a:pt x="925" y="25"/>
                </a:cubicBezTo>
                <a:cubicBezTo>
                  <a:pt x="900" y="50"/>
                  <a:pt x="900" y="125"/>
                  <a:pt x="875" y="75"/>
                </a:cubicBezTo>
                <a:cubicBezTo>
                  <a:pt x="850" y="50"/>
                  <a:pt x="800" y="50"/>
                  <a:pt x="750" y="25"/>
                </a:cubicBezTo>
                <a:cubicBezTo>
                  <a:pt x="725" y="25"/>
                  <a:pt x="725" y="0"/>
                  <a:pt x="675" y="25"/>
                </a:cubicBezTo>
                <a:cubicBezTo>
                  <a:pt x="650" y="50"/>
                  <a:pt x="625" y="75"/>
                  <a:pt x="600" y="100"/>
                </a:cubicBezTo>
                <a:cubicBezTo>
                  <a:pt x="600" y="125"/>
                  <a:pt x="600" y="175"/>
                  <a:pt x="600" y="200"/>
                </a:cubicBezTo>
                <a:cubicBezTo>
                  <a:pt x="575" y="225"/>
                  <a:pt x="475" y="275"/>
                  <a:pt x="475" y="275"/>
                </a:cubicBezTo>
                <a:cubicBezTo>
                  <a:pt x="475" y="300"/>
                  <a:pt x="500" y="350"/>
                  <a:pt x="475" y="350"/>
                </a:cubicBezTo>
                <a:cubicBezTo>
                  <a:pt x="450" y="375"/>
                  <a:pt x="525" y="450"/>
                  <a:pt x="475" y="450"/>
                </a:cubicBezTo>
                <a:cubicBezTo>
                  <a:pt x="450" y="475"/>
                  <a:pt x="500" y="500"/>
                  <a:pt x="500" y="525"/>
                </a:cubicBezTo>
                <a:cubicBezTo>
                  <a:pt x="475" y="525"/>
                  <a:pt x="425" y="550"/>
                  <a:pt x="425" y="575"/>
                </a:cubicBezTo>
                <a:cubicBezTo>
                  <a:pt x="425" y="575"/>
                  <a:pt x="425" y="625"/>
                  <a:pt x="400" y="650"/>
                </a:cubicBezTo>
                <a:cubicBezTo>
                  <a:pt x="374" y="650"/>
                  <a:pt x="350" y="700"/>
                  <a:pt x="350" y="725"/>
                </a:cubicBezTo>
                <a:cubicBezTo>
                  <a:pt x="350" y="750"/>
                  <a:pt x="325" y="725"/>
                  <a:pt x="325" y="775"/>
                </a:cubicBezTo>
                <a:cubicBezTo>
                  <a:pt x="350" y="825"/>
                  <a:pt x="374" y="875"/>
                  <a:pt x="325" y="875"/>
                </a:cubicBezTo>
                <a:cubicBezTo>
                  <a:pt x="300" y="875"/>
                  <a:pt x="325" y="950"/>
                  <a:pt x="300" y="950"/>
                </a:cubicBezTo>
                <a:cubicBezTo>
                  <a:pt x="274" y="950"/>
                  <a:pt x="274" y="1025"/>
                  <a:pt x="300" y="1050"/>
                </a:cubicBezTo>
                <a:cubicBezTo>
                  <a:pt x="325" y="1075"/>
                  <a:pt x="325" y="1101"/>
                  <a:pt x="325" y="1150"/>
                </a:cubicBezTo>
                <a:cubicBezTo>
                  <a:pt x="325" y="1175"/>
                  <a:pt x="350" y="1201"/>
                  <a:pt x="350" y="1225"/>
                </a:cubicBezTo>
                <a:cubicBezTo>
                  <a:pt x="350" y="1250"/>
                  <a:pt x="350" y="1275"/>
                  <a:pt x="325" y="1301"/>
                </a:cubicBezTo>
                <a:cubicBezTo>
                  <a:pt x="300" y="1325"/>
                  <a:pt x="325" y="1350"/>
                  <a:pt x="300" y="1375"/>
                </a:cubicBezTo>
                <a:cubicBezTo>
                  <a:pt x="274" y="1375"/>
                  <a:pt x="325" y="1475"/>
                  <a:pt x="300" y="1501"/>
                </a:cubicBezTo>
                <a:cubicBezTo>
                  <a:pt x="274" y="1501"/>
                  <a:pt x="225" y="1525"/>
                  <a:pt x="225" y="1575"/>
                </a:cubicBezTo>
                <a:cubicBezTo>
                  <a:pt x="225" y="1650"/>
                  <a:pt x="225" y="1675"/>
                  <a:pt x="225" y="1701"/>
                </a:cubicBezTo>
                <a:cubicBezTo>
                  <a:pt x="225" y="1725"/>
                  <a:pt x="250" y="1725"/>
                  <a:pt x="250" y="1750"/>
                </a:cubicBezTo>
                <a:cubicBezTo>
                  <a:pt x="250" y="1801"/>
                  <a:pt x="200" y="1775"/>
                  <a:pt x="200" y="1801"/>
                </a:cubicBezTo>
                <a:cubicBezTo>
                  <a:pt x="200" y="1825"/>
                  <a:pt x="200" y="1875"/>
                  <a:pt x="200" y="1875"/>
                </a:cubicBezTo>
                <a:cubicBezTo>
                  <a:pt x="174" y="1875"/>
                  <a:pt x="174" y="1875"/>
                  <a:pt x="174" y="1925"/>
                </a:cubicBezTo>
                <a:cubicBezTo>
                  <a:pt x="174" y="1975"/>
                  <a:pt x="150" y="1975"/>
                  <a:pt x="150" y="2001"/>
                </a:cubicBezTo>
                <a:cubicBezTo>
                  <a:pt x="150" y="2001"/>
                  <a:pt x="150" y="2026"/>
                  <a:pt x="150" y="2050"/>
                </a:cubicBezTo>
                <a:cubicBezTo>
                  <a:pt x="150" y="2075"/>
                  <a:pt x="174" y="2150"/>
                  <a:pt x="150" y="2150"/>
                </a:cubicBezTo>
                <a:cubicBezTo>
                  <a:pt x="125" y="2150"/>
                  <a:pt x="125" y="2250"/>
                  <a:pt x="150" y="2250"/>
                </a:cubicBezTo>
                <a:cubicBezTo>
                  <a:pt x="150" y="2275"/>
                  <a:pt x="150" y="2301"/>
                  <a:pt x="150" y="2301"/>
                </a:cubicBezTo>
                <a:cubicBezTo>
                  <a:pt x="150" y="2326"/>
                  <a:pt x="200" y="2350"/>
                  <a:pt x="174" y="2375"/>
                </a:cubicBezTo>
                <a:cubicBezTo>
                  <a:pt x="150" y="2401"/>
                  <a:pt x="150" y="2426"/>
                  <a:pt x="200" y="2426"/>
                </a:cubicBezTo>
                <a:cubicBezTo>
                  <a:pt x="225" y="2401"/>
                  <a:pt x="250" y="2450"/>
                  <a:pt x="200" y="2450"/>
                </a:cubicBezTo>
                <a:cubicBezTo>
                  <a:pt x="174" y="2450"/>
                  <a:pt x="150" y="2450"/>
                  <a:pt x="174" y="2475"/>
                </a:cubicBezTo>
                <a:cubicBezTo>
                  <a:pt x="200" y="2501"/>
                  <a:pt x="225" y="2526"/>
                  <a:pt x="174" y="2526"/>
                </a:cubicBezTo>
                <a:cubicBezTo>
                  <a:pt x="150" y="2550"/>
                  <a:pt x="174" y="2575"/>
                  <a:pt x="174" y="2601"/>
                </a:cubicBezTo>
                <a:cubicBezTo>
                  <a:pt x="150" y="2650"/>
                  <a:pt x="200" y="2675"/>
                  <a:pt x="174" y="2675"/>
                </a:cubicBezTo>
                <a:cubicBezTo>
                  <a:pt x="150" y="2701"/>
                  <a:pt x="174" y="2750"/>
                  <a:pt x="150" y="2750"/>
                </a:cubicBezTo>
                <a:cubicBezTo>
                  <a:pt x="100" y="2750"/>
                  <a:pt x="125" y="2801"/>
                  <a:pt x="100" y="2801"/>
                </a:cubicBezTo>
                <a:cubicBezTo>
                  <a:pt x="74" y="2826"/>
                  <a:pt x="125" y="2875"/>
                  <a:pt x="100" y="2875"/>
                </a:cubicBezTo>
                <a:cubicBezTo>
                  <a:pt x="74" y="2901"/>
                  <a:pt x="100" y="2950"/>
                  <a:pt x="74" y="2950"/>
                </a:cubicBezTo>
                <a:cubicBezTo>
                  <a:pt x="25" y="2950"/>
                  <a:pt x="25" y="3001"/>
                  <a:pt x="0" y="3001"/>
                </a:cubicBezTo>
                <a:cubicBezTo>
                  <a:pt x="0" y="3026"/>
                  <a:pt x="0" y="3075"/>
                  <a:pt x="25" y="3101"/>
                </a:cubicBezTo>
                <a:cubicBezTo>
                  <a:pt x="50" y="3126"/>
                  <a:pt x="0" y="3150"/>
                  <a:pt x="25" y="3150"/>
                </a:cubicBezTo>
                <a:cubicBezTo>
                  <a:pt x="50" y="3175"/>
                  <a:pt x="125" y="3150"/>
                  <a:pt x="125" y="3201"/>
                </a:cubicBezTo>
                <a:cubicBezTo>
                  <a:pt x="100" y="3226"/>
                  <a:pt x="100" y="3301"/>
                  <a:pt x="125" y="3301"/>
                </a:cubicBezTo>
                <a:cubicBezTo>
                  <a:pt x="150" y="3301"/>
                  <a:pt x="150" y="3351"/>
                  <a:pt x="174" y="3326"/>
                </a:cubicBezTo>
                <a:cubicBezTo>
                  <a:pt x="200" y="3326"/>
                  <a:pt x="300" y="3326"/>
                  <a:pt x="325" y="3326"/>
                </a:cubicBezTo>
                <a:cubicBezTo>
                  <a:pt x="350" y="3351"/>
                  <a:pt x="374" y="3351"/>
                  <a:pt x="374" y="3351"/>
                </a:cubicBezTo>
                <a:cubicBezTo>
                  <a:pt x="400" y="3351"/>
                  <a:pt x="475" y="3375"/>
                  <a:pt x="475" y="3375"/>
                </a:cubicBezTo>
                <a:cubicBezTo>
                  <a:pt x="500" y="3351"/>
                  <a:pt x="425" y="3301"/>
                  <a:pt x="425" y="3275"/>
                </a:cubicBezTo>
                <a:lnTo>
                  <a:pt x="425" y="3226"/>
                </a:lnTo>
                <a:cubicBezTo>
                  <a:pt x="425" y="3201"/>
                  <a:pt x="400" y="3150"/>
                  <a:pt x="425" y="3126"/>
                </a:cubicBezTo>
                <a:cubicBezTo>
                  <a:pt x="475" y="3101"/>
                  <a:pt x="475" y="3075"/>
                  <a:pt x="475" y="3101"/>
                </a:cubicBezTo>
                <a:cubicBezTo>
                  <a:pt x="500" y="3101"/>
                  <a:pt x="550" y="3075"/>
                  <a:pt x="550" y="3026"/>
                </a:cubicBezTo>
                <a:cubicBezTo>
                  <a:pt x="550" y="2975"/>
                  <a:pt x="575" y="2950"/>
                  <a:pt x="600" y="2926"/>
                </a:cubicBezTo>
                <a:cubicBezTo>
                  <a:pt x="650" y="2875"/>
                  <a:pt x="725" y="2850"/>
                  <a:pt x="725" y="2826"/>
                </a:cubicBezTo>
                <a:cubicBezTo>
                  <a:pt x="700" y="2801"/>
                  <a:pt x="725" y="2750"/>
                  <a:pt x="725" y="2726"/>
                </a:cubicBezTo>
                <a:cubicBezTo>
                  <a:pt x="725" y="2726"/>
                  <a:pt x="675" y="2726"/>
                  <a:pt x="650" y="2701"/>
                </a:cubicBezTo>
                <a:cubicBezTo>
                  <a:pt x="625" y="2701"/>
                  <a:pt x="525" y="2650"/>
                  <a:pt x="575" y="2575"/>
                </a:cubicBezTo>
                <a:cubicBezTo>
                  <a:pt x="625" y="2501"/>
                  <a:pt x="700" y="2475"/>
                  <a:pt x="725" y="2475"/>
                </a:cubicBezTo>
                <a:cubicBezTo>
                  <a:pt x="750" y="2475"/>
                  <a:pt x="725" y="2450"/>
                  <a:pt x="750" y="2426"/>
                </a:cubicBezTo>
                <a:cubicBezTo>
                  <a:pt x="775" y="2426"/>
                  <a:pt x="775" y="2401"/>
                  <a:pt x="775" y="2375"/>
                </a:cubicBezTo>
                <a:cubicBezTo>
                  <a:pt x="775" y="2326"/>
                  <a:pt x="775" y="2275"/>
                  <a:pt x="825" y="2275"/>
                </a:cubicBezTo>
                <a:cubicBezTo>
                  <a:pt x="850" y="2275"/>
                  <a:pt x="875" y="2250"/>
                  <a:pt x="850" y="2250"/>
                </a:cubicBezTo>
                <a:cubicBezTo>
                  <a:pt x="825" y="2226"/>
                  <a:pt x="800" y="2201"/>
                  <a:pt x="850" y="2201"/>
                </a:cubicBezTo>
                <a:cubicBezTo>
                  <a:pt x="875" y="2201"/>
                  <a:pt x="875" y="2226"/>
                  <a:pt x="900" y="2226"/>
                </a:cubicBezTo>
                <a:cubicBezTo>
                  <a:pt x="925" y="2226"/>
                  <a:pt x="975" y="2175"/>
                  <a:pt x="925" y="2150"/>
                </a:cubicBezTo>
                <a:cubicBezTo>
                  <a:pt x="900" y="2126"/>
                  <a:pt x="900" y="2175"/>
                  <a:pt x="875" y="2175"/>
                </a:cubicBezTo>
                <a:cubicBezTo>
                  <a:pt x="850" y="2175"/>
                  <a:pt x="850" y="2150"/>
                  <a:pt x="825" y="2150"/>
                </a:cubicBezTo>
                <a:cubicBezTo>
                  <a:pt x="800" y="2150"/>
                  <a:pt x="825" y="2101"/>
                  <a:pt x="800" y="2075"/>
                </a:cubicBezTo>
                <a:cubicBezTo>
                  <a:pt x="800" y="2050"/>
                  <a:pt x="775" y="2026"/>
                  <a:pt x="800" y="2001"/>
                </a:cubicBezTo>
                <a:cubicBezTo>
                  <a:pt x="825" y="1975"/>
                  <a:pt x="900" y="2026"/>
                  <a:pt x="950" y="2026"/>
                </a:cubicBezTo>
                <a:cubicBezTo>
                  <a:pt x="1025" y="2026"/>
                  <a:pt x="1050" y="2001"/>
                  <a:pt x="1050" y="1975"/>
                </a:cubicBezTo>
                <a:cubicBezTo>
                  <a:pt x="1050" y="1950"/>
                  <a:pt x="1025" y="1925"/>
                  <a:pt x="1075" y="1901"/>
                </a:cubicBezTo>
                <a:cubicBezTo>
                  <a:pt x="1100" y="1875"/>
                  <a:pt x="1075" y="1850"/>
                  <a:pt x="1075" y="1825"/>
                </a:cubicBezTo>
                <a:cubicBezTo>
                  <a:pt x="1050" y="1801"/>
                  <a:pt x="1075" y="1775"/>
                  <a:pt x="1100" y="1775"/>
                </a:cubicBezTo>
                <a:cubicBezTo>
                  <a:pt x="1125" y="1801"/>
                  <a:pt x="1225" y="1801"/>
                  <a:pt x="1350" y="1775"/>
                </a:cubicBezTo>
                <a:cubicBezTo>
                  <a:pt x="1450" y="1750"/>
                  <a:pt x="1500" y="1701"/>
                  <a:pt x="1525" y="1675"/>
                </a:cubicBezTo>
                <a:cubicBezTo>
                  <a:pt x="1525" y="1650"/>
                  <a:pt x="1600" y="1575"/>
                  <a:pt x="1600" y="1550"/>
                </a:cubicBezTo>
                <a:cubicBezTo>
                  <a:pt x="1625" y="1525"/>
                  <a:pt x="1600" y="1501"/>
                  <a:pt x="1575" y="1501"/>
                </a:cubicBezTo>
                <a:cubicBezTo>
                  <a:pt x="1525" y="1501"/>
                  <a:pt x="1525" y="1450"/>
                  <a:pt x="1550" y="1425"/>
                </a:cubicBezTo>
                <a:cubicBezTo>
                  <a:pt x="1575" y="1401"/>
                  <a:pt x="1525" y="1375"/>
                  <a:pt x="1500" y="1350"/>
                </a:cubicBezTo>
                <a:cubicBezTo>
                  <a:pt x="1450" y="1350"/>
                  <a:pt x="1400" y="1325"/>
                  <a:pt x="1425" y="1301"/>
                </a:cubicBezTo>
                <a:cubicBezTo>
                  <a:pt x="1450" y="1275"/>
                  <a:pt x="1450" y="1275"/>
                  <a:pt x="1450" y="1301"/>
                </a:cubicBezTo>
                <a:cubicBezTo>
                  <a:pt x="1475" y="1275"/>
                  <a:pt x="1475" y="1250"/>
                  <a:pt x="1475" y="1250"/>
                </a:cubicBezTo>
                <a:cubicBezTo>
                  <a:pt x="1450" y="1250"/>
                  <a:pt x="1450" y="1250"/>
                  <a:pt x="1450" y="1201"/>
                </a:cubicBezTo>
                <a:cubicBezTo>
                  <a:pt x="1450" y="1125"/>
                  <a:pt x="1475" y="1150"/>
                  <a:pt x="1475" y="1075"/>
                </a:cubicBezTo>
                <a:cubicBezTo>
                  <a:pt x="1475" y="1001"/>
                  <a:pt x="1500" y="950"/>
                  <a:pt x="1500" y="901"/>
                </a:cubicBezTo>
                <a:cubicBezTo>
                  <a:pt x="1500" y="875"/>
                  <a:pt x="1575" y="825"/>
                  <a:pt x="1600" y="750"/>
                </a:cubicBezTo>
                <a:cubicBezTo>
                  <a:pt x="1650" y="700"/>
                  <a:pt x="1725" y="600"/>
                  <a:pt x="1775" y="575"/>
                </a:cubicBezTo>
                <a:cubicBezTo>
                  <a:pt x="1800" y="575"/>
                  <a:pt x="1875" y="550"/>
                  <a:pt x="1875" y="525"/>
                </a:cubicBezTo>
                <a:cubicBezTo>
                  <a:pt x="1900" y="500"/>
                  <a:pt x="1875" y="400"/>
                  <a:pt x="1875" y="375"/>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8" name="Freeform 223">
            <a:extLst>
              <a:ext uri="{FF2B5EF4-FFF2-40B4-BE49-F238E27FC236}">
                <a16:creationId xmlns:a16="http://schemas.microsoft.com/office/drawing/2014/main" id="{91E80C11-94E8-334C-8C53-C098552D4AAA}"/>
              </a:ext>
            </a:extLst>
          </p:cNvPr>
          <p:cNvSpPr>
            <a:spLocks noChangeArrowheads="1"/>
          </p:cNvSpPr>
          <p:nvPr/>
        </p:nvSpPr>
        <p:spPr bwMode="auto">
          <a:xfrm>
            <a:off x="3469143" y="5370685"/>
            <a:ext cx="271404" cy="1355616"/>
          </a:xfrm>
          <a:custGeom>
            <a:avLst/>
            <a:gdLst>
              <a:gd name="T0" fmla="*/ 351 w 852"/>
              <a:gd name="T1" fmla="*/ 3726 h 4252"/>
              <a:gd name="T2" fmla="*/ 251 w 852"/>
              <a:gd name="T3" fmla="*/ 3526 h 4252"/>
              <a:gd name="T4" fmla="*/ 326 w 852"/>
              <a:gd name="T5" fmla="*/ 3300 h 4252"/>
              <a:gd name="T6" fmla="*/ 400 w 852"/>
              <a:gd name="T7" fmla="*/ 3100 h 4252"/>
              <a:gd name="T8" fmla="*/ 400 w 852"/>
              <a:gd name="T9" fmla="*/ 2900 h 4252"/>
              <a:gd name="T10" fmla="*/ 400 w 852"/>
              <a:gd name="T11" fmla="*/ 2800 h 4252"/>
              <a:gd name="T12" fmla="*/ 376 w 852"/>
              <a:gd name="T13" fmla="*/ 2575 h 4252"/>
              <a:gd name="T14" fmla="*/ 400 w 852"/>
              <a:gd name="T15" fmla="*/ 2350 h 4252"/>
              <a:gd name="T16" fmla="*/ 476 w 852"/>
              <a:gd name="T17" fmla="*/ 2175 h 4252"/>
              <a:gd name="T18" fmla="*/ 526 w 852"/>
              <a:gd name="T19" fmla="*/ 1926 h 4252"/>
              <a:gd name="T20" fmla="*/ 576 w 852"/>
              <a:gd name="T21" fmla="*/ 1650 h 4252"/>
              <a:gd name="T22" fmla="*/ 526 w 852"/>
              <a:gd name="T23" fmla="*/ 1375 h 4252"/>
              <a:gd name="T24" fmla="*/ 576 w 852"/>
              <a:gd name="T25" fmla="*/ 1150 h 4252"/>
              <a:gd name="T26" fmla="*/ 726 w 852"/>
              <a:gd name="T27" fmla="*/ 950 h 4252"/>
              <a:gd name="T28" fmla="*/ 701 w 852"/>
              <a:gd name="T29" fmla="*/ 700 h 4252"/>
              <a:gd name="T30" fmla="*/ 776 w 852"/>
              <a:gd name="T31" fmla="*/ 525 h 4252"/>
              <a:gd name="T32" fmla="*/ 676 w 852"/>
              <a:gd name="T33" fmla="*/ 275 h 4252"/>
              <a:gd name="T34" fmla="*/ 651 w 852"/>
              <a:gd name="T35" fmla="*/ 50 h 4252"/>
              <a:gd name="T36" fmla="*/ 551 w 852"/>
              <a:gd name="T37" fmla="*/ 100 h 4252"/>
              <a:gd name="T38" fmla="*/ 526 w 852"/>
              <a:gd name="T39" fmla="*/ 575 h 4252"/>
              <a:gd name="T40" fmla="*/ 476 w 852"/>
              <a:gd name="T41" fmla="*/ 950 h 4252"/>
              <a:gd name="T42" fmla="*/ 451 w 852"/>
              <a:gd name="T43" fmla="*/ 1250 h 4252"/>
              <a:gd name="T44" fmla="*/ 376 w 852"/>
              <a:gd name="T45" fmla="*/ 1626 h 4252"/>
              <a:gd name="T46" fmla="*/ 226 w 852"/>
              <a:gd name="T47" fmla="*/ 2026 h 4252"/>
              <a:gd name="T48" fmla="*/ 251 w 852"/>
              <a:gd name="T49" fmla="*/ 2300 h 4252"/>
              <a:gd name="T50" fmla="*/ 200 w 852"/>
              <a:gd name="T51" fmla="*/ 2551 h 4252"/>
              <a:gd name="T52" fmla="*/ 226 w 852"/>
              <a:gd name="T53" fmla="*/ 2551 h 4252"/>
              <a:gd name="T54" fmla="*/ 300 w 852"/>
              <a:gd name="T55" fmla="*/ 2575 h 4252"/>
              <a:gd name="T56" fmla="*/ 251 w 852"/>
              <a:gd name="T57" fmla="*/ 2800 h 4252"/>
              <a:gd name="T58" fmla="*/ 251 w 852"/>
              <a:gd name="T59" fmla="*/ 2951 h 4252"/>
              <a:gd name="T60" fmla="*/ 151 w 852"/>
              <a:gd name="T61" fmla="*/ 3000 h 4252"/>
              <a:gd name="T62" fmla="*/ 176 w 852"/>
              <a:gd name="T63" fmla="*/ 2951 h 4252"/>
              <a:gd name="T64" fmla="*/ 76 w 852"/>
              <a:gd name="T65" fmla="*/ 3051 h 4252"/>
              <a:gd name="T66" fmla="*/ 100 w 852"/>
              <a:gd name="T67" fmla="*/ 3126 h 4252"/>
              <a:gd name="T68" fmla="*/ 126 w 852"/>
              <a:gd name="T69" fmla="*/ 3226 h 4252"/>
              <a:gd name="T70" fmla="*/ 151 w 852"/>
              <a:gd name="T71" fmla="*/ 3251 h 4252"/>
              <a:gd name="T72" fmla="*/ 76 w 852"/>
              <a:gd name="T73" fmla="*/ 3351 h 4252"/>
              <a:gd name="T74" fmla="*/ 100 w 852"/>
              <a:gd name="T75" fmla="*/ 3375 h 4252"/>
              <a:gd name="T76" fmla="*/ 100 w 852"/>
              <a:gd name="T77" fmla="*/ 3500 h 4252"/>
              <a:gd name="T78" fmla="*/ 151 w 852"/>
              <a:gd name="T79" fmla="*/ 3475 h 4252"/>
              <a:gd name="T80" fmla="*/ 76 w 852"/>
              <a:gd name="T81" fmla="*/ 3626 h 4252"/>
              <a:gd name="T82" fmla="*/ 176 w 852"/>
              <a:gd name="T83" fmla="*/ 3651 h 4252"/>
              <a:gd name="T84" fmla="*/ 226 w 852"/>
              <a:gd name="T85" fmla="*/ 3751 h 4252"/>
              <a:gd name="T86" fmla="*/ 226 w 852"/>
              <a:gd name="T87" fmla="*/ 3776 h 4252"/>
              <a:gd name="T88" fmla="*/ 400 w 852"/>
              <a:gd name="T89" fmla="*/ 3826 h 4252"/>
              <a:gd name="T90" fmla="*/ 251 w 852"/>
              <a:gd name="T91" fmla="*/ 3876 h 4252"/>
              <a:gd name="T92" fmla="*/ 426 w 852"/>
              <a:gd name="T93" fmla="*/ 3876 h 4252"/>
              <a:gd name="T94" fmla="*/ 226 w 852"/>
              <a:gd name="T95" fmla="*/ 3951 h 4252"/>
              <a:gd name="T96" fmla="*/ 376 w 852"/>
              <a:gd name="T97" fmla="*/ 4051 h 4252"/>
              <a:gd name="T98" fmla="*/ 451 w 852"/>
              <a:gd name="T99" fmla="*/ 3926 h 4252"/>
              <a:gd name="T100" fmla="*/ 526 w 852"/>
              <a:gd name="T101" fmla="*/ 3926 h 4252"/>
              <a:gd name="T102" fmla="*/ 551 w 852"/>
              <a:gd name="T103" fmla="*/ 4051 h 4252"/>
              <a:gd name="T104" fmla="*/ 451 w 852"/>
              <a:gd name="T105" fmla="*/ 4000 h 4252"/>
              <a:gd name="T106" fmla="*/ 451 w 852"/>
              <a:gd name="T107" fmla="*/ 4100 h 4252"/>
              <a:gd name="T108" fmla="*/ 600 w 852"/>
              <a:gd name="T109" fmla="*/ 4200 h 4252"/>
              <a:gd name="T110" fmla="*/ 701 w 852"/>
              <a:gd name="T111" fmla="*/ 4176 h 4252"/>
              <a:gd name="T112" fmla="*/ 851 w 852"/>
              <a:gd name="T113" fmla="*/ 4151 h 4252"/>
              <a:gd name="T114" fmla="*/ 676 w 852"/>
              <a:gd name="T115" fmla="*/ 3826 h 4252"/>
              <a:gd name="T116" fmla="*/ 551 w 852"/>
              <a:gd name="T117" fmla="*/ 3751 h 4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2" h="4252">
                <a:moveTo>
                  <a:pt x="400" y="3751"/>
                </a:moveTo>
                <a:lnTo>
                  <a:pt x="400" y="3751"/>
                </a:lnTo>
                <a:cubicBezTo>
                  <a:pt x="376" y="3776"/>
                  <a:pt x="376" y="3726"/>
                  <a:pt x="351" y="3726"/>
                </a:cubicBezTo>
                <a:cubicBezTo>
                  <a:pt x="326" y="3726"/>
                  <a:pt x="326" y="3651"/>
                  <a:pt x="351" y="3626"/>
                </a:cubicBezTo>
                <a:cubicBezTo>
                  <a:pt x="351" y="3575"/>
                  <a:pt x="276" y="3600"/>
                  <a:pt x="251" y="3575"/>
                </a:cubicBezTo>
                <a:cubicBezTo>
                  <a:pt x="226" y="3575"/>
                  <a:pt x="276" y="3551"/>
                  <a:pt x="251" y="3526"/>
                </a:cubicBezTo>
                <a:cubicBezTo>
                  <a:pt x="226" y="3500"/>
                  <a:pt x="226" y="3451"/>
                  <a:pt x="226" y="3426"/>
                </a:cubicBezTo>
                <a:cubicBezTo>
                  <a:pt x="251" y="3426"/>
                  <a:pt x="251" y="3375"/>
                  <a:pt x="300" y="3375"/>
                </a:cubicBezTo>
                <a:cubicBezTo>
                  <a:pt x="326" y="3375"/>
                  <a:pt x="300" y="3326"/>
                  <a:pt x="326" y="3300"/>
                </a:cubicBezTo>
                <a:cubicBezTo>
                  <a:pt x="351" y="3300"/>
                  <a:pt x="300" y="3251"/>
                  <a:pt x="326" y="3226"/>
                </a:cubicBezTo>
                <a:cubicBezTo>
                  <a:pt x="351" y="3226"/>
                  <a:pt x="326" y="3175"/>
                  <a:pt x="376" y="3175"/>
                </a:cubicBezTo>
                <a:cubicBezTo>
                  <a:pt x="400" y="3175"/>
                  <a:pt x="376" y="3126"/>
                  <a:pt x="400" y="3100"/>
                </a:cubicBezTo>
                <a:cubicBezTo>
                  <a:pt x="426" y="3100"/>
                  <a:pt x="376" y="3075"/>
                  <a:pt x="400" y="3026"/>
                </a:cubicBezTo>
                <a:cubicBezTo>
                  <a:pt x="400" y="3000"/>
                  <a:pt x="376" y="2975"/>
                  <a:pt x="400" y="2951"/>
                </a:cubicBezTo>
                <a:cubicBezTo>
                  <a:pt x="451" y="2951"/>
                  <a:pt x="426" y="2926"/>
                  <a:pt x="400" y="2900"/>
                </a:cubicBezTo>
                <a:cubicBezTo>
                  <a:pt x="376" y="2875"/>
                  <a:pt x="400" y="2875"/>
                  <a:pt x="426" y="2875"/>
                </a:cubicBezTo>
                <a:cubicBezTo>
                  <a:pt x="476" y="2875"/>
                  <a:pt x="451" y="2826"/>
                  <a:pt x="426" y="2851"/>
                </a:cubicBezTo>
                <a:cubicBezTo>
                  <a:pt x="376" y="2851"/>
                  <a:pt x="376" y="2826"/>
                  <a:pt x="400" y="2800"/>
                </a:cubicBezTo>
                <a:cubicBezTo>
                  <a:pt x="426" y="2775"/>
                  <a:pt x="376" y="2751"/>
                  <a:pt x="376" y="2726"/>
                </a:cubicBezTo>
                <a:cubicBezTo>
                  <a:pt x="376" y="2726"/>
                  <a:pt x="376" y="2700"/>
                  <a:pt x="376" y="2675"/>
                </a:cubicBezTo>
                <a:cubicBezTo>
                  <a:pt x="351" y="2675"/>
                  <a:pt x="351" y="2575"/>
                  <a:pt x="376" y="2575"/>
                </a:cubicBezTo>
                <a:cubicBezTo>
                  <a:pt x="400" y="2575"/>
                  <a:pt x="376" y="2500"/>
                  <a:pt x="376" y="2475"/>
                </a:cubicBezTo>
                <a:cubicBezTo>
                  <a:pt x="376" y="2451"/>
                  <a:pt x="376" y="2426"/>
                  <a:pt x="376" y="2426"/>
                </a:cubicBezTo>
                <a:cubicBezTo>
                  <a:pt x="376" y="2400"/>
                  <a:pt x="400" y="2400"/>
                  <a:pt x="400" y="2350"/>
                </a:cubicBezTo>
                <a:cubicBezTo>
                  <a:pt x="400" y="2300"/>
                  <a:pt x="400" y="2300"/>
                  <a:pt x="426" y="2300"/>
                </a:cubicBezTo>
                <a:cubicBezTo>
                  <a:pt x="426" y="2300"/>
                  <a:pt x="426" y="2250"/>
                  <a:pt x="426" y="2226"/>
                </a:cubicBezTo>
                <a:cubicBezTo>
                  <a:pt x="426" y="2200"/>
                  <a:pt x="476" y="2226"/>
                  <a:pt x="476" y="2175"/>
                </a:cubicBezTo>
                <a:cubicBezTo>
                  <a:pt x="476" y="2150"/>
                  <a:pt x="451" y="2150"/>
                  <a:pt x="451" y="2126"/>
                </a:cubicBezTo>
                <a:cubicBezTo>
                  <a:pt x="451" y="2100"/>
                  <a:pt x="451" y="2075"/>
                  <a:pt x="451" y="2000"/>
                </a:cubicBezTo>
                <a:cubicBezTo>
                  <a:pt x="451" y="1950"/>
                  <a:pt x="500" y="1926"/>
                  <a:pt x="526" y="1926"/>
                </a:cubicBezTo>
                <a:cubicBezTo>
                  <a:pt x="551" y="1900"/>
                  <a:pt x="500" y="1800"/>
                  <a:pt x="526" y="1800"/>
                </a:cubicBezTo>
                <a:cubicBezTo>
                  <a:pt x="551" y="1775"/>
                  <a:pt x="526" y="1750"/>
                  <a:pt x="551" y="1726"/>
                </a:cubicBezTo>
                <a:cubicBezTo>
                  <a:pt x="576" y="1700"/>
                  <a:pt x="576" y="1675"/>
                  <a:pt x="576" y="1650"/>
                </a:cubicBezTo>
                <a:cubicBezTo>
                  <a:pt x="576" y="1626"/>
                  <a:pt x="551" y="1600"/>
                  <a:pt x="551" y="1575"/>
                </a:cubicBezTo>
                <a:cubicBezTo>
                  <a:pt x="551" y="1526"/>
                  <a:pt x="551" y="1500"/>
                  <a:pt x="526" y="1475"/>
                </a:cubicBezTo>
                <a:cubicBezTo>
                  <a:pt x="500" y="1450"/>
                  <a:pt x="500" y="1375"/>
                  <a:pt x="526" y="1375"/>
                </a:cubicBezTo>
                <a:cubicBezTo>
                  <a:pt x="551" y="1375"/>
                  <a:pt x="526" y="1300"/>
                  <a:pt x="551" y="1300"/>
                </a:cubicBezTo>
                <a:cubicBezTo>
                  <a:pt x="600" y="1300"/>
                  <a:pt x="576" y="1250"/>
                  <a:pt x="551" y="1200"/>
                </a:cubicBezTo>
                <a:cubicBezTo>
                  <a:pt x="551" y="1150"/>
                  <a:pt x="576" y="1175"/>
                  <a:pt x="576" y="1150"/>
                </a:cubicBezTo>
                <a:cubicBezTo>
                  <a:pt x="576" y="1125"/>
                  <a:pt x="600" y="1075"/>
                  <a:pt x="626" y="1075"/>
                </a:cubicBezTo>
                <a:cubicBezTo>
                  <a:pt x="651" y="1050"/>
                  <a:pt x="651" y="1000"/>
                  <a:pt x="651" y="1000"/>
                </a:cubicBezTo>
                <a:cubicBezTo>
                  <a:pt x="651" y="975"/>
                  <a:pt x="701" y="950"/>
                  <a:pt x="726" y="950"/>
                </a:cubicBezTo>
                <a:cubicBezTo>
                  <a:pt x="726" y="925"/>
                  <a:pt x="676" y="900"/>
                  <a:pt x="701" y="875"/>
                </a:cubicBezTo>
                <a:cubicBezTo>
                  <a:pt x="751" y="875"/>
                  <a:pt x="676" y="800"/>
                  <a:pt x="701" y="775"/>
                </a:cubicBezTo>
                <a:cubicBezTo>
                  <a:pt x="726" y="775"/>
                  <a:pt x="701" y="725"/>
                  <a:pt x="701" y="700"/>
                </a:cubicBezTo>
                <a:cubicBezTo>
                  <a:pt x="701" y="700"/>
                  <a:pt x="801" y="650"/>
                  <a:pt x="826" y="625"/>
                </a:cubicBezTo>
                <a:cubicBezTo>
                  <a:pt x="826" y="600"/>
                  <a:pt x="826" y="550"/>
                  <a:pt x="826" y="525"/>
                </a:cubicBezTo>
                <a:cubicBezTo>
                  <a:pt x="801" y="525"/>
                  <a:pt x="776" y="550"/>
                  <a:pt x="776" y="525"/>
                </a:cubicBezTo>
                <a:cubicBezTo>
                  <a:pt x="776" y="525"/>
                  <a:pt x="776" y="450"/>
                  <a:pt x="751" y="425"/>
                </a:cubicBezTo>
                <a:cubicBezTo>
                  <a:pt x="726" y="400"/>
                  <a:pt x="751" y="350"/>
                  <a:pt x="726" y="350"/>
                </a:cubicBezTo>
                <a:cubicBezTo>
                  <a:pt x="701" y="325"/>
                  <a:pt x="676" y="275"/>
                  <a:pt x="676" y="275"/>
                </a:cubicBezTo>
                <a:cubicBezTo>
                  <a:pt x="701" y="250"/>
                  <a:pt x="676" y="225"/>
                  <a:pt x="701" y="200"/>
                </a:cubicBezTo>
                <a:cubicBezTo>
                  <a:pt x="726" y="175"/>
                  <a:pt x="701" y="175"/>
                  <a:pt x="676" y="150"/>
                </a:cubicBezTo>
                <a:cubicBezTo>
                  <a:pt x="651" y="125"/>
                  <a:pt x="676" y="75"/>
                  <a:pt x="651" y="50"/>
                </a:cubicBezTo>
                <a:cubicBezTo>
                  <a:pt x="600" y="24"/>
                  <a:pt x="600" y="0"/>
                  <a:pt x="600" y="0"/>
                </a:cubicBezTo>
                <a:cubicBezTo>
                  <a:pt x="600" y="24"/>
                  <a:pt x="600" y="75"/>
                  <a:pt x="576" y="75"/>
                </a:cubicBezTo>
                <a:cubicBezTo>
                  <a:pt x="551" y="75"/>
                  <a:pt x="551" y="100"/>
                  <a:pt x="551" y="100"/>
                </a:cubicBezTo>
                <a:cubicBezTo>
                  <a:pt x="551" y="125"/>
                  <a:pt x="526" y="150"/>
                  <a:pt x="551" y="175"/>
                </a:cubicBezTo>
                <a:cubicBezTo>
                  <a:pt x="551" y="225"/>
                  <a:pt x="576" y="375"/>
                  <a:pt x="551" y="425"/>
                </a:cubicBezTo>
                <a:cubicBezTo>
                  <a:pt x="551" y="475"/>
                  <a:pt x="526" y="525"/>
                  <a:pt x="526" y="575"/>
                </a:cubicBezTo>
                <a:cubicBezTo>
                  <a:pt x="500" y="600"/>
                  <a:pt x="551" y="600"/>
                  <a:pt x="526" y="625"/>
                </a:cubicBezTo>
                <a:cubicBezTo>
                  <a:pt x="500" y="625"/>
                  <a:pt x="526" y="675"/>
                  <a:pt x="526" y="750"/>
                </a:cubicBezTo>
                <a:cubicBezTo>
                  <a:pt x="526" y="800"/>
                  <a:pt x="476" y="925"/>
                  <a:pt x="476" y="950"/>
                </a:cubicBezTo>
                <a:cubicBezTo>
                  <a:pt x="476" y="1000"/>
                  <a:pt x="451" y="1025"/>
                  <a:pt x="451" y="1050"/>
                </a:cubicBezTo>
                <a:cubicBezTo>
                  <a:pt x="451" y="1100"/>
                  <a:pt x="426" y="1125"/>
                  <a:pt x="400" y="1150"/>
                </a:cubicBezTo>
                <a:cubicBezTo>
                  <a:pt x="376" y="1150"/>
                  <a:pt x="451" y="1225"/>
                  <a:pt x="451" y="1250"/>
                </a:cubicBezTo>
                <a:cubicBezTo>
                  <a:pt x="451" y="1275"/>
                  <a:pt x="400" y="1300"/>
                  <a:pt x="400" y="1350"/>
                </a:cubicBezTo>
                <a:cubicBezTo>
                  <a:pt x="426" y="1426"/>
                  <a:pt x="400" y="1526"/>
                  <a:pt x="400" y="1550"/>
                </a:cubicBezTo>
                <a:cubicBezTo>
                  <a:pt x="400" y="1575"/>
                  <a:pt x="376" y="1575"/>
                  <a:pt x="376" y="1626"/>
                </a:cubicBezTo>
                <a:cubicBezTo>
                  <a:pt x="400" y="1675"/>
                  <a:pt x="351" y="1675"/>
                  <a:pt x="351" y="1750"/>
                </a:cubicBezTo>
                <a:cubicBezTo>
                  <a:pt x="351" y="1800"/>
                  <a:pt x="300" y="1900"/>
                  <a:pt x="276" y="1950"/>
                </a:cubicBezTo>
                <a:cubicBezTo>
                  <a:pt x="251" y="2000"/>
                  <a:pt x="251" y="2026"/>
                  <a:pt x="226" y="2026"/>
                </a:cubicBezTo>
                <a:cubicBezTo>
                  <a:pt x="200" y="2026"/>
                  <a:pt x="200" y="2050"/>
                  <a:pt x="226" y="2075"/>
                </a:cubicBezTo>
                <a:cubicBezTo>
                  <a:pt x="251" y="2126"/>
                  <a:pt x="200" y="2150"/>
                  <a:pt x="226" y="2200"/>
                </a:cubicBezTo>
                <a:cubicBezTo>
                  <a:pt x="251" y="2250"/>
                  <a:pt x="251" y="2250"/>
                  <a:pt x="251" y="2300"/>
                </a:cubicBezTo>
                <a:cubicBezTo>
                  <a:pt x="226" y="2350"/>
                  <a:pt x="200" y="2350"/>
                  <a:pt x="200" y="2375"/>
                </a:cubicBezTo>
                <a:cubicBezTo>
                  <a:pt x="200" y="2426"/>
                  <a:pt x="176" y="2451"/>
                  <a:pt x="200" y="2500"/>
                </a:cubicBezTo>
                <a:cubicBezTo>
                  <a:pt x="226" y="2526"/>
                  <a:pt x="200" y="2551"/>
                  <a:pt x="200" y="2551"/>
                </a:cubicBezTo>
                <a:cubicBezTo>
                  <a:pt x="176" y="2551"/>
                  <a:pt x="151" y="2575"/>
                  <a:pt x="151" y="2651"/>
                </a:cubicBezTo>
                <a:cubicBezTo>
                  <a:pt x="151" y="2726"/>
                  <a:pt x="151" y="2726"/>
                  <a:pt x="200" y="2700"/>
                </a:cubicBezTo>
                <a:cubicBezTo>
                  <a:pt x="251" y="2700"/>
                  <a:pt x="200" y="2551"/>
                  <a:pt x="226" y="2551"/>
                </a:cubicBezTo>
                <a:cubicBezTo>
                  <a:pt x="276" y="2551"/>
                  <a:pt x="251" y="2526"/>
                  <a:pt x="276" y="2500"/>
                </a:cubicBezTo>
                <a:cubicBezTo>
                  <a:pt x="300" y="2500"/>
                  <a:pt x="276" y="2526"/>
                  <a:pt x="300" y="2551"/>
                </a:cubicBezTo>
                <a:cubicBezTo>
                  <a:pt x="326" y="2551"/>
                  <a:pt x="326" y="2575"/>
                  <a:pt x="300" y="2575"/>
                </a:cubicBezTo>
                <a:cubicBezTo>
                  <a:pt x="276" y="2600"/>
                  <a:pt x="300" y="2651"/>
                  <a:pt x="300" y="2651"/>
                </a:cubicBezTo>
                <a:cubicBezTo>
                  <a:pt x="276" y="2675"/>
                  <a:pt x="251" y="2700"/>
                  <a:pt x="276" y="2726"/>
                </a:cubicBezTo>
                <a:cubicBezTo>
                  <a:pt x="276" y="2775"/>
                  <a:pt x="251" y="2751"/>
                  <a:pt x="251" y="2800"/>
                </a:cubicBezTo>
                <a:cubicBezTo>
                  <a:pt x="251" y="2826"/>
                  <a:pt x="276" y="2826"/>
                  <a:pt x="251" y="2851"/>
                </a:cubicBezTo>
                <a:cubicBezTo>
                  <a:pt x="251" y="2851"/>
                  <a:pt x="276" y="2875"/>
                  <a:pt x="251" y="2875"/>
                </a:cubicBezTo>
                <a:cubicBezTo>
                  <a:pt x="226" y="2875"/>
                  <a:pt x="251" y="2926"/>
                  <a:pt x="251" y="2951"/>
                </a:cubicBezTo>
                <a:cubicBezTo>
                  <a:pt x="276" y="2975"/>
                  <a:pt x="226" y="2951"/>
                  <a:pt x="226" y="2975"/>
                </a:cubicBezTo>
                <a:cubicBezTo>
                  <a:pt x="200" y="2975"/>
                  <a:pt x="226" y="3000"/>
                  <a:pt x="226" y="3026"/>
                </a:cubicBezTo>
                <a:cubicBezTo>
                  <a:pt x="200" y="3051"/>
                  <a:pt x="176" y="3026"/>
                  <a:pt x="151" y="3000"/>
                </a:cubicBezTo>
                <a:cubicBezTo>
                  <a:pt x="151" y="3000"/>
                  <a:pt x="176" y="2975"/>
                  <a:pt x="200" y="2951"/>
                </a:cubicBezTo>
                <a:cubicBezTo>
                  <a:pt x="226" y="2926"/>
                  <a:pt x="176" y="2851"/>
                  <a:pt x="151" y="2875"/>
                </a:cubicBezTo>
                <a:cubicBezTo>
                  <a:pt x="126" y="2875"/>
                  <a:pt x="176" y="2926"/>
                  <a:pt x="176" y="2951"/>
                </a:cubicBezTo>
                <a:cubicBezTo>
                  <a:pt x="176" y="2975"/>
                  <a:pt x="126" y="2951"/>
                  <a:pt x="126" y="2975"/>
                </a:cubicBezTo>
                <a:cubicBezTo>
                  <a:pt x="126" y="3000"/>
                  <a:pt x="100" y="3000"/>
                  <a:pt x="76" y="3000"/>
                </a:cubicBezTo>
                <a:cubicBezTo>
                  <a:pt x="51" y="3026"/>
                  <a:pt x="100" y="3051"/>
                  <a:pt x="76" y="3051"/>
                </a:cubicBezTo>
                <a:lnTo>
                  <a:pt x="26" y="3100"/>
                </a:lnTo>
                <a:cubicBezTo>
                  <a:pt x="26" y="3126"/>
                  <a:pt x="51" y="3126"/>
                  <a:pt x="51" y="3126"/>
                </a:cubicBezTo>
                <a:cubicBezTo>
                  <a:pt x="51" y="3100"/>
                  <a:pt x="76" y="3100"/>
                  <a:pt x="100" y="3126"/>
                </a:cubicBezTo>
                <a:cubicBezTo>
                  <a:pt x="100" y="3151"/>
                  <a:pt x="126" y="3126"/>
                  <a:pt x="151" y="3126"/>
                </a:cubicBezTo>
                <a:cubicBezTo>
                  <a:pt x="176" y="3126"/>
                  <a:pt x="176" y="3175"/>
                  <a:pt x="151" y="3175"/>
                </a:cubicBezTo>
                <a:cubicBezTo>
                  <a:pt x="151" y="3175"/>
                  <a:pt x="126" y="3200"/>
                  <a:pt x="126" y="3226"/>
                </a:cubicBezTo>
                <a:cubicBezTo>
                  <a:pt x="126" y="3251"/>
                  <a:pt x="200" y="3226"/>
                  <a:pt x="226" y="3226"/>
                </a:cubicBezTo>
                <a:cubicBezTo>
                  <a:pt x="251" y="3251"/>
                  <a:pt x="226" y="3300"/>
                  <a:pt x="226" y="3275"/>
                </a:cubicBezTo>
                <a:cubicBezTo>
                  <a:pt x="200" y="3251"/>
                  <a:pt x="176" y="3226"/>
                  <a:pt x="151" y="3251"/>
                </a:cubicBezTo>
                <a:cubicBezTo>
                  <a:pt x="151" y="3275"/>
                  <a:pt x="126" y="3275"/>
                  <a:pt x="100" y="3275"/>
                </a:cubicBezTo>
                <a:cubicBezTo>
                  <a:pt x="76" y="3251"/>
                  <a:pt x="0" y="3300"/>
                  <a:pt x="26" y="3326"/>
                </a:cubicBezTo>
                <a:cubicBezTo>
                  <a:pt x="51" y="3326"/>
                  <a:pt x="51" y="3351"/>
                  <a:pt x="76" y="3351"/>
                </a:cubicBezTo>
                <a:cubicBezTo>
                  <a:pt x="76" y="3351"/>
                  <a:pt x="100" y="3351"/>
                  <a:pt x="126" y="3326"/>
                </a:cubicBezTo>
                <a:cubicBezTo>
                  <a:pt x="126" y="3300"/>
                  <a:pt x="151" y="3300"/>
                  <a:pt x="151" y="3326"/>
                </a:cubicBezTo>
                <a:cubicBezTo>
                  <a:pt x="151" y="3375"/>
                  <a:pt x="126" y="3351"/>
                  <a:pt x="100" y="3375"/>
                </a:cubicBezTo>
                <a:cubicBezTo>
                  <a:pt x="100" y="3400"/>
                  <a:pt x="76" y="3400"/>
                  <a:pt x="51" y="3426"/>
                </a:cubicBezTo>
                <a:cubicBezTo>
                  <a:pt x="26" y="3451"/>
                  <a:pt x="51" y="3475"/>
                  <a:pt x="76" y="3475"/>
                </a:cubicBezTo>
                <a:cubicBezTo>
                  <a:pt x="100" y="3451"/>
                  <a:pt x="76" y="3500"/>
                  <a:pt x="100" y="3500"/>
                </a:cubicBezTo>
                <a:cubicBezTo>
                  <a:pt x="126" y="3500"/>
                  <a:pt x="126" y="3475"/>
                  <a:pt x="126" y="3451"/>
                </a:cubicBezTo>
                <a:cubicBezTo>
                  <a:pt x="126" y="3451"/>
                  <a:pt x="151" y="3400"/>
                  <a:pt x="176" y="3426"/>
                </a:cubicBezTo>
                <a:cubicBezTo>
                  <a:pt x="200" y="3451"/>
                  <a:pt x="151" y="3451"/>
                  <a:pt x="151" y="3475"/>
                </a:cubicBezTo>
                <a:cubicBezTo>
                  <a:pt x="151" y="3500"/>
                  <a:pt x="151" y="3526"/>
                  <a:pt x="151" y="3551"/>
                </a:cubicBezTo>
                <a:cubicBezTo>
                  <a:pt x="151" y="3575"/>
                  <a:pt x="126" y="3575"/>
                  <a:pt x="126" y="3600"/>
                </a:cubicBezTo>
                <a:cubicBezTo>
                  <a:pt x="126" y="3626"/>
                  <a:pt x="51" y="3600"/>
                  <a:pt x="76" y="3626"/>
                </a:cubicBezTo>
                <a:cubicBezTo>
                  <a:pt x="126" y="3626"/>
                  <a:pt x="76" y="3651"/>
                  <a:pt x="76" y="3676"/>
                </a:cubicBezTo>
                <a:cubicBezTo>
                  <a:pt x="100" y="3676"/>
                  <a:pt x="100" y="3651"/>
                  <a:pt x="126" y="3651"/>
                </a:cubicBezTo>
                <a:cubicBezTo>
                  <a:pt x="151" y="3676"/>
                  <a:pt x="151" y="3676"/>
                  <a:pt x="176" y="3651"/>
                </a:cubicBezTo>
                <a:cubicBezTo>
                  <a:pt x="200" y="3651"/>
                  <a:pt x="226" y="3676"/>
                  <a:pt x="200" y="3700"/>
                </a:cubicBezTo>
                <a:cubicBezTo>
                  <a:pt x="176" y="3700"/>
                  <a:pt x="151" y="3726"/>
                  <a:pt x="151" y="3726"/>
                </a:cubicBezTo>
                <a:cubicBezTo>
                  <a:pt x="176" y="3726"/>
                  <a:pt x="200" y="3700"/>
                  <a:pt x="226" y="3751"/>
                </a:cubicBezTo>
                <a:cubicBezTo>
                  <a:pt x="226" y="3776"/>
                  <a:pt x="251" y="3751"/>
                  <a:pt x="251" y="3726"/>
                </a:cubicBezTo>
                <a:cubicBezTo>
                  <a:pt x="251" y="3700"/>
                  <a:pt x="300" y="3726"/>
                  <a:pt x="300" y="3751"/>
                </a:cubicBezTo>
                <a:cubicBezTo>
                  <a:pt x="326" y="3776"/>
                  <a:pt x="251" y="3800"/>
                  <a:pt x="226" y="3776"/>
                </a:cubicBezTo>
                <a:cubicBezTo>
                  <a:pt x="200" y="3776"/>
                  <a:pt x="176" y="3800"/>
                  <a:pt x="200" y="3851"/>
                </a:cubicBezTo>
                <a:cubicBezTo>
                  <a:pt x="226" y="3876"/>
                  <a:pt x="251" y="3851"/>
                  <a:pt x="276" y="3826"/>
                </a:cubicBezTo>
                <a:cubicBezTo>
                  <a:pt x="276" y="3800"/>
                  <a:pt x="400" y="3800"/>
                  <a:pt x="400" y="3826"/>
                </a:cubicBezTo>
                <a:cubicBezTo>
                  <a:pt x="426" y="3851"/>
                  <a:pt x="351" y="3826"/>
                  <a:pt x="351" y="3851"/>
                </a:cubicBezTo>
                <a:cubicBezTo>
                  <a:pt x="351" y="3851"/>
                  <a:pt x="300" y="3876"/>
                  <a:pt x="300" y="3851"/>
                </a:cubicBezTo>
                <a:cubicBezTo>
                  <a:pt x="276" y="3826"/>
                  <a:pt x="251" y="3851"/>
                  <a:pt x="251" y="3876"/>
                </a:cubicBezTo>
                <a:cubicBezTo>
                  <a:pt x="226" y="3926"/>
                  <a:pt x="200" y="3926"/>
                  <a:pt x="251" y="3926"/>
                </a:cubicBezTo>
                <a:cubicBezTo>
                  <a:pt x="276" y="3926"/>
                  <a:pt x="276" y="3876"/>
                  <a:pt x="326" y="3900"/>
                </a:cubicBezTo>
                <a:cubicBezTo>
                  <a:pt x="376" y="3900"/>
                  <a:pt x="426" y="3826"/>
                  <a:pt x="426" y="3876"/>
                </a:cubicBezTo>
                <a:cubicBezTo>
                  <a:pt x="451" y="3900"/>
                  <a:pt x="376" y="3926"/>
                  <a:pt x="351" y="3900"/>
                </a:cubicBezTo>
                <a:cubicBezTo>
                  <a:pt x="351" y="3876"/>
                  <a:pt x="300" y="3926"/>
                  <a:pt x="326" y="3951"/>
                </a:cubicBezTo>
                <a:cubicBezTo>
                  <a:pt x="326" y="3976"/>
                  <a:pt x="251" y="3951"/>
                  <a:pt x="226" y="3951"/>
                </a:cubicBezTo>
                <a:cubicBezTo>
                  <a:pt x="176" y="3926"/>
                  <a:pt x="200" y="3976"/>
                  <a:pt x="226" y="4000"/>
                </a:cubicBezTo>
                <a:cubicBezTo>
                  <a:pt x="251" y="4026"/>
                  <a:pt x="276" y="4000"/>
                  <a:pt x="300" y="4026"/>
                </a:cubicBezTo>
                <a:cubicBezTo>
                  <a:pt x="351" y="4051"/>
                  <a:pt x="351" y="4076"/>
                  <a:pt x="376" y="4051"/>
                </a:cubicBezTo>
                <a:cubicBezTo>
                  <a:pt x="400" y="4026"/>
                  <a:pt x="376" y="4026"/>
                  <a:pt x="351" y="4026"/>
                </a:cubicBezTo>
                <a:cubicBezTo>
                  <a:pt x="326" y="4000"/>
                  <a:pt x="351" y="3976"/>
                  <a:pt x="376" y="4000"/>
                </a:cubicBezTo>
                <a:cubicBezTo>
                  <a:pt x="426" y="4000"/>
                  <a:pt x="476" y="3976"/>
                  <a:pt x="451" y="3926"/>
                </a:cubicBezTo>
                <a:cubicBezTo>
                  <a:pt x="451" y="3876"/>
                  <a:pt x="500" y="3851"/>
                  <a:pt x="551" y="3826"/>
                </a:cubicBezTo>
                <a:cubicBezTo>
                  <a:pt x="600" y="3826"/>
                  <a:pt x="576" y="3876"/>
                  <a:pt x="526" y="3876"/>
                </a:cubicBezTo>
                <a:cubicBezTo>
                  <a:pt x="500" y="3900"/>
                  <a:pt x="500" y="3900"/>
                  <a:pt x="526" y="3926"/>
                </a:cubicBezTo>
                <a:cubicBezTo>
                  <a:pt x="551" y="3951"/>
                  <a:pt x="576" y="3926"/>
                  <a:pt x="600" y="3926"/>
                </a:cubicBezTo>
                <a:cubicBezTo>
                  <a:pt x="626" y="3951"/>
                  <a:pt x="551" y="3951"/>
                  <a:pt x="551" y="3976"/>
                </a:cubicBezTo>
                <a:cubicBezTo>
                  <a:pt x="551" y="4000"/>
                  <a:pt x="600" y="4026"/>
                  <a:pt x="551" y="4051"/>
                </a:cubicBezTo>
                <a:cubicBezTo>
                  <a:pt x="526" y="4051"/>
                  <a:pt x="526" y="3976"/>
                  <a:pt x="526" y="3976"/>
                </a:cubicBezTo>
                <a:cubicBezTo>
                  <a:pt x="500" y="3951"/>
                  <a:pt x="476" y="3976"/>
                  <a:pt x="500" y="4026"/>
                </a:cubicBezTo>
                <a:cubicBezTo>
                  <a:pt x="526" y="4076"/>
                  <a:pt x="476" y="4026"/>
                  <a:pt x="451" y="4000"/>
                </a:cubicBezTo>
                <a:cubicBezTo>
                  <a:pt x="426" y="3976"/>
                  <a:pt x="400" y="4026"/>
                  <a:pt x="426" y="4051"/>
                </a:cubicBezTo>
                <a:cubicBezTo>
                  <a:pt x="451" y="4076"/>
                  <a:pt x="376" y="4051"/>
                  <a:pt x="376" y="4076"/>
                </a:cubicBezTo>
                <a:cubicBezTo>
                  <a:pt x="376" y="4126"/>
                  <a:pt x="400" y="4100"/>
                  <a:pt x="451" y="4100"/>
                </a:cubicBezTo>
                <a:cubicBezTo>
                  <a:pt x="476" y="4100"/>
                  <a:pt x="476" y="4151"/>
                  <a:pt x="500" y="4176"/>
                </a:cubicBezTo>
                <a:cubicBezTo>
                  <a:pt x="526" y="4200"/>
                  <a:pt x="500" y="4126"/>
                  <a:pt x="526" y="4100"/>
                </a:cubicBezTo>
                <a:cubicBezTo>
                  <a:pt x="551" y="4100"/>
                  <a:pt x="526" y="4176"/>
                  <a:pt x="600" y="4200"/>
                </a:cubicBezTo>
                <a:cubicBezTo>
                  <a:pt x="651" y="4226"/>
                  <a:pt x="600" y="4176"/>
                  <a:pt x="626" y="4151"/>
                </a:cubicBezTo>
                <a:cubicBezTo>
                  <a:pt x="651" y="4151"/>
                  <a:pt x="701" y="4226"/>
                  <a:pt x="726" y="4226"/>
                </a:cubicBezTo>
                <a:cubicBezTo>
                  <a:pt x="751" y="4251"/>
                  <a:pt x="726" y="4200"/>
                  <a:pt x="701" y="4176"/>
                </a:cubicBezTo>
                <a:cubicBezTo>
                  <a:pt x="701" y="4151"/>
                  <a:pt x="726" y="4151"/>
                  <a:pt x="776" y="4176"/>
                </a:cubicBezTo>
                <a:cubicBezTo>
                  <a:pt x="801" y="4176"/>
                  <a:pt x="826" y="4176"/>
                  <a:pt x="826" y="4151"/>
                </a:cubicBezTo>
                <a:cubicBezTo>
                  <a:pt x="826" y="4151"/>
                  <a:pt x="826" y="4151"/>
                  <a:pt x="851" y="4151"/>
                </a:cubicBezTo>
                <a:cubicBezTo>
                  <a:pt x="801" y="4126"/>
                  <a:pt x="701" y="4151"/>
                  <a:pt x="676" y="4151"/>
                </a:cubicBezTo>
                <a:cubicBezTo>
                  <a:pt x="676" y="4151"/>
                  <a:pt x="676" y="3900"/>
                  <a:pt x="676" y="3826"/>
                </a:cubicBezTo>
                <a:lnTo>
                  <a:pt x="676" y="3826"/>
                </a:lnTo>
                <a:cubicBezTo>
                  <a:pt x="651" y="3826"/>
                  <a:pt x="600" y="3851"/>
                  <a:pt x="600" y="3800"/>
                </a:cubicBezTo>
                <a:cubicBezTo>
                  <a:pt x="600" y="3800"/>
                  <a:pt x="600" y="3800"/>
                  <a:pt x="600" y="3776"/>
                </a:cubicBezTo>
                <a:cubicBezTo>
                  <a:pt x="600" y="3776"/>
                  <a:pt x="576" y="3776"/>
                  <a:pt x="551" y="3751"/>
                </a:cubicBezTo>
                <a:cubicBezTo>
                  <a:pt x="526" y="3751"/>
                  <a:pt x="426" y="3751"/>
                  <a:pt x="400" y="3751"/>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99" name="Freeform 224">
            <a:extLst>
              <a:ext uri="{FF2B5EF4-FFF2-40B4-BE49-F238E27FC236}">
                <a16:creationId xmlns:a16="http://schemas.microsoft.com/office/drawing/2014/main" id="{5D2DC684-8483-0645-B726-D3B9BE26C011}"/>
              </a:ext>
            </a:extLst>
          </p:cNvPr>
          <p:cNvSpPr>
            <a:spLocks noChangeArrowheads="1"/>
          </p:cNvSpPr>
          <p:nvPr/>
        </p:nvSpPr>
        <p:spPr bwMode="auto">
          <a:xfrm>
            <a:off x="3868517" y="5426936"/>
            <a:ext cx="262967" cy="271405"/>
          </a:xfrm>
          <a:custGeom>
            <a:avLst/>
            <a:gdLst>
              <a:gd name="T0" fmla="*/ 800 w 826"/>
              <a:gd name="T1" fmla="*/ 450 h 851"/>
              <a:gd name="T2" fmla="*/ 800 w 826"/>
              <a:gd name="T3" fmla="*/ 450 h 851"/>
              <a:gd name="T4" fmla="*/ 725 w 826"/>
              <a:gd name="T5" fmla="*/ 475 h 851"/>
              <a:gd name="T6" fmla="*/ 675 w 826"/>
              <a:gd name="T7" fmla="*/ 375 h 851"/>
              <a:gd name="T8" fmla="*/ 600 w 826"/>
              <a:gd name="T9" fmla="*/ 300 h 851"/>
              <a:gd name="T10" fmla="*/ 525 w 826"/>
              <a:gd name="T11" fmla="*/ 275 h 851"/>
              <a:gd name="T12" fmla="*/ 475 w 826"/>
              <a:gd name="T13" fmla="*/ 200 h 851"/>
              <a:gd name="T14" fmla="*/ 450 w 826"/>
              <a:gd name="T15" fmla="*/ 100 h 851"/>
              <a:gd name="T16" fmla="*/ 450 w 826"/>
              <a:gd name="T17" fmla="*/ 50 h 851"/>
              <a:gd name="T18" fmla="*/ 425 w 826"/>
              <a:gd name="T19" fmla="*/ 50 h 851"/>
              <a:gd name="T20" fmla="*/ 350 w 826"/>
              <a:gd name="T21" fmla="*/ 0 h 851"/>
              <a:gd name="T22" fmla="*/ 250 w 826"/>
              <a:gd name="T23" fmla="*/ 25 h 851"/>
              <a:gd name="T24" fmla="*/ 125 w 826"/>
              <a:gd name="T25" fmla="*/ 50 h 851"/>
              <a:gd name="T26" fmla="*/ 50 w 826"/>
              <a:gd name="T27" fmla="*/ 125 h 851"/>
              <a:gd name="T28" fmla="*/ 25 w 826"/>
              <a:gd name="T29" fmla="*/ 275 h 851"/>
              <a:gd name="T30" fmla="*/ 0 w 826"/>
              <a:gd name="T31" fmla="*/ 275 h 851"/>
              <a:gd name="T32" fmla="*/ 125 w 826"/>
              <a:gd name="T33" fmla="*/ 400 h 851"/>
              <a:gd name="T34" fmla="*/ 225 w 826"/>
              <a:gd name="T35" fmla="*/ 475 h 851"/>
              <a:gd name="T36" fmla="*/ 325 w 826"/>
              <a:gd name="T37" fmla="*/ 525 h 851"/>
              <a:gd name="T38" fmla="*/ 500 w 826"/>
              <a:gd name="T39" fmla="*/ 600 h 851"/>
              <a:gd name="T40" fmla="*/ 425 w 826"/>
              <a:gd name="T41" fmla="*/ 725 h 851"/>
              <a:gd name="T42" fmla="*/ 400 w 826"/>
              <a:gd name="T43" fmla="*/ 800 h 851"/>
              <a:gd name="T44" fmla="*/ 500 w 826"/>
              <a:gd name="T45" fmla="*/ 825 h 851"/>
              <a:gd name="T46" fmla="*/ 575 w 826"/>
              <a:gd name="T47" fmla="*/ 825 h 851"/>
              <a:gd name="T48" fmla="*/ 650 w 826"/>
              <a:gd name="T49" fmla="*/ 800 h 851"/>
              <a:gd name="T50" fmla="*/ 725 w 826"/>
              <a:gd name="T51" fmla="*/ 775 h 851"/>
              <a:gd name="T52" fmla="*/ 775 w 826"/>
              <a:gd name="T53" fmla="*/ 625 h 851"/>
              <a:gd name="T54" fmla="*/ 800 w 826"/>
              <a:gd name="T5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6" h="851">
                <a:moveTo>
                  <a:pt x="800" y="450"/>
                </a:moveTo>
                <a:lnTo>
                  <a:pt x="800" y="450"/>
                </a:lnTo>
                <a:cubicBezTo>
                  <a:pt x="750" y="450"/>
                  <a:pt x="725" y="475"/>
                  <a:pt x="725" y="475"/>
                </a:cubicBezTo>
                <a:cubicBezTo>
                  <a:pt x="700" y="475"/>
                  <a:pt x="675" y="400"/>
                  <a:pt x="675" y="375"/>
                </a:cubicBezTo>
                <a:cubicBezTo>
                  <a:pt x="650" y="350"/>
                  <a:pt x="625" y="275"/>
                  <a:pt x="600" y="300"/>
                </a:cubicBezTo>
                <a:cubicBezTo>
                  <a:pt x="575" y="300"/>
                  <a:pt x="575" y="275"/>
                  <a:pt x="525" y="275"/>
                </a:cubicBezTo>
                <a:cubicBezTo>
                  <a:pt x="450" y="275"/>
                  <a:pt x="450" y="275"/>
                  <a:pt x="475" y="200"/>
                </a:cubicBezTo>
                <a:cubicBezTo>
                  <a:pt x="500" y="150"/>
                  <a:pt x="425" y="100"/>
                  <a:pt x="450" y="100"/>
                </a:cubicBezTo>
                <a:cubicBezTo>
                  <a:pt x="475" y="75"/>
                  <a:pt x="475" y="75"/>
                  <a:pt x="450" y="50"/>
                </a:cubicBezTo>
                <a:cubicBezTo>
                  <a:pt x="450" y="50"/>
                  <a:pt x="450" y="50"/>
                  <a:pt x="425" y="50"/>
                </a:cubicBezTo>
                <a:cubicBezTo>
                  <a:pt x="425" y="50"/>
                  <a:pt x="375" y="0"/>
                  <a:pt x="350" y="0"/>
                </a:cubicBezTo>
                <a:cubicBezTo>
                  <a:pt x="300" y="0"/>
                  <a:pt x="275" y="0"/>
                  <a:pt x="250" y="25"/>
                </a:cubicBezTo>
                <a:cubicBezTo>
                  <a:pt x="200" y="25"/>
                  <a:pt x="150" y="25"/>
                  <a:pt x="125" y="50"/>
                </a:cubicBezTo>
                <a:cubicBezTo>
                  <a:pt x="100" y="50"/>
                  <a:pt x="50" y="100"/>
                  <a:pt x="50" y="125"/>
                </a:cubicBezTo>
                <a:cubicBezTo>
                  <a:pt x="50" y="150"/>
                  <a:pt x="50" y="275"/>
                  <a:pt x="25" y="275"/>
                </a:cubicBezTo>
                <a:lnTo>
                  <a:pt x="0" y="275"/>
                </a:lnTo>
                <a:cubicBezTo>
                  <a:pt x="25" y="300"/>
                  <a:pt x="75" y="375"/>
                  <a:pt x="125" y="400"/>
                </a:cubicBezTo>
                <a:cubicBezTo>
                  <a:pt x="175" y="425"/>
                  <a:pt x="175" y="475"/>
                  <a:pt x="225" y="475"/>
                </a:cubicBezTo>
                <a:cubicBezTo>
                  <a:pt x="275" y="475"/>
                  <a:pt x="325" y="500"/>
                  <a:pt x="325" y="525"/>
                </a:cubicBezTo>
                <a:cubicBezTo>
                  <a:pt x="350" y="550"/>
                  <a:pt x="500" y="600"/>
                  <a:pt x="500" y="600"/>
                </a:cubicBezTo>
                <a:cubicBezTo>
                  <a:pt x="525" y="625"/>
                  <a:pt x="425" y="675"/>
                  <a:pt x="425" y="725"/>
                </a:cubicBezTo>
                <a:cubicBezTo>
                  <a:pt x="425" y="775"/>
                  <a:pt x="400" y="775"/>
                  <a:pt x="400" y="800"/>
                </a:cubicBezTo>
                <a:cubicBezTo>
                  <a:pt x="400" y="825"/>
                  <a:pt x="475" y="800"/>
                  <a:pt x="500" y="825"/>
                </a:cubicBezTo>
                <a:cubicBezTo>
                  <a:pt x="525" y="825"/>
                  <a:pt x="550" y="800"/>
                  <a:pt x="575" y="825"/>
                </a:cubicBezTo>
                <a:cubicBezTo>
                  <a:pt x="600" y="850"/>
                  <a:pt x="650" y="800"/>
                  <a:pt x="650" y="800"/>
                </a:cubicBezTo>
                <a:cubicBezTo>
                  <a:pt x="675" y="825"/>
                  <a:pt x="700" y="775"/>
                  <a:pt x="725" y="775"/>
                </a:cubicBezTo>
                <a:cubicBezTo>
                  <a:pt x="775" y="775"/>
                  <a:pt x="800" y="675"/>
                  <a:pt x="775" y="625"/>
                </a:cubicBezTo>
                <a:cubicBezTo>
                  <a:pt x="775" y="600"/>
                  <a:pt x="825" y="475"/>
                  <a:pt x="800" y="4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0" name="Freeform 225">
            <a:extLst>
              <a:ext uri="{FF2B5EF4-FFF2-40B4-BE49-F238E27FC236}">
                <a16:creationId xmlns:a16="http://schemas.microsoft.com/office/drawing/2014/main" id="{76010389-94EF-4446-A741-9942FA15D3A7}"/>
              </a:ext>
            </a:extLst>
          </p:cNvPr>
          <p:cNvSpPr>
            <a:spLocks noChangeArrowheads="1"/>
          </p:cNvSpPr>
          <p:nvPr/>
        </p:nvSpPr>
        <p:spPr bwMode="auto">
          <a:xfrm>
            <a:off x="3660391" y="5131626"/>
            <a:ext cx="367028" cy="414841"/>
          </a:xfrm>
          <a:custGeom>
            <a:avLst/>
            <a:gdLst>
              <a:gd name="T0" fmla="*/ 1151 w 1152"/>
              <a:gd name="T1" fmla="*/ 774 h 1301"/>
              <a:gd name="T2" fmla="*/ 1151 w 1152"/>
              <a:gd name="T3" fmla="*/ 774 h 1301"/>
              <a:gd name="T4" fmla="*/ 1076 w 1152"/>
              <a:gd name="T5" fmla="*/ 700 h 1301"/>
              <a:gd name="T6" fmla="*/ 1001 w 1152"/>
              <a:gd name="T7" fmla="*/ 650 h 1301"/>
              <a:gd name="T8" fmla="*/ 901 w 1152"/>
              <a:gd name="T9" fmla="*/ 600 h 1301"/>
              <a:gd name="T10" fmla="*/ 901 w 1152"/>
              <a:gd name="T11" fmla="*/ 525 h 1301"/>
              <a:gd name="T12" fmla="*/ 876 w 1152"/>
              <a:gd name="T13" fmla="*/ 450 h 1301"/>
              <a:gd name="T14" fmla="*/ 851 w 1152"/>
              <a:gd name="T15" fmla="*/ 375 h 1301"/>
              <a:gd name="T16" fmla="*/ 751 w 1152"/>
              <a:gd name="T17" fmla="*/ 350 h 1301"/>
              <a:gd name="T18" fmla="*/ 676 w 1152"/>
              <a:gd name="T19" fmla="*/ 325 h 1301"/>
              <a:gd name="T20" fmla="*/ 626 w 1152"/>
              <a:gd name="T21" fmla="*/ 300 h 1301"/>
              <a:gd name="T22" fmla="*/ 551 w 1152"/>
              <a:gd name="T23" fmla="*/ 275 h 1301"/>
              <a:gd name="T24" fmla="*/ 451 w 1152"/>
              <a:gd name="T25" fmla="*/ 200 h 1301"/>
              <a:gd name="T26" fmla="*/ 426 w 1152"/>
              <a:gd name="T27" fmla="*/ 25 h 1301"/>
              <a:gd name="T28" fmla="*/ 326 w 1152"/>
              <a:gd name="T29" fmla="*/ 25 h 1301"/>
              <a:gd name="T30" fmla="*/ 226 w 1152"/>
              <a:gd name="T31" fmla="*/ 75 h 1301"/>
              <a:gd name="T32" fmla="*/ 126 w 1152"/>
              <a:gd name="T33" fmla="*/ 100 h 1301"/>
              <a:gd name="T34" fmla="*/ 51 w 1152"/>
              <a:gd name="T35" fmla="*/ 125 h 1301"/>
              <a:gd name="T36" fmla="*/ 26 w 1152"/>
              <a:gd name="T37" fmla="*/ 125 h 1301"/>
              <a:gd name="T38" fmla="*/ 101 w 1152"/>
              <a:gd name="T39" fmla="*/ 250 h 1301"/>
              <a:gd name="T40" fmla="*/ 76 w 1152"/>
              <a:gd name="T41" fmla="*/ 300 h 1301"/>
              <a:gd name="T42" fmla="*/ 76 w 1152"/>
              <a:gd name="T43" fmla="*/ 450 h 1301"/>
              <a:gd name="T44" fmla="*/ 51 w 1152"/>
              <a:gd name="T45" fmla="*/ 525 h 1301"/>
              <a:gd name="T46" fmla="*/ 26 w 1152"/>
              <a:gd name="T47" fmla="*/ 600 h 1301"/>
              <a:gd name="T48" fmla="*/ 76 w 1152"/>
              <a:gd name="T49" fmla="*/ 650 h 1301"/>
              <a:gd name="T50" fmla="*/ 26 w 1152"/>
              <a:gd name="T51" fmla="*/ 725 h 1301"/>
              <a:gd name="T52" fmla="*/ 0 w 1152"/>
              <a:gd name="T53" fmla="*/ 750 h 1301"/>
              <a:gd name="T54" fmla="*/ 51 w 1152"/>
              <a:gd name="T55" fmla="*/ 800 h 1301"/>
              <a:gd name="T56" fmla="*/ 76 w 1152"/>
              <a:gd name="T57" fmla="*/ 900 h 1301"/>
              <a:gd name="T58" fmla="*/ 101 w 1152"/>
              <a:gd name="T59" fmla="*/ 950 h 1301"/>
              <a:gd name="T60" fmla="*/ 76 w 1152"/>
              <a:gd name="T61" fmla="*/ 1025 h 1301"/>
              <a:gd name="T62" fmla="*/ 126 w 1152"/>
              <a:gd name="T63" fmla="*/ 1100 h 1301"/>
              <a:gd name="T64" fmla="*/ 151 w 1152"/>
              <a:gd name="T65" fmla="*/ 1175 h 1301"/>
              <a:gd name="T66" fmla="*/ 176 w 1152"/>
              <a:gd name="T67" fmla="*/ 1275 h 1301"/>
              <a:gd name="T68" fmla="*/ 301 w 1152"/>
              <a:gd name="T69" fmla="*/ 1200 h 1301"/>
              <a:gd name="T70" fmla="*/ 376 w 1152"/>
              <a:gd name="T71" fmla="*/ 1200 h 1301"/>
              <a:gd name="T72" fmla="*/ 501 w 1152"/>
              <a:gd name="T73" fmla="*/ 1250 h 1301"/>
              <a:gd name="T74" fmla="*/ 551 w 1152"/>
              <a:gd name="T75" fmla="*/ 1200 h 1301"/>
              <a:gd name="T76" fmla="*/ 676 w 1152"/>
              <a:gd name="T77" fmla="*/ 1200 h 1301"/>
              <a:gd name="T78" fmla="*/ 701 w 1152"/>
              <a:gd name="T79" fmla="*/ 1050 h 1301"/>
              <a:gd name="T80" fmla="*/ 776 w 1152"/>
              <a:gd name="T81" fmla="*/ 975 h 1301"/>
              <a:gd name="T82" fmla="*/ 901 w 1152"/>
              <a:gd name="T83" fmla="*/ 950 h 1301"/>
              <a:gd name="T84" fmla="*/ 1001 w 1152"/>
              <a:gd name="T85" fmla="*/ 925 h 1301"/>
              <a:gd name="T86" fmla="*/ 1076 w 1152"/>
              <a:gd name="T87" fmla="*/ 975 h 1301"/>
              <a:gd name="T88" fmla="*/ 1126 w 1152"/>
              <a:gd name="T89" fmla="*/ 900 h 1301"/>
              <a:gd name="T90" fmla="*/ 1151 w 1152"/>
              <a:gd name="T91" fmla="*/ 774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2" h="1301">
                <a:moveTo>
                  <a:pt x="1151" y="774"/>
                </a:moveTo>
                <a:lnTo>
                  <a:pt x="1151" y="774"/>
                </a:lnTo>
                <a:cubicBezTo>
                  <a:pt x="1126" y="750"/>
                  <a:pt x="1076" y="725"/>
                  <a:pt x="1076" y="700"/>
                </a:cubicBezTo>
                <a:cubicBezTo>
                  <a:pt x="1076" y="650"/>
                  <a:pt x="1076" y="650"/>
                  <a:pt x="1001" y="650"/>
                </a:cubicBezTo>
                <a:cubicBezTo>
                  <a:pt x="951" y="650"/>
                  <a:pt x="901" y="625"/>
                  <a:pt x="901" y="600"/>
                </a:cubicBezTo>
                <a:cubicBezTo>
                  <a:pt x="901" y="550"/>
                  <a:pt x="876" y="525"/>
                  <a:pt x="901" y="525"/>
                </a:cubicBezTo>
                <a:cubicBezTo>
                  <a:pt x="926" y="500"/>
                  <a:pt x="876" y="475"/>
                  <a:pt x="876" y="450"/>
                </a:cubicBezTo>
                <a:cubicBezTo>
                  <a:pt x="876" y="400"/>
                  <a:pt x="876" y="400"/>
                  <a:pt x="851" y="375"/>
                </a:cubicBezTo>
                <a:cubicBezTo>
                  <a:pt x="826" y="375"/>
                  <a:pt x="751" y="400"/>
                  <a:pt x="751" y="350"/>
                </a:cubicBezTo>
                <a:cubicBezTo>
                  <a:pt x="751" y="325"/>
                  <a:pt x="701" y="325"/>
                  <a:pt x="676" y="325"/>
                </a:cubicBezTo>
                <a:cubicBezTo>
                  <a:pt x="626" y="325"/>
                  <a:pt x="651" y="275"/>
                  <a:pt x="626" y="300"/>
                </a:cubicBezTo>
                <a:cubicBezTo>
                  <a:pt x="601" y="300"/>
                  <a:pt x="601" y="275"/>
                  <a:pt x="551" y="275"/>
                </a:cubicBezTo>
                <a:cubicBezTo>
                  <a:pt x="526" y="275"/>
                  <a:pt x="501" y="250"/>
                  <a:pt x="451" y="200"/>
                </a:cubicBezTo>
                <a:cubicBezTo>
                  <a:pt x="401" y="150"/>
                  <a:pt x="401" y="50"/>
                  <a:pt x="426" y="25"/>
                </a:cubicBezTo>
                <a:cubicBezTo>
                  <a:pt x="426" y="0"/>
                  <a:pt x="376" y="25"/>
                  <a:pt x="326" y="25"/>
                </a:cubicBezTo>
                <a:cubicBezTo>
                  <a:pt x="301" y="25"/>
                  <a:pt x="251" y="50"/>
                  <a:pt x="226" y="75"/>
                </a:cubicBezTo>
                <a:cubicBezTo>
                  <a:pt x="176" y="100"/>
                  <a:pt x="151" y="100"/>
                  <a:pt x="126" y="100"/>
                </a:cubicBezTo>
                <a:cubicBezTo>
                  <a:pt x="126" y="125"/>
                  <a:pt x="76" y="150"/>
                  <a:pt x="51" y="125"/>
                </a:cubicBezTo>
                <a:lnTo>
                  <a:pt x="26" y="125"/>
                </a:lnTo>
                <a:cubicBezTo>
                  <a:pt x="51" y="175"/>
                  <a:pt x="76" y="225"/>
                  <a:pt x="101" y="250"/>
                </a:cubicBezTo>
                <a:cubicBezTo>
                  <a:pt x="101" y="275"/>
                  <a:pt x="76" y="300"/>
                  <a:pt x="76" y="300"/>
                </a:cubicBezTo>
                <a:cubicBezTo>
                  <a:pt x="51" y="325"/>
                  <a:pt x="76" y="425"/>
                  <a:pt x="76" y="450"/>
                </a:cubicBezTo>
                <a:cubicBezTo>
                  <a:pt x="76" y="450"/>
                  <a:pt x="26" y="500"/>
                  <a:pt x="51" y="525"/>
                </a:cubicBezTo>
                <a:cubicBezTo>
                  <a:pt x="76" y="525"/>
                  <a:pt x="26" y="575"/>
                  <a:pt x="26" y="600"/>
                </a:cubicBezTo>
                <a:cubicBezTo>
                  <a:pt x="26" y="625"/>
                  <a:pt x="76" y="625"/>
                  <a:pt x="76" y="650"/>
                </a:cubicBezTo>
                <a:cubicBezTo>
                  <a:pt x="76" y="650"/>
                  <a:pt x="26" y="700"/>
                  <a:pt x="26" y="725"/>
                </a:cubicBezTo>
                <a:cubicBezTo>
                  <a:pt x="0" y="725"/>
                  <a:pt x="0" y="725"/>
                  <a:pt x="0" y="750"/>
                </a:cubicBezTo>
                <a:cubicBezTo>
                  <a:pt x="0" y="750"/>
                  <a:pt x="26" y="774"/>
                  <a:pt x="51" y="800"/>
                </a:cubicBezTo>
                <a:cubicBezTo>
                  <a:pt x="76" y="825"/>
                  <a:pt x="51" y="875"/>
                  <a:pt x="76" y="900"/>
                </a:cubicBezTo>
                <a:cubicBezTo>
                  <a:pt x="101" y="925"/>
                  <a:pt x="126" y="925"/>
                  <a:pt x="101" y="950"/>
                </a:cubicBezTo>
                <a:cubicBezTo>
                  <a:pt x="76" y="975"/>
                  <a:pt x="101" y="1000"/>
                  <a:pt x="76" y="1025"/>
                </a:cubicBezTo>
                <a:cubicBezTo>
                  <a:pt x="76" y="1025"/>
                  <a:pt x="101" y="1075"/>
                  <a:pt x="126" y="1100"/>
                </a:cubicBezTo>
                <a:cubicBezTo>
                  <a:pt x="151" y="1100"/>
                  <a:pt x="126" y="1150"/>
                  <a:pt x="151" y="1175"/>
                </a:cubicBezTo>
                <a:cubicBezTo>
                  <a:pt x="176" y="1200"/>
                  <a:pt x="176" y="1275"/>
                  <a:pt x="176" y="1275"/>
                </a:cubicBezTo>
                <a:cubicBezTo>
                  <a:pt x="176" y="1300"/>
                  <a:pt x="251" y="1250"/>
                  <a:pt x="301" y="1200"/>
                </a:cubicBezTo>
                <a:cubicBezTo>
                  <a:pt x="351" y="1175"/>
                  <a:pt x="351" y="1200"/>
                  <a:pt x="376" y="1200"/>
                </a:cubicBezTo>
                <a:cubicBezTo>
                  <a:pt x="426" y="1225"/>
                  <a:pt x="476" y="1225"/>
                  <a:pt x="501" y="1250"/>
                </a:cubicBezTo>
                <a:cubicBezTo>
                  <a:pt x="526" y="1300"/>
                  <a:pt x="526" y="1225"/>
                  <a:pt x="551" y="1200"/>
                </a:cubicBezTo>
                <a:cubicBezTo>
                  <a:pt x="576" y="1175"/>
                  <a:pt x="651" y="1200"/>
                  <a:pt x="676" y="1200"/>
                </a:cubicBezTo>
                <a:cubicBezTo>
                  <a:pt x="701" y="1200"/>
                  <a:pt x="701" y="1075"/>
                  <a:pt x="701" y="1050"/>
                </a:cubicBezTo>
                <a:cubicBezTo>
                  <a:pt x="701" y="1025"/>
                  <a:pt x="751" y="975"/>
                  <a:pt x="776" y="975"/>
                </a:cubicBezTo>
                <a:cubicBezTo>
                  <a:pt x="801" y="950"/>
                  <a:pt x="851" y="950"/>
                  <a:pt x="901" y="950"/>
                </a:cubicBezTo>
                <a:cubicBezTo>
                  <a:pt x="926" y="925"/>
                  <a:pt x="951" y="925"/>
                  <a:pt x="1001" y="925"/>
                </a:cubicBezTo>
                <a:cubicBezTo>
                  <a:pt x="1026" y="925"/>
                  <a:pt x="1076" y="975"/>
                  <a:pt x="1076" y="975"/>
                </a:cubicBezTo>
                <a:cubicBezTo>
                  <a:pt x="1101" y="975"/>
                  <a:pt x="1126" y="925"/>
                  <a:pt x="1126" y="900"/>
                </a:cubicBezTo>
                <a:cubicBezTo>
                  <a:pt x="1126" y="875"/>
                  <a:pt x="1151" y="825"/>
                  <a:pt x="1151" y="774"/>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1" name="Freeform 226">
            <a:extLst>
              <a:ext uri="{FF2B5EF4-FFF2-40B4-BE49-F238E27FC236}">
                <a16:creationId xmlns:a16="http://schemas.microsoft.com/office/drawing/2014/main" id="{912975B7-0950-9B4A-950E-51A11260AD19}"/>
              </a:ext>
            </a:extLst>
          </p:cNvPr>
          <p:cNvSpPr>
            <a:spLocks noChangeArrowheads="1"/>
          </p:cNvSpPr>
          <p:nvPr/>
        </p:nvSpPr>
        <p:spPr bwMode="auto">
          <a:xfrm>
            <a:off x="3301801" y="4836315"/>
            <a:ext cx="390935" cy="566716"/>
          </a:xfrm>
          <a:custGeom>
            <a:avLst/>
            <a:gdLst>
              <a:gd name="T0" fmla="*/ 1125 w 1227"/>
              <a:gd name="T1" fmla="*/ 1675 h 1776"/>
              <a:gd name="T2" fmla="*/ 1125 w 1227"/>
              <a:gd name="T3" fmla="*/ 1675 h 1776"/>
              <a:gd name="T4" fmla="*/ 1125 w 1227"/>
              <a:gd name="T5" fmla="*/ 1675 h 1776"/>
              <a:gd name="T6" fmla="*/ 1151 w 1227"/>
              <a:gd name="T7" fmla="*/ 1650 h 1776"/>
              <a:gd name="T8" fmla="*/ 1201 w 1227"/>
              <a:gd name="T9" fmla="*/ 1575 h 1776"/>
              <a:gd name="T10" fmla="*/ 1151 w 1227"/>
              <a:gd name="T11" fmla="*/ 1525 h 1776"/>
              <a:gd name="T12" fmla="*/ 1176 w 1227"/>
              <a:gd name="T13" fmla="*/ 1450 h 1776"/>
              <a:gd name="T14" fmla="*/ 1201 w 1227"/>
              <a:gd name="T15" fmla="*/ 1375 h 1776"/>
              <a:gd name="T16" fmla="*/ 1201 w 1227"/>
              <a:gd name="T17" fmla="*/ 1225 h 1776"/>
              <a:gd name="T18" fmla="*/ 1226 w 1227"/>
              <a:gd name="T19" fmla="*/ 1175 h 1776"/>
              <a:gd name="T20" fmla="*/ 1151 w 1227"/>
              <a:gd name="T21" fmla="*/ 1050 h 1776"/>
              <a:gd name="T22" fmla="*/ 1051 w 1227"/>
              <a:gd name="T23" fmla="*/ 1050 h 1776"/>
              <a:gd name="T24" fmla="*/ 1025 w 1227"/>
              <a:gd name="T25" fmla="*/ 925 h 1776"/>
              <a:gd name="T26" fmla="*/ 1001 w 1227"/>
              <a:gd name="T27" fmla="*/ 950 h 1776"/>
              <a:gd name="T28" fmla="*/ 901 w 1227"/>
              <a:gd name="T29" fmla="*/ 950 h 1776"/>
              <a:gd name="T30" fmla="*/ 851 w 1227"/>
              <a:gd name="T31" fmla="*/ 900 h 1776"/>
              <a:gd name="T32" fmla="*/ 801 w 1227"/>
              <a:gd name="T33" fmla="*/ 875 h 1776"/>
              <a:gd name="T34" fmla="*/ 751 w 1227"/>
              <a:gd name="T35" fmla="*/ 775 h 1776"/>
              <a:gd name="T36" fmla="*/ 725 w 1227"/>
              <a:gd name="T37" fmla="*/ 700 h 1776"/>
              <a:gd name="T38" fmla="*/ 751 w 1227"/>
              <a:gd name="T39" fmla="*/ 650 h 1776"/>
              <a:gd name="T40" fmla="*/ 801 w 1227"/>
              <a:gd name="T41" fmla="*/ 600 h 1776"/>
              <a:gd name="T42" fmla="*/ 825 w 1227"/>
              <a:gd name="T43" fmla="*/ 500 h 1776"/>
              <a:gd name="T44" fmla="*/ 901 w 1227"/>
              <a:gd name="T45" fmla="*/ 450 h 1776"/>
              <a:gd name="T46" fmla="*/ 1025 w 1227"/>
              <a:gd name="T47" fmla="*/ 400 h 1776"/>
              <a:gd name="T48" fmla="*/ 1101 w 1227"/>
              <a:gd name="T49" fmla="*/ 400 h 1776"/>
              <a:gd name="T50" fmla="*/ 1025 w 1227"/>
              <a:gd name="T51" fmla="*/ 350 h 1776"/>
              <a:gd name="T52" fmla="*/ 1076 w 1227"/>
              <a:gd name="T53" fmla="*/ 274 h 1776"/>
              <a:gd name="T54" fmla="*/ 1025 w 1227"/>
              <a:gd name="T55" fmla="*/ 225 h 1776"/>
              <a:gd name="T56" fmla="*/ 951 w 1227"/>
              <a:gd name="T57" fmla="*/ 225 h 1776"/>
              <a:gd name="T58" fmla="*/ 901 w 1227"/>
              <a:gd name="T59" fmla="*/ 225 h 1776"/>
              <a:gd name="T60" fmla="*/ 801 w 1227"/>
              <a:gd name="T61" fmla="*/ 225 h 1776"/>
              <a:gd name="T62" fmla="*/ 751 w 1227"/>
              <a:gd name="T63" fmla="*/ 150 h 1776"/>
              <a:gd name="T64" fmla="*/ 701 w 1227"/>
              <a:gd name="T65" fmla="*/ 100 h 1776"/>
              <a:gd name="T66" fmla="*/ 651 w 1227"/>
              <a:gd name="T67" fmla="*/ 25 h 1776"/>
              <a:gd name="T68" fmla="*/ 551 w 1227"/>
              <a:gd name="T69" fmla="*/ 25 h 1776"/>
              <a:gd name="T70" fmla="*/ 576 w 1227"/>
              <a:gd name="T71" fmla="*/ 100 h 1776"/>
              <a:gd name="T72" fmla="*/ 525 w 1227"/>
              <a:gd name="T73" fmla="*/ 174 h 1776"/>
              <a:gd name="T74" fmla="*/ 351 w 1227"/>
              <a:gd name="T75" fmla="*/ 274 h 1776"/>
              <a:gd name="T76" fmla="*/ 251 w 1227"/>
              <a:gd name="T77" fmla="*/ 425 h 1776"/>
              <a:gd name="T78" fmla="*/ 200 w 1227"/>
              <a:gd name="T79" fmla="*/ 450 h 1776"/>
              <a:gd name="T80" fmla="*/ 125 w 1227"/>
              <a:gd name="T81" fmla="*/ 425 h 1776"/>
              <a:gd name="T82" fmla="*/ 125 w 1227"/>
              <a:gd name="T83" fmla="*/ 374 h 1776"/>
              <a:gd name="T84" fmla="*/ 100 w 1227"/>
              <a:gd name="T85" fmla="*/ 325 h 1776"/>
              <a:gd name="T86" fmla="*/ 25 w 1227"/>
              <a:gd name="T87" fmla="*/ 400 h 1776"/>
              <a:gd name="T88" fmla="*/ 51 w 1227"/>
              <a:gd name="T89" fmla="*/ 525 h 1776"/>
              <a:gd name="T90" fmla="*/ 25 w 1227"/>
              <a:gd name="T91" fmla="*/ 550 h 1776"/>
              <a:gd name="T92" fmla="*/ 125 w 1227"/>
              <a:gd name="T93" fmla="*/ 650 h 1776"/>
              <a:gd name="T94" fmla="*/ 225 w 1227"/>
              <a:gd name="T95" fmla="*/ 775 h 1776"/>
              <a:gd name="T96" fmla="*/ 300 w 1227"/>
              <a:gd name="T97" fmla="*/ 925 h 1776"/>
              <a:gd name="T98" fmla="*/ 451 w 1227"/>
              <a:gd name="T99" fmla="*/ 1200 h 1776"/>
              <a:gd name="T100" fmla="*/ 501 w 1227"/>
              <a:gd name="T101" fmla="*/ 1325 h 1776"/>
              <a:gd name="T102" fmla="*/ 525 w 1227"/>
              <a:gd name="T103" fmla="*/ 1400 h 1776"/>
              <a:gd name="T104" fmla="*/ 676 w 1227"/>
              <a:gd name="T105" fmla="*/ 1500 h 1776"/>
              <a:gd name="T106" fmla="*/ 951 w 1227"/>
              <a:gd name="T107" fmla="*/ 1675 h 1776"/>
              <a:gd name="T108" fmla="*/ 1076 w 1227"/>
              <a:gd name="T109" fmla="*/ 1750 h 1776"/>
              <a:gd name="T110" fmla="*/ 1076 w 1227"/>
              <a:gd name="T111" fmla="*/ 1775 h 1776"/>
              <a:gd name="T112" fmla="*/ 1101 w 1227"/>
              <a:gd name="T113" fmla="*/ 1750 h 1776"/>
              <a:gd name="T114" fmla="*/ 1125 w 1227"/>
              <a:gd name="T115" fmla="*/ 1675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7" h="1776">
                <a:moveTo>
                  <a:pt x="1125" y="1675"/>
                </a:moveTo>
                <a:lnTo>
                  <a:pt x="1125" y="1675"/>
                </a:lnTo>
                <a:lnTo>
                  <a:pt x="1125" y="1675"/>
                </a:lnTo>
                <a:cubicBezTo>
                  <a:pt x="1125" y="1650"/>
                  <a:pt x="1125" y="1650"/>
                  <a:pt x="1151" y="1650"/>
                </a:cubicBezTo>
                <a:cubicBezTo>
                  <a:pt x="1151" y="1625"/>
                  <a:pt x="1201" y="1575"/>
                  <a:pt x="1201" y="1575"/>
                </a:cubicBezTo>
                <a:cubicBezTo>
                  <a:pt x="1201" y="1550"/>
                  <a:pt x="1151" y="1550"/>
                  <a:pt x="1151" y="1525"/>
                </a:cubicBezTo>
                <a:cubicBezTo>
                  <a:pt x="1151" y="1500"/>
                  <a:pt x="1201" y="1450"/>
                  <a:pt x="1176" y="1450"/>
                </a:cubicBezTo>
                <a:cubicBezTo>
                  <a:pt x="1151" y="1425"/>
                  <a:pt x="1201" y="1375"/>
                  <a:pt x="1201" y="1375"/>
                </a:cubicBezTo>
                <a:cubicBezTo>
                  <a:pt x="1201" y="1350"/>
                  <a:pt x="1176" y="1250"/>
                  <a:pt x="1201" y="1225"/>
                </a:cubicBezTo>
                <a:cubicBezTo>
                  <a:pt x="1201" y="1225"/>
                  <a:pt x="1226" y="1200"/>
                  <a:pt x="1226" y="1175"/>
                </a:cubicBezTo>
                <a:cubicBezTo>
                  <a:pt x="1201" y="1150"/>
                  <a:pt x="1176" y="1100"/>
                  <a:pt x="1151" y="1050"/>
                </a:cubicBezTo>
                <a:cubicBezTo>
                  <a:pt x="1125" y="1050"/>
                  <a:pt x="1076" y="1050"/>
                  <a:pt x="1051" y="1050"/>
                </a:cubicBezTo>
                <a:cubicBezTo>
                  <a:pt x="1025" y="1075"/>
                  <a:pt x="1025" y="975"/>
                  <a:pt x="1025" y="925"/>
                </a:cubicBezTo>
                <a:cubicBezTo>
                  <a:pt x="1025" y="900"/>
                  <a:pt x="1001" y="925"/>
                  <a:pt x="1001" y="950"/>
                </a:cubicBezTo>
                <a:cubicBezTo>
                  <a:pt x="976" y="975"/>
                  <a:pt x="951" y="950"/>
                  <a:pt x="901" y="950"/>
                </a:cubicBezTo>
                <a:cubicBezTo>
                  <a:pt x="851" y="950"/>
                  <a:pt x="876" y="900"/>
                  <a:pt x="851" y="900"/>
                </a:cubicBezTo>
                <a:cubicBezTo>
                  <a:pt x="825" y="900"/>
                  <a:pt x="801" y="900"/>
                  <a:pt x="801" y="875"/>
                </a:cubicBezTo>
                <a:cubicBezTo>
                  <a:pt x="801" y="825"/>
                  <a:pt x="776" y="825"/>
                  <a:pt x="751" y="775"/>
                </a:cubicBezTo>
                <a:cubicBezTo>
                  <a:pt x="751" y="750"/>
                  <a:pt x="725" y="725"/>
                  <a:pt x="725" y="700"/>
                </a:cubicBezTo>
                <a:cubicBezTo>
                  <a:pt x="751" y="675"/>
                  <a:pt x="725" y="675"/>
                  <a:pt x="751" y="650"/>
                </a:cubicBezTo>
                <a:cubicBezTo>
                  <a:pt x="776" y="625"/>
                  <a:pt x="801" y="625"/>
                  <a:pt x="801" y="600"/>
                </a:cubicBezTo>
                <a:cubicBezTo>
                  <a:pt x="776" y="550"/>
                  <a:pt x="825" y="550"/>
                  <a:pt x="825" y="500"/>
                </a:cubicBezTo>
                <a:cubicBezTo>
                  <a:pt x="825" y="474"/>
                  <a:pt x="876" y="474"/>
                  <a:pt x="901" y="450"/>
                </a:cubicBezTo>
                <a:cubicBezTo>
                  <a:pt x="951" y="425"/>
                  <a:pt x="976" y="425"/>
                  <a:pt x="1025" y="400"/>
                </a:cubicBezTo>
                <a:cubicBezTo>
                  <a:pt x="1051" y="374"/>
                  <a:pt x="1076" y="400"/>
                  <a:pt x="1101" y="400"/>
                </a:cubicBezTo>
                <a:cubicBezTo>
                  <a:pt x="1076" y="374"/>
                  <a:pt x="1051" y="374"/>
                  <a:pt x="1025" y="350"/>
                </a:cubicBezTo>
                <a:cubicBezTo>
                  <a:pt x="1025" y="325"/>
                  <a:pt x="1076" y="299"/>
                  <a:pt x="1076" y="274"/>
                </a:cubicBezTo>
                <a:cubicBezTo>
                  <a:pt x="1101" y="250"/>
                  <a:pt x="1025" y="225"/>
                  <a:pt x="1025" y="225"/>
                </a:cubicBezTo>
                <a:cubicBezTo>
                  <a:pt x="1001" y="225"/>
                  <a:pt x="976" y="225"/>
                  <a:pt x="951" y="225"/>
                </a:cubicBezTo>
                <a:cubicBezTo>
                  <a:pt x="951" y="225"/>
                  <a:pt x="925" y="225"/>
                  <a:pt x="901" y="225"/>
                </a:cubicBezTo>
                <a:cubicBezTo>
                  <a:pt x="876" y="250"/>
                  <a:pt x="801" y="250"/>
                  <a:pt x="801" y="225"/>
                </a:cubicBezTo>
                <a:cubicBezTo>
                  <a:pt x="801" y="200"/>
                  <a:pt x="751" y="174"/>
                  <a:pt x="751" y="150"/>
                </a:cubicBezTo>
                <a:cubicBezTo>
                  <a:pt x="751" y="150"/>
                  <a:pt x="725" y="100"/>
                  <a:pt x="701" y="100"/>
                </a:cubicBezTo>
                <a:cubicBezTo>
                  <a:pt x="651" y="100"/>
                  <a:pt x="676" y="25"/>
                  <a:pt x="651" y="25"/>
                </a:cubicBezTo>
                <a:cubicBezTo>
                  <a:pt x="625" y="0"/>
                  <a:pt x="601" y="25"/>
                  <a:pt x="551" y="25"/>
                </a:cubicBezTo>
                <a:cubicBezTo>
                  <a:pt x="601" y="50"/>
                  <a:pt x="601" y="74"/>
                  <a:pt x="576" y="100"/>
                </a:cubicBezTo>
                <a:cubicBezTo>
                  <a:pt x="551" y="100"/>
                  <a:pt x="576" y="125"/>
                  <a:pt x="525" y="174"/>
                </a:cubicBezTo>
                <a:cubicBezTo>
                  <a:pt x="476" y="250"/>
                  <a:pt x="401" y="274"/>
                  <a:pt x="351" y="274"/>
                </a:cubicBezTo>
                <a:cubicBezTo>
                  <a:pt x="300" y="299"/>
                  <a:pt x="276" y="374"/>
                  <a:pt x="251" y="425"/>
                </a:cubicBezTo>
                <a:cubicBezTo>
                  <a:pt x="225" y="500"/>
                  <a:pt x="225" y="474"/>
                  <a:pt x="200" y="450"/>
                </a:cubicBezTo>
                <a:cubicBezTo>
                  <a:pt x="176" y="400"/>
                  <a:pt x="151" y="450"/>
                  <a:pt x="125" y="425"/>
                </a:cubicBezTo>
                <a:cubicBezTo>
                  <a:pt x="100" y="400"/>
                  <a:pt x="100" y="400"/>
                  <a:pt x="125" y="374"/>
                </a:cubicBezTo>
                <a:cubicBezTo>
                  <a:pt x="125" y="350"/>
                  <a:pt x="125" y="350"/>
                  <a:pt x="100" y="325"/>
                </a:cubicBezTo>
                <a:cubicBezTo>
                  <a:pt x="76" y="325"/>
                  <a:pt x="51" y="374"/>
                  <a:pt x="25" y="400"/>
                </a:cubicBezTo>
                <a:cubicBezTo>
                  <a:pt x="0" y="450"/>
                  <a:pt x="51" y="500"/>
                  <a:pt x="51" y="525"/>
                </a:cubicBezTo>
                <a:cubicBezTo>
                  <a:pt x="76" y="550"/>
                  <a:pt x="25" y="550"/>
                  <a:pt x="25" y="550"/>
                </a:cubicBezTo>
                <a:cubicBezTo>
                  <a:pt x="25" y="575"/>
                  <a:pt x="100" y="625"/>
                  <a:pt x="125" y="650"/>
                </a:cubicBezTo>
                <a:cubicBezTo>
                  <a:pt x="176" y="675"/>
                  <a:pt x="200" y="750"/>
                  <a:pt x="225" y="775"/>
                </a:cubicBezTo>
                <a:cubicBezTo>
                  <a:pt x="251" y="800"/>
                  <a:pt x="251" y="825"/>
                  <a:pt x="300" y="925"/>
                </a:cubicBezTo>
                <a:cubicBezTo>
                  <a:pt x="325" y="1000"/>
                  <a:pt x="401" y="1125"/>
                  <a:pt x="451" y="1200"/>
                </a:cubicBezTo>
                <a:cubicBezTo>
                  <a:pt x="476" y="1250"/>
                  <a:pt x="501" y="1300"/>
                  <a:pt x="501" y="1325"/>
                </a:cubicBezTo>
                <a:cubicBezTo>
                  <a:pt x="476" y="1325"/>
                  <a:pt x="501" y="1375"/>
                  <a:pt x="525" y="1400"/>
                </a:cubicBezTo>
                <a:cubicBezTo>
                  <a:pt x="576" y="1425"/>
                  <a:pt x="601" y="1450"/>
                  <a:pt x="676" y="1500"/>
                </a:cubicBezTo>
                <a:cubicBezTo>
                  <a:pt x="776" y="1550"/>
                  <a:pt x="925" y="1625"/>
                  <a:pt x="951" y="1675"/>
                </a:cubicBezTo>
                <a:cubicBezTo>
                  <a:pt x="976" y="1699"/>
                  <a:pt x="1051" y="1750"/>
                  <a:pt x="1076" y="1750"/>
                </a:cubicBezTo>
                <a:lnTo>
                  <a:pt x="1076" y="1775"/>
                </a:lnTo>
                <a:cubicBezTo>
                  <a:pt x="1076" y="1775"/>
                  <a:pt x="1076" y="1750"/>
                  <a:pt x="1101" y="1750"/>
                </a:cubicBezTo>
                <a:cubicBezTo>
                  <a:pt x="1125" y="1750"/>
                  <a:pt x="1125" y="1699"/>
                  <a:pt x="1125" y="16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2" name="Freeform 227">
            <a:extLst>
              <a:ext uri="{FF2B5EF4-FFF2-40B4-BE49-F238E27FC236}">
                <a16:creationId xmlns:a16="http://schemas.microsoft.com/office/drawing/2014/main" id="{00EA50F2-7309-9243-A860-52C1DA4727CF}"/>
              </a:ext>
            </a:extLst>
          </p:cNvPr>
          <p:cNvSpPr>
            <a:spLocks noChangeArrowheads="1"/>
          </p:cNvSpPr>
          <p:nvPr/>
        </p:nvSpPr>
        <p:spPr bwMode="auto">
          <a:xfrm>
            <a:off x="4011952" y="4645064"/>
            <a:ext cx="127968" cy="136405"/>
          </a:xfrm>
          <a:custGeom>
            <a:avLst/>
            <a:gdLst>
              <a:gd name="T0" fmla="*/ 100 w 401"/>
              <a:gd name="T1" fmla="*/ 100 h 426"/>
              <a:gd name="T2" fmla="*/ 100 w 401"/>
              <a:gd name="T3" fmla="*/ 100 h 426"/>
              <a:gd name="T4" fmla="*/ 50 w 401"/>
              <a:gd name="T5" fmla="*/ 150 h 426"/>
              <a:gd name="T6" fmla="*/ 25 w 401"/>
              <a:gd name="T7" fmla="*/ 225 h 426"/>
              <a:gd name="T8" fmla="*/ 100 w 401"/>
              <a:gd name="T9" fmla="*/ 325 h 426"/>
              <a:gd name="T10" fmla="*/ 150 w 401"/>
              <a:gd name="T11" fmla="*/ 425 h 426"/>
              <a:gd name="T12" fmla="*/ 200 w 401"/>
              <a:gd name="T13" fmla="*/ 425 h 426"/>
              <a:gd name="T14" fmla="*/ 225 w 401"/>
              <a:gd name="T15" fmla="*/ 374 h 426"/>
              <a:gd name="T16" fmla="*/ 350 w 401"/>
              <a:gd name="T17" fmla="*/ 374 h 426"/>
              <a:gd name="T18" fmla="*/ 350 w 401"/>
              <a:gd name="T19" fmla="*/ 374 h 426"/>
              <a:gd name="T20" fmla="*/ 375 w 401"/>
              <a:gd name="T21" fmla="*/ 325 h 426"/>
              <a:gd name="T22" fmla="*/ 375 w 401"/>
              <a:gd name="T23" fmla="*/ 200 h 426"/>
              <a:gd name="T24" fmla="*/ 375 w 401"/>
              <a:gd name="T25" fmla="*/ 100 h 426"/>
              <a:gd name="T26" fmla="*/ 400 w 401"/>
              <a:gd name="T27" fmla="*/ 50 h 426"/>
              <a:gd name="T28" fmla="*/ 300 w 401"/>
              <a:gd name="T29" fmla="*/ 25 h 426"/>
              <a:gd name="T30" fmla="*/ 175 w 401"/>
              <a:gd name="T31" fmla="*/ 25 h 426"/>
              <a:gd name="T32" fmla="*/ 125 w 401"/>
              <a:gd name="T33" fmla="*/ 25 h 426"/>
              <a:gd name="T34" fmla="*/ 100 w 401"/>
              <a:gd name="T35" fmla="*/ 25 h 426"/>
              <a:gd name="T36" fmla="*/ 100 w 401"/>
              <a:gd name="T37" fmla="*/ 10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426">
                <a:moveTo>
                  <a:pt x="100" y="100"/>
                </a:moveTo>
                <a:lnTo>
                  <a:pt x="100" y="100"/>
                </a:lnTo>
                <a:cubicBezTo>
                  <a:pt x="100" y="125"/>
                  <a:pt x="75" y="125"/>
                  <a:pt x="50" y="150"/>
                </a:cubicBezTo>
                <a:cubicBezTo>
                  <a:pt x="25" y="150"/>
                  <a:pt x="25" y="200"/>
                  <a:pt x="25" y="225"/>
                </a:cubicBezTo>
                <a:cubicBezTo>
                  <a:pt x="0" y="225"/>
                  <a:pt x="75" y="274"/>
                  <a:pt x="100" y="325"/>
                </a:cubicBezTo>
                <a:cubicBezTo>
                  <a:pt x="100" y="350"/>
                  <a:pt x="125" y="374"/>
                  <a:pt x="150" y="425"/>
                </a:cubicBezTo>
                <a:cubicBezTo>
                  <a:pt x="175" y="425"/>
                  <a:pt x="175" y="425"/>
                  <a:pt x="200" y="425"/>
                </a:cubicBezTo>
                <a:cubicBezTo>
                  <a:pt x="225" y="400"/>
                  <a:pt x="200" y="374"/>
                  <a:pt x="225" y="374"/>
                </a:cubicBezTo>
                <a:cubicBezTo>
                  <a:pt x="275" y="374"/>
                  <a:pt x="325" y="350"/>
                  <a:pt x="350" y="374"/>
                </a:cubicBezTo>
                <a:lnTo>
                  <a:pt x="350" y="374"/>
                </a:lnTo>
                <a:cubicBezTo>
                  <a:pt x="350" y="374"/>
                  <a:pt x="375" y="350"/>
                  <a:pt x="375" y="325"/>
                </a:cubicBezTo>
                <a:cubicBezTo>
                  <a:pt x="375" y="325"/>
                  <a:pt x="375" y="250"/>
                  <a:pt x="375" y="200"/>
                </a:cubicBezTo>
                <a:cubicBezTo>
                  <a:pt x="350" y="174"/>
                  <a:pt x="375" y="125"/>
                  <a:pt x="375" y="100"/>
                </a:cubicBezTo>
                <a:cubicBezTo>
                  <a:pt x="375" y="100"/>
                  <a:pt x="400" y="74"/>
                  <a:pt x="400" y="50"/>
                </a:cubicBezTo>
                <a:cubicBezTo>
                  <a:pt x="375" y="50"/>
                  <a:pt x="325" y="25"/>
                  <a:pt x="300" y="25"/>
                </a:cubicBezTo>
                <a:cubicBezTo>
                  <a:pt x="250" y="50"/>
                  <a:pt x="200" y="50"/>
                  <a:pt x="175" y="25"/>
                </a:cubicBezTo>
                <a:cubicBezTo>
                  <a:pt x="175" y="0"/>
                  <a:pt x="150" y="0"/>
                  <a:pt x="125" y="25"/>
                </a:cubicBezTo>
                <a:lnTo>
                  <a:pt x="100" y="25"/>
                </a:lnTo>
                <a:cubicBezTo>
                  <a:pt x="100" y="50"/>
                  <a:pt x="100" y="74"/>
                  <a:pt x="100" y="1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3" name="Freeform 228">
            <a:extLst>
              <a:ext uri="{FF2B5EF4-FFF2-40B4-BE49-F238E27FC236}">
                <a16:creationId xmlns:a16="http://schemas.microsoft.com/office/drawing/2014/main" id="{D37F30AC-A801-944C-A77E-0C6ACE44A208}"/>
              </a:ext>
            </a:extLst>
          </p:cNvPr>
          <p:cNvSpPr>
            <a:spLocks noChangeArrowheads="1"/>
          </p:cNvSpPr>
          <p:nvPr/>
        </p:nvSpPr>
        <p:spPr bwMode="auto">
          <a:xfrm>
            <a:off x="4123044" y="4661941"/>
            <a:ext cx="95624" cy="119531"/>
          </a:xfrm>
          <a:custGeom>
            <a:avLst/>
            <a:gdLst>
              <a:gd name="T0" fmla="*/ 25 w 301"/>
              <a:gd name="T1" fmla="*/ 150 h 376"/>
              <a:gd name="T2" fmla="*/ 25 w 301"/>
              <a:gd name="T3" fmla="*/ 150 h 376"/>
              <a:gd name="T4" fmla="*/ 25 w 301"/>
              <a:gd name="T5" fmla="*/ 275 h 376"/>
              <a:gd name="T6" fmla="*/ 0 w 301"/>
              <a:gd name="T7" fmla="*/ 324 h 376"/>
              <a:gd name="T8" fmla="*/ 75 w 301"/>
              <a:gd name="T9" fmla="*/ 350 h 376"/>
              <a:gd name="T10" fmla="*/ 175 w 301"/>
              <a:gd name="T11" fmla="*/ 300 h 376"/>
              <a:gd name="T12" fmla="*/ 300 w 301"/>
              <a:gd name="T13" fmla="*/ 150 h 376"/>
              <a:gd name="T14" fmla="*/ 300 w 301"/>
              <a:gd name="T15" fmla="*/ 150 h 376"/>
              <a:gd name="T16" fmla="*/ 125 w 301"/>
              <a:gd name="T17" fmla="*/ 24 h 376"/>
              <a:gd name="T18" fmla="*/ 50 w 301"/>
              <a:gd name="T19" fmla="*/ 0 h 376"/>
              <a:gd name="T20" fmla="*/ 25 w 301"/>
              <a:gd name="T21" fmla="*/ 50 h 376"/>
              <a:gd name="T22" fmla="*/ 25 w 301"/>
              <a:gd name="T23" fmla="*/ 1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376">
                <a:moveTo>
                  <a:pt x="25" y="150"/>
                </a:moveTo>
                <a:lnTo>
                  <a:pt x="25" y="150"/>
                </a:lnTo>
                <a:cubicBezTo>
                  <a:pt x="25" y="200"/>
                  <a:pt x="25" y="275"/>
                  <a:pt x="25" y="275"/>
                </a:cubicBezTo>
                <a:cubicBezTo>
                  <a:pt x="25" y="300"/>
                  <a:pt x="0" y="324"/>
                  <a:pt x="0" y="324"/>
                </a:cubicBezTo>
                <a:cubicBezTo>
                  <a:pt x="25" y="350"/>
                  <a:pt x="50" y="350"/>
                  <a:pt x="75" y="350"/>
                </a:cubicBezTo>
                <a:cubicBezTo>
                  <a:pt x="125" y="324"/>
                  <a:pt x="150" y="375"/>
                  <a:pt x="175" y="300"/>
                </a:cubicBezTo>
                <a:cubicBezTo>
                  <a:pt x="200" y="250"/>
                  <a:pt x="250" y="200"/>
                  <a:pt x="300" y="150"/>
                </a:cubicBezTo>
                <a:lnTo>
                  <a:pt x="300" y="150"/>
                </a:lnTo>
                <a:cubicBezTo>
                  <a:pt x="250" y="150"/>
                  <a:pt x="200" y="50"/>
                  <a:pt x="125" y="24"/>
                </a:cubicBezTo>
                <a:cubicBezTo>
                  <a:pt x="100" y="24"/>
                  <a:pt x="75" y="24"/>
                  <a:pt x="50" y="0"/>
                </a:cubicBezTo>
                <a:cubicBezTo>
                  <a:pt x="50" y="24"/>
                  <a:pt x="25" y="50"/>
                  <a:pt x="25" y="50"/>
                </a:cubicBezTo>
                <a:cubicBezTo>
                  <a:pt x="25" y="75"/>
                  <a:pt x="0" y="124"/>
                  <a:pt x="25" y="15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4" name="Freeform 229">
            <a:extLst>
              <a:ext uri="{FF2B5EF4-FFF2-40B4-BE49-F238E27FC236}">
                <a16:creationId xmlns:a16="http://schemas.microsoft.com/office/drawing/2014/main" id="{A185DEA1-A2E6-4B4E-8DBA-9E35F28E4B3A}"/>
              </a:ext>
            </a:extLst>
          </p:cNvPr>
          <p:cNvSpPr>
            <a:spLocks noChangeArrowheads="1"/>
          </p:cNvSpPr>
          <p:nvPr/>
        </p:nvSpPr>
        <p:spPr bwMode="auto">
          <a:xfrm>
            <a:off x="3206177" y="4110693"/>
            <a:ext cx="319217" cy="119531"/>
          </a:xfrm>
          <a:custGeom>
            <a:avLst/>
            <a:gdLst>
              <a:gd name="T0" fmla="*/ 801 w 1002"/>
              <a:gd name="T1" fmla="*/ 225 h 377"/>
              <a:gd name="T2" fmla="*/ 801 w 1002"/>
              <a:gd name="T3" fmla="*/ 225 h 377"/>
              <a:gd name="T4" fmla="*/ 351 w 1002"/>
              <a:gd name="T5" fmla="*/ 50 h 377"/>
              <a:gd name="T6" fmla="*/ 25 w 1002"/>
              <a:gd name="T7" fmla="*/ 176 h 377"/>
              <a:gd name="T8" fmla="*/ 176 w 1002"/>
              <a:gd name="T9" fmla="*/ 100 h 377"/>
              <a:gd name="T10" fmla="*/ 276 w 1002"/>
              <a:gd name="T11" fmla="*/ 125 h 377"/>
              <a:gd name="T12" fmla="*/ 425 w 1002"/>
              <a:gd name="T13" fmla="*/ 176 h 377"/>
              <a:gd name="T14" fmla="*/ 625 w 1002"/>
              <a:gd name="T15" fmla="*/ 276 h 377"/>
              <a:gd name="T16" fmla="*/ 676 w 1002"/>
              <a:gd name="T17" fmla="*/ 350 h 377"/>
              <a:gd name="T18" fmla="*/ 976 w 1002"/>
              <a:gd name="T19" fmla="*/ 350 h 377"/>
              <a:gd name="T20" fmla="*/ 801 w 1002"/>
              <a:gd name="T21" fmla="*/ 22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2" h="377">
                <a:moveTo>
                  <a:pt x="801" y="225"/>
                </a:moveTo>
                <a:lnTo>
                  <a:pt x="801" y="225"/>
                </a:lnTo>
                <a:cubicBezTo>
                  <a:pt x="751" y="225"/>
                  <a:pt x="551" y="100"/>
                  <a:pt x="351" y="50"/>
                </a:cubicBezTo>
                <a:cubicBezTo>
                  <a:pt x="176" y="0"/>
                  <a:pt x="0" y="150"/>
                  <a:pt x="25" y="176"/>
                </a:cubicBezTo>
                <a:cubicBezTo>
                  <a:pt x="51" y="200"/>
                  <a:pt x="151" y="125"/>
                  <a:pt x="176" y="100"/>
                </a:cubicBezTo>
                <a:cubicBezTo>
                  <a:pt x="225" y="50"/>
                  <a:pt x="276" y="100"/>
                  <a:pt x="276" y="125"/>
                </a:cubicBezTo>
                <a:cubicBezTo>
                  <a:pt x="276" y="150"/>
                  <a:pt x="351" y="176"/>
                  <a:pt x="425" y="176"/>
                </a:cubicBezTo>
                <a:cubicBezTo>
                  <a:pt x="525" y="176"/>
                  <a:pt x="551" y="250"/>
                  <a:pt x="625" y="276"/>
                </a:cubicBezTo>
                <a:cubicBezTo>
                  <a:pt x="725" y="300"/>
                  <a:pt x="625" y="325"/>
                  <a:pt x="676" y="350"/>
                </a:cubicBezTo>
                <a:cubicBezTo>
                  <a:pt x="725" y="376"/>
                  <a:pt x="976" y="350"/>
                  <a:pt x="976" y="350"/>
                </a:cubicBezTo>
                <a:cubicBezTo>
                  <a:pt x="1001" y="325"/>
                  <a:pt x="876" y="225"/>
                  <a:pt x="801" y="22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5" name="Freeform 230">
            <a:extLst>
              <a:ext uri="{FF2B5EF4-FFF2-40B4-BE49-F238E27FC236}">
                <a16:creationId xmlns:a16="http://schemas.microsoft.com/office/drawing/2014/main" id="{C362247E-08CA-CF4B-A467-1D913512307E}"/>
              </a:ext>
            </a:extLst>
          </p:cNvPr>
          <p:cNvSpPr>
            <a:spLocks noChangeArrowheads="1"/>
          </p:cNvSpPr>
          <p:nvPr/>
        </p:nvSpPr>
        <p:spPr bwMode="auto">
          <a:xfrm>
            <a:off x="3388989" y="4262568"/>
            <a:ext cx="71719" cy="40781"/>
          </a:xfrm>
          <a:custGeom>
            <a:avLst/>
            <a:gdLst>
              <a:gd name="T0" fmla="*/ 24 w 226"/>
              <a:gd name="T1" fmla="*/ 49 h 126"/>
              <a:gd name="T2" fmla="*/ 24 w 226"/>
              <a:gd name="T3" fmla="*/ 49 h 126"/>
              <a:gd name="T4" fmla="*/ 225 w 226"/>
              <a:gd name="T5" fmla="*/ 74 h 126"/>
              <a:gd name="T6" fmla="*/ 24 w 226"/>
              <a:gd name="T7" fmla="*/ 49 h 126"/>
            </a:gdLst>
            <a:ahLst/>
            <a:cxnLst>
              <a:cxn ang="0">
                <a:pos x="T0" y="T1"/>
              </a:cxn>
              <a:cxn ang="0">
                <a:pos x="T2" y="T3"/>
              </a:cxn>
              <a:cxn ang="0">
                <a:pos x="T4" y="T5"/>
              </a:cxn>
              <a:cxn ang="0">
                <a:pos x="T6" y="T7"/>
              </a:cxn>
            </a:cxnLst>
            <a:rect l="0" t="0" r="r" b="b"/>
            <a:pathLst>
              <a:path w="226" h="126">
                <a:moveTo>
                  <a:pt x="24" y="49"/>
                </a:moveTo>
                <a:lnTo>
                  <a:pt x="24" y="49"/>
                </a:lnTo>
                <a:cubicBezTo>
                  <a:pt x="49" y="74"/>
                  <a:pt x="200" y="125"/>
                  <a:pt x="225" y="74"/>
                </a:cubicBezTo>
                <a:cubicBezTo>
                  <a:pt x="225" y="49"/>
                  <a:pt x="0" y="0"/>
                  <a:pt x="24"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6" name="Freeform 231">
            <a:extLst>
              <a:ext uri="{FF2B5EF4-FFF2-40B4-BE49-F238E27FC236}">
                <a16:creationId xmlns:a16="http://schemas.microsoft.com/office/drawing/2014/main" id="{7DA3FB29-65A0-BF4B-8444-118565F80A1A}"/>
              </a:ext>
            </a:extLst>
          </p:cNvPr>
          <p:cNvSpPr>
            <a:spLocks noChangeArrowheads="1"/>
          </p:cNvSpPr>
          <p:nvPr/>
        </p:nvSpPr>
        <p:spPr bwMode="auto">
          <a:xfrm>
            <a:off x="3723674" y="4262568"/>
            <a:ext cx="71719" cy="40781"/>
          </a:xfrm>
          <a:custGeom>
            <a:avLst/>
            <a:gdLst>
              <a:gd name="T0" fmla="*/ 50 w 226"/>
              <a:gd name="T1" fmla="*/ 49 h 126"/>
              <a:gd name="T2" fmla="*/ 50 w 226"/>
              <a:gd name="T3" fmla="*/ 49 h 126"/>
              <a:gd name="T4" fmla="*/ 200 w 226"/>
              <a:gd name="T5" fmla="*/ 49 h 126"/>
              <a:gd name="T6" fmla="*/ 50 w 226"/>
              <a:gd name="T7" fmla="*/ 49 h 126"/>
            </a:gdLst>
            <a:ahLst/>
            <a:cxnLst>
              <a:cxn ang="0">
                <a:pos x="T0" y="T1"/>
              </a:cxn>
              <a:cxn ang="0">
                <a:pos x="T2" y="T3"/>
              </a:cxn>
              <a:cxn ang="0">
                <a:pos x="T4" y="T5"/>
              </a:cxn>
              <a:cxn ang="0">
                <a:pos x="T6" y="T7"/>
              </a:cxn>
            </a:cxnLst>
            <a:rect l="0" t="0" r="r" b="b"/>
            <a:pathLst>
              <a:path w="226" h="126">
                <a:moveTo>
                  <a:pt x="50" y="49"/>
                </a:moveTo>
                <a:lnTo>
                  <a:pt x="50" y="49"/>
                </a:lnTo>
                <a:cubicBezTo>
                  <a:pt x="75" y="125"/>
                  <a:pt x="200" y="74"/>
                  <a:pt x="200" y="49"/>
                </a:cubicBezTo>
                <a:cubicBezTo>
                  <a:pt x="225" y="25"/>
                  <a:pt x="0" y="0"/>
                  <a:pt x="50"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7" name="Freeform 232">
            <a:extLst>
              <a:ext uri="{FF2B5EF4-FFF2-40B4-BE49-F238E27FC236}">
                <a16:creationId xmlns:a16="http://schemas.microsoft.com/office/drawing/2014/main" id="{84DB7CB4-A149-F743-854C-34557F0DF04D}"/>
              </a:ext>
            </a:extLst>
          </p:cNvPr>
          <p:cNvSpPr>
            <a:spLocks noChangeArrowheads="1"/>
          </p:cNvSpPr>
          <p:nvPr/>
        </p:nvSpPr>
        <p:spPr bwMode="auto">
          <a:xfrm>
            <a:off x="3916328" y="6535054"/>
            <a:ext cx="104061" cy="47812"/>
          </a:xfrm>
          <a:custGeom>
            <a:avLst/>
            <a:gdLst>
              <a:gd name="T0" fmla="*/ 325 w 326"/>
              <a:gd name="T1" fmla="*/ 49 h 150"/>
              <a:gd name="T2" fmla="*/ 325 w 326"/>
              <a:gd name="T3" fmla="*/ 49 h 150"/>
              <a:gd name="T4" fmla="*/ 175 w 326"/>
              <a:gd name="T5" fmla="*/ 125 h 150"/>
              <a:gd name="T6" fmla="*/ 325 w 326"/>
              <a:gd name="T7" fmla="*/ 49 h 150"/>
              <a:gd name="T8" fmla="*/ 150 w 326"/>
              <a:gd name="T9" fmla="*/ 0 h 150"/>
              <a:gd name="T10" fmla="*/ 150 w 326"/>
              <a:gd name="T11" fmla="*/ 0 h 150"/>
              <a:gd name="T12" fmla="*/ 50 w 326"/>
              <a:gd name="T13" fmla="*/ 125 h 150"/>
              <a:gd name="T14" fmla="*/ 150 w 326"/>
              <a:gd name="T15" fmla="*/ 0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150">
                <a:moveTo>
                  <a:pt x="325" y="49"/>
                </a:moveTo>
                <a:lnTo>
                  <a:pt x="325" y="49"/>
                </a:lnTo>
                <a:cubicBezTo>
                  <a:pt x="275" y="0"/>
                  <a:pt x="125" y="100"/>
                  <a:pt x="175" y="125"/>
                </a:cubicBezTo>
                <a:cubicBezTo>
                  <a:pt x="200" y="149"/>
                  <a:pt x="325" y="75"/>
                  <a:pt x="325" y="49"/>
                </a:cubicBezTo>
                <a:close/>
                <a:moveTo>
                  <a:pt x="150" y="0"/>
                </a:moveTo>
                <a:lnTo>
                  <a:pt x="150" y="0"/>
                </a:lnTo>
                <a:cubicBezTo>
                  <a:pt x="100" y="0"/>
                  <a:pt x="0" y="100"/>
                  <a:pt x="50" y="125"/>
                </a:cubicBezTo>
                <a:cubicBezTo>
                  <a:pt x="100" y="149"/>
                  <a:pt x="200" y="25"/>
                  <a:pt x="150" y="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8" name="Freeform 233">
            <a:extLst>
              <a:ext uri="{FF2B5EF4-FFF2-40B4-BE49-F238E27FC236}">
                <a16:creationId xmlns:a16="http://schemas.microsoft.com/office/drawing/2014/main" id="{014DDE68-F279-2F46-A532-F7646A32310B}"/>
              </a:ext>
            </a:extLst>
          </p:cNvPr>
          <p:cNvSpPr>
            <a:spLocks noChangeArrowheads="1"/>
          </p:cNvSpPr>
          <p:nvPr/>
        </p:nvSpPr>
        <p:spPr bwMode="auto">
          <a:xfrm>
            <a:off x="2991021" y="4788503"/>
            <a:ext cx="503435" cy="208124"/>
          </a:xfrm>
          <a:custGeom>
            <a:avLst/>
            <a:gdLst>
              <a:gd name="T0" fmla="*/ 1526 w 1577"/>
              <a:gd name="T1" fmla="*/ 175 h 651"/>
              <a:gd name="T2" fmla="*/ 1526 w 1577"/>
              <a:gd name="T3" fmla="*/ 175 h 651"/>
              <a:gd name="T4" fmla="*/ 1476 w 1577"/>
              <a:gd name="T5" fmla="*/ 124 h 651"/>
              <a:gd name="T6" fmla="*/ 1400 w 1577"/>
              <a:gd name="T7" fmla="*/ 124 h 651"/>
              <a:gd name="T8" fmla="*/ 1326 w 1577"/>
              <a:gd name="T9" fmla="*/ 75 h 651"/>
              <a:gd name="T10" fmla="*/ 1226 w 1577"/>
              <a:gd name="T11" fmla="*/ 0 h 651"/>
              <a:gd name="T12" fmla="*/ 1226 w 1577"/>
              <a:gd name="T13" fmla="*/ 24 h 651"/>
              <a:gd name="T14" fmla="*/ 1151 w 1577"/>
              <a:gd name="T15" fmla="*/ 50 h 651"/>
              <a:gd name="T16" fmla="*/ 1126 w 1577"/>
              <a:gd name="T17" fmla="*/ 124 h 651"/>
              <a:gd name="T18" fmla="*/ 1075 w 1577"/>
              <a:gd name="T19" fmla="*/ 175 h 651"/>
              <a:gd name="T20" fmla="*/ 1051 w 1577"/>
              <a:gd name="T21" fmla="*/ 224 h 651"/>
              <a:gd name="T22" fmla="*/ 1026 w 1577"/>
              <a:gd name="T23" fmla="*/ 300 h 651"/>
              <a:gd name="T24" fmla="*/ 1026 w 1577"/>
              <a:gd name="T25" fmla="*/ 350 h 651"/>
              <a:gd name="T26" fmla="*/ 1075 w 1577"/>
              <a:gd name="T27" fmla="*/ 400 h 651"/>
              <a:gd name="T28" fmla="*/ 1126 w 1577"/>
              <a:gd name="T29" fmla="*/ 424 h 651"/>
              <a:gd name="T30" fmla="*/ 1075 w 1577"/>
              <a:gd name="T31" fmla="*/ 475 h 651"/>
              <a:gd name="T32" fmla="*/ 1075 w 1577"/>
              <a:gd name="T33" fmla="*/ 475 h 651"/>
              <a:gd name="T34" fmla="*/ 1100 w 1577"/>
              <a:gd name="T35" fmla="*/ 524 h 651"/>
              <a:gd name="T36" fmla="*/ 1100 w 1577"/>
              <a:gd name="T37" fmla="*/ 575 h 651"/>
              <a:gd name="T38" fmla="*/ 1175 w 1577"/>
              <a:gd name="T39" fmla="*/ 600 h 651"/>
              <a:gd name="T40" fmla="*/ 1226 w 1577"/>
              <a:gd name="T41" fmla="*/ 575 h 651"/>
              <a:gd name="T42" fmla="*/ 1326 w 1577"/>
              <a:gd name="T43" fmla="*/ 424 h 651"/>
              <a:gd name="T44" fmla="*/ 1500 w 1577"/>
              <a:gd name="T45" fmla="*/ 324 h 651"/>
              <a:gd name="T46" fmla="*/ 1551 w 1577"/>
              <a:gd name="T47" fmla="*/ 250 h 651"/>
              <a:gd name="T48" fmla="*/ 1526 w 1577"/>
              <a:gd name="T49" fmla="*/ 175 h 651"/>
              <a:gd name="T50" fmla="*/ 50 w 1577"/>
              <a:gd name="T51" fmla="*/ 150 h 651"/>
              <a:gd name="T52" fmla="*/ 50 w 1577"/>
              <a:gd name="T53" fmla="*/ 150 h 651"/>
              <a:gd name="T54" fmla="*/ 100 w 1577"/>
              <a:gd name="T55" fmla="*/ 250 h 651"/>
              <a:gd name="T56" fmla="*/ 50 w 1577"/>
              <a:gd name="T57" fmla="*/ 1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7" h="651">
                <a:moveTo>
                  <a:pt x="1526" y="175"/>
                </a:moveTo>
                <a:lnTo>
                  <a:pt x="1526" y="175"/>
                </a:lnTo>
                <a:cubicBezTo>
                  <a:pt x="1500" y="124"/>
                  <a:pt x="1476" y="100"/>
                  <a:pt x="1476" y="124"/>
                </a:cubicBezTo>
                <a:cubicBezTo>
                  <a:pt x="1451" y="124"/>
                  <a:pt x="1426" y="124"/>
                  <a:pt x="1400" y="124"/>
                </a:cubicBezTo>
                <a:cubicBezTo>
                  <a:pt x="1376" y="100"/>
                  <a:pt x="1351" y="75"/>
                  <a:pt x="1326" y="75"/>
                </a:cubicBezTo>
                <a:cubicBezTo>
                  <a:pt x="1326" y="75"/>
                  <a:pt x="1251" y="50"/>
                  <a:pt x="1226" y="0"/>
                </a:cubicBezTo>
                <a:cubicBezTo>
                  <a:pt x="1226" y="24"/>
                  <a:pt x="1226" y="24"/>
                  <a:pt x="1226" y="24"/>
                </a:cubicBezTo>
                <a:cubicBezTo>
                  <a:pt x="1226" y="50"/>
                  <a:pt x="1200" y="50"/>
                  <a:pt x="1151" y="50"/>
                </a:cubicBezTo>
                <a:cubicBezTo>
                  <a:pt x="1126" y="50"/>
                  <a:pt x="1126" y="100"/>
                  <a:pt x="1126" y="124"/>
                </a:cubicBezTo>
                <a:cubicBezTo>
                  <a:pt x="1126" y="150"/>
                  <a:pt x="1100" y="150"/>
                  <a:pt x="1075" y="175"/>
                </a:cubicBezTo>
                <a:cubicBezTo>
                  <a:pt x="1075" y="200"/>
                  <a:pt x="1075" y="224"/>
                  <a:pt x="1051" y="224"/>
                </a:cubicBezTo>
                <a:cubicBezTo>
                  <a:pt x="1026" y="250"/>
                  <a:pt x="1026" y="275"/>
                  <a:pt x="1026" y="300"/>
                </a:cubicBezTo>
                <a:cubicBezTo>
                  <a:pt x="1051" y="324"/>
                  <a:pt x="1026" y="350"/>
                  <a:pt x="1026" y="350"/>
                </a:cubicBezTo>
                <a:cubicBezTo>
                  <a:pt x="1026" y="375"/>
                  <a:pt x="1051" y="375"/>
                  <a:pt x="1075" y="400"/>
                </a:cubicBezTo>
                <a:cubicBezTo>
                  <a:pt x="1100" y="424"/>
                  <a:pt x="1126" y="400"/>
                  <a:pt x="1126" y="424"/>
                </a:cubicBezTo>
                <a:cubicBezTo>
                  <a:pt x="1151" y="424"/>
                  <a:pt x="1126" y="475"/>
                  <a:pt x="1075" y="475"/>
                </a:cubicBezTo>
                <a:lnTo>
                  <a:pt x="1075" y="475"/>
                </a:lnTo>
                <a:cubicBezTo>
                  <a:pt x="1100" y="500"/>
                  <a:pt x="1100" y="500"/>
                  <a:pt x="1100" y="524"/>
                </a:cubicBezTo>
                <a:cubicBezTo>
                  <a:pt x="1075" y="550"/>
                  <a:pt x="1075" y="550"/>
                  <a:pt x="1100" y="575"/>
                </a:cubicBezTo>
                <a:cubicBezTo>
                  <a:pt x="1126" y="600"/>
                  <a:pt x="1151" y="550"/>
                  <a:pt x="1175" y="600"/>
                </a:cubicBezTo>
                <a:cubicBezTo>
                  <a:pt x="1200" y="624"/>
                  <a:pt x="1200" y="650"/>
                  <a:pt x="1226" y="575"/>
                </a:cubicBezTo>
                <a:cubicBezTo>
                  <a:pt x="1251" y="524"/>
                  <a:pt x="1275" y="449"/>
                  <a:pt x="1326" y="424"/>
                </a:cubicBezTo>
                <a:cubicBezTo>
                  <a:pt x="1376" y="424"/>
                  <a:pt x="1451" y="400"/>
                  <a:pt x="1500" y="324"/>
                </a:cubicBezTo>
                <a:cubicBezTo>
                  <a:pt x="1551" y="275"/>
                  <a:pt x="1526" y="250"/>
                  <a:pt x="1551" y="250"/>
                </a:cubicBezTo>
                <a:cubicBezTo>
                  <a:pt x="1576" y="224"/>
                  <a:pt x="1576" y="200"/>
                  <a:pt x="1526" y="175"/>
                </a:cubicBezTo>
                <a:close/>
                <a:moveTo>
                  <a:pt x="50" y="150"/>
                </a:moveTo>
                <a:lnTo>
                  <a:pt x="50" y="150"/>
                </a:lnTo>
                <a:cubicBezTo>
                  <a:pt x="0" y="200"/>
                  <a:pt x="100" y="275"/>
                  <a:pt x="100" y="250"/>
                </a:cubicBezTo>
                <a:cubicBezTo>
                  <a:pt x="126" y="200"/>
                  <a:pt x="100" y="75"/>
                  <a:pt x="50" y="150"/>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09" name="Freeform 234">
            <a:extLst>
              <a:ext uri="{FF2B5EF4-FFF2-40B4-BE49-F238E27FC236}">
                <a16:creationId xmlns:a16="http://schemas.microsoft.com/office/drawing/2014/main" id="{2BF1AE11-03F2-F241-A263-F3F648130C63}"/>
              </a:ext>
            </a:extLst>
          </p:cNvPr>
          <p:cNvSpPr>
            <a:spLocks noChangeArrowheads="1"/>
          </p:cNvSpPr>
          <p:nvPr/>
        </p:nvSpPr>
        <p:spPr bwMode="auto">
          <a:xfrm>
            <a:off x="4616636" y="6646149"/>
            <a:ext cx="71717" cy="56249"/>
          </a:xfrm>
          <a:custGeom>
            <a:avLst/>
            <a:gdLst>
              <a:gd name="T0" fmla="*/ 0 w 227"/>
              <a:gd name="T1" fmla="*/ 26 h 177"/>
              <a:gd name="T2" fmla="*/ 0 w 227"/>
              <a:gd name="T3" fmla="*/ 26 h 177"/>
              <a:gd name="T4" fmla="*/ 100 w 227"/>
              <a:gd name="T5" fmla="*/ 76 h 177"/>
              <a:gd name="T6" fmla="*/ 200 w 227"/>
              <a:gd name="T7" fmla="*/ 126 h 177"/>
              <a:gd name="T8" fmla="*/ 0 w 227"/>
              <a:gd name="T9" fmla="*/ 26 h 177"/>
            </a:gdLst>
            <a:ahLst/>
            <a:cxnLst>
              <a:cxn ang="0">
                <a:pos x="T0" y="T1"/>
              </a:cxn>
              <a:cxn ang="0">
                <a:pos x="T2" y="T3"/>
              </a:cxn>
              <a:cxn ang="0">
                <a:pos x="T4" y="T5"/>
              </a:cxn>
              <a:cxn ang="0">
                <a:pos x="T6" y="T7"/>
              </a:cxn>
              <a:cxn ang="0">
                <a:pos x="T8" y="T9"/>
              </a:cxn>
            </a:cxnLst>
            <a:rect l="0" t="0" r="r" b="b"/>
            <a:pathLst>
              <a:path w="227" h="177">
                <a:moveTo>
                  <a:pt x="0" y="26"/>
                </a:moveTo>
                <a:lnTo>
                  <a:pt x="0" y="26"/>
                </a:lnTo>
                <a:cubicBezTo>
                  <a:pt x="26" y="76"/>
                  <a:pt x="51" y="51"/>
                  <a:pt x="100" y="76"/>
                </a:cubicBezTo>
                <a:cubicBezTo>
                  <a:pt x="126" y="126"/>
                  <a:pt x="151" y="176"/>
                  <a:pt x="200" y="126"/>
                </a:cubicBezTo>
                <a:cubicBezTo>
                  <a:pt x="226" y="76"/>
                  <a:pt x="0" y="0"/>
                  <a:pt x="0" y="2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0" name="Freeform 235">
            <a:extLst>
              <a:ext uri="{FF2B5EF4-FFF2-40B4-BE49-F238E27FC236}">
                <a16:creationId xmlns:a16="http://schemas.microsoft.com/office/drawing/2014/main" id="{538CB4A7-AEBC-CF44-93CF-C1A6E7B3A082}"/>
              </a:ext>
            </a:extLst>
          </p:cNvPr>
          <p:cNvSpPr>
            <a:spLocks noChangeArrowheads="1"/>
          </p:cNvSpPr>
          <p:nvPr/>
        </p:nvSpPr>
        <p:spPr bwMode="auto">
          <a:xfrm>
            <a:off x="3892420" y="4510065"/>
            <a:ext cx="40781" cy="23907"/>
          </a:xfrm>
          <a:custGeom>
            <a:avLst/>
            <a:gdLst>
              <a:gd name="T0" fmla="*/ 25 w 126"/>
              <a:gd name="T1" fmla="*/ 75 h 76"/>
              <a:gd name="T2" fmla="*/ 25 w 126"/>
              <a:gd name="T3" fmla="*/ 75 h 76"/>
              <a:gd name="T4" fmla="*/ 25 w 126"/>
              <a:gd name="T5" fmla="*/ 25 h 76"/>
              <a:gd name="T6" fmla="*/ 100 w 126"/>
              <a:gd name="T7" fmla="*/ 0 h 76"/>
              <a:gd name="T8" fmla="*/ 100 w 126"/>
              <a:gd name="T9" fmla="*/ 51 h 76"/>
              <a:gd name="T10" fmla="*/ 25 w 126"/>
              <a:gd name="T11" fmla="*/ 75 h 76"/>
            </a:gdLst>
            <a:ahLst/>
            <a:cxnLst>
              <a:cxn ang="0">
                <a:pos x="T0" y="T1"/>
              </a:cxn>
              <a:cxn ang="0">
                <a:pos x="T2" y="T3"/>
              </a:cxn>
              <a:cxn ang="0">
                <a:pos x="T4" y="T5"/>
              </a:cxn>
              <a:cxn ang="0">
                <a:pos x="T6" y="T7"/>
              </a:cxn>
              <a:cxn ang="0">
                <a:pos x="T8" y="T9"/>
              </a:cxn>
              <a:cxn ang="0">
                <a:pos x="T10" y="T11"/>
              </a:cxn>
            </a:cxnLst>
            <a:rect l="0" t="0" r="r" b="b"/>
            <a:pathLst>
              <a:path w="126" h="76">
                <a:moveTo>
                  <a:pt x="25" y="75"/>
                </a:moveTo>
                <a:lnTo>
                  <a:pt x="25" y="75"/>
                </a:lnTo>
                <a:cubicBezTo>
                  <a:pt x="25" y="51"/>
                  <a:pt x="50" y="25"/>
                  <a:pt x="25" y="25"/>
                </a:cubicBezTo>
                <a:cubicBezTo>
                  <a:pt x="0" y="25"/>
                  <a:pt x="75" y="0"/>
                  <a:pt x="100" y="0"/>
                </a:cubicBezTo>
                <a:cubicBezTo>
                  <a:pt x="125" y="25"/>
                  <a:pt x="125" y="51"/>
                  <a:pt x="100" y="51"/>
                </a:cubicBezTo>
                <a:cubicBezTo>
                  <a:pt x="75" y="75"/>
                  <a:pt x="50" y="75"/>
                  <a:pt x="2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1" name="Freeform 236">
            <a:extLst>
              <a:ext uri="{FF2B5EF4-FFF2-40B4-BE49-F238E27FC236}">
                <a16:creationId xmlns:a16="http://schemas.microsoft.com/office/drawing/2014/main" id="{1B72AA53-4E4D-7243-AF7F-536D8830E258}"/>
              </a:ext>
            </a:extLst>
          </p:cNvPr>
          <p:cNvSpPr>
            <a:spLocks noChangeArrowheads="1"/>
          </p:cNvSpPr>
          <p:nvPr/>
        </p:nvSpPr>
        <p:spPr bwMode="auto">
          <a:xfrm>
            <a:off x="3549300" y="4469285"/>
            <a:ext cx="414841" cy="351560"/>
          </a:xfrm>
          <a:custGeom>
            <a:avLst/>
            <a:gdLst>
              <a:gd name="T0" fmla="*/ 125 w 1301"/>
              <a:gd name="T1" fmla="*/ 76 h 1102"/>
              <a:gd name="T2" fmla="*/ 125 w 1301"/>
              <a:gd name="T3" fmla="*/ 76 h 1102"/>
              <a:gd name="T4" fmla="*/ 49 w 1301"/>
              <a:gd name="T5" fmla="*/ 176 h 1102"/>
              <a:gd name="T6" fmla="*/ 25 w 1301"/>
              <a:gd name="T7" fmla="*/ 251 h 1102"/>
              <a:gd name="T8" fmla="*/ 0 w 1301"/>
              <a:gd name="T9" fmla="*/ 276 h 1102"/>
              <a:gd name="T10" fmla="*/ 49 w 1301"/>
              <a:gd name="T11" fmla="*/ 300 h 1102"/>
              <a:gd name="T12" fmla="*/ 100 w 1301"/>
              <a:gd name="T13" fmla="*/ 376 h 1102"/>
              <a:gd name="T14" fmla="*/ 149 w 1301"/>
              <a:gd name="T15" fmla="*/ 501 h 1102"/>
              <a:gd name="T16" fmla="*/ 325 w 1301"/>
              <a:gd name="T17" fmla="*/ 501 h 1102"/>
              <a:gd name="T18" fmla="*/ 450 w 1301"/>
              <a:gd name="T19" fmla="*/ 576 h 1102"/>
              <a:gd name="T20" fmla="*/ 550 w 1301"/>
              <a:gd name="T21" fmla="*/ 601 h 1102"/>
              <a:gd name="T22" fmla="*/ 525 w 1301"/>
              <a:gd name="T23" fmla="*/ 776 h 1102"/>
              <a:gd name="T24" fmla="*/ 575 w 1301"/>
              <a:gd name="T25" fmla="*/ 825 h 1102"/>
              <a:gd name="T26" fmla="*/ 575 w 1301"/>
              <a:gd name="T27" fmla="*/ 901 h 1102"/>
              <a:gd name="T28" fmla="*/ 575 w 1301"/>
              <a:gd name="T29" fmla="*/ 951 h 1102"/>
              <a:gd name="T30" fmla="*/ 575 w 1301"/>
              <a:gd name="T31" fmla="*/ 951 h 1102"/>
              <a:gd name="T32" fmla="*/ 650 w 1301"/>
              <a:gd name="T33" fmla="*/ 1051 h 1102"/>
              <a:gd name="T34" fmla="*/ 700 w 1301"/>
              <a:gd name="T35" fmla="*/ 1076 h 1102"/>
              <a:gd name="T36" fmla="*/ 750 w 1301"/>
              <a:gd name="T37" fmla="*/ 1076 h 1102"/>
              <a:gd name="T38" fmla="*/ 825 w 1301"/>
              <a:gd name="T39" fmla="*/ 1025 h 1102"/>
              <a:gd name="T40" fmla="*/ 875 w 1301"/>
              <a:gd name="T41" fmla="*/ 1001 h 1102"/>
              <a:gd name="T42" fmla="*/ 925 w 1301"/>
              <a:gd name="T43" fmla="*/ 951 h 1102"/>
              <a:gd name="T44" fmla="*/ 950 w 1301"/>
              <a:gd name="T45" fmla="*/ 925 h 1102"/>
              <a:gd name="T46" fmla="*/ 900 w 1301"/>
              <a:gd name="T47" fmla="*/ 901 h 1102"/>
              <a:gd name="T48" fmla="*/ 875 w 1301"/>
              <a:gd name="T49" fmla="*/ 851 h 1102"/>
              <a:gd name="T50" fmla="*/ 825 w 1301"/>
              <a:gd name="T51" fmla="*/ 776 h 1102"/>
              <a:gd name="T52" fmla="*/ 900 w 1301"/>
              <a:gd name="T53" fmla="*/ 776 h 1102"/>
              <a:gd name="T54" fmla="*/ 975 w 1301"/>
              <a:gd name="T55" fmla="*/ 801 h 1102"/>
              <a:gd name="T56" fmla="*/ 1025 w 1301"/>
              <a:gd name="T57" fmla="*/ 801 h 1102"/>
              <a:gd name="T58" fmla="*/ 1075 w 1301"/>
              <a:gd name="T59" fmla="*/ 751 h 1102"/>
              <a:gd name="T60" fmla="*/ 1200 w 1301"/>
              <a:gd name="T61" fmla="*/ 725 h 1102"/>
              <a:gd name="T62" fmla="*/ 1225 w 1301"/>
              <a:gd name="T63" fmla="*/ 676 h 1102"/>
              <a:gd name="T64" fmla="*/ 1150 w 1301"/>
              <a:gd name="T65" fmla="*/ 601 h 1102"/>
              <a:gd name="T66" fmla="*/ 1175 w 1301"/>
              <a:gd name="T67" fmla="*/ 551 h 1102"/>
              <a:gd name="T68" fmla="*/ 1200 w 1301"/>
              <a:gd name="T69" fmla="*/ 501 h 1102"/>
              <a:gd name="T70" fmla="*/ 1225 w 1301"/>
              <a:gd name="T71" fmla="*/ 451 h 1102"/>
              <a:gd name="T72" fmla="*/ 1250 w 1301"/>
              <a:gd name="T73" fmla="*/ 400 h 1102"/>
              <a:gd name="T74" fmla="*/ 1300 w 1301"/>
              <a:gd name="T75" fmla="*/ 351 h 1102"/>
              <a:gd name="T76" fmla="*/ 1150 w 1301"/>
              <a:gd name="T77" fmla="*/ 325 h 1102"/>
              <a:gd name="T78" fmla="*/ 1175 w 1301"/>
              <a:gd name="T79" fmla="*/ 251 h 1102"/>
              <a:gd name="T80" fmla="*/ 1050 w 1301"/>
              <a:gd name="T81" fmla="*/ 200 h 1102"/>
              <a:gd name="T82" fmla="*/ 1050 w 1301"/>
              <a:gd name="T83" fmla="*/ 150 h 1102"/>
              <a:gd name="T84" fmla="*/ 975 w 1301"/>
              <a:gd name="T85" fmla="*/ 125 h 1102"/>
              <a:gd name="T86" fmla="*/ 800 w 1301"/>
              <a:gd name="T87" fmla="*/ 200 h 1102"/>
              <a:gd name="T88" fmla="*/ 625 w 1301"/>
              <a:gd name="T89" fmla="*/ 150 h 1102"/>
              <a:gd name="T90" fmla="*/ 500 w 1301"/>
              <a:gd name="T91" fmla="*/ 125 h 1102"/>
              <a:gd name="T92" fmla="*/ 425 w 1301"/>
              <a:gd name="T93" fmla="*/ 50 h 1102"/>
              <a:gd name="T94" fmla="*/ 349 w 1301"/>
              <a:gd name="T95" fmla="*/ 0 h 1102"/>
              <a:gd name="T96" fmla="*/ 325 w 1301"/>
              <a:gd name="T97" fmla="*/ 50 h 1102"/>
              <a:gd name="T98" fmla="*/ 200 w 1301"/>
              <a:gd name="T99" fmla="*/ 125 h 1102"/>
              <a:gd name="T100" fmla="*/ 225 w 1301"/>
              <a:gd name="T101" fmla="*/ 276 h 1102"/>
              <a:gd name="T102" fmla="*/ 125 w 1301"/>
              <a:gd name="T103" fmla="*/ 225 h 1102"/>
              <a:gd name="T104" fmla="*/ 149 w 1301"/>
              <a:gd name="T105" fmla="*/ 125 h 1102"/>
              <a:gd name="T106" fmla="*/ 149 w 1301"/>
              <a:gd name="T107" fmla="*/ 50 h 1102"/>
              <a:gd name="T108" fmla="*/ 125 w 1301"/>
              <a:gd name="T109" fmla="*/ 76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1" h="1102">
                <a:moveTo>
                  <a:pt x="125" y="76"/>
                </a:moveTo>
                <a:lnTo>
                  <a:pt x="125" y="76"/>
                </a:lnTo>
                <a:cubicBezTo>
                  <a:pt x="100" y="100"/>
                  <a:pt x="49" y="125"/>
                  <a:pt x="49" y="176"/>
                </a:cubicBezTo>
                <a:cubicBezTo>
                  <a:pt x="25" y="200"/>
                  <a:pt x="49" y="225"/>
                  <a:pt x="25" y="251"/>
                </a:cubicBezTo>
                <a:cubicBezTo>
                  <a:pt x="0" y="251"/>
                  <a:pt x="0" y="276"/>
                  <a:pt x="0" y="276"/>
                </a:cubicBezTo>
                <a:cubicBezTo>
                  <a:pt x="25" y="276"/>
                  <a:pt x="49" y="276"/>
                  <a:pt x="49" y="300"/>
                </a:cubicBezTo>
                <a:cubicBezTo>
                  <a:pt x="49" y="325"/>
                  <a:pt x="100" y="325"/>
                  <a:pt x="100" y="376"/>
                </a:cubicBezTo>
                <a:cubicBezTo>
                  <a:pt x="100" y="400"/>
                  <a:pt x="75" y="501"/>
                  <a:pt x="149" y="501"/>
                </a:cubicBezTo>
                <a:cubicBezTo>
                  <a:pt x="225" y="501"/>
                  <a:pt x="275" y="451"/>
                  <a:pt x="325" y="501"/>
                </a:cubicBezTo>
                <a:cubicBezTo>
                  <a:pt x="349" y="551"/>
                  <a:pt x="400" y="576"/>
                  <a:pt x="450" y="576"/>
                </a:cubicBezTo>
                <a:cubicBezTo>
                  <a:pt x="500" y="551"/>
                  <a:pt x="575" y="551"/>
                  <a:pt x="550" y="601"/>
                </a:cubicBezTo>
                <a:cubicBezTo>
                  <a:pt x="525" y="651"/>
                  <a:pt x="500" y="725"/>
                  <a:pt x="525" y="776"/>
                </a:cubicBezTo>
                <a:cubicBezTo>
                  <a:pt x="550" y="801"/>
                  <a:pt x="600" y="825"/>
                  <a:pt x="575" y="825"/>
                </a:cubicBezTo>
                <a:cubicBezTo>
                  <a:pt x="550" y="851"/>
                  <a:pt x="550" y="876"/>
                  <a:pt x="575" y="901"/>
                </a:cubicBezTo>
                <a:cubicBezTo>
                  <a:pt x="600" y="925"/>
                  <a:pt x="575" y="951"/>
                  <a:pt x="575" y="951"/>
                </a:cubicBezTo>
                <a:lnTo>
                  <a:pt x="575" y="951"/>
                </a:lnTo>
                <a:cubicBezTo>
                  <a:pt x="600" y="1001"/>
                  <a:pt x="625" y="1051"/>
                  <a:pt x="650" y="1051"/>
                </a:cubicBezTo>
                <a:cubicBezTo>
                  <a:pt x="675" y="1076"/>
                  <a:pt x="675" y="1101"/>
                  <a:pt x="700" y="1076"/>
                </a:cubicBezTo>
                <a:cubicBezTo>
                  <a:pt x="725" y="1076"/>
                  <a:pt x="725" y="1051"/>
                  <a:pt x="750" y="1076"/>
                </a:cubicBezTo>
                <a:cubicBezTo>
                  <a:pt x="775" y="1076"/>
                  <a:pt x="800" y="1051"/>
                  <a:pt x="825" y="1025"/>
                </a:cubicBezTo>
                <a:cubicBezTo>
                  <a:pt x="850" y="1025"/>
                  <a:pt x="875" y="1025"/>
                  <a:pt x="875" y="1001"/>
                </a:cubicBezTo>
                <a:cubicBezTo>
                  <a:pt x="875" y="976"/>
                  <a:pt x="900" y="951"/>
                  <a:pt x="925" y="951"/>
                </a:cubicBezTo>
                <a:cubicBezTo>
                  <a:pt x="975" y="951"/>
                  <a:pt x="975" y="925"/>
                  <a:pt x="950" y="925"/>
                </a:cubicBezTo>
                <a:cubicBezTo>
                  <a:pt x="925" y="925"/>
                  <a:pt x="900" y="951"/>
                  <a:pt x="900" y="901"/>
                </a:cubicBezTo>
                <a:cubicBezTo>
                  <a:pt x="900" y="876"/>
                  <a:pt x="875" y="876"/>
                  <a:pt x="875" y="851"/>
                </a:cubicBezTo>
                <a:cubicBezTo>
                  <a:pt x="875" y="825"/>
                  <a:pt x="875" y="801"/>
                  <a:pt x="825" y="776"/>
                </a:cubicBezTo>
                <a:cubicBezTo>
                  <a:pt x="800" y="751"/>
                  <a:pt x="875" y="751"/>
                  <a:pt x="900" y="776"/>
                </a:cubicBezTo>
                <a:cubicBezTo>
                  <a:pt x="900" y="776"/>
                  <a:pt x="975" y="776"/>
                  <a:pt x="975" y="801"/>
                </a:cubicBezTo>
                <a:cubicBezTo>
                  <a:pt x="975" y="825"/>
                  <a:pt x="1025" y="825"/>
                  <a:pt x="1025" y="801"/>
                </a:cubicBezTo>
                <a:cubicBezTo>
                  <a:pt x="1025" y="776"/>
                  <a:pt x="1050" y="751"/>
                  <a:pt x="1075" y="751"/>
                </a:cubicBezTo>
                <a:cubicBezTo>
                  <a:pt x="1100" y="776"/>
                  <a:pt x="1175" y="725"/>
                  <a:pt x="1200" y="725"/>
                </a:cubicBezTo>
                <a:cubicBezTo>
                  <a:pt x="1200" y="701"/>
                  <a:pt x="1200" y="701"/>
                  <a:pt x="1225" y="676"/>
                </a:cubicBezTo>
                <a:cubicBezTo>
                  <a:pt x="1200" y="651"/>
                  <a:pt x="1175" y="625"/>
                  <a:pt x="1150" y="601"/>
                </a:cubicBezTo>
                <a:cubicBezTo>
                  <a:pt x="1150" y="576"/>
                  <a:pt x="1175" y="576"/>
                  <a:pt x="1175" y="551"/>
                </a:cubicBezTo>
                <a:cubicBezTo>
                  <a:pt x="1175" y="525"/>
                  <a:pt x="1175" y="525"/>
                  <a:pt x="1200" y="501"/>
                </a:cubicBezTo>
                <a:cubicBezTo>
                  <a:pt x="1250" y="501"/>
                  <a:pt x="1250" y="476"/>
                  <a:pt x="1225" y="451"/>
                </a:cubicBezTo>
                <a:cubicBezTo>
                  <a:pt x="1200" y="451"/>
                  <a:pt x="1225" y="400"/>
                  <a:pt x="1250" y="400"/>
                </a:cubicBezTo>
                <a:cubicBezTo>
                  <a:pt x="1275" y="400"/>
                  <a:pt x="1275" y="376"/>
                  <a:pt x="1300" y="351"/>
                </a:cubicBezTo>
                <a:cubicBezTo>
                  <a:pt x="1250" y="325"/>
                  <a:pt x="1175" y="325"/>
                  <a:pt x="1150" y="325"/>
                </a:cubicBezTo>
                <a:cubicBezTo>
                  <a:pt x="1125" y="351"/>
                  <a:pt x="1175" y="300"/>
                  <a:pt x="1175" y="251"/>
                </a:cubicBezTo>
                <a:cubicBezTo>
                  <a:pt x="1175" y="225"/>
                  <a:pt x="1075" y="225"/>
                  <a:pt x="1050" y="200"/>
                </a:cubicBezTo>
                <a:cubicBezTo>
                  <a:pt x="1000" y="200"/>
                  <a:pt x="1025" y="150"/>
                  <a:pt x="1050" y="150"/>
                </a:cubicBezTo>
                <a:cubicBezTo>
                  <a:pt x="1100" y="150"/>
                  <a:pt x="1025" y="125"/>
                  <a:pt x="975" y="125"/>
                </a:cubicBezTo>
                <a:cubicBezTo>
                  <a:pt x="925" y="150"/>
                  <a:pt x="850" y="176"/>
                  <a:pt x="800" y="200"/>
                </a:cubicBezTo>
                <a:cubicBezTo>
                  <a:pt x="750" y="225"/>
                  <a:pt x="675" y="125"/>
                  <a:pt x="625" y="150"/>
                </a:cubicBezTo>
                <a:cubicBezTo>
                  <a:pt x="575" y="176"/>
                  <a:pt x="500" y="176"/>
                  <a:pt x="500" y="125"/>
                </a:cubicBezTo>
                <a:cubicBezTo>
                  <a:pt x="500" y="76"/>
                  <a:pt x="475" y="50"/>
                  <a:pt x="425" y="50"/>
                </a:cubicBezTo>
                <a:cubicBezTo>
                  <a:pt x="375" y="50"/>
                  <a:pt x="375" y="0"/>
                  <a:pt x="349" y="0"/>
                </a:cubicBezTo>
                <a:cubicBezTo>
                  <a:pt x="300" y="0"/>
                  <a:pt x="349" y="50"/>
                  <a:pt x="325" y="50"/>
                </a:cubicBezTo>
                <a:cubicBezTo>
                  <a:pt x="300" y="76"/>
                  <a:pt x="200" y="100"/>
                  <a:pt x="200" y="125"/>
                </a:cubicBezTo>
                <a:cubicBezTo>
                  <a:pt x="175" y="176"/>
                  <a:pt x="249" y="225"/>
                  <a:pt x="225" y="276"/>
                </a:cubicBezTo>
                <a:cubicBezTo>
                  <a:pt x="200" y="300"/>
                  <a:pt x="149" y="276"/>
                  <a:pt x="125" y="225"/>
                </a:cubicBezTo>
                <a:cubicBezTo>
                  <a:pt x="100" y="200"/>
                  <a:pt x="175" y="125"/>
                  <a:pt x="149" y="125"/>
                </a:cubicBezTo>
                <a:cubicBezTo>
                  <a:pt x="149" y="100"/>
                  <a:pt x="149" y="76"/>
                  <a:pt x="149" y="50"/>
                </a:cubicBezTo>
                <a:cubicBezTo>
                  <a:pt x="149" y="50"/>
                  <a:pt x="125" y="50"/>
                  <a:pt x="125" y="76"/>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2" name="Freeform 237">
            <a:extLst>
              <a:ext uri="{FF2B5EF4-FFF2-40B4-BE49-F238E27FC236}">
                <a16:creationId xmlns:a16="http://schemas.microsoft.com/office/drawing/2014/main" id="{42496E3A-A47F-FD43-A2DD-0ABD634354ED}"/>
              </a:ext>
            </a:extLst>
          </p:cNvPr>
          <p:cNvSpPr>
            <a:spLocks noChangeArrowheads="1"/>
          </p:cNvSpPr>
          <p:nvPr/>
        </p:nvSpPr>
        <p:spPr bwMode="auto">
          <a:xfrm>
            <a:off x="3916327" y="4581784"/>
            <a:ext cx="143436" cy="223592"/>
          </a:xfrm>
          <a:custGeom>
            <a:avLst/>
            <a:gdLst>
              <a:gd name="T0" fmla="*/ 100 w 451"/>
              <a:gd name="T1" fmla="*/ 49 h 701"/>
              <a:gd name="T2" fmla="*/ 100 w 451"/>
              <a:gd name="T3" fmla="*/ 49 h 701"/>
              <a:gd name="T4" fmla="*/ 75 w 451"/>
              <a:gd name="T5" fmla="*/ 100 h 701"/>
              <a:gd name="T6" fmla="*/ 50 w 451"/>
              <a:gd name="T7" fmla="*/ 150 h 701"/>
              <a:gd name="T8" fmla="*/ 25 w 451"/>
              <a:gd name="T9" fmla="*/ 200 h 701"/>
              <a:gd name="T10" fmla="*/ 0 w 451"/>
              <a:gd name="T11" fmla="*/ 250 h 701"/>
              <a:gd name="T12" fmla="*/ 75 w 451"/>
              <a:gd name="T13" fmla="*/ 325 h 701"/>
              <a:gd name="T14" fmla="*/ 100 w 451"/>
              <a:gd name="T15" fmla="*/ 300 h 701"/>
              <a:gd name="T16" fmla="*/ 150 w 451"/>
              <a:gd name="T17" fmla="*/ 400 h 701"/>
              <a:gd name="T18" fmla="*/ 150 w 451"/>
              <a:gd name="T19" fmla="*/ 474 h 701"/>
              <a:gd name="T20" fmla="*/ 175 w 451"/>
              <a:gd name="T21" fmla="*/ 625 h 701"/>
              <a:gd name="T22" fmla="*/ 275 w 451"/>
              <a:gd name="T23" fmla="*/ 674 h 701"/>
              <a:gd name="T24" fmla="*/ 325 w 451"/>
              <a:gd name="T25" fmla="*/ 650 h 701"/>
              <a:gd name="T26" fmla="*/ 375 w 451"/>
              <a:gd name="T27" fmla="*/ 625 h 701"/>
              <a:gd name="T28" fmla="*/ 450 w 451"/>
              <a:gd name="T29" fmla="*/ 625 h 701"/>
              <a:gd name="T30" fmla="*/ 400 w 451"/>
              <a:gd name="T31" fmla="*/ 525 h 701"/>
              <a:gd name="T32" fmla="*/ 325 w 451"/>
              <a:gd name="T33" fmla="*/ 425 h 701"/>
              <a:gd name="T34" fmla="*/ 350 w 451"/>
              <a:gd name="T35" fmla="*/ 350 h 701"/>
              <a:gd name="T36" fmla="*/ 400 w 451"/>
              <a:gd name="T37" fmla="*/ 300 h 701"/>
              <a:gd name="T38" fmla="*/ 400 w 451"/>
              <a:gd name="T39" fmla="*/ 225 h 701"/>
              <a:gd name="T40" fmla="*/ 325 w 451"/>
              <a:gd name="T41" fmla="*/ 150 h 701"/>
              <a:gd name="T42" fmla="*/ 275 w 451"/>
              <a:gd name="T43" fmla="*/ 100 h 701"/>
              <a:gd name="T44" fmla="*/ 175 w 451"/>
              <a:gd name="T45" fmla="*/ 25 h 701"/>
              <a:gd name="T46" fmla="*/ 150 w 451"/>
              <a:gd name="T47" fmla="*/ 0 h 701"/>
              <a:gd name="T48" fmla="*/ 100 w 451"/>
              <a:gd name="T49" fmla="*/ 4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1" h="701">
                <a:moveTo>
                  <a:pt x="100" y="49"/>
                </a:moveTo>
                <a:lnTo>
                  <a:pt x="100" y="49"/>
                </a:lnTo>
                <a:cubicBezTo>
                  <a:pt x="75" y="49"/>
                  <a:pt x="50" y="100"/>
                  <a:pt x="75" y="100"/>
                </a:cubicBezTo>
                <a:cubicBezTo>
                  <a:pt x="100" y="125"/>
                  <a:pt x="100" y="150"/>
                  <a:pt x="50" y="150"/>
                </a:cubicBezTo>
                <a:cubicBezTo>
                  <a:pt x="25" y="174"/>
                  <a:pt x="25" y="174"/>
                  <a:pt x="25" y="200"/>
                </a:cubicBezTo>
                <a:cubicBezTo>
                  <a:pt x="25" y="225"/>
                  <a:pt x="0" y="225"/>
                  <a:pt x="0" y="250"/>
                </a:cubicBezTo>
                <a:cubicBezTo>
                  <a:pt x="25" y="274"/>
                  <a:pt x="50" y="300"/>
                  <a:pt x="75" y="325"/>
                </a:cubicBezTo>
                <a:cubicBezTo>
                  <a:pt x="75" y="325"/>
                  <a:pt x="75" y="300"/>
                  <a:pt x="100" y="300"/>
                </a:cubicBezTo>
                <a:cubicBezTo>
                  <a:pt x="150" y="325"/>
                  <a:pt x="100" y="374"/>
                  <a:pt x="150" y="400"/>
                </a:cubicBezTo>
                <a:cubicBezTo>
                  <a:pt x="175" y="400"/>
                  <a:pt x="175" y="450"/>
                  <a:pt x="150" y="474"/>
                </a:cubicBezTo>
                <a:cubicBezTo>
                  <a:pt x="125" y="474"/>
                  <a:pt x="125" y="574"/>
                  <a:pt x="175" y="625"/>
                </a:cubicBezTo>
                <a:cubicBezTo>
                  <a:pt x="225" y="700"/>
                  <a:pt x="250" y="674"/>
                  <a:pt x="275" y="674"/>
                </a:cubicBezTo>
                <a:cubicBezTo>
                  <a:pt x="275" y="650"/>
                  <a:pt x="325" y="674"/>
                  <a:pt x="325" y="650"/>
                </a:cubicBezTo>
                <a:cubicBezTo>
                  <a:pt x="350" y="625"/>
                  <a:pt x="350" y="650"/>
                  <a:pt x="375" y="625"/>
                </a:cubicBezTo>
                <a:cubicBezTo>
                  <a:pt x="400" y="600"/>
                  <a:pt x="425" y="625"/>
                  <a:pt x="450" y="625"/>
                </a:cubicBezTo>
                <a:cubicBezTo>
                  <a:pt x="425" y="574"/>
                  <a:pt x="400" y="550"/>
                  <a:pt x="400" y="525"/>
                </a:cubicBezTo>
                <a:cubicBezTo>
                  <a:pt x="375" y="474"/>
                  <a:pt x="300" y="425"/>
                  <a:pt x="325" y="425"/>
                </a:cubicBezTo>
                <a:cubicBezTo>
                  <a:pt x="325" y="400"/>
                  <a:pt x="325" y="350"/>
                  <a:pt x="350" y="350"/>
                </a:cubicBezTo>
                <a:cubicBezTo>
                  <a:pt x="375" y="325"/>
                  <a:pt x="400" y="325"/>
                  <a:pt x="400" y="300"/>
                </a:cubicBezTo>
                <a:cubicBezTo>
                  <a:pt x="400" y="274"/>
                  <a:pt x="400" y="250"/>
                  <a:pt x="400" y="225"/>
                </a:cubicBezTo>
                <a:cubicBezTo>
                  <a:pt x="375" y="225"/>
                  <a:pt x="350" y="150"/>
                  <a:pt x="325" y="150"/>
                </a:cubicBezTo>
                <a:cubicBezTo>
                  <a:pt x="300" y="150"/>
                  <a:pt x="275" y="125"/>
                  <a:pt x="275" y="100"/>
                </a:cubicBezTo>
                <a:cubicBezTo>
                  <a:pt x="275" y="74"/>
                  <a:pt x="225" y="49"/>
                  <a:pt x="175" y="25"/>
                </a:cubicBezTo>
                <a:cubicBezTo>
                  <a:pt x="175" y="0"/>
                  <a:pt x="150" y="0"/>
                  <a:pt x="150" y="0"/>
                </a:cubicBezTo>
                <a:cubicBezTo>
                  <a:pt x="125" y="25"/>
                  <a:pt x="125" y="49"/>
                  <a:pt x="100" y="49"/>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3" name="Freeform 238">
            <a:extLst>
              <a:ext uri="{FF2B5EF4-FFF2-40B4-BE49-F238E27FC236}">
                <a16:creationId xmlns:a16="http://schemas.microsoft.com/office/drawing/2014/main" id="{812924E7-B62B-7342-AAF4-378F85CD9E75}"/>
              </a:ext>
            </a:extLst>
          </p:cNvPr>
          <p:cNvSpPr>
            <a:spLocks noChangeArrowheads="1"/>
          </p:cNvSpPr>
          <p:nvPr/>
        </p:nvSpPr>
        <p:spPr bwMode="auto">
          <a:xfrm>
            <a:off x="3166800" y="4501630"/>
            <a:ext cx="104061" cy="80156"/>
          </a:xfrm>
          <a:custGeom>
            <a:avLst/>
            <a:gdLst>
              <a:gd name="T0" fmla="*/ 300 w 325"/>
              <a:gd name="T1" fmla="*/ 200 h 252"/>
              <a:gd name="T2" fmla="*/ 300 w 325"/>
              <a:gd name="T3" fmla="*/ 200 h 252"/>
              <a:gd name="T4" fmla="*/ 324 w 325"/>
              <a:gd name="T5" fmla="*/ 151 h 252"/>
              <a:gd name="T6" fmla="*/ 224 w 325"/>
              <a:gd name="T7" fmla="*/ 25 h 252"/>
              <a:gd name="T8" fmla="*/ 175 w 325"/>
              <a:gd name="T9" fmla="*/ 25 h 252"/>
              <a:gd name="T10" fmla="*/ 100 w 325"/>
              <a:gd name="T11" fmla="*/ 0 h 252"/>
              <a:gd name="T12" fmla="*/ 49 w 325"/>
              <a:gd name="T13" fmla="*/ 0 h 252"/>
              <a:gd name="T14" fmla="*/ 24 w 325"/>
              <a:gd name="T15" fmla="*/ 50 h 252"/>
              <a:gd name="T16" fmla="*/ 49 w 325"/>
              <a:gd name="T17" fmla="*/ 125 h 252"/>
              <a:gd name="T18" fmla="*/ 100 w 325"/>
              <a:gd name="T19" fmla="*/ 100 h 252"/>
              <a:gd name="T20" fmla="*/ 149 w 325"/>
              <a:gd name="T21" fmla="*/ 151 h 252"/>
              <a:gd name="T22" fmla="*/ 224 w 325"/>
              <a:gd name="T23" fmla="*/ 200 h 252"/>
              <a:gd name="T24" fmla="*/ 275 w 325"/>
              <a:gd name="T25" fmla="*/ 251 h 252"/>
              <a:gd name="T26" fmla="*/ 300 w 325"/>
              <a:gd name="T27" fmla="*/ 251 h 252"/>
              <a:gd name="T28" fmla="*/ 300 w 325"/>
              <a:gd name="T29" fmla="*/ 20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 h="252">
                <a:moveTo>
                  <a:pt x="300" y="200"/>
                </a:moveTo>
                <a:lnTo>
                  <a:pt x="300" y="200"/>
                </a:lnTo>
                <a:cubicBezTo>
                  <a:pt x="300" y="200"/>
                  <a:pt x="300" y="151"/>
                  <a:pt x="324" y="151"/>
                </a:cubicBezTo>
                <a:cubicBezTo>
                  <a:pt x="300" y="100"/>
                  <a:pt x="249" y="50"/>
                  <a:pt x="224" y="25"/>
                </a:cubicBezTo>
                <a:cubicBezTo>
                  <a:pt x="200" y="25"/>
                  <a:pt x="200" y="25"/>
                  <a:pt x="175" y="25"/>
                </a:cubicBezTo>
                <a:cubicBezTo>
                  <a:pt x="149" y="0"/>
                  <a:pt x="100" y="25"/>
                  <a:pt x="100" y="0"/>
                </a:cubicBezTo>
                <a:cubicBezTo>
                  <a:pt x="75" y="0"/>
                  <a:pt x="49" y="0"/>
                  <a:pt x="49" y="0"/>
                </a:cubicBezTo>
                <a:cubicBezTo>
                  <a:pt x="49" y="25"/>
                  <a:pt x="49" y="25"/>
                  <a:pt x="24" y="50"/>
                </a:cubicBezTo>
                <a:cubicBezTo>
                  <a:pt x="0" y="50"/>
                  <a:pt x="0" y="100"/>
                  <a:pt x="49" y="125"/>
                </a:cubicBezTo>
                <a:cubicBezTo>
                  <a:pt x="100" y="151"/>
                  <a:pt x="75" y="100"/>
                  <a:pt x="100" y="100"/>
                </a:cubicBezTo>
                <a:cubicBezTo>
                  <a:pt x="124" y="100"/>
                  <a:pt x="124" y="151"/>
                  <a:pt x="149" y="151"/>
                </a:cubicBezTo>
                <a:cubicBezTo>
                  <a:pt x="175" y="151"/>
                  <a:pt x="224" y="176"/>
                  <a:pt x="224" y="200"/>
                </a:cubicBezTo>
                <a:cubicBezTo>
                  <a:pt x="224" y="225"/>
                  <a:pt x="224" y="251"/>
                  <a:pt x="275" y="251"/>
                </a:cubicBezTo>
                <a:cubicBezTo>
                  <a:pt x="275" y="251"/>
                  <a:pt x="275" y="251"/>
                  <a:pt x="300" y="251"/>
                </a:cubicBezTo>
                <a:cubicBezTo>
                  <a:pt x="300" y="225"/>
                  <a:pt x="300" y="200"/>
                  <a:pt x="300" y="200"/>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4" name="Freeform 239">
            <a:extLst>
              <a:ext uri="{FF2B5EF4-FFF2-40B4-BE49-F238E27FC236}">
                <a16:creationId xmlns:a16="http://schemas.microsoft.com/office/drawing/2014/main" id="{41FCCCE1-4D5A-AB4D-80C8-723C7453CCC6}"/>
              </a:ext>
            </a:extLst>
          </p:cNvPr>
          <p:cNvSpPr>
            <a:spLocks noChangeArrowheads="1"/>
          </p:cNvSpPr>
          <p:nvPr/>
        </p:nvSpPr>
        <p:spPr bwMode="auto">
          <a:xfrm>
            <a:off x="3262426" y="4541003"/>
            <a:ext cx="175780" cy="80156"/>
          </a:xfrm>
          <a:custGeom>
            <a:avLst/>
            <a:gdLst>
              <a:gd name="T0" fmla="*/ 475 w 550"/>
              <a:gd name="T1" fmla="*/ 75 h 252"/>
              <a:gd name="T2" fmla="*/ 475 w 550"/>
              <a:gd name="T3" fmla="*/ 75 h 252"/>
              <a:gd name="T4" fmla="*/ 349 w 550"/>
              <a:gd name="T5" fmla="*/ 26 h 252"/>
              <a:gd name="T6" fmla="*/ 224 w 550"/>
              <a:gd name="T7" fmla="*/ 75 h 252"/>
              <a:gd name="T8" fmla="*/ 75 w 550"/>
              <a:gd name="T9" fmla="*/ 51 h 252"/>
              <a:gd name="T10" fmla="*/ 24 w 550"/>
              <a:gd name="T11" fmla="*/ 26 h 252"/>
              <a:gd name="T12" fmla="*/ 0 w 550"/>
              <a:gd name="T13" fmla="*/ 75 h 252"/>
              <a:gd name="T14" fmla="*/ 0 w 550"/>
              <a:gd name="T15" fmla="*/ 126 h 252"/>
              <a:gd name="T16" fmla="*/ 124 w 550"/>
              <a:gd name="T17" fmla="*/ 175 h 252"/>
              <a:gd name="T18" fmla="*/ 175 w 550"/>
              <a:gd name="T19" fmla="*/ 226 h 252"/>
              <a:gd name="T20" fmla="*/ 249 w 550"/>
              <a:gd name="T21" fmla="*/ 200 h 252"/>
              <a:gd name="T22" fmla="*/ 224 w 550"/>
              <a:gd name="T23" fmla="*/ 151 h 252"/>
              <a:gd name="T24" fmla="*/ 275 w 550"/>
              <a:gd name="T25" fmla="*/ 100 h 252"/>
              <a:gd name="T26" fmla="*/ 375 w 550"/>
              <a:gd name="T27" fmla="*/ 75 h 252"/>
              <a:gd name="T28" fmla="*/ 400 w 550"/>
              <a:gd name="T29" fmla="*/ 151 h 252"/>
              <a:gd name="T30" fmla="*/ 475 w 550"/>
              <a:gd name="T31" fmla="*/ 251 h 252"/>
              <a:gd name="T32" fmla="*/ 525 w 550"/>
              <a:gd name="T33" fmla="*/ 175 h 252"/>
              <a:gd name="T34" fmla="*/ 549 w 550"/>
              <a:gd name="T35" fmla="*/ 151 h 252"/>
              <a:gd name="T36" fmla="*/ 475 w 550"/>
              <a:gd name="T37" fmla="*/ 7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0" h="252">
                <a:moveTo>
                  <a:pt x="475" y="75"/>
                </a:moveTo>
                <a:lnTo>
                  <a:pt x="475" y="75"/>
                </a:lnTo>
                <a:cubicBezTo>
                  <a:pt x="449" y="26"/>
                  <a:pt x="400" y="26"/>
                  <a:pt x="349" y="26"/>
                </a:cubicBezTo>
                <a:cubicBezTo>
                  <a:pt x="324" y="0"/>
                  <a:pt x="275" y="26"/>
                  <a:pt x="224" y="75"/>
                </a:cubicBezTo>
                <a:cubicBezTo>
                  <a:pt x="175" y="100"/>
                  <a:pt x="100" y="75"/>
                  <a:pt x="75" y="51"/>
                </a:cubicBezTo>
                <a:cubicBezTo>
                  <a:pt x="49" y="51"/>
                  <a:pt x="49" y="26"/>
                  <a:pt x="24" y="26"/>
                </a:cubicBezTo>
                <a:cubicBezTo>
                  <a:pt x="0" y="26"/>
                  <a:pt x="0" y="75"/>
                  <a:pt x="0" y="75"/>
                </a:cubicBezTo>
                <a:cubicBezTo>
                  <a:pt x="0" y="75"/>
                  <a:pt x="0" y="100"/>
                  <a:pt x="0" y="126"/>
                </a:cubicBezTo>
                <a:cubicBezTo>
                  <a:pt x="24" y="126"/>
                  <a:pt x="100" y="151"/>
                  <a:pt x="124" y="175"/>
                </a:cubicBezTo>
                <a:cubicBezTo>
                  <a:pt x="149" y="226"/>
                  <a:pt x="175" y="200"/>
                  <a:pt x="175" y="226"/>
                </a:cubicBezTo>
                <a:cubicBezTo>
                  <a:pt x="200" y="251"/>
                  <a:pt x="249" y="226"/>
                  <a:pt x="249" y="200"/>
                </a:cubicBezTo>
                <a:cubicBezTo>
                  <a:pt x="275" y="200"/>
                  <a:pt x="224" y="175"/>
                  <a:pt x="224" y="151"/>
                </a:cubicBezTo>
                <a:cubicBezTo>
                  <a:pt x="224" y="126"/>
                  <a:pt x="275" y="151"/>
                  <a:pt x="275" y="100"/>
                </a:cubicBezTo>
                <a:cubicBezTo>
                  <a:pt x="300" y="75"/>
                  <a:pt x="349" y="75"/>
                  <a:pt x="375" y="75"/>
                </a:cubicBezTo>
                <a:cubicBezTo>
                  <a:pt x="424" y="100"/>
                  <a:pt x="449" y="100"/>
                  <a:pt x="400" y="151"/>
                </a:cubicBezTo>
                <a:cubicBezTo>
                  <a:pt x="400" y="175"/>
                  <a:pt x="424" y="200"/>
                  <a:pt x="475" y="251"/>
                </a:cubicBezTo>
                <a:cubicBezTo>
                  <a:pt x="500" y="226"/>
                  <a:pt x="525" y="175"/>
                  <a:pt x="525" y="175"/>
                </a:cubicBezTo>
                <a:lnTo>
                  <a:pt x="549" y="151"/>
                </a:lnTo>
                <a:cubicBezTo>
                  <a:pt x="525" y="151"/>
                  <a:pt x="500" y="100"/>
                  <a:pt x="475" y="75"/>
                </a:cubicBezTo>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7" name="Freeform 241">
            <a:extLst>
              <a:ext uri="{FF2B5EF4-FFF2-40B4-BE49-F238E27FC236}">
                <a16:creationId xmlns:a16="http://schemas.microsoft.com/office/drawing/2014/main" id="{FCA920D9-C512-2E47-B5E8-B8962E87115B}"/>
              </a:ext>
            </a:extLst>
          </p:cNvPr>
          <p:cNvSpPr>
            <a:spLocks noChangeArrowheads="1"/>
          </p:cNvSpPr>
          <p:nvPr/>
        </p:nvSpPr>
        <p:spPr bwMode="auto">
          <a:xfrm>
            <a:off x="1507438" y="1424773"/>
            <a:ext cx="2671857" cy="2057331"/>
          </a:xfrm>
          <a:custGeom>
            <a:avLst/>
            <a:gdLst>
              <a:gd name="T0" fmla="*/ 1701 w 8378"/>
              <a:gd name="T1" fmla="*/ 5726 h 6452"/>
              <a:gd name="T2" fmla="*/ 2076 w 8378"/>
              <a:gd name="T3" fmla="*/ 1901 h 6452"/>
              <a:gd name="T4" fmla="*/ 3426 w 8378"/>
              <a:gd name="T5" fmla="*/ 2001 h 6452"/>
              <a:gd name="T6" fmla="*/ 2551 w 8378"/>
              <a:gd name="T7" fmla="*/ 2175 h 6452"/>
              <a:gd name="T8" fmla="*/ 2601 w 8378"/>
              <a:gd name="T9" fmla="*/ 2800 h 6452"/>
              <a:gd name="T10" fmla="*/ 1750 w 8378"/>
              <a:gd name="T11" fmla="*/ 1525 h 6452"/>
              <a:gd name="T12" fmla="*/ 2350 w 8378"/>
              <a:gd name="T13" fmla="*/ 1275 h 6452"/>
              <a:gd name="T14" fmla="*/ 2501 w 8378"/>
              <a:gd name="T15" fmla="*/ 1725 h 6452"/>
              <a:gd name="T16" fmla="*/ 3026 w 8378"/>
              <a:gd name="T17" fmla="*/ 1650 h 6452"/>
              <a:gd name="T18" fmla="*/ 2926 w 8378"/>
              <a:gd name="T19" fmla="*/ 1225 h 6452"/>
              <a:gd name="T20" fmla="*/ 3801 w 8378"/>
              <a:gd name="T21" fmla="*/ 1150 h 6452"/>
              <a:gd name="T22" fmla="*/ 3901 w 8378"/>
              <a:gd name="T23" fmla="*/ 750 h 6452"/>
              <a:gd name="T24" fmla="*/ 3501 w 8378"/>
              <a:gd name="T25" fmla="*/ 1525 h 6452"/>
              <a:gd name="T26" fmla="*/ 4201 w 8378"/>
              <a:gd name="T27" fmla="*/ 1200 h 6452"/>
              <a:gd name="T28" fmla="*/ 4177 w 8378"/>
              <a:gd name="T29" fmla="*/ 2125 h 6452"/>
              <a:gd name="T30" fmla="*/ 4751 w 8378"/>
              <a:gd name="T31" fmla="*/ 1801 h 6452"/>
              <a:gd name="T32" fmla="*/ 4501 w 8378"/>
              <a:gd name="T33" fmla="*/ 1500 h 6452"/>
              <a:gd name="T34" fmla="*/ 4926 w 8378"/>
              <a:gd name="T35" fmla="*/ 1125 h 6452"/>
              <a:gd name="T36" fmla="*/ 4326 w 8378"/>
              <a:gd name="T37" fmla="*/ 700 h 6452"/>
              <a:gd name="T38" fmla="*/ 5826 w 8378"/>
              <a:gd name="T39" fmla="*/ 600 h 6452"/>
              <a:gd name="T40" fmla="*/ 5077 w 8378"/>
              <a:gd name="T41" fmla="*/ 1200 h 6452"/>
              <a:gd name="T42" fmla="*/ 5926 w 8378"/>
              <a:gd name="T43" fmla="*/ 1275 h 6452"/>
              <a:gd name="T44" fmla="*/ 7502 w 8378"/>
              <a:gd name="T45" fmla="*/ 175 h 6452"/>
              <a:gd name="T46" fmla="*/ 5526 w 8378"/>
              <a:gd name="T47" fmla="*/ 175 h 6452"/>
              <a:gd name="T48" fmla="*/ 5426 w 8378"/>
              <a:gd name="T49" fmla="*/ 3875 h 6452"/>
              <a:gd name="T50" fmla="*/ 5551 w 8378"/>
              <a:gd name="T51" fmla="*/ 3650 h 6452"/>
              <a:gd name="T52" fmla="*/ 6927 w 8378"/>
              <a:gd name="T53" fmla="*/ 2750 h 6452"/>
              <a:gd name="T54" fmla="*/ 5926 w 8378"/>
              <a:gd name="T55" fmla="*/ 2250 h 6452"/>
              <a:gd name="T56" fmla="*/ 4926 w 8378"/>
              <a:gd name="T57" fmla="*/ 2075 h 6452"/>
              <a:gd name="T58" fmla="*/ 6051 w 8378"/>
              <a:gd name="T59" fmla="*/ 2675 h 6452"/>
              <a:gd name="T60" fmla="*/ 5977 w 8378"/>
              <a:gd name="T61" fmla="*/ 3550 h 6452"/>
              <a:gd name="T62" fmla="*/ 6952 w 8378"/>
              <a:gd name="T63" fmla="*/ 3226 h 6452"/>
              <a:gd name="T64" fmla="*/ 5702 w 8378"/>
              <a:gd name="T65" fmla="*/ 2001 h 6452"/>
              <a:gd name="T66" fmla="*/ 8002 w 8378"/>
              <a:gd name="T67" fmla="*/ 5476 h 6452"/>
              <a:gd name="T68" fmla="*/ 8327 w 8378"/>
              <a:gd name="T69" fmla="*/ 5801 h 6452"/>
              <a:gd name="T70" fmla="*/ 7227 w 8378"/>
              <a:gd name="T71" fmla="*/ 5826 h 6452"/>
              <a:gd name="T72" fmla="*/ 8077 w 8378"/>
              <a:gd name="T73" fmla="*/ 5251 h 6452"/>
              <a:gd name="T74" fmla="*/ 7752 w 8378"/>
              <a:gd name="T75" fmla="*/ 4851 h 6452"/>
              <a:gd name="T76" fmla="*/ 7177 w 8378"/>
              <a:gd name="T77" fmla="*/ 4226 h 6452"/>
              <a:gd name="T78" fmla="*/ 6577 w 8378"/>
              <a:gd name="T79" fmla="*/ 4001 h 6452"/>
              <a:gd name="T80" fmla="*/ 6027 w 8378"/>
              <a:gd name="T81" fmla="*/ 4200 h 6452"/>
              <a:gd name="T82" fmla="*/ 5802 w 8378"/>
              <a:gd name="T83" fmla="*/ 5376 h 6452"/>
              <a:gd name="T84" fmla="*/ 4726 w 8378"/>
              <a:gd name="T85" fmla="*/ 4575 h 6452"/>
              <a:gd name="T86" fmla="*/ 4626 w 8378"/>
              <a:gd name="T87" fmla="*/ 3675 h 6452"/>
              <a:gd name="T88" fmla="*/ 5277 w 8378"/>
              <a:gd name="T89" fmla="*/ 3250 h 6452"/>
              <a:gd name="T90" fmla="*/ 5526 w 8378"/>
              <a:gd name="T91" fmla="*/ 2725 h 6452"/>
              <a:gd name="T92" fmla="*/ 5026 w 8378"/>
              <a:gd name="T93" fmla="*/ 2926 h 6452"/>
              <a:gd name="T94" fmla="*/ 4551 w 8378"/>
              <a:gd name="T95" fmla="*/ 2501 h 6452"/>
              <a:gd name="T96" fmla="*/ 4301 w 8378"/>
              <a:gd name="T97" fmla="*/ 2101 h 6452"/>
              <a:gd name="T98" fmla="*/ 4426 w 8378"/>
              <a:gd name="T99" fmla="*/ 2926 h 6452"/>
              <a:gd name="T100" fmla="*/ 4151 w 8378"/>
              <a:gd name="T101" fmla="*/ 2701 h 6452"/>
              <a:gd name="T102" fmla="*/ 3226 w 8378"/>
              <a:gd name="T103" fmla="*/ 2850 h 6452"/>
              <a:gd name="T104" fmla="*/ 2451 w 8378"/>
              <a:gd name="T105" fmla="*/ 3026 h 6452"/>
              <a:gd name="T106" fmla="*/ 1201 w 8378"/>
              <a:gd name="T107" fmla="*/ 2650 h 6452"/>
              <a:gd name="T108" fmla="*/ 625 w 8378"/>
              <a:gd name="T109" fmla="*/ 2725 h 6452"/>
              <a:gd name="T110" fmla="*/ 601 w 8378"/>
              <a:gd name="T111" fmla="*/ 4275 h 6452"/>
              <a:gd name="T112" fmla="*/ 1250 w 8378"/>
              <a:gd name="T113" fmla="*/ 5326 h 6452"/>
              <a:gd name="T114" fmla="*/ 4651 w 8378"/>
              <a:gd name="T115" fmla="*/ 5726 h 6452"/>
              <a:gd name="T116" fmla="*/ 5551 w 8378"/>
              <a:gd name="T117" fmla="*/ 6376 h 6452"/>
              <a:gd name="T118" fmla="*/ 6802 w 8378"/>
              <a:gd name="T119" fmla="*/ 5826 h 6452"/>
              <a:gd name="T120" fmla="*/ 7677 w 8378"/>
              <a:gd name="T121" fmla="*/ 6026 h 6452"/>
              <a:gd name="T122" fmla="*/ 1876 w 8378"/>
              <a:gd name="T123" fmla="*/ 3301 h 6452"/>
              <a:gd name="T124" fmla="*/ 2476 w 8378"/>
              <a:gd name="T125" fmla="*/ 3926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8" h="6452">
                <a:moveTo>
                  <a:pt x="1650" y="5651"/>
                </a:moveTo>
                <a:lnTo>
                  <a:pt x="1650" y="5651"/>
                </a:lnTo>
                <a:cubicBezTo>
                  <a:pt x="1626" y="5626"/>
                  <a:pt x="1576" y="5626"/>
                  <a:pt x="1550" y="5600"/>
                </a:cubicBezTo>
                <a:cubicBezTo>
                  <a:pt x="1550" y="5576"/>
                  <a:pt x="1476" y="5476"/>
                  <a:pt x="1450" y="5476"/>
                </a:cubicBezTo>
                <a:cubicBezTo>
                  <a:pt x="1401" y="5476"/>
                  <a:pt x="1350" y="5476"/>
                  <a:pt x="1325" y="5451"/>
                </a:cubicBezTo>
                <a:cubicBezTo>
                  <a:pt x="1276" y="5426"/>
                  <a:pt x="1250" y="5401"/>
                  <a:pt x="1225" y="5426"/>
                </a:cubicBezTo>
                <a:cubicBezTo>
                  <a:pt x="1201" y="5451"/>
                  <a:pt x="1250" y="5451"/>
                  <a:pt x="1250" y="5476"/>
                </a:cubicBezTo>
                <a:cubicBezTo>
                  <a:pt x="1250" y="5500"/>
                  <a:pt x="1276" y="5500"/>
                  <a:pt x="1301" y="5500"/>
                </a:cubicBezTo>
                <a:cubicBezTo>
                  <a:pt x="1325" y="5500"/>
                  <a:pt x="1325" y="5551"/>
                  <a:pt x="1350" y="5551"/>
                </a:cubicBezTo>
                <a:cubicBezTo>
                  <a:pt x="1376" y="5551"/>
                  <a:pt x="1401" y="5600"/>
                  <a:pt x="1425" y="5600"/>
                </a:cubicBezTo>
                <a:cubicBezTo>
                  <a:pt x="1450" y="5600"/>
                  <a:pt x="1450" y="5626"/>
                  <a:pt x="1476" y="5651"/>
                </a:cubicBezTo>
                <a:cubicBezTo>
                  <a:pt x="1476" y="5676"/>
                  <a:pt x="1526" y="5651"/>
                  <a:pt x="1526" y="5676"/>
                </a:cubicBezTo>
                <a:cubicBezTo>
                  <a:pt x="1526" y="5676"/>
                  <a:pt x="1550" y="5701"/>
                  <a:pt x="1550" y="5726"/>
                </a:cubicBezTo>
                <a:cubicBezTo>
                  <a:pt x="1626" y="5726"/>
                  <a:pt x="1676" y="5726"/>
                  <a:pt x="1701" y="5726"/>
                </a:cubicBezTo>
                <a:cubicBezTo>
                  <a:pt x="1701" y="5701"/>
                  <a:pt x="1726" y="5701"/>
                  <a:pt x="1726" y="5676"/>
                </a:cubicBezTo>
                <a:cubicBezTo>
                  <a:pt x="1726" y="5651"/>
                  <a:pt x="1701" y="5676"/>
                  <a:pt x="1650" y="5651"/>
                </a:cubicBezTo>
                <a:close/>
                <a:moveTo>
                  <a:pt x="1601" y="2325"/>
                </a:moveTo>
                <a:lnTo>
                  <a:pt x="1601" y="2325"/>
                </a:lnTo>
                <a:cubicBezTo>
                  <a:pt x="1676" y="2350"/>
                  <a:pt x="1676" y="2475"/>
                  <a:pt x="1726" y="2475"/>
                </a:cubicBezTo>
                <a:cubicBezTo>
                  <a:pt x="1750" y="2475"/>
                  <a:pt x="1726" y="2450"/>
                  <a:pt x="1776" y="2450"/>
                </a:cubicBezTo>
                <a:cubicBezTo>
                  <a:pt x="1850" y="2450"/>
                  <a:pt x="1826" y="2425"/>
                  <a:pt x="1876" y="2425"/>
                </a:cubicBezTo>
                <a:cubicBezTo>
                  <a:pt x="1926" y="2425"/>
                  <a:pt x="1976" y="2401"/>
                  <a:pt x="1976" y="2350"/>
                </a:cubicBezTo>
                <a:cubicBezTo>
                  <a:pt x="1976" y="2301"/>
                  <a:pt x="2001" y="2275"/>
                  <a:pt x="2050" y="2250"/>
                </a:cubicBezTo>
                <a:cubicBezTo>
                  <a:pt x="2101" y="2250"/>
                  <a:pt x="2050" y="2175"/>
                  <a:pt x="2126" y="2175"/>
                </a:cubicBezTo>
                <a:cubicBezTo>
                  <a:pt x="2201" y="2150"/>
                  <a:pt x="2401" y="2075"/>
                  <a:pt x="2426" y="2050"/>
                </a:cubicBezTo>
                <a:cubicBezTo>
                  <a:pt x="2476" y="2025"/>
                  <a:pt x="2401" y="1975"/>
                  <a:pt x="2326" y="1925"/>
                </a:cubicBezTo>
                <a:cubicBezTo>
                  <a:pt x="2250" y="1901"/>
                  <a:pt x="2176" y="1875"/>
                  <a:pt x="2126" y="1925"/>
                </a:cubicBezTo>
                <a:cubicBezTo>
                  <a:pt x="2076" y="1950"/>
                  <a:pt x="2101" y="1875"/>
                  <a:pt x="2076" y="1901"/>
                </a:cubicBezTo>
                <a:cubicBezTo>
                  <a:pt x="2026" y="1925"/>
                  <a:pt x="1901" y="1850"/>
                  <a:pt x="1876" y="1850"/>
                </a:cubicBezTo>
                <a:cubicBezTo>
                  <a:pt x="1850" y="1825"/>
                  <a:pt x="1626" y="1875"/>
                  <a:pt x="1576" y="1875"/>
                </a:cubicBezTo>
                <a:cubicBezTo>
                  <a:pt x="1526" y="1875"/>
                  <a:pt x="1576" y="1950"/>
                  <a:pt x="1626" y="1975"/>
                </a:cubicBezTo>
                <a:cubicBezTo>
                  <a:pt x="1650" y="2001"/>
                  <a:pt x="1526" y="2101"/>
                  <a:pt x="1550" y="2125"/>
                </a:cubicBezTo>
                <a:cubicBezTo>
                  <a:pt x="1576" y="2125"/>
                  <a:pt x="1526" y="2201"/>
                  <a:pt x="1476" y="2250"/>
                </a:cubicBezTo>
                <a:cubicBezTo>
                  <a:pt x="1425" y="2325"/>
                  <a:pt x="1526" y="2325"/>
                  <a:pt x="1601" y="2325"/>
                </a:cubicBezTo>
                <a:close/>
                <a:moveTo>
                  <a:pt x="3676" y="2675"/>
                </a:moveTo>
                <a:lnTo>
                  <a:pt x="3676" y="2675"/>
                </a:lnTo>
                <a:cubicBezTo>
                  <a:pt x="3701" y="2650"/>
                  <a:pt x="3801" y="2725"/>
                  <a:pt x="3801" y="2675"/>
                </a:cubicBezTo>
                <a:cubicBezTo>
                  <a:pt x="3801" y="2601"/>
                  <a:pt x="3701" y="2575"/>
                  <a:pt x="3651" y="2550"/>
                </a:cubicBezTo>
                <a:cubicBezTo>
                  <a:pt x="3601" y="2525"/>
                  <a:pt x="3576" y="2525"/>
                  <a:pt x="3501" y="2475"/>
                </a:cubicBezTo>
                <a:cubicBezTo>
                  <a:pt x="3401" y="2425"/>
                  <a:pt x="3501" y="2375"/>
                  <a:pt x="3451" y="2350"/>
                </a:cubicBezTo>
                <a:cubicBezTo>
                  <a:pt x="3401" y="2301"/>
                  <a:pt x="3376" y="2175"/>
                  <a:pt x="3426" y="2125"/>
                </a:cubicBezTo>
                <a:cubicBezTo>
                  <a:pt x="3451" y="2075"/>
                  <a:pt x="3501" y="2025"/>
                  <a:pt x="3426" y="2001"/>
                </a:cubicBezTo>
                <a:cubicBezTo>
                  <a:pt x="3351" y="1975"/>
                  <a:pt x="3226" y="2025"/>
                  <a:pt x="3251" y="2025"/>
                </a:cubicBezTo>
                <a:cubicBezTo>
                  <a:pt x="3251" y="2050"/>
                  <a:pt x="3351" y="2101"/>
                  <a:pt x="3351" y="2125"/>
                </a:cubicBezTo>
                <a:cubicBezTo>
                  <a:pt x="3351" y="2150"/>
                  <a:pt x="3276" y="2075"/>
                  <a:pt x="3226" y="2075"/>
                </a:cubicBezTo>
                <a:cubicBezTo>
                  <a:pt x="3201" y="2101"/>
                  <a:pt x="3151" y="2050"/>
                  <a:pt x="3126" y="2075"/>
                </a:cubicBezTo>
                <a:cubicBezTo>
                  <a:pt x="3101" y="2125"/>
                  <a:pt x="3176" y="2275"/>
                  <a:pt x="3201" y="2325"/>
                </a:cubicBezTo>
                <a:cubicBezTo>
                  <a:pt x="3226" y="2350"/>
                  <a:pt x="3176" y="2350"/>
                  <a:pt x="3126" y="2375"/>
                </a:cubicBezTo>
                <a:cubicBezTo>
                  <a:pt x="3101" y="2375"/>
                  <a:pt x="3101" y="2250"/>
                  <a:pt x="3076" y="2201"/>
                </a:cubicBezTo>
                <a:cubicBezTo>
                  <a:pt x="3026" y="2150"/>
                  <a:pt x="2901" y="2101"/>
                  <a:pt x="2901" y="2125"/>
                </a:cubicBezTo>
                <a:cubicBezTo>
                  <a:pt x="2876" y="2175"/>
                  <a:pt x="2976" y="2175"/>
                  <a:pt x="2951" y="2225"/>
                </a:cubicBezTo>
                <a:cubicBezTo>
                  <a:pt x="2951" y="2250"/>
                  <a:pt x="2901" y="2175"/>
                  <a:pt x="2851" y="2225"/>
                </a:cubicBezTo>
                <a:cubicBezTo>
                  <a:pt x="2801" y="2250"/>
                  <a:pt x="2826" y="2225"/>
                  <a:pt x="2826" y="2201"/>
                </a:cubicBezTo>
                <a:cubicBezTo>
                  <a:pt x="2826" y="2150"/>
                  <a:pt x="2751" y="2125"/>
                  <a:pt x="2676" y="2125"/>
                </a:cubicBezTo>
                <a:cubicBezTo>
                  <a:pt x="2601" y="2125"/>
                  <a:pt x="2626" y="2201"/>
                  <a:pt x="2601" y="2225"/>
                </a:cubicBezTo>
                <a:cubicBezTo>
                  <a:pt x="2576" y="2225"/>
                  <a:pt x="2451" y="2201"/>
                  <a:pt x="2551" y="2175"/>
                </a:cubicBezTo>
                <a:cubicBezTo>
                  <a:pt x="2626" y="2175"/>
                  <a:pt x="2576" y="2125"/>
                  <a:pt x="2551" y="2075"/>
                </a:cubicBezTo>
                <a:cubicBezTo>
                  <a:pt x="2526" y="2025"/>
                  <a:pt x="2451" y="2075"/>
                  <a:pt x="2326" y="2125"/>
                </a:cubicBezTo>
                <a:cubicBezTo>
                  <a:pt x="2201" y="2175"/>
                  <a:pt x="2126" y="2225"/>
                  <a:pt x="2150" y="2225"/>
                </a:cubicBezTo>
                <a:cubicBezTo>
                  <a:pt x="2176" y="2225"/>
                  <a:pt x="2176" y="2250"/>
                  <a:pt x="2126" y="2301"/>
                </a:cubicBezTo>
                <a:cubicBezTo>
                  <a:pt x="2076" y="2350"/>
                  <a:pt x="2126" y="2375"/>
                  <a:pt x="2176" y="2375"/>
                </a:cubicBezTo>
                <a:cubicBezTo>
                  <a:pt x="2201" y="2375"/>
                  <a:pt x="2176" y="2401"/>
                  <a:pt x="2201" y="2425"/>
                </a:cubicBezTo>
                <a:cubicBezTo>
                  <a:pt x="2226" y="2425"/>
                  <a:pt x="2376" y="2375"/>
                  <a:pt x="2426" y="2401"/>
                </a:cubicBezTo>
                <a:cubicBezTo>
                  <a:pt x="2476" y="2425"/>
                  <a:pt x="2176" y="2450"/>
                  <a:pt x="2176" y="2501"/>
                </a:cubicBezTo>
                <a:cubicBezTo>
                  <a:pt x="2176" y="2550"/>
                  <a:pt x="2326" y="2575"/>
                  <a:pt x="2451" y="2550"/>
                </a:cubicBezTo>
                <a:cubicBezTo>
                  <a:pt x="2576" y="2525"/>
                  <a:pt x="2776" y="2575"/>
                  <a:pt x="2776" y="2601"/>
                </a:cubicBezTo>
                <a:cubicBezTo>
                  <a:pt x="2776" y="2625"/>
                  <a:pt x="2626" y="2625"/>
                  <a:pt x="2526" y="2601"/>
                </a:cubicBezTo>
                <a:cubicBezTo>
                  <a:pt x="2426" y="2601"/>
                  <a:pt x="2250" y="2650"/>
                  <a:pt x="2250" y="2675"/>
                </a:cubicBezTo>
                <a:cubicBezTo>
                  <a:pt x="2276" y="2701"/>
                  <a:pt x="2276" y="2701"/>
                  <a:pt x="2376" y="2750"/>
                </a:cubicBezTo>
                <a:cubicBezTo>
                  <a:pt x="2501" y="2800"/>
                  <a:pt x="2601" y="2725"/>
                  <a:pt x="2601" y="2800"/>
                </a:cubicBezTo>
                <a:cubicBezTo>
                  <a:pt x="2601" y="2875"/>
                  <a:pt x="2651" y="2900"/>
                  <a:pt x="2801" y="2900"/>
                </a:cubicBezTo>
                <a:cubicBezTo>
                  <a:pt x="2951" y="2900"/>
                  <a:pt x="3026" y="2825"/>
                  <a:pt x="3101" y="2825"/>
                </a:cubicBezTo>
                <a:cubicBezTo>
                  <a:pt x="3151" y="2850"/>
                  <a:pt x="3201" y="2825"/>
                  <a:pt x="3226" y="2775"/>
                </a:cubicBezTo>
                <a:cubicBezTo>
                  <a:pt x="3251" y="2725"/>
                  <a:pt x="3301" y="2750"/>
                  <a:pt x="3301" y="2775"/>
                </a:cubicBezTo>
                <a:cubicBezTo>
                  <a:pt x="3301" y="2800"/>
                  <a:pt x="3401" y="2800"/>
                  <a:pt x="3426" y="2825"/>
                </a:cubicBezTo>
                <a:cubicBezTo>
                  <a:pt x="3476" y="2875"/>
                  <a:pt x="3651" y="2850"/>
                  <a:pt x="3726" y="2825"/>
                </a:cubicBezTo>
                <a:cubicBezTo>
                  <a:pt x="3776" y="2800"/>
                  <a:pt x="3676" y="2701"/>
                  <a:pt x="3651" y="2750"/>
                </a:cubicBezTo>
                <a:cubicBezTo>
                  <a:pt x="3626" y="2775"/>
                  <a:pt x="3601" y="2750"/>
                  <a:pt x="3576" y="2750"/>
                </a:cubicBezTo>
                <a:cubicBezTo>
                  <a:pt x="3576" y="2725"/>
                  <a:pt x="3651" y="2701"/>
                  <a:pt x="3676" y="2675"/>
                </a:cubicBezTo>
                <a:close/>
                <a:moveTo>
                  <a:pt x="2101" y="1650"/>
                </a:moveTo>
                <a:lnTo>
                  <a:pt x="2101" y="1650"/>
                </a:lnTo>
                <a:cubicBezTo>
                  <a:pt x="2176" y="1650"/>
                  <a:pt x="2250" y="1600"/>
                  <a:pt x="2226" y="1550"/>
                </a:cubicBezTo>
                <a:cubicBezTo>
                  <a:pt x="2226" y="1525"/>
                  <a:pt x="2050" y="1650"/>
                  <a:pt x="2101" y="1650"/>
                </a:cubicBezTo>
                <a:close/>
                <a:moveTo>
                  <a:pt x="1750" y="1525"/>
                </a:moveTo>
                <a:lnTo>
                  <a:pt x="1750" y="1525"/>
                </a:lnTo>
                <a:cubicBezTo>
                  <a:pt x="1776" y="1550"/>
                  <a:pt x="1750" y="1600"/>
                  <a:pt x="1776" y="1600"/>
                </a:cubicBezTo>
                <a:cubicBezTo>
                  <a:pt x="1801" y="1575"/>
                  <a:pt x="1826" y="1575"/>
                  <a:pt x="1850" y="1575"/>
                </a:cubicBezTo>
                <a:cubicBezTo>
                  <a:pt x="1901" y="1600"/>
                  <a:pt x="1901" y="1550"/>
                  <a:pt x="1926" y="1525"/>
                </a:cubicBezTo>
                <a:cubicBezTo>
                  <a:pt x="1950" y="1500"/>
                  <a:pt x="1926" y="1600"/>
                  <a:pt x="1976" y="1600"/>
                </a:cubicBezTo>
                <a:cubicBezTo>
                  <a:pt x="2026" y="1600"/>
                  <a:pt x="2026" y="1500"/>
                  <a:pt x="2076" y="1525"/>
                </a:cubicBezTo>
                <a:cubicBezTo>
                  <a:pt x="2101" y="1575"/>
                  <a:pt x="2126" y="1525"/>
                  <a:pt x="2126" y="1500"/>
                </a:cubicBezTo>
                <a:cubicBezTo>
                  <a:pt x="2126" y="1475"/>
                  <a:pt x="2126" y="1425"/>
                  <a:pt x="2176" y="1400"/>
                </a:cubicBezTo>
                <a:cubicBezTo>
                  <a:pt x="2226" y="1400"/>
                  <a:pt x="2201" y="1450"/>
                  <a:pt x="2201" y="1500"/>
                </a:cubicBezTo>
                <a:cubicBezTo>
                  <a:pt x="2250" y="1550"/>
                  <a:pt x="2301" y="1500"/>
                  <a:pt x="2301" y="1475"/>
                </a:cubicBezTo>
                <a:cubicBezTo>
                  <a:pt x="2301" y="1450"/>
                  <a:pt x="2376" y="1450"/>
                  <a:pt x="2376" y="1425"/>
                </a:cubicBezTo>
                <a:cubicBezTo>
                  <a:pt x="2376" y="1400"/>
                  <a:pt x="2401" y="1400"/>
                  <a:pt x="2376" y="1350"/>
                </a:cubicBezTo>
                <a:cubicBezTo>
                  <a:pt x="2350" y="1325"/>
                  <a:pt x="2401" y="1325"/>
                  <a:pt x="2426" y="1300"/>
                </a:cubicBezTo>
                <a:cubicBezTo>
                  <a:pt x="2451" y="1275"/>
                  <a:pt x="2401" y="1300"/>
                  <a:pt x="2350" y="1275"/>
                </a:cubicBezTo>
                <a:cubicBezTo>
                  <a:pt x="2326" y="1225"/>
                  <a:pt x="2301" y="1275"/>
                  <a:pt x="2301" y="1300"/>
                </a:cubicBezTo>
                <a:cubicBezTo>
                  <a:pt x="2301" y="1325"/>
                  <a:pt x="2226" y="1300"/>
                  <a:pt x="2176" y="1300"/>
                </a:cubicBezTo>
                <a:cubicBezTo>
                  <a:pt x="2126" y="1275"/>
                  <a:pt x="2076" y="1350"/>
                  <a:pt x="2001" y="1375"/>
                </a:cubicBezTo>
                <a:cubicBezTo>
                  <a:pt x="1926" y="1425"/>
                  <a:pt x="1926" y="1475"/>
                  <a:pt x="1876" y="1475"/>
                </a:cubicBezTo>
                <a:cubicBezTo>
                  <a:pt x="1801" y="1475"/>
                  <a:pt x="1726" y="1525"/>
                  <a:pt x="1750" y="1525"/>
                </a:cubicBezTo>
                <a:close/>
                <a:moveTo>
                  <a:pt x="2401" y="1525"/>
                </a:moveTo>
                <a:lnTo>
                  <a:pt x="2401" y="1525"/>
                </a:lnTo>
                <a:cubicBezTo>
                  <a:pt x="2326" y="1525"/>
                  <a:pt x="2350" y="1575"/>
                  <a:pt x="2401" y="1575"/>
                </a:cubicBezTo>
                <a:cubicBezTo>
                  <a:pt x="2476" y="1575"/>
                  <a:pt x="2501" y="1600"/>
                  <a:pt x="2401" y="1600"/>
                </a:cubicBezTo>
                <a:cubicBezTo>
                  <a:pt x="2301" y="1600"/>
                  <a:pt x="2250" y="1675"/>
                  <a:pt x="2326" y="1650"/>
                </a:cubicBezTo>
                <a:cubicBezTo>
                  <a:pt x="2401" y="1650"/>
                  <a:pt x="2476" y="1650"/>
                  <a:pt x="2426" y="1650"/>
                </a:cubicBezTo>
                <a:cubicBezTo>
                  <a:pt x="2376" y="1675"/>
                  <a:pt x="2250" y="1675"/>
                  <a:pt x="2250" y="1700"/>
                </a:cubicBezTo>
                <a:cubicBezTo>
                  <a:pt x="2276" y="1725"/>
                  <a:pt x="2326" y="1725"/>
                  <a:pt x="2376" y="1750"/>
                </a:cubicBezTo>
                <a:cubicBezTo>
                  <a:pt x="2426" y="1775"/>
                  <a:pt x="2476" y="1775"/>
                  <a:pt x="2501" y="1725"/>
                </a:cubicBezTo>
                <a:cubicBezTo>
                  <a:pt x="2551" y="1675"/>
                  <a:pt x="2601" y="1650"/>
                  <a:pt x="2576" y="1700"/>
                </a:cubicBezTo>
                <a:cubicBezTo>
                  <a:pt x="2551" y="1775"/>
                  <a:pt x="2651" y="1725"/>
                  <a:pt x="2751" y="1725"/>
                </a:cubicBezTo>
                <a:cubicBezTo>
                  <a:pt x="2876" y="1700"/>
                  <a:pt x="2751" y="1775"/>
                  <a:pt x="2626" y="1801"/>
                </a:cubicBezTo>
                <a:cubicBezTo>
                  <a:pt x="2501" y="1801"/>
                  <a:pt x="2526" y="1850"/>
                  <a:pt x="2626" y="1875"/>
                </a:cubicBezTo>
                <a:cubicBezTo>
                  <a:pt x="2701" y="1901"/>
                  <a:pt x="2901" y="1825"/>
                  <a:pt x="2951" y="1775"/>
                </a:cubicBezTo>
                <a:cubicBezTo>
                  <a:pt x="3001" y="1725"/>
                  <a:pt x="3051" y="1801"/>
                  <a:pt x="3076" y="1775"/>
                </a:cubicBezTo>
                <a:cubicBezTo>
                  <a:pt x="3126" y="1725"/>
                  <a:pt x="3226" y="1775"/>
                  <a:pt x="3301" y="1750"/>
                </a:cubicBezTo>
                <a:cubicBezTo>
                  <a:pt x="3376" y="1725"/>
                  <a:pt x="3401" y="1575"/>
                  <a:pt x="3326" y="1550"/>
                </a:cubicBezTo>
                <a:cubicBezTo>
                  <a:pt x="3276" y="1525"/>
                  <a:pt x="3276" y="1600"/>
                  <a:pt x="3226" y="1600"/>
                </a:cubicBezTo>
                <a:cubicBezTo>
                  <a:pt x="3176" y="1600"/>
                  <a:pt x="3151" y="1550"/>
                  <a:pt x="3126" y="1500"/>
                </a:cubicBezTo>
                <a:cubicBezTo>
                  <a:pt x="3076" y="1475"/>
                  <a:pt x="3101" y="1400"/>
                  <a:pt x="3051" y="1400"/>
                </a:cubicBezTo>
                <a:cubicBezTo>
                  <a:pt x="3001" y="1425"/>
                  <a:pt x="2876" y="1500"/>
                  <a:pt x="2951" y="1525"/>
                </a:cubicBezTo>
                <a:cubicBezTo>
                  <a:pt x="3026" y="1525"/>
                  <a:pt x="3001" y="1550"/>
                  <a:pt x="2951" y="1575"/>
                </a:cubicBezTo>
                <a:cubicBezTo>
                  <a:pt x="2926" y="1600"/>
                  <a:pt x="3051" y="1625"/>
                  <a:pt x="3026" y="1650"/>
                </a:cubicBezTo>
                <a:cubicBezTo>
                  <a:pt x="3026" y="1675"/>
                  <a:pt x="2826" y="1650"/>
                  <a:pt x="2826" y="1600"/>
                </a:cubicBezTo>
                <a:cubicBezTo>
                  <a:pt x="2801" y="1575"/>
                  <a:pt x="2651" y="1500"/>
                  <a:pt x="2601" y="1500"/>
                </a:cubicBezTo>
                <a:cubicBezTo>
                  <a:pt x="2526" y="1525"/>
                  <a:pt x="2551" y="1450"/>
                  <a:pt x="2501" y="1450"/>
                </a:cubicBezTo>
                <a:cubicBezTo>
                  <a:pt x="2426" y="1450"/>
                  <a:pt x="2451" y="1500"/>
                  <a:pt x="2401" y="1525"/>
                </a:cubicBezTo>
                <a:close/>
                <a:moveTo>
                  <a:pt x="2601" y="1225"/>
                </a:moveTo>
                <a:lnTo>
                  <a:pt x="2601" y="1225"/>
                </a:lnTo>
                <a:cubicBezTo>
                  <a:pt x="2626" y="1175"/>
                  <a:pt x="2476" y="1175"/>
                  <a:pt x="2476" y="1200"/>
                </a:cubicBezTo>
                <a:cubicBezTo>
                  <a:pt x="2526" y="1225"/>
                  <a:pt x="2601" y="1275"/>
                  <a:pt x="2601" y="1225"/>
                </a:cubicBezTo>
                <a:close/>
                <a:moveTo>
                  <a:pt x="2951" y="1200"/>
                </a:moveTo>
                <a:lnTo>
                  <a:pt x="2951" y="1200"/>
                </a:lnTo>
                <a:cubicBezTo>
                  <a:pt x="3001" y="1175"/>
                  <a:pt x="2976" y="1150"/>
                  <a:pt x="2901" y="1150"/>
                </a:cubicBezTo>
                <a:cubicBezTo>
                  <a:pt x="2801" y="1175"/>
                  <a:pt x="2651" y="1175"/>
                  <a:pt x="2651" y="1225"/>
                </a:cubicBezTo>
                <a:cubicBezTo>
                  <a:pt x="2651" y="1275"/>
                  <a:pt x="2701" y="1300"/>
                  <a:pt x="2776" y="1325"/>
                </a:cubicBezTo>
                <a:cubicBezTo>
                  <a:pt x="2876" y="1325"/>
                  <a:pt x="2976" y="1225"/>
                  <a:pt x="2926" y="1225"/>
                </a:cubicBezTo>
                <a:cubicBezTo>
                  <a:pt x="2876" y="1225"/>
                  <a:pt x="2901" y="1200"/>
                  <a:pt x="2951" y="1200"/>
                </a:cubicBezTo>
                <a:close/>
                <a:moveTo>
                  <a:pt x="2751" y="1125"/>
                </a:moveTo>
                <a:lnTo>
                  <a:pt x="2751" y="1125"/>
                </a:lnTo>
                <a:cubicBezTo>
                  <a:pt x="2801" y="1125"/>
                  <a:pt x="2826" y="1075"/>
                  <a:pt x="2876" y="1100"/>
                </a:cubicBezTo>
                <a:cubicBezTo>
                  <a:pt x="2901" y="1125"/>
                  <a:pt x="3026" y="1150"/>
                  <a:pt x="3026" y="1075"/>
                </a:cubicBezTo>
                <a:cubicBezTo>
                  <a:pt x="3026" y="1025"/>
                  <a:pt x="2851" y="1000"/>
                  <a:pt x="2826" y="1025"/>
                </a:cubicBezTo>
                <a:cubicBezTo>
                  <a:pt x="2776" y="1050"/>
                  <a:pt x="2576" y="1075"/>
                  <a:pt x="2651" y="1100"/>
                </a:cubicBezTo>
                <a:cubicBezTo>
                  <a:pt x="2676" y="1125"/>
                  <a:pt x="2701" y="1100"/>
                  <a:pt x="2751" y="1125"/>
                </a:cubicBezTo>
                <a:close/>
                <a:moveTo>
                  <a:pt x="3451" y="975"/>
                </a:moveTo>
                <a:lnTo>
                  <a:pt x="3451" y="975"/>
                </a:lnTo>
                <a:cubicBezTo>
                  <a:pt x="3501" y="950"/>
                  <a:pt x="3601" y="1000"/>
                  <a:pt x="3576" y="1050"/>
                </a:cubicBezTo>
                <a:cubicBezTo>
                  <a:pt x="3551" y="1075"/>
                  <a:pt x="3426" y="1025"/>
                  <a:pt x="3426" y="1075"/>
                </a:cubicBezTo>
                <a:cubicBezTo>
                  <a:pt x="3426" y="1075"/>
                  <a:pt x="3451" y="1125"/>
                  <a:pt x="3551" y="1100"/>
                </a:cubicBezTo>
                <a:cubicBezTo>
                  <a:pt x="3651" y="1075"/>
                  <a:pt x="3726" y="1100"/>
                  <a:pt x="3801" y="1150"/>
                </a:cubicBezTo>
                <a:cubicBezTo>
                  <a:pt x="3851" y="1200"/>
                  <a:pt x="3926" y="1225"/>
                  <a:pt x="3976" y="1175"/>
                </a:cubicBezTo>
                <a:cubicBezTo>
                  <a:pt x="4026" y="1125"/>
                  <a:pt x="3901" y="1100"/>
                  <a:pt x="3926" y="1075"/>
                </a:cubicBezTo>
                <a:cubicBezTo>
                  <a:pt x="3951" y="1025"/>
                  <a:pt x="3876" y="1000"/>
                  <a:pt x="3826" y="1000"/>
                </a:cubicBezTo>
                <a:cubicBezTo>
                  <a:pt x="3776" y="1000"/>
                  <a:pt x="3751" y="925"/>
                  <a:pt x="3726" y="925"/>
                </a:cubicBezTo>
                <a:cubicBezTo>
                  <a:pt x="3676" y="950"/>
                  <a:pt x="3651" y="975"/>
                  <a:pt x="3651" y="925"/>
                </a:cubicBezTo>
                <a:cubicBezTo>
                  <a:pt x="3651" y="875"/>
                  <a:pt x="3451" y="875"/>
                  <a:pt x="3376" y="875"/>
                </a:cubicBezTo>
                <a:cubicBezTo>
                  <a:pt x="3326" y="900"/>
                  <a:pt x="3401" y="1025"/>
                  <a:pt x="3451" y="975"/>
                </a:cubicBezTo>
                <a:close/>
                <a:moveTo>
                  <a:pt x="3476" y="1325"/>
                </a:moveTo>
                <a:lnTo>
                  <a:pt x="3476" y="1325"/>
                </a:lnTo>
                <a:cubicBezTo>
                  <a:pt x="3501" y="1300"/>
                  <a:pt x="3351" y="1150"/>
                  <a:pt x="3326" y="1225"/>
                </a:cubicBezTo>
                <a:cubicBezTo>
                  <a:pt x="3326" y="1275"/>
                  <a:pt x="3451" y="1375"/>
                  <a:pt x="3476" y="1325"/>
                </a:cubicBezTo>
                <a:close/>
                <a:moveTo>
                  <a:pt x="4026" y="800"/>
                </a:moveTo>
                <a:lnTo>
                  <a:pt x="4026" y="800"/>
                </a:lnTo>
                <a:cubicBezTo>
                  <a:pt x="4051" y="750"/>
                  <a:pt x="3851" y="700"/>
                  <a:pt x="3901" y="750"/>
                </a:cubicBezTo>
                <a:cubicBezTo>
                  <a:pt x="3926" y="775"/>
                  <a:pt x="4001" y="850"/>
                  <a:pt x="4026" y="800"/>
                </a:cubicBezTo>
                <a:close/>
                <a:moveTo>
                  <a:pt x="3551" y="1725"/>
                </a:moveTo>
                <a:lnTo>
                  <a:pt x="3551" y="1725"/>
                </a:lnTo>
                <a:cubicBezTo>
                  <a:pt x="3576" y="1700"/>
                  <a:pt x="3476" y="1625"/>
                  <a:pt x="3451" y="1700"/>
                </a:cubicBezTo>
                <a:cubicBezTo>
                  <a:pt x="3426" y="1750"/>
                  <a:pt x="3526" y="1775"/>
                  <a:pt x="3551" y="1725"/>
                </a:cubicBezTo>
                <a:close/>
                <a:moveTo>
                  <a:pt x="4026" y="1450"/>
                </a:moveTo>
                <a:lnTo>
                  <a:pt x="4026" y="1450"/>
                </a:lnTo>
                <a:cubicBezTo>
                  <a:pt x="4026" y="1475"/>
                  <a:pt x="3926" y="1425"/>
                  <a:pt x="3851" y="1400"/>
                </a:cubicBezTo>
                <a:cubicBezTo>
                  <a:pt x="3776" y="1375"/>
                  <a:pt x="3826" y="1475"/>
                  <a:pt x="3876" y="1525"/>
                </a:cubicBezTo>
                <a:cubicBezTo>
                  <a:pt x="3926" y="1575"/>
                  <a:pt x="3851" y="1550"/>
                  <a:pt x="3776" y="1475"/>
                </a:cubicBezTo>
                <a:cubicBezTo>
                  <a:pt x="3676" y="1425"/>
                  <a:pt x="3701" y="1525"/>
                  <a:pt x="3726" y="1550"/>
                </a:cubicBezTo>
                <a:cubicBezTo>
                  <a:pt x="3776" y="1575"/>
                  <a:pt x="3726" y="1625"/>
                  <a:pt x="3676" y="1550"/>
                </a:cubicBezTo>
                <a:cubicBezTo>
                  <a:pt x="3626" y="1500"/>
                  <a:pt x="3601" y="1425"/>
                  <a:pt x="3526" y="1425"/>
                </a:cubicBezTo>
                <a:cubicBezTo>
                  <a:pt x="3451" y="1400"/>
                  <a:pt x="3476" y="1500"/>
                  <a:pt x="3501" y="1525"/>
                </a:cubicBezTo>
                <a:cubicBezTo>
                  <a:pt x="3551" y="1575"/>
                  <a:pt x="3601" y="1600"/>
                  <a:pt x="3651" y="1625"/>
                </a:cubicBezTo>
                <a:cubicBezTo>
                  <a:pt x="3726" y="1675"/>
                  <a:pt x="3826" y="1625"/>
                  <a:pt x="3876" y="1625"/>
                </a:cubicBezTo>
                <a:cubicBezTo>
                  <a:pt x="3926" y="1650"/>
                  <a:pt x="3826" y="1700"/>
                  <a:pt x="3851" y="1750"/>
                </a:cubicBezTo>
                <a:cubicBezTo>
                  <a:pt x="3901" y="1801"/>
                  <a:pt x="3976" y="1750"/>
                  <a:pt x="4051" y="1750"/>
                </a:cubicBezTo>
                <a:cubicBezTo>
                  <a:pt x="4126" y="1750"/>
                  <a:pt x="4101" y="1700"/>
                  <a:pt x="4126" y="1675"/>
                </a:cubicBezTo>
                <a:cubicBezTo>
                  <a:pt x="4177" y="1650"/>
                  <a:pt x="4101" y="1650"/>
                  <a:pt x="4126" y="1575"/>
                </a:cubicBezTo>
                <a:cubicBezTo>
                  <a:pt x="4151" y="1525"/>
                  <a:pt x="4026" y="1400"/>
                  <a:pt x="4026" y="1450"/>
                </a:cubicBezTo>
                <a:close/>
                <a:moveTo>
                  <a:pt x="4201" y="1200"/>
                </a:moveTo>
                <a:lnTo>
                  <a:pt x="4201" y="1200"/>
                </a:lnTo>
                <a:cubicBezTo>
                  <a:pt x="4251" y="1200"/>
                  <a:pt x="4301" y="1200"/>
                  <a:pt x="4351" y="1175"/>
                </a:cubicBezTo>
                <a:cubicBezTo>
                  <a:pt x="4426" y="1150"/>
                  <a:pt x="4326" y="1150"/>
                  <a:pt x="4377" y="1100"/>
                </a:cubicBezTo>
                <a:cubicBezTo>
                  <a:pt x="4401" y="1050"/>
                  <a:pt x="4277" y="1050"/>
                  <a:pt x="4277" y="1050"/>
                </a:cubicBezTo>
                <a:cubicBezTo>
                  <a:pt x="4251" y="1075"/>
                  <a:pt x="4101" y="950"/>
                  <a:pt x="4076" y="1000"/>
                </a:cubicBezTo>
                <a:cubicBezTo>
                  <a:pt x="4051" y="1025"/>
                  <a:pt x="4126" y="1200"/>
                  <a:pt x="4201" y="1200"/>
                </a:cubicBezTo>
                <a:close/>
                <a:moveTo>
                  <a:pt x="4526" y="1225"/>
                </a:moveTo>
                <a:lnTo>
                  <a:pt x="4526" y="1225"/>
                </a:lnTo>
                <a:cubicBezTo>
                  <a:pt x="4526" y="1200"/>
                  <a:pt x="4201" y="1225"/>
                  <a:pt x="4251" y="1275"/>
                </a:cubicBezTo>
                <a:cubicBezTo>
                  <a:pt x="4351" y="1325"/>
                  <a:pt x="4551" y="1250"/>
                  <a:pt x="4526" y="1225"/>
                </a:cubicBezTo>
                <a:close/>
                <a:moveTo>
                  <a:pt x="4477" y="1825"/>
                </a:moveTo>
                <a:lnTo>
                  <a:pt x="4477" y="1825"/>
                </a:lnTo>
                <a:cubicBezTo>
                  <a:pt x="4551" y="1825"/>
                  <a:pt x="4526" y="1725"/>
                  <a:pt x="4451" y="1675"/>
                </a:cubicBezTo>
                <a:cubicBezTo>
                  <a:pt x="4351" y="1600"/>
                  <a:pt x="4177" y="1725"/>
                  <a:pt x="4201" y="1750"/>
                </a:cubicBezTo>
                <a:cubicBezTo>
                  <a:pt x="4251" y="1801"/>
                  <a:pt x="4401" y="1825"/>
                  <a:pt x="4477" y="1825"/>
                </a:cubicBezTo>
                <a:close/>
                <a:moveTo>
                  <a:pt x="3951" y="2401"/>
                </a:moveTo>
                <a:lnTo>
                  <a:pt x="3951" y="2401"/>
                </a:lnTo>
                <a:cubicBezTo>
                  <a:pt x="4051" y="2475"/>
                  <a:pt x="4026" y="2350"/>
                  <a:pt x="4126" y="2375"/>
                </a:cubicBezTo>
                <a:cubicBezTo>
                  <a:pt x="4226" y="2375"/>
                  <a:pt x="4226" y="2201"/>
                  <a:pt x="4251" y="2125"/>
                </a:cubicBezTo>
                <a:cubicBezTo>
                  <a:pt x="4251" y="2075"/>
                  <a:pt x="4151" y="2075"/>
                  <a:pt x="4177" y="2125"/>
                </a:cubicBezTo>
                <a:cubicBezTo>
                  <a:pt x="4201" y="2175"/>
                  <a:pt x="4177" y="2225"/>
                  <a:pt x="4177" y="2150"/>
                </a:cubicBezTo>
                <a:cubicBezTo>
                  <a:pt x="4177" y="2101"/>
                  <a:pt x="4076" y="2150"/>
                  <a:pt x="4051" y="2125"/>
                </a:cubicBezTo>
                <a:cubicBezTo>
                  <a:pt x="4026" y="2075"/>
                  <a:pt x="4151" y="2075"/>
                  <a:pt x="4177" y="2025"/>
                </a:cubicBezTo>
                <a:cubicBezTo>
                  <a:pt x="4201" y="1950"/>
                  <a:pt x="4076" y="1975"/>
                  <a:pt x="4101" y="1925"/>
                </a:cubicBezTo>
                <a:cubicBezTo>
                  <a:pt x="4151" y="1875"/>
                  <a:pt x="3926" y="1925"/>
                  <a:pt x="4001" y="1950"/>
                </a:cubicBezTo>
                <a:cubicBezTo>
                  <a:pt x="4051" y="1975"/>
                  <a:pt x="4001" y="2025"/>
                  <a:pt x="3926" y="1975"/>
                </a:cubicBezTo>
                <a:cubicBezTo>
                  <a:pt x="3876" y="1925"/>
                  <a:pt x="3726" y="2001"/>
                  <a:pt x="3776" y="2050"/>
                </a:cubicBezTo>
                <a:cubicBezTo>
                  <a:pt x="3826" y="2075"/>
                  <a:pt x="3951" y="2025"/>
                  <a:pt x="3876" y="2125"/>
                </a:cubicBezTo>
                <a:cubicBezTo>
                  <a:pt x="3801" y="2250"/>
                  <a:pt x="3776" y="2101"/>
                  <a:pt x="3701" y="2125"/>
                </a:cubicBezTo>
                <a:cubicBezTo>
                  <a:pt x="3626" y="2125"/>
                  <a:pt x="3651" y="2225"/>
                  <a:pt x="3751" y="2250"/>
                </a:cubicBezTo>
                <a:cubicBezTo>
                  <a:pt x="3876" y="2275"/>
                  <a:pt x="3851" y="2350"/>
                  <a:pt x="3951" y="2401"/>
                </a:cubicBezTo>
                <a:close/>
                <a:moveTo>
                  <a:pt x="4626" y="1750"/>
                </a:moveTo>
                <a:lnTo>
                  <a:pt x="4626" y="1750"/>
                </a:lnTo>
                <a:cubicBezTo>
                  <a:pt x="4651" y="1825"/>
                  <a:pt x="4701" y="1775"/>
                  <a:pt x="4751" y="1801"/>
                </a:cubicBezTo>
                <a:cubicBezTo>
                  <a:pt x="4777" y="1825"/>
                  <a:pt x="4851" y="1850"/>
                  <a:pt x="4901" y="1825"/>
                </a:cubicBezTo>
                <a:cubicBezTo>
                  <a:pt x="4926" y="1801"/>
                  <a:pt x="4951" y="1775"/>
                  <a:pt x="4951" y="1801"/>
                </a:cubicBezTo>
                <a:cubicBezTo>
                  <a:pt x="4977" y="1850"/>
                  <a:pt x="5077" y="1850"/>
                  <a:pt x="5277" y="1850"/>
                </a:cubicBezTo>
                <a:cubicBezTo>
                  <a:pt x="5477" y="1850"/>
                  <a:pt x="5426" y="1775"/>
                  <a:pt x="5477" y="1801"/>
                </a:cubicBezTo>
                <a:cubicBezTo>
                  <a:pt x="5551" y="1825"/>
                  <a:pt x="5677" y="1825"/>
                  <a:pt x="5726" y="1825"/>
                </a:cubicBezTo>
                <a:cubicBezTo>
                  <a:pt x="5802" y="1801"/>
                  <a:pt x="5826" y="1725"/>
                  <a:pt x="5826" y="1675"/>
                </a:cubicBezTo>
                <a:cubicBezTo>
                  <a:pt x="5802" y="1625"/>
                  <a:pt x="5377" y="1600"/>
                  <a:pt x="5277" y="1625"/>
                </a:cubicBezTo>
                <a:cubicBezTo>
                  <a:pt x="5202" y="1675"/>
                  <a:pt x="5077" y="1625"/>
                  <a:pt x="5026" y="1650"/>
                </a:cubicBezTo>
                <a:cubicBezTo>
                  <a:pt x="4951" y="1675"/>
                  <a:pt x="4977" y="1600"/>
                  <a:pt x="4877" y="1600"/>
                </a:cubicBezTo>
                <a:cubicBezTo>
                  <a:pt x="4751" y="1600"/>
                  <a:pt x="4877" y="1550"/>
                  <a:pt x="4901" y="1525"/>
                </a:cubicBezTo>
                <a:cubicBezTo>
                  <a:pt x="4926" y="1500"/>
                  <a:pt x="4726" y="1425"/>
                  <a:pt x="4651" y="1450"/>
                </a:cubicBezTo>
                <a:cubicBezTo>
                  <a:pt x="4577" y="1450"/>
                  <a:pt x="4526" y="1425"/>
                  <a:pt x="4451" y="1375"/>
                </a:cubicBezTo>
                <a:cubicBezTo>
                  <a:pt x="4377" y="1350"/>
                  <a:pt x="4177" y="1350"/>
                  <a:pt x="4201" y="1425"/>
                </a:cubicBezTo>
                <a:cubicBezTo>
                  <a:pt x="4226" y="1450"/>
                  <a:pt x="4477" y="1550"/>
                  <a:pt x="4501" y="1500"/>
                </a:cubicBezTo>
                <a:cubicBezTo>
                  <a:pt x="4526" y="1450"/>
                  <a:pt x="4601" y="1550"/>
                  <a:pt x="4626" y="1600"/>
                </a:cubicBezTo>
                <a:cubicBezTo>
                  <a:pt x="4677" y="1650"/>
                  <a:pt x="4601" y="1650"/>
                  <a:pt x="4626" y="1750"/>
                </a:cubicBezTo>
                <a:close/>
                <a:moveTo>
                  <a:pt x="4851" y="1250"/>
                </a:moveTo>
                <a:lnTo>
                  <a:pt x="4851" y="1250"/>
                </a:lnTo>
                <a:cubicBezTo>
                  <a:pt x="4777" y="1225"/>
                  <a:pt x="4677" y="1300"/>
                  <a:pt x="4751" y="1325"/>
                </a:cubicBezTo>
                <a:cubicBezTo>
                  <a:pt x="4826" y="1350"/>
                  <a:pt x="4926" y="1300"/>
                  <a:pt x="4851" y="1250"/>
                </a:cubicBezTo>
                <a:close/>
                <a:moveTo>
                  <a:pt x="4251" y="775"/>
                </a:moveTo>
                <a:lnTo>
                  <a:pt x="4251" y="775"/>
                </a:lnTo>
                <a:cubicBezTo>
                  <a:pt x="4301" y="825"/>
                  <a:pt x="4277" y="850"/>
                  <a:pt x="4326" y="875"/>
                </a:cubicBezTo>
                <a:cubicBezTo>
                  <a:pt x="4401" y="925"/>
                  <a:pt x="4601" y="850"/>
                  <a:pt x="4601" y="900"/>
                </a:cubicBezTo>
                <a:cubicBezTo>
                  <a:pt x="4626" y="950"/>
                  <a:pt x="4426" y="950"/>
                  <a:pt x="4451" y="975"/>
                </a:cubicBezTo>
                <a:cubicBezTo>
                  <a:pt x="4477" y="1000"/>
                  <a:pt x="4601" y="1050"/>
                  <a:pt x="4577" y="1075"/>
                </a:cubicBezTo>
                <a:cubicBezTo>
                  <a:pt x="4551" y="1100"/>
                  <a:pt x="4777" y="1175"/>
                  <a:pt x="4801" y="1125"/>
                </a:cubicBezTo>
                <a:cubicBezTo>
                  <a:pt x="4826" y="1100"/>
                  <a:pt x="4877" y="1100"/>
                  <a:pt x="4926" y="1125"/>
                </a:cubicBezTo>
                <a:cubicBezTo>
                  <a:pt x="4977" y="1150"/>
                  <a:pt x="5001" y="1000"/>
                  <a:pt x="5026" y="1025"/>
                </a:cubicBezTo>
                <a:cubicBezTo>
                  <a:pt x="5077" y="1050"/>
                  <a:pt x="5051" y="975"/>
                  <a:pt x="5126" y="950"/>
                </a:cubicBezTo>
                <a:cubicBezTo>
                  <a:pt x="5177" y="925"/>
                  <a:pt x="5277" y="925"/>
                  <a:pt x="5277" y="900"/>
                </a:cubicBezTo>
                <a:cubicBezTo>
                  <a:pt x="5277" y="875"/>
                  <a:pt x="5277" y="850"/>
                  <a:pt x="5202" y="850"/>
                </a:cubicBezTo>
                <a:cubicBezTo>
                  <a:pt x="5126" y="850"/>
                  <a:pt x="5077" y="825"/>
                  <a:pt x="5102" y="800"/>
                </a:cubicBezTo>
                <a:cubicBezTo>
                  <a:pt x="5126" y="750"/>
                  <a:pt x="5026" y="725"/>
                  <a:pt x="5051" y="700"/>
                </a:cubicBezTo>
                <a:cubicBezTo>
                  <a:pt x="5102" y="675"/>
                  <a:pt x="4977" y="625"/>
                  <a:pt x="5001" y="675"/>
                </a:cubicBezTo>
                <a:cubicBezTo>
                  <a:pt x="5001" y="725"/>
                  <a:pt x="4926" y="700"/>
                  <a:pt x="4901" y="650"/>
                </a:cubicBezTo>
                <a:cubicBezTo>
                  <a:pt x="4901" y="600"/>
                  <a:pt x="4726" y="575"/>
                  <a:pt x="4601" y="475"/>
                </a:cubicBezTo>
                <a:cubicBezTo>
                  <a:pt x="4501" y="375"/>
                  <a:pt x="4377" y="450"/>
                  <a:pt x="4451" y="450"/>
                </a:cubicBezTo>
                <a:cubicBezTo>
                  <a:pt x="4501" y="475"/>
                  <a:pt x="4501" y="500"/>
                  <a:pt x="4451" y="500"/>
                </a:cubicBezTo>
                <a:cubicBezTo>
                  <a:pt x="4401" y="500"/>
                  <a:pt x="4301" y="500"/>
                  <a:pt x="4401" y="550"/>
                </a:cubicBezTo>
                <a:cubicBezTo>
                  <a:pt x="4477" y="575"/>
                  <a:pt x="4377" y="575"/>
                  <a:pt x="4301" y="575"/>
                </a:cubicBezTo>
                <a:cubicBezTo>
                  <a:pt x="4251" y="575"/>
                  <a:pt x="4226" y="675"/>
                  <a:pt x="4326" y="700"/>
                </a:cubicBezTo>
                <a:cubicBezTo>
                  <a:pt x="4426" y="700"/>
                  <a:pt x="4351" y="750"/>
                  <a:pt x="4277" y="725"/>
                </a:cubicBezTo>
                <a:cubicBezTo>
                  <a:pt x="4201" y="725"/>
                  <a:pt x="4177" y="750"/>
                  <a:pt x="4251" y="775"/>
                </a:cubicBezTo>
                <a:close/>
                <a:moveTo>
                  <a:pt x="4751" y="375"/>
                </a:moveTo>
                <a:lnTo>
                  <a:pt x="4751" y="375"/>
                </a:lnTo>
                <a:cubicBezTo>
                  <a:pt x="4801" y="325"/>
                  <a:pt x="4851" y="350"/>
                  <a:pt x="4801" y="375"/>
                </a:cubicBezTo>
                <a:cubicBezTo>
                  <a:pt x="4751" y="400"/>
                  <a:pt x="4777" y="425"/>
                  <a:pt x="4851" y="425"/>
                </a:cubicBezTo>
                <a:cubicBezTo>
                  <a:pt x="4901" y="425"/>
                  <a:pt x="4801" y="450"/>
                  <a:pt x="4801" y="475"/>
                </a:cubicBezTo>
                <a:cubicBezTo>
                  <a:pt x="4801" y="525"/>
                  <a:pt x="4901" y="500"/>
                  <a:pt x="4901" y="550"/>
                </a:cubicBezTo>
                <a:cubicBezTo>
                  <a:pt x="4901" y="575"/>
                  <a:pt x="5077" y="600"/>
                  <a:pt x="5126" y="550"/>
                </a:cubicBezTo>
                <a:cubicBezTo>
                  <a:pt x="5202" y="500"/>
                  <a:pt x="5177" y="575"/>
                  <a:pt x="5177" y="600"/>
                </a:cubicBezTo>
                <a:cubicBezTo>
                  <a:pt x="5151" y="625"/>
                  <a:pt x="5426" y="650"/>
                  <a:pt x="5426" y="625"/>
                </a:cubicBezTo>
                <a:cubicBezTo>
                  <a:pt x="5451" y="575"/>
                  <a:pt x="5477" y="600"/>
                  <a:pt x="5526" y="600"/>
                </a:cubicBezTo>
                <a:cubicBezTo>
                  <a:pt x="5577" y="625"/>
                  <a:pt x="5826" y="550"/>
                  <a:pt x="5826" y="500"/>
                </a:cubicBezTo>
                <a:cubicBezTo>
                  <a:pt x="5826" y="450"/>
                  <a:pt x="5902" y="525"/>
                  <a:pt x="5826" y="600"/>
                </a:cubicBezTo>
                <a:cubicBezTo>
                  <a:pt x="5751" y="650"/>
                  <a:pt x="5602" y="625"/>
                  <a:pt x="5526" y="650"/>
                </a:cubicBezTo>
                <a:cubicBezTo>
                  <a:pt x="5451" y="675"/>
                  <a:pt x="5577" y="725"/>
                  <a:pt x="5651" y="775"/>
                </a:cubicBezTo>
                <a:cubicBezTo>
                  <a:pt x="5702" y="825"/>
                  <a:pt x="5551" y="800"/>
                  <a:pt x="5477" y="725"/>
                </a:cubicBezTo>
                <a:cubicBezTo>
                  <a:pt x="5426" y="675"/>
                  <a:pt x="5277" y="675"/>
                  <a:pt x="5177" y="675"/>
                </a:cubicBezTo>
                <a:cubicBezTo>
                  <a:pt x="5102" y="675"/>
                  <a:pt x="5126" y="825"/>
                  <a:pt x="5202" y="825"/>
                </a:cubicBezTo>
                <a:cubicBezTo>
                  <a:pt x="5251" y="825"/>
                  <a:pt x="5302" y="850"/>
                  <a:pt x="5377" y="925"/>
                </a:cubicBezTo>
                <a:cubicBezTo>
                  <a:pt x="5426" y="1025"/>
                  <a:pt x="5551" y="1000"/>
                  <a:pt x="5551" y="1050"/>
                </a:cubicBezTo>
                <a:cubicBezTo>
                  <a:pt x="5551" y="1075"/>
                  <a:pt x="5377" y="1000"/>
                  <a:pt x="5302" y="1000"/>
                </a:cubicBezTo>
                <a:cubicBezTo>
                  <a:pt x="5202" y="975"/>
                  <a:pt x="5051" y="1025"/>
                  <a:pt x="5051" y="1100"/>
                </a:cubicBezTo>
                <a:cubicBezTo>
                  <a:pt x="5051" y="1175"/>
                  <a:pt x="5177" y="1150"/>
                  <a:pt x="5277" y="1100"/>
                </a:cubicBezTo>
                <a:cubicBezTo>
                  <a:pt x="5377" y="1050"/>
                  <a:pt x="5302" y="1125"/>
                  <a:pt x="5251" y="1175"/>
                </a:cubicBezTo>
                <a:cubicBezTo>
                  <a:pt x="5202" y="1200"/>
                  <a:pt x="5377" y="1250"/>
                  <a:pt x="5377" y="1300"/>
                </a:cubicBezTo>
                <a:cubicBezTo>
                  <a:pt x="5377" y="1350"/>
                  <a:pt x="5251" y="1325"/>
                  <a:pt x="5251" y="1275"/>
                </a:cubicBezTo>
                <a:cubicBezTo>
                  <a:pt x="5226" y="1225"/>
                  <a:pt x="5177" y="1175"/>
                  <a:pt x="5077" y="1200"/>
                </a:cubicBezTo>
                <a:cubicBezTo>
                  <a:pt x="4977" y="1200"/>
                  <a:pt x="5001" y="1275"/>
                  <a:pt x="5077" y="1275"/>
                </a:cubicBezTo>
                <a:cubicBezTo>
                  <a:pt x="5126" y="1300"/>
                  <a:pt x="5126" y="1350"/>
                  <a:pt x="5051" y="1350"/>
                </a:cubicBezTo>
                <a:cubicBezTo>
                  <a:pt x="4977" y="1350"/>
                  <a:pt x="4826" y="1400"/>
                  <a:pt x="4877" y="1450"/>
                </a:cubicBezTo>
                <a:cubicBezTo>
                  <a:pt x="4926" y="1500"/>
                  <a:pt x="5151" y="1450"/>
                  <a:pt x="5177" y="1475"/>
                </a:cubicBezTo>
                <a:cubicBezTo>
                  <a:pt x="5226" y="1500"/>
                  <a:pt x="5326" y="1525"/>
                  <a:pt x="5351" y="1475"/>
                </a:cubicBezTo>
                <a:cubicBezTo>
                  <a:pt x="5377" y="1450"/>
                  <a:pt x="5451" y="1450"/>
                  <a:pt x="5526" y="1450"/>
                </a:cubicBezTo>
                <a:cubicBezTo>
                  <a:pt x="5626" y="1450"/>
                  <a:pt x="5651" y="1475"/>
                  <a:pt x="5677" y="1500"/>
                </a:cubicBezTo>
                <a:cubicBezTo>
                  <a:pt x="5726" y="1550"/>
                  <a:pt x="5777" y="1525"/>
                  <a:pt x="5826" y="1500"/>
                </a:cubicBezTo>
                <a:cubicBezTo>
                  <a:pt x="5877" y="1450"/>
                  <a:pt x="5877" y="1450"/>
                  <a:pt x="5926" y="1450"/>
                </a:cubicBezTo>
                <a:cubicBezTo>
                  <a:pt x="6002" y="1450"/>
                  <a:pt x="6002" y="1425"/>
                  <a:pt x="5977" y="1375"/>
                </a:cubicBezTo>
                <a:cubicBezTo>
                  <a:pt x="5951" y="1325"/>
                  <a:pt x="5877" y="1400"/>
                  <a:pt x="5851" y="1375"/>
                </a:cubicBezTo>
                <a:cubicBezTo>
                  <a:pt x="5851" y="1325"/>
                  <a:pt x="5777" y="1325"/>
                  <a:pt x="5677" y="1350"/>
                </a:cubicBezTo>
                <a:cubicBezTo>
                  <a:pt x="5551" y="1350"/>
                  <a:pt x="5602" y="1275"/>
                  <a:pt x="5677" y="1275"/>
                </a:cubicBezTo>
                <a:cubicBezTo>
                  <a:pt x="5751" y="1300"/>
                  <a:pt x="5826" y="1300"/>
                  <a:pt x="5926" y="1275"/>
                </a:cubicBezTo>
                <a:cubicBezTo>
                  <a:pt x="6002" y="1250"/>
                  <a:pt x="5926" y="1225"/>
                  <a:pt x="5926" y="1175"/>
                </a:cubicBezTo>
                <a:cubicBezTo>
                  <a:pt x="5926" y="1150"/>
                  <a:pt x="6027" y="1175"/>
                  <a:pt x="6102" y="1175"/>
                </a:cubicBezTo>
                <a:cubicBezTo>
                  <a:pt x="6177" y="1175"/>
                  <a:pt x="6302" y="1050"/>
                  <a:pt x="6302" y="975"/>
                </a:cubicBezTo>
                <a:cubicBezTo>
                  <a:pt x="6302" y="900"/>
                  <a:pt x="6127" y="925"/>
                  <a:pt x="6051" y="925"/>
                </a:cubicBezTo>
                <a:cubicBezTo>
                  <a:pt x="5951" y="925"/>
                  <a:pt x="6102" y="875"/>
                  <a:pt x="6251" y="875"/>
                </a:cubicBezTo>
                <a:cubicBezTo>
                  <a:pt x="6427" y="875"/>
                  <a:pt x="6351" y="800"/>
                  <a:pt x="6377" y="775"/>
                </a:cubicBezTo>
                <a:cubicBezTo>
                  <a:pt x="6402" y="750"/>
                  <a:pt x="6477" y="825"/>
                  <a:pt x="6551" y="800"/>
                </a:cubicBezTo>
                <a:cubicBezTo>
                  <a:pt x="6627" y="775"/>
                  <a:pt x="6577" y="725"/>
                  <a:pt x="6627" y="725"/>
                </a:cubicBezTo>
                <a:cubicBezTo>
                  <a:pt x="6677" y="725"/>
                  <a:pt x="6751" y="650"/>
                  <a:pt x="6927" y="550"/>
                </a:cubicBezTo>
                <a:cubicBezTo>
                  <a:pt x="7102" y="475"/>
                  <a:pt x="7227" y="475"/>
                  <a:pt x="7252" y="425"/>
                </a:cubicBezTo>
                <a:cubicBezTo>
                  <a:pt x="7252" y="375"/>
                  <a:pt x="7002" y="425"/>
                  <a:pt x="6977" y="400"/>
                </a:cubicBezTo>
                <a:cubicBezTo>
                  <a:pt x="6927" y="400"/>
                  <a:pt x="7127" y="350"/>
                  <a:pt x="7177" y="350"/>
                </a:cubicBezTo>
                <a:cubicBezTo>
                  <a:pt x="7227" y="375"/>
                  <a:pt x="7302" y="350"/>
                  <a:pt x="7477" y="275"/>
                </a:cubicBezTo>
                <a:cubicBezTo>
                  <a:pt x="7652" y="200"/>
                  <a:pt x="7577" y="175"/>
                  <a:pt x="7502" y="175"/>
                </a:cubicBezTo>
                <a:cubicBezTo>
                  <a:pt x="7427" y="200"/>
                  <a:pt x="7352" y="175"/>
                  <a:pt x="7352" y="125"/>
                </a:cubicBezTo>
                <a:cubicBezTo>
                  <a:pt x="7352" y="75"/>
                  <a:pt x="7252" y="125"/>
                  <a:pt x="7252" y="99"/>
                </a:cubicBezTo>
                <a:cubicBezTo>
                  <a:pt x="7252" y="75"/>
                  <a:pt x="7152" y="75"/>
                  <a:pt x="7027" y="125"/>
                </a:cubicBezTo>
                <a:cubicBezTo>
                  <a:pt x="6927" y="175"/>
                  <a:pt x="7027" y="75"/>
                  <a:pt x="7077" y="75"/>
                </a:cubicBezTo>
                <a:cubicBezTo>
                  <a:pt x="7127" y="50"/>
                  <a:pt x="6802" y="75"/>
                  <a:pt x="6751" y="25"/>
                </a:cubicBezTo>
                <a:cubicBezTo>
                  <a:pt x="6677" y="0"/>
                  <a:pt x="6627" y="99"/>
                  <a:pt x="6577" y="50"/>
                </a:cubicBezTo>
                <a:cubicBezTo>
                  <a:pt x="6527" y="0"/>
                  <a:pt x="6402" y="25"/>
                  <a:pt x="6402" y="75"/>
                </a:cubicBezTo>
                <a:cubicBezTo>
                  <a:pt x="6427" y="99"/>
                  <a:pt x="6402" y="99"/>
                  <a:pt x="6351" y="75"/>
                </a:cubicBezTo>
                <a:cubicBezTo>
                  <a:pt x="6302" y="25"/>
                  <a:pt x="6202" y="75"/>
                  <a:pt x="6102" y="50"/>
                </a:cubicBezTo>
                <a:cubicBezTo>
                  <a:pt x="6027" y="50"/>
                  <a:pt x="6051" y="125"/>
                  <a:pt x="5951" y="99"/>
                </a:cubicBezTo>
                <a:cubicBezTo>
                  <a:pt x="5877" y="50"/>
                  <a:pt x="5751" y="75"/>
                  <a:pt x="5802" y="75"/>
                </a:cubicBezTo>
                <a:cubicBezTo>
                  <a:pt x="5826" y="99"/>
                  <a:pt x="5777" y="125"/>
                  <a:pt x="5751" y="99"/>
                </a:cubicBezTo>
                <a:cubicBezTo>
                  <a:pt x="5702" y="99"/>
                  <a:pt x="5651" y="99"/>
                  <a:pt x="5677" y="150"/>
                </a:cubicBezTo>
                <a:cubicBezTo>
                  <a:pt x="5702" y="200"/>
                  <a:pt x="5526" y="150"/>
                  <a:pt x="5526" y="175"/>
                </a:cubicBezTo>
                <a:cubicBezTo>
                  <a:pt x="5526" y="225"/>
                  <a:pt x="5477" y="250"/>
                  <a:pt x="5426" y="225"/>
                </a:cubicBezTo>
                <a:cubicBezTo>
                  <a:pt x="5377" y="175"/>
                  <a:pt x="5202" y="150"/>
                  <a:pt x="5251" y="200"/>
                </a:cubicBezTo>
                <a:cubicBezTo>
                  <a:pt x="5302" y="225"/>
                  <a:pt x="5102" y="225"/>
                  <a:pt x="5151" y="250"/>
                </a:cubicBezTo>
                <a:cubicBezTo>
                  <a:pt x="5202" y="300"/>
                  <a:pt x="5102" y="325"/>
                  <a:pt x="5102" y="300"/>
                </a:cubicBezTo>
                <a:cubicBezTo>
                  <a:pt x="5102" y="275"/>
                  <a:pt x="5001" y="250"/>
                  <a:pt x="4951" y="275"/>
                </a:cubicBezTo>
                <a:cubicBezTo>
                  <a:pt x="4901" y="325"/>
                  <a:pt x="4901" y="350"/>
                  <a:pt x="4877" y="325"/>
                </a:cubicBezTo>
                <a:cubicBezTo>
                  <a:pt x="4851" y="300"/>
                  <a:pt x="4777" y="325"/>
                  <a:pt x="4677" y="350"/>
                </a:cubicBezTo>
                <a:cubicBezTo>
                  <a:pt x="4601" y="375"/>
                  <a:pt x="4701" y="400"/>
                  <a:pt x="4751" y="375"/>
                </a:cubicBezTo>
                <a:close/>
                <a:moveTo>
                  <a:pt x="5802" y="3975"/>
                </a:moveTo>
                <a:lnTo>
                  <a:pt x="5802" y="3975"/>
                </a:lnTo>
                <a:cubicBezTo>
                  <a:pt x="5826" y="3975"/>
                  <a:pt x="5877" y="3850"/>
                  <a:pt x="5802" y="3875"/>
                </a:cubicBezTo>
                <a:cubicBezTo>
                  <a:pt x="5726" y="3875"/>
                  <a:pt x="5751" y="3975"/>
                  <a:pt x="5802" y="3975"/>
                </a:cubicBezTo>
                <a:close/>
                <a:moveTo>
                  <a:pt x="5426" y="3875"/>
                </a:moveTo>
                <a:lnTo>
                  <a:pt x="5426" y="3875"/>
                </a:lnTo>
                <a:cubicBezTo>
                  <a:pt x="5502" y="3926"/>
                  <a:pt x="5602" y="3801"/>
                  <a:pt x="5602" y="3775"/>
                </a:cubicBezTo>
                <a:cubicBezTo>
                  <a:pt x="5577" y="3750"/>
                  <a:pt x="5351" y="3826"/>
                  <a:pt x="5426" y="3875"/>
                </a:cubicBezTo>
                <a:close/>
                <a:moveTo>
                  <a:pt x="5726" y="3650"/>
                </a:moveTo>
                <a:lnTo>
                  <a:pt x="5726" y="3650"/>
                </a:lnTo>
                <a:cubicBezTo>
                  <a:pt x="5751" y="3601"/>
                  <a:pt x="5602" y="3601"/>
                  <a:pt x="5602" y="3550"/>
                </a:cubicBezTo>
                <a:cubicBezTo>
                  <a:pt x="5602" y="3501"/>
                  <a:pt x="5477" y="3450"/>
                  <a:pt x="5426" y="3426"/>
                </a:cubicBezTo>
                <a:cubicBezTo>
                  <a:pt x="5377" y="3401"/>
                  <a:pt x="5302" y="3401"/>
                  <a:pt x="5302" y="3350"/>
                </a:cubicBezTo>
                <a:cubicBezTo>
                  <a:pt x="5302" y="3301"/>
                  <a:pt x="5202" y="3326"/>
                  <a:pt x="5202" y="3401"/>
                </a:cubicBezTo>
                <a:cubicBezTo>
                  <a:pt x="5202" y="3475"/>
                  <a:pt x="5151" y="3475"/>
                  <a:pt x="5177" y="3550"/>
                </a:cubicBezTo>
                <a:cubicBezTo>
                  <a:pt x="5202" y="3601"/>
                  <a:pt x="5077" y="3626"/>
                  <a:pt x="5102" y="3675"/>
                </a:cubicBezTo>
                <a:cubicBezTo>
                  <a:pt x="5102" y="3701"/>
                  <a:pt x="5151" y="3650"/>
                  <a:pt x="5202" y="3650"/>
                </a:cubicBezTo>
                <a:cubicBezTo>
                  <a:pt x="5251" y="3650"/>
                  <a:pt x="5202" y="3726"/>
                  <a:pt x="5251" y="3726"/>
                </a:cubicBezTo>
                <a:cubicBezTo>
                  <a:pt x="5302" y="3750"/>
                  <a:pt x="5402" y="3675"/>
                  <a:pt x="5426" y="3650"/>
                </a:cubicBezTo>
                <a:cubicBezTo>
                  <a:pt x="5451" y="3626"/>
                  <a:pt x="5477" y="3601"/>
                  <a:pt x="5551" y="3650"/>
                </a:cubicBezTo>
                <a:cubicBezTo>
                  <a:pt x="5602" y="3675"/>
                  <a:pt x="5726" y="3701"/>
                  <a:pt x="5726" y="3650"/>
                </a:cubicBezTo>
                <a:close/>
                <a:moveTo>
                  <a:pt x="7102" y="3275"/>
                </a:moveTo>
                <a:lnTo>
                  <a:pt x="7102" y="3275"/>
                </a:lnTo>
                <a:cubicBezTo>
                  <a:pt x="7152" y="3275"/>
                  <a:pt x="7152" y="3350"/>
                  <a:pt x="7227" y="3426"/>
                </a:cubicBezTo>
                <a:cubicBezTo>
                  <a:pt x="7302" y="3475"/>
                  <a:pt x="7327" y="3426"/>
                  <a:pt x="7327" y="3401"/>
                </a:cubicBezTo>
                <a:cubicBezTo>
                  <a:pt x="7352" y="3350"/>
                  <a:pt x="7427" y="3375"/>
                  <a:pt x="7427" y="3326"/>
                </a:cubicBezTo>
                <a:cubicBezTo>
                  <a:pt x="7427" y="3301"/>
                  <a:pt x="7502" y="3226"/>
                  <a:pt x="7552" y="3226"/>
                </a:cubicBezTo>
                <a:cubicBezTo>
                  <a:pt x="7602" y="3201"/>
                  <a:pt x="7502" y="3150"/>
                  <a:pt x="7452" y="3150"/>
                </a:cubicBezTo>
                <a:cubicBezTo>
                  <a:pt x="7377" y="3150"/>
                  <a:pt x="7352" y="3101"/>
                  <a:pt x="7352" y="3075"/>
                </a:cubicBezTo>
                <a:cubicBezTo>
                  <a:pt x="7352" y="3050"/>
                  <a:pt x="7227" y="2975"/>
                  <a:pt x="7202" y="3001"/>
                </a:cubicBezTo>
                <a:cubicBezTo>
                  <a:pt x="7152" y="3001"/>
                  <a:pt x="7077" y="2926"/>
                  <a:pt x="7027" y="2926"/>
                </a:cubicBezTo>
                <a:cubicBezTo>
                  <a:pt x="6977" y="2926"/>
                  <a:pt x="6902" y="2875"/>
                  <a:pt x="6902" y="2825"/>
                </a:cubicBezTo>
                <a:cubicBezTo>
                  <a:pt x="6902" y="2775"/>
                  <a:pt x="7002" y="2850"/>
                  <a:pt x="7027" y="2800"/>
                </a:cubicBezTo>
                <a:cubicBezTo>
                  <a:pt x="7052" y="2750"/>
                  <a:pt x="6927" y="2775"/>
                  <a:pt x="6927" y="2750"/>
                </a:cubicBezTo>
                <a:cubicBezTo>
                  <a:pt x="6927" y="2701"/>
                  <a:pt x="6952" y="2725"/>
                  <a:pt x="6977" y="2701"/>
                </a:cubicBezTo>
                <a:cubicBezTo>
                  <a:pt x="7002" y="2675"/>
                  <a:pt x="6952" y="2650"/>
                  <a:pt x="6927" y="2625"/>
                </a:cubicBezTo>
                <a:cubicBezTo>
                  <a:pt x="6902" y="2601"/>
                  <a:pt x="6902" y="2650"/>
                  <a:pt x="6852" y="2650"/>
                </a:cubicBezTo>
                <a:cubicBezTo>
                  <a:pt x="6827" y="2650"/>
                  <a:pt x="6852" y="2601"/>
                  <a:pt x="6877" y="2575"/>
                </a:cubicBezTo>
                <a:cubicBezTo>
                  <a:pt x="6902" y="2550"/>
                  <a:pt x="6777" y="2525"/>
                  <a:pt x="6727" y="2525"/>
                </a:cubicBezTo>
                <a:cubicBezTo>
                  <a:pt x="6677" y="2550"/>
                  <a:pt x="6677" y="2525"/>
                  <a:pt x="6677" y="2501"/>
                </a:cubicBezTo>
                <a:cubicBezTo>
                  <a:pt x="6677" y="2450"/>
                  <a:pt x="6577" y="2501"/>
                  <a:pt x="6551" y="2525"/>
                </a:cubicBezTo>
                <a:cubicBezTo>
                  <a:pt x="6502" y="2550"/>
                  <a:pt x="6477" y="2501"/>
                  <a:pt x="6502" y="2475"/>
                </a:cubicBezTo>
                <a:cubicBezTo>
                  <a:pt x="6551" y="2475"/>
                  <a:pt x="6602" y="2450"/>
                  <a:pt x="6602" y="2401"/>
                </a:cubicBezTo>
                <a:cubicBezTo>
                  <a:pt x="6577" y="2375"/>
                  <a:pt x="6477" y="2375"/>
                  <a:pt x="6451" y="2425"/>
                </a:cubicBezTo>
                <a:cubicBezTo>
                  <a:pt x="6427" y="2450"/>
                  <a:pt x="6351" y="2375"/>
                  <a:pt x="6351" y="2325"/>
                </a:cubicBezTo>
                <a:cubicBezTo>
                  <a:pt x="6351" y="2301"/>
                  <a:pt x="6202" y="2325"/>
                  <a:pt x="6227" y="2250"/>
                </a:cubicBezTo>
                <a:cubicBezTo>
                  <a:pt x="6251" y="2201"/>
                  <a:pt x="6077" y="2175"/>
                  <a:pt x="6027" y="2175"/>
                </a:cubicBezTo>
                <a:cubicBezTo>
                  <a:pt x="5977" y="2175"/>
                  <a:pt x="5902" y="2225"/>
                  <a:pt x="5926" y="2250"/>
                </a:cubicBezTo>
                <a:cubicBezTo>
                  <a:pt x="5926" y="2301"/>
                  <a:pt x="5877" y="2275"/>
                  <a:pt x="5851" y="2250"/>
                </a:cubicBezTo>
                <a:cubicBezTo>
                  <a:pt x="5851" y="2201"/>
                  <a:pt x="5751" y="2301"/>
                  <a:pt x="5702" y="2301"/>
                </a:cubicBezTo>
                <a:cubicBezTo>
                  <a:pt x="5677" y="2301"/>
                  <a:pt x="5726" y="2175"/>
                  <a:pt x="5702" y="2125"/>
                </a:cubicBezTo>
                <a:cubicBezTo>
                  <a:pt x="5702" y="2101"/>
                  <a:pt x="5677" y="2075"/>
                  <a:pt x="5651" y="2025"/>
                </a:cubicBezTo>
                <a:cubicBezTo>
                  <a:pt x="5626" y="1950"/>
                  <a:pt x="5502" y="1975"/>
                  <a:pt x="5451" y="2025"/>
                </a:cubicBezTo>
                <a:cubicBezTo>
                  <a:pt x="5426" y="2050"/>
                  <a:pt x="5326" y="2050"/>
                  <a:pt x="5251" y="2101"/>
                </a:cubicBezTo>
                <a:cubicBezTo>
                  <a:pt x="5202" y="2150"/>
                  <a:pt x="5277" y="2225"/>
                  <a:pt x="5302" y="2225"/>
                </a:cubicBezTo>
                <a:cubicBezTo>
                  <a:pt x="5326" y="2250"/>
                  <a:pt x="5202" y="2301"/>
                  <a:pt x="5251" y="2325"/>
                </a:cubicBezTo>
                <a:cubicBezTo>
                  <a:pt x="5277" y="2350"/>
                  <a:pt x="5326" y="2350"/>
                  <a:pt x="5351" y="2401"/>
                </a:cubicBezTo>
                <a:cubicBezTo>
                  <a:pt x="5351" y="2450"/>
                  <a:pt x="5202" y="2375"/>
                  <a:pt x="5177" y="2325"/>
                </a:cubicBezTo>
                <a:cubicBezTo>
                  <a:pt x="5151" y="2275"/>
                  <a:pt x="5202" y="2250"/>
                  <a:pt x="5151" y="2201"/>
                </a:cubicBezTo>
                <a:cubicBezTo>
                  <a:pt x="5126" y="2175"/>
                  <a:pt x="5151" y="2125"/>
                  <a:pt x="5202" y="2075"/>
                </a:cubicBezTo>
                <a:cubicBezTo>
                  <a:pt x="5277" y="2025"/>
                  <a:pt x="5302" y="2025"/>
                  <a:pt x="5302" y="2001"/>
                </a:cubicBezTo>
                <a:cubicBezTo>
                  <a:pt x="5302" y="1950"/>
                  <a:pt x="5077" y="1950"/>
                  <a:pt x="4926" y="2075"/>
                </a:cubicBezTo>
                <a:cubicBezTo>
                  <a:pt x="4801" y="2201"/>
                  <a:pt x="4851" y="2375"/>
                  <a:pt x="4851" y="2401"/>
                </a:cubicBezTo>
                <a:cubicBezTo>
                  <a:pt x="4851" y="2450"/>
                  <a:pt x="4977" y="2425"/>
                  <a:pt x="5051" y="2450"/>
                </a:cubicBezTo>
                <a:cubicBezTo>
                  <a:pt x="5126" y="2475"/>
                  <a:pt x="5077" y="2501"/>
                  <a:pt x="5026" y="2501"/>
                </a:cubicBezTo>
                <a:cubicBezTo>
                  <a:pt x="4977" y="2475"/>
                  <a:pt x="4877" y="2475"/>
                  <a:pt x="4877" y="2501"/>
                </a:cubicBezTo>
                <a:cubicBezTo>
                  <a:pt x="4901" y="2550"/>
                  <a:pt x="5001" y="2601"/>
                  <a:pt x="5077" y="2601"/>
                </a:cubicBezTo>
                <a:cubicBezTo>
                  <a:pt x="5126" y="2575"/>
                  <a:pt x="5126" y="2575"/>
                  <a:pt x="5177" y="2625"/>
                </a:cubicBezTo>
                <a:cubicBezTo>
                  <a:pt x="5202" y="2650"/>
                  <a:pt x="5277" y="2650"/>
                  <a:pt x="5351" y="2650"/>
                </a:cubicBezTo>
                <a:cubicBezTo>
                  <a:pt x="5426" y="2650"/>
                  <a:pt x="5526" y="2675"/>
                  <a:pt x="5551" y="2675"/>
                </a:cubicBezTo>
                <a:cubicBezTo>
                  <a:pt x="5602" y="2675"/>
                  <a:pt x="5651" y="2650"/>
                  <a:pt x="5651" y="2650"/>
                </a:cubicBezTo>
                <a:cubicBezTo>
                  <a:pt x="5677" y="2625"/>
                  <a:pt x="5826" y="2675"/>
                  <a:pt x="5877" y="2675"/>
                </a:cubicBezTo>
                <a:cubicBezTo>
                  <a:pt x="5926" y="2675"/>
                  <a:pt x="5877" y="2625"/>
                  <a:pt x="5851" y="2601"/>
                </a:cubicBezTo>
                <a:cubicBezTo>
                  <a:pt x="5826" y="2601"/>
                  <a:pt x="5851" y="2550"/>
                  <a:pt x="5877" y="2575"/>
                </a:cubicBezTo>
                <a:cubicBezTo>
                  <a:pt x="5926" y="2575"/>
                  <a:pt x="5977" y="2601"/>
                  <a:pt x="6002" y="2625"/>
                </a:cubicBezTo>
                <a:cubicBezTo>
                  <a:pt x="6002" y="2675"/>
                  <a:pt x="6027" y="2650"/>
                  <a:pt x="6051" y="2675"/>
                </a:cubicBezTo>
                <a:cubicBezTo>
                  <a:pt x="6051" y="2701"/>
                  <a:pt x="6177" y="2750"/>
                  <a:pt x="6177" y="2775"/>
                </a:cubicBezTo>
                <a:cubicBezTo>
                  <a:pt x="6177" y="2800"/>
                  <a:pt x="6051" y="2825"/>
                  <a:pt x="6102" y="2850"/>
                </a:cubicBezTo>
                <a:cubicBezTo>
                  <a:pt x="6127" y="2875"/>
                  <a:pt x="6177" y="2825"/>
                  <a:pt x="6227" y="2825"/>
                </a:cubicBezTo>
                <a:cubicBezTo>
                  <a:pt x="6277" y="2800"/>
                  <a:pt x="6277" y="2926"/>
                  <a:pt x="6327" y="2900"/>
                </a:cubicBezTo>
                <a:cubicBezTo>
                  <a:pt x="6377" y="2875"/>
                  <a:pt x="6427" y="2926"/>
                  <a:pt x="6477" y="3001"/>
                </a:cubicBezTo>
                <a:cubicBezTo>
                  <a:pt x="6527" y="3075"/>
                  <a:pt x="6451" y="3126"/>
                  <a:pt x="6477" y="3150"/>
                </a:cubicBezTo>
                <a:cubicBezTo>
                  <a:pt x="6477" y="3175"/>
                  <a:pt x="6577" y="3175"/>
                  <a:pt x="6627" y="3150"/>
                </a:cubicBezTo>
                <a:cubicBezTo>
                  <a:pt x="6677" y="3126"/>
                  <a:pt x="6727" y="3175"/>
                  <a:pt x="6777" y="3226"/>
                </a:cubicBezTo>
                <a:cubicBezTo>
                  <a:pt x="6802" y="3250"/>
                  <a:pt x="6602" y="3326"/>
                  <a:pt x="6627" y="3275"/>
                </a:cubicBezTo>
                <a:cubicBezTo>
                  <a:pt x="6651" y="3250"/>
                  <a:pt x="6502" y="3150"/>
                  <a:pt x="6402" y="3201"/>
                </a:cubicBezTo>
                <a:cubicBezTo>
                  <a:pt x="6277" y="3250"/>
                  <a:pt x="6351" y="3326"/>
                  <a:pt x="6377" y="3350"/>
                </a:cubicBezTo>
                <a:cubicBezTo>
                  <a:pt x="6377" y="3401"/>
                  <a:pt x="6251" y="3450"/>
                  <a:pt x="6151" y="3401"/>
                </a:cubicBezTo>
                <a:cubicBezTo>
                  <a:pt x="6027" y="3375"/>
                  <a:pt x="6077" y="3426"/>
                  <a:pt x="6027" y="3426"/>
                </a:cubicBezTo>
                <a:cubicBezTo>
                  <a:pt x="5977" y="3426"/>
                  <a:pt x="5926" y="3501"/>
                  <a:pt x="5977" y="3550"/>
                </a:cubicBezTo>
                <a:cubicBezTo>
                  <a:pt x="6002" y="3601"/>
                  <a:pt x="6102" y="3550"/>
                  <a:pt x="6177" y="3550"/>
                </a:cubicBezTo>
                <a:cubicBezTo>
                  <a:pt x="6251" y="3550"/>
                  <a:pt x="6251" y="3575"/>
                  <a:pt x="6277" y="3526"/>
                </a:cubicBezTo>
                <a:cubicBezTo>
                  <a:pt x="6277" y="3501"/>
                  <a:pt x="6351" y="3526"/>
                  <a:pt x="6402" y="3526"/>
                </a:cubicBezTo>
                <a:cubicBezTo>
                  <a:pt x="6451" y="3550"/>
                  <a:pt x="6451" y="3626"/>
                  <a:pt x="6527" y="3626"/>
                </a:cubicBezTo>
                <a:cubicBezTo>
                  <a:pt x="6577" y="3626"/>
                  <a:pt x="6527" y="3701"/>
                  <a:pt x="6577" y="3750"/>
                </a:cubicBezTo>
                <a:cubicBezTo>
                  <a:pt x="6602" y="3801"/>
                  <a:pt x="6751" y="3775"/>
                  <a:pt x="6802" y="3826"/>
                </a:cubicBezTo>
                <a:cubicBezTo>
                  <a:pt x="6852" y="3875"/>
                  <a:pt x="7052" y="3950"/>
                  <a:pt x="7077" y="3926"/>
                </a:cubicBezTo>
                <a:cubicBezTo>
                  <a:pt x="7127" y="3875"/>
                  <a:pt x="6902" y="3701"/>
                  <a:pt x="6852" y="3675"/>
                </a:cubicBezTo>
                <a:cubicBezTo>
                  <a:pt x="6777" y="3650"/>
                  <a:pt x="6902" y="3650"/>
                  <a:pt x="6977" y="3701"/>
                </a:cubicBezTo>
                <a:cubicBezTo>
                  <a:pt x="7052" y="3775"/>
                  <a:pt x="7177" y="3801"/>
                  <a:pt x="7227" y="3726"/>
                </a:cubicBezTo>
                <a:cubicBezTo>
                  <a:pt x="7302" y="3650"/>
                  <a:pt x="7177" y="3675"/>
                  <a:pt x="7177" y="3601"/>
                </a:cubicBezTo>
                <a:cubicBezTo>
                  <a:pt x="7177" y="3550"/>
                  <a:pt x="7152" y="3475"/>
                  <a:pt x="7102" y="3475"/>
                </a:cubicBezTo>
                <a:cubicBezTo>
                  <a:pt x="7027" y="3475"/>
                  <a:pt x="6877" y="3375"/>
                  <a:pt x="6927" y="3350"/>
                </a:cubicBezTo>
                <a:cubicBezTo>
                  <a:pt x="7002" y="3326"/>
                  <a:pt x="6927" y="3275"/>
                  <a:pt x="6952" y="3226"/>
                </a:cubicBezTo>
                <a:cubicBezTo>
                  <a:pt x="7002" y="3201"/>
                  <a:pt x="7052" y="3275"/>
                  <a:pt x="7102" y="3275"/>
                </a:cubicBezTo>
                <a:close/>
                <a:moveTo>
                  <a:pt x="6227" y="3075"/>
                </a:moveTo>
                <a:lnTo>
                  <a:pt x="6227" y="3075"/>
                </a:lnTo>
                <a:cubicBezTo>
                  <a:pt x="6277" y="3075"/>
                  <a:pt x="6251" y="3001"/>
                  <a:pt x="6227" y="2950"/>
                </a:cubicBezTo>
                <a:cubicBezTo>
                  <a:pt x="6202" y="2926"/>
                  <a:pt x="6151" y="2926"/>
                  <a:pt x="6102" y="2926"/>
                </a:cubicBezTo>
                <a:cubicBezTo>
                  <a:pt x="6051" y="2926"/>
                  <a:pt x="5977" y="3001"/>
                  <a:pt x="6027" y="3075"/>
                </a:cubicBezTo>
                <a:cubicBezTo>
                  <a:pt x="6077" y="3150"/>
                  <a:pt x="6177" y="3101"/>
                  <a:pt x="6227" y="3075"/>
                </a:cubicBezTo>
                <a:close/>
                <a:moveTo>
                  <a:pt x="5702" y="2001"/>
                </a:moveTo>
                <a:lnTo>
                  <a:pt x="5702" y="2001"/>
                </a:lnTo>
                <a:cubicBezTo>
                  <a:pt x="5677" y="2050"/>
                  <a:pt x="5751" y="2050"/>
                  <a:pt x="5751" y="2125"/>
                </a:cubicBezTo>
                <a:cubicBezTo>
                  <a:pt x="5751" y="2175"/>
                  <a:pt x="5826" y="2201"/>
                  <a:pt x="5902" y="2150"/>
                </a:cubicBezTo>
                <a:cubicBezTo>
                  <a:pt x="5951" y="2125"/>
                  <a:pt x="6127" y="2175"/>
                  <a:pt x="6127" y="2125"/>
                </a:cubicBezTo>
                <a:cubicBezTo>
                  <a:pt x="6127" y="2075"/>
                  <a:pt x="5951" y="2001"/>
                  <a:pt x="5877" y="2001"/>
                </a:cubicBezTo>
                <a:cubicBezTo>
                  <a:pt x="5826" y="2025"/>
                  <a:pt x="5726" y="1950"/>
                  <a:pt x="5702" y="2001"/>
                </a:cubicBezTo>
                <a:close/>
                <a:moveTo>
                  <a:pt x="7252" y="5551"/>
                </a:moveTo>
                <a:lnTo>
                  <a:pt x="7252" y="5551"/>
                </a:lnTo>
                <a:cubicBezTo>
                  <a:pt x="7277" y="5576"/>
                  <a:pt x="7502" y="5676"/>
                  <a:pt x="7527" y="5626"/>
                </a:cubicBezTo>
                <a:cubicBezTo>
                  <a:pt x="7527" y="5576"/>
                  <a:pt x="7252" y="5526"/>
                  <a:pt x="7252" y="5551"/>
                </a:cubicBezTo>
                <a:close/>
                <a:moveTo>
                  <a:pt x="8327" y="5801"/>
                </a:moveTo>
                <a:lnTo>
                  <a:pt x="8327" y="5801"/>
                </a:lnTo>
                <a:cubicBezTo>
                  <a:pt x="8302" y="5826"/>
                  <a:pt x="8277" y="5776"/>
                  <a:pt x="8302" y="5751"/>
                </a:cubicBezTo>
                <a:cubicBezTo>
                  <a:pt x="8352" y="5726"/>
                  <a:pt x="8302" y="5701"/>
                  <a:pt x="8277" y="5726"/>
                </a:cubicBezTo>
                <a:cubicBezTo>
                  <a:pt x="8227" y="5726"/>
                  <a:pt x="8252" y="5651"/>
                  <a:pt x="8277" y="5626"/>
                </a:cubicBezTo>
                <a:cubicBezTo>
                  <a:pt x="8302" y="5600"/>
                  <a:pt x="8202" y="5576"/>
                  <a:pt x="8202" y="5600"/>
                </a:cubicBezTo>
                <a:cubicBezTo>
                  <a:pt x="8202" y="5651"/>
                  <a:pt x="8127" y="5626"/>
                  <a:pt x="8127" y="5600"/>
                </a:cubicBezTo>
                <a:cubicBezTo>
                  <a:pt x="8102" y="5576"/>
                  <a:pt x="8052" y="5551"/>
                  <a:pt x="8077" y="5526"/>
                </a:cubicBezTo>
                <a:cubicBezTo>
                  <a:pt x="8102" y="5526"/>
                  <a:pt x="8002" y="5500"/>
                  <a:pt x="8002" y="5551"/>
                </a:cubicBezTo>
                <a:cubicBezTo>
                  <a:pt x="8002" y="5576"/>
                  <a:pt x="7977" y="5526"/>
                  <a:pt x="8002" y="5476"/>
                </a:cubicBezTo>
                <a:cubicBezTo>
                  <a:pt x="8052" y="5426"/>
                  <a:pt x="8052" y="5401"/>
                  <a:pt x="8077" y="5376"/>
                </a:cubicBezTo>
                <a:cubicBezTo>
                  <a:pt x="8127" y="5351"/>
                  <a:pt x="8077" y="5326"/>
                  <a:pt x="8027" y="5326"/>
                </a:cubicBezTo>
                <a:cubicBezTo>
                  <a:pt x="8002" y="5351"/>
                  <a:pt x="7877" y="5500"/>
                  <a:pt x="7877" y="5551"/>
                </a:cubicBezTo>
                <a:cubicBezTo>
                  <a:pt x="7877" y="5600"/>
                  <a:pt x="7877" y="5651"/>
                  <a:pt x="7852" y="5626"/>
                </a:cubicBezTo>
                <a:cubicBezTo>
                  <a:pt x="7802" y="5626"/>
                  <a:pt x="7752" y="5676"/>
                  <a:pt x="7777" y="5701"/>
                </a:cubicBezTo>
                <a:cubicBezTo>
                  <a:pt x="7827" y="5726"/>
                  <a:pt x="7702" y="5776"/>
                  <a:pt x="7752" y="5801"/>
                </a:cubicBezTo>
                <a:cubicBezTo>
                  <a:pt x="7802" y="5826"/>
                  <a:pt x="7852" y="5801"/>
                  <a:pt x="7902" y="5801"/>
                </a:cubicBezTo>
                <a:cubicBezTo>
                  <a:pt x="7952" y="5801"/>
                  <a:pt x="8002" y="5801"/>
                  <a:pt x="8027" y="5776"/>
                </a:cubicBezTo>
                <a:cubicBezTo>
                  <a:pt x="8077" y="5751"/>
                  <a:pt x="8077" y="5801"/>
                  <a:pt x="8127" y="5801"/>
                </a:cubicBezTo>
                <a:cubicBezTo>
                  <a:pt x="8177" y="5801"/>
                  <a:pt x="8102" y="5851"/>
                  <a:pt x="8102" y="5876"/>
                </a:cubicBezTo>
                <a:cubicBezTo>
                  <a:pt x="8102" y="5901"/>
                  <a:pt x="8152" y="5851"/>
                  <a:pt x="8177" y="5826"/>
                </a:cubicBezTo>
                <a:cubicBezTo>
                  <a:pt x="8227" y="5826"/>
                  <a:pt x="8252" y="5826"/>
                  <a:pt x="8252" y="5876"/>
                </a:cubicBezTo>
                <a:cubicBezTo>
                  <a:pt x="8227" y="5901"/>
                  <a:pt x="8327" y="5926"/>
                  <a:pt x="8352" y="5876"/>
                </a:cubicBezTo>
                <a:cubicBezTo>
                  <a:pt x="8377" y="5826"/>
                  <a:pt x="8327" y="5751"/>
                  <a:pt x="8327" y="5801"/>
                </a:cubicBezTo>
                <a:close/>
                <a:moveTo>
                  <a:pt x="776" y="5026"/>
                </a:moveTo>
                <a:lnTo>
                  <a:pt x="776" y="5026"/>
                </a:lnTo>
                <a:cubicBezTo>
                  <a:pt x="701" y="5075"/>
                  <a:pt x="901" y="5251"/>
                  <a:pt x="925" y="5226"/>
                </a:cubicBezTo>
                <a:cubicBezTo>
                  <a:pt x="950" y="5226"/>
                  <a:pt x="876" y="5126"/>
                  <a:pt x="876" y="5075"/>
                </a:cubicBezTo>
                <a:cubicBezTo>
                  <a:pt x="876" y="5026"/>
                  <a:pt x="850" y="4975"/>
                  <a:pt x="776" y="5026"/>
                </a:cubicBezTo>
                <a:close/>
                <a:moveTo>
                  <a:pt x="7652" y="5976"/>
                </a:moveTo>
                <a:lnTo>
                  <a:pt x="7652" y="5976"/>
                </a:lnTo>
                <a:cubicBezTo>
                  <a:pt x="7627" y="5976"/>
                  <a:pt x="7652" y="5926"/>
                  <a:pt x="7652" y="5901"/>
                </a:cubicBezTo>
                <a:cubicBezTo>
                  <a:pt x="7652" y="5901"/>
                  <a:pt x="7577" y="5926"/>
                  <a:pt x="7577" y="5951"/>
                </a:cubicBezTo>
                <a:cubicBezTo>
                  <a:pt x="7577" y="5976"/>
                  <a:pt x="7527" y="5976"/>
                  <a:pt x="7527" y="6001"/>
                </a:cubicBezTo>
                <a:cubicBezTo>
                  <a:pt x="7527" y="6051"/>
                  <a:pt x="7527" y="6026"/>
                  <a:pt x="7502" y="6051"/>
                </a:cubicBezTo>
                <a:cubicBezTo>
                  <a:pt x="7452" y="6051"/>
                  <a:pt x="7327" y="6051"/>
                  <a:pt x="7327" y="6026"/>
                </a:cubicBezTo>
                <a:cubicBezTo>
                  <a:pt x="7327" y="5976"/>
                  <a:pt x="7227" y="5976"/>
                  <a:pt x="7227" y="5926"/>
                </a:cubicBezTo>
                <a:cubicBezTo>
                  <a:pt x="7227" y="5901"/>
                  <a:pt x="7177" y="5876"/>
                  <a:pt x="7227" y="5826"/>
                </a:cubicBezTo>
                <a:cubicBezTo>
                  <a:pt x="7252" y="5801"/>
                  <a:pt x="7202" y="5776"/>
                  <a:pt x="7177" y="5801"/>
                </a:cubicBezTo>
                <a:cubicBezTo>
                  <a:pt x="7127" y="5826"/>
                  <a:pt x="7127" y="5776"/>
                  <a:pt x="7177" y="5776"/>
                </a:cubicBezTo>
                <a:cubicBezTo>
                  <a:pt x="7202" y="5751"/>
                  <a:pt x="7302" y="5726"/>
                  <a:pt x="7252" y="5651"/>
                </a:cubicBezTo>
                <a:cubicBezTo>
                  <a:pt x="7202" y="5551"/>
                  <a:pt x="6927" y="5676"/>
                  <a:pt x="6852" y="5701"/>
                </a:cubicBezTo>
                <a:cubicBezTo>
                  <a:pt x="6777" y="5751"/>
                  <a:pt x="6677" y="5876"/>
                  <a:pt x="6651" y="5876"/>
                </a:cubicBezTo>
                <a:cubicBezTo>
                  <a:pt x="6602" y="5876"/>
                  <a:pt x="6727" y="5826"/>
                  <a:pt x="6727" y="5801"/>
                </a:cubicBezTo>
                <a:cubicBezTo>
                  <a:pt x="6751" y="5751"/>
                  <a:pt x="6727" y="5726"/>
                  <a:pt x="6751" y="5751"/>
                </a:cubicBezTo>
                <a:cubicBezTo>
                  <a:pt x="6777" y="5751"/>
                  <a:pt x="6827" y="5651"/>
                  <a:pt x="6877" y="5626"/>
                </a:cubicBezTo>
                <a:cubicBezTo>
                  <a:pt x="6927" y="5600"/>
                  <a:pt x="6977" y="5626"/>
                  <a:pt x="6977" y="5600"/>
                </a:cubicBezTo>
                <a:cubicBezTo>
                  <a:pt x="6977" y="5576"/>
                  <a:pt x="7002" y="5551"/>
                  <a:pt x="7052" y="5500"/>
                </a:cubicBezTo>
                <a:cubicBezTo>
                  <a:pt x="7102" y="5476"/>
                  <a:pt x="7577" y="5476"/>
                  <a:pt x="7627" y="5476"/>
                </a:cubicBezTo>
                <a:cubicBezTo>
                  <a:pt x="7677" y="5476"/>
                  <a:pt x="7777" y="5426"/>
                  <a:pt x="7802" y="5376"/>
                </a:cubicBezTo>
                <a:cubicBezTo>
                  <a:pt x="7827" y="5326"/>
                  <a:pt x="7877" y="5326"/>
                  <a:pt x="7927" y="5351"/>
                </a:cubicBezTo>
                <a:cubicBezTo>
                  <a:pt x="8002" y="5351"/>
                  <a:pt x="8027" y="5275"/>
                  <a:pt x="8077" y="5251"/>
                </a:cubicBezTo>
                <a:cubicBezTo>
                  <a:pt x="8102" y="5226"/>
                  <a:pt x="8077" y="5226"/>
                  <a:pt x="8052" y="5226"/>
                </a:cubicBezTo>
                <a:cubicBezTo>
                  <a:pt x="8027" y="5226"/>
                  <a:pt x="8002" y="5201"/>
                  <a:pt x="8027" y="5201"/>
                </a:cubicBezTo>
                <a:cubicBezTo>
                  <a:pt x="8052" y="5201"/>
                  <a:pt x="8077" y="5175"/>
                  <a:pt x="8077" y="5126"/>
                </a:cubicBezTo>
                <a:cubicBezTo>
                  <a:pt x="8102" y="5101"/>
                  <a:pt x="8077" y="5126"/>
                  <a:pt x="8027" y="5075"/>
                </a:cubicBezTo>
                <a:cubicBezTo>
                  <a:pt x="8002" y="5001"/>
                  <a:pt x="7977" y="5075"/>
                  <a:pt x="7927" y="5075"/>
                </a:cubicBezTo>
                <a:cubicBezTo>
                  <a:pt x="7902" y="5075"/>
                  <a:pt x="7952" y="5026"/>
                  <a:pt x="7927" y="5001"/>
                </a:cubicBezTo>
                <a:cubicBezTo>
                  <a:pt x="7902" y="4975"/>
                  <a:pt x="7827" y="5001"/>
                  <a:pt x="7777" y="5026"/>
                </a:cubicBezTo>
                <a:cubicBezTo>
                  <a:pt x="7727" y="5075"/>
                  <a:pt x="7727" y="5026"/>
                  <a:pt x="7702" y="5075"/>
                </a:cubicBezTo>
                <a:cubicBezTo>
                  <a:pt x="7652" y="5126"/>
                  <a:pt x="7652" y="5051"/>
                  <a:pt x="7677" y="5051"/>
                </a:cubicBezTo>
                <a:cubicBezTo>
                  <a:pt x="7702" y="5026"/>
                  <a:pt x="7702" y="5051"/>
                  <a:pt x="7727" y="5026"/>
                </a:cubicBezTo>
                <a:cubicBezTo>
                  <a:pt x="7752" y="5001"/>
                  <a:pt x="7752" y="5026"/>
                  <a:pt x="7802" y="4975"/>
                </a:cubicBezTo>
                <a:cubicBezTo>
                  <a:pt x="7852" y="4951"/>
                  <a:pt x="7902" y="4975"/>
                  <a:pt x="7927" y="4951"/>
                </a:cubicBezTo>
                <a:cubicBezTo>
                  <a:pt x="7927" y="4926"/>
                  <a:pt x="7902" y="4901"/>
                  <a:pt x="7852" y="4901"/>
                </a:cubicBezTo>
                <a:cubicBezTo>
                  <a:pt x="7802" y="4901"/>
                  <a:pt x="7777" y="4851"/>
                  <a:pt x="7752" y="4851"/>
                </a:cubicBezTo>
                <a:cubicBezTo>
                  <a:pt x="7702" y="4875"/>
                  <a:pt x="7727" y="4826"/>
                  <a:pt x="7677" y="4851"/>
                </a:cubicBezTo>
                <a:cubicBezTo>
                  <a:pt x="7652" y="4875"/>
                  <a:pt x="7627" y="4851"/>
                  <a:pt x="7627" y="4801"/>
                </a:cubicBezTo>
                <a:cubicBezTo>
                  <a:pt x="7602" y="4775"/>
                  <a:pt x="7502" y="4701"/>
                  <a:pt x="7452" y="4675"/>
                </a:cubicBezTo>
                <a:cubicBezTo>
                  <a:pt x="7402" y="4675"/>
                  <a:pt x="7452" y="4626"/>
                  <a:pt x="7477" y="4651"/>
                </a:cubicBezTo>
                <a:cubicBezTo>
                  <a:pt x="7502" y="4675"/>
                  <a:pt x="7527" y="4626"/>
                  <a:pt x="7552" y="4626"/>
                </a:cubicBezTo>
                <a:cubicBezTo>
                  <a:pt x="7552" y="4601"/>
                  <a:pt x="7527" y="4575"/>
                  <a:pt x="7502" y="4575"/>
                </a:cubicBezTo>
                <a:cubicBezTo>
                  <a:pt x="7502" y="4575"/>
                  <a:pt x="7502" y="4551"/>
                  <a:pt x="7502" y="4526"/>
                </a:cubicBezTo>
                <a:cubicBezTo>
                  <a:pt x="7502" y="4501"/>
                  <a:pt x="7427" y="4475"/>
                  <a:pt x="7427" y="4451"/>
                </a:cubicBezTo>
                <a:cubicBezTo>
                  <a:pt x="7427" y="4426"/>
                  <a:pt x="7402" y="4426"/>
                  <a:pt x="7402" y="4401"/>
                </a:cubicBezTo>
                <a:cubicBezTo>
                  <a:pt x="7402" y="4375"/>
                  <a:pt x="7352" y="4351"/>
                  <a:pt x="7352" y="4326"/>
                </a:cubicBezTo>
                <a:cubicBezTo>
                  <a:pt x="7352" y="4301"/>
                  <a:pt x="7302" y="4251"/>
                  <a:pt x="7302" y="4226"/>
                </a:cubicBezTo>
                <a:cubicBezTo>
                  <a:pt x="7302" y="4200"/>
                  <a:pt x="7252" y="4175"/>
                  <a:pt x="7252" y="4151"/>
                </a:cubicBezTo>
                <a:cubicBezTo>
                  <a:pt x="7227" y="4101"/>
                  <a:pt x="7227" y="4126"/>
                  <a:pt x="7202" y="4175"/>
                </a:cubicBezTo>
                <a:cubicBezTo>
                  <a:pt x="7202" y="4226"/>
                  <a:pt x="7152" y="4226"/>
                  <a:pt x="7177" y="4226"/>
                </a:cubicBezTo>
                <a:cubicBezTo>
                  <a:pt x="7202" y="4275"/>
                  <a:pt x="7177" y="4275"/>
                  <a:pt x="7152" y="4301"/>
                </a:cubicBezTo>
                <a:cubicBezTo>
                  <a:pt x="7127" y="4326"/>
                  <a:pt x="7177" y="4351"/>
                  <a:pt x="7127" y="4351"/>
                </a:cubicBezTo>
                <a:cubicBezTo>
                  <a:pt x="7102" y="4351"/>
                  <a:pt x="7127" y="4401"/>
                  <a:pt x="7102" y="4375"/>
                </a:cubicBezTo>
                <a:cubicBezTo>
                  <a:pt x="7077" y="4351"/>
                  <a:pt x="7052" y="4351"/>
                  <a:pt x="7052" y="4401"/>
                </a:cubicBezTo>
                <a:cubicBezTo>
                  <a:pt x="7052" y="4426"/>
                  <a:pt x="6977" y="4451"/>
                  <a:pt x="6952" y="4451"/>
                </a:cubicBezTo>
                <a:cubicBezTo>
                  <a:pt x="6927" y="4451"/>
                  <a:pt x="6927" y="4375"/>
                  <a:pt x="6902" y="4401"/>
                </a:cubicBezTo>
                <a:cubicBezTo>
                  <a:pt x="6877" y="4426"/>
                  <a:pt x="6877" y="4351"/>
                  <a:pt x="6852" y="4351"/>
                </a:cubicBezTo>
                <a:cubicBezTo>
                  <a:pt x="6802" y="4351"/>
                  <a:pt x="6777" y="4351"/>
                  <a:pt x="6802" y="4326"/>
                </a:cubicBezTo>
                <a:cubicBezTo>
                  <a:pt x="6802" y="4301"/>
                  <a:pt x="6727" y="4275"/>
                  <a:pt x="6751" y="4251"/>
                </a:cubicBezTo>
                <a:cubicBezTo>
                  <a:pt x="6777" y="4251"/>
                  <a:pt x="6751" y="4200"/>
                  <a:pt x="6751" y="4151"/>
                </a:cubicBezTo>
                <a:cubicBezTo>
                  <a:pt x="6751" y="4101"/>
                  <a:pt x="6777" y="4101"/>
                  <a:pt x="6777" y="4075"/>
                </a:cubicBezTo>
                <a:cubicBezTo>
                  <a:pt x="6777" y="4050"/>
                  <a:pt x="6751" y="4050"/>
                  <a:pt x="6727" y="4075"/>
                </a:cubicBezTo>
                <a:cubicBezTo>
                  <a:pt x="6702" y="4075"/>
                  <a:pt x="6702" y="4050"/>
                  <a:pt x="6677" y="4050"/>
                </a:cubicBezTo>
                <a:cubicBezTo>
                  <a:pt x="6651" y="4050"/>
                  <a:pt x="6577" y="4050"/>
                  <a:pt x="6577" y="4001"/>
                </a:cubicBezTo>
                <a:cubicBezTo>
                  <a:pt x="6551" y="3975"/>
                  <a:pt x="6527" y="4001"/>
                  <a:pt x="6527" y="3950"/>
                </a:cubicBezTo>
                <a:cubicBezTo>
                  <a:pt x="6502" y="3926"/>
                  <a:pt x="6477" y="3950"/>
                  <a:pt x="6477" y="3926"/>
                </a:cubicBezTo>
                <a:cubicBezTo>
                  <a:pt x="6477" y="3901"/>
                  <a:pt x="6451" y="3875"/>
                  <a:pt x="6427" y="3875"/>
                </a:cubicBezTo>
                <a:cubicBezTo>
                  <a:pt x="6402" y="3875"/>
                  <a:pt x="6402" y="3850"/>
                  <a:pt x="6377" y="3850"/>
                </a:cubicBezTo>
                <a:cubicBezTo>
                  <a:pt x="6327" y="3850"/>
                  <a:pt x="6302" y="3875"/>
                  <a:pt x="6277" y="3875"/>
                </a:cubicBezTo>
                <a:cubicBezTo>
                  <a:pt x="6251" y="3901"/>
                  <a:pt x="6202" y="3850"/>
                  <a:pt x="6202" y="3875"/>
                </a:cubicBezTo>
                <a:cubicBezTo>
                  <a:pt x="6177" y="3875"/>
                  <a:pt x="6177" y="3850"/>
                  <a:pt x="6127" y="3850"/>
                </a:cubicBezTo>
                <a:cubicBezTo>
                  <a:pt x="6051" y="3826"/>
                  <a:pt x="6002" y="3826"/>
                  <a:pt x="6002" y="3850"/>
                </a:cubicBezTo>
                <a:cubicBezTo>
                  <a:pt x="5977" y="3850"/>
                  <a:pt x="5951" y="3875"/>
                  <a:pt x="5951" y="3901"/>
                </a:cubicBezTo>
                <a:cubicBezTo>
                  <a:pt x="5951" y="3950"/>
                  <a:pt x="6002" y="3950"/>
                  <a:pt x="6002" y="3975"/>
                </a:cubicBezTo>
                <a:cubicBezTo>
                  <a:pt x="6027" y="4001"/>
                  <a:pt x="6002" y="4001"/>
                  <a:pt x="5977" y="4026"/>
                </a:cubicBezTo>
                <a:cubicBezTo>
                  <a:pt x="5977" y="4050"/>
                  <a:pt x="5951" y="4050"/>
                  <a:pt x="5951" y="4075"/>
                </a:cubicBezTo>
                <a:cubicBezTo>
                  <a:pt x="5951" y="4075"/>
                  <a:pt x="5977" y="4075"/>
                  <a:pt x="5977" y="4126"/>
                </a:cubicBezTo>
                <a:cubicBezTo>
                  <a:pt x="6002" y="4151"/>
                  <a:pt x="6027" y="4151"/>
                  <a:pt x="6027" y="4200"/>
                </a:cubicBezTo>
                <a:cubicBezTo>
                  <a:pt x="6027" y="4251"/>
                  <a:pt x="6002" y="4251"/>
                  <a:pt x="5977" y="4251"/>
                </a:cubicBezTo>
                <a:cubicBezTo>
                  <a:pt x="5977" y="4251"/>
                  <a:pt x="6002" y="4275"/>
                  <a:pt x="5951" y="4301"/>
                </a:cubicBezTo>
                <a:cubicBezTo>
                  <a:pt x="5926" y="4351"/>
                  <a:pt x="5902" y="4375"/>
                  <a:pt x="5926" y="4401"/>
                </a:cubicBezTo>
                <a:cubicBezTo>
                  <a:pt x="5951" y="4426"/>
                  <a:pt x="6027" y="4451"/>
                  <a:pt x="6077" y="4526"/>
                </a:cubicBezTo>
                <a:cubicBezTo>
                  <a:pt x="6102" y="4575"/>
                  <a:pt x="6102" y="4651"/>
                  <a:pt x="6102" y="4726"/>
                </a:cubicBezTo>
                <a:cubicBezTo>
                  <a:pt x="6077" y="4775"/>
                  <a:pt x="6002" y="4801"/>
                  <a:pt x="5951" y="4851"/>
                </a:cubicBezTo>
                <a:cubicBezTo>
                  <a:pt x="5902" y="4901"/>
                  <a:pt x="5851" y="4901"/>
                  <a:pt x="5826" y="4901"/>
                </a:cubicBezTo>
                <a:cubicBezTo>
                  <a:pt x="5802" y="4901"/>
                  <a:pt x="5826" y="4951"/>
                  <a:pt x="5851" y="5001"/>
                </a:cubicBezTo>
                <a:cubicBezTo>
                  <a:pt x="5877" y="5026"/>
                  <a:pt x="5851" y="5051"/>
                  <a:pt x="5877" y="5075"/>
                </a:cubicBezTo>
                <a:cubicBezTo>
                  <a:pt x="5902" y="5126"/>
                  <a:pt x="5877" y="5151"/>
                  <a:pt x="5902" y="5201"/>
                </a:cubicBezTo>
                <a:cubicBezTo>
                  <a:pt x="5926" y="5226"/>
                  <a:pt x="5926" y="5251"/>
                  <a:pt x="5877" y="5275"/>
                </a:cubicBezTo>
                <a:cubicBezTo>
                  <a:pt x="5851" y="5301"/>
                  <a:pt x="5902" y="5301"/>
                  <a:pt x="5902" y="5326"/>
                </a:cubicBezTo>
                <a:cubicBezTo>
                  <a:pt x="5902" y="5351"/>
                  <a:pt x="5877" y="5351"/>
                  <a:pt x="5851" y="5326"/>
                </a:cubicBezTo>
                <a:cubicBezTo>
                  <a:pt x="5826" y="5301"/>
                  <a:pt x="5802" y="5351"/>
                  <a:pt x="5802" y="5376"/>
                </a:cubicBezTo>
                <a:cubicBezTo>
                  <a:pt x="5802" y="5401"/>
                  <a:pt x="5751" y="5351"/>
                  <a:pt x="5726" y="5351"/>
                </a:cubicBezTo>
                <a:cubicBezTo>
                  <a:pt x="5702" y="5351"/>
                  <a:pt x="5726" y="5326"/>
                  <a:pt x="5702" y="5275"/>
                </a:cubicBezTo>
                <a:cubicBezTo>
                  <a:pt x="5651" y="5251"/>
                  <a:pt x="5626" y="5251"/>
                  <a:pt x="5626" y="5226"/>
                </a:cubicBezTo>
                <a:cubicBezTo>
                  <a:pt x="5626" y="5201"/>
                  <a:pt x="5551" y="5175"/>
                  <a:pt x="5551" y="5126"/>
                </a:cubicBezTo>
                <a:cubicBezTo>
                  <a:pt x="5551" y="5101"/>
                  <a:pt x="5577" y="5026"/>
                  <a:pt x="5551" y="5001"/>
                </a:cubicBezTo>
                <a:cubicBezTo>
                  <a:pt x="5551" y="4975"/>
                  <a:pt x="5551" y="4951"/>
                  <a:pt x="5577" y="4926"/>
                </a:cubicBezTo>
                <a:cubicBezTo>
                  <a:pt x="5577" y="4901"/>
                  <a:pt x="5551" y="4851"/>
                  <a:pt x="5502" y="4851"/>
                </a:cubicBezTo>
                <a:cubicBezTo>
                  <a:pt x="5477" y="4851"/>
                  <a:pt x="5426" y="4851"/>
                  <a:pt x="5377" y="4851"/>
                </a:cubicBezTo>
                <a:cubicBezTo>
                  <a:pt x="5326" y="4851"/>
                  <a:pt x="5302" y="4851"/>
                  <a:pt x="5277" y="4826"/>
                </a:cubicBezTo>
                <a:cubicBezTo>
                  <a:pt x="5251" y="4826"/>
                  <a:pt x="5202" y="4775"/>
                  <a:pt x="5151" y="4775"/>
                </a:cubicBezTo>
                <a:cubicBezTo>
                  <a:pt x="5077" y="4751"/>
                  <a:pt x="5051" y="4726"/>
                  <a:pt x="5051" y="4701"/>
                </a:cubicBezTo>
                <a:cubicBezTo>
                  <a:pt x="5026" y="4675"/>
                  <a:pt x="4977" y="4675"/>
                  <a:pt x="4951" y="4651"/>
                </a:cubicBezTo>
                <a:cubicBezTo>
                  <a:pt x="4951" y="4626"/>
                  <a:pt x="4877" y="4626"/>
                  <a:pt x="4851" y="4626"/>
                </a:cubicBezTo>
                <a:cubicBezTo>
                  <a:pt x="4826" y="4626"/>
                  <a:pt x="4777" y="4575"/>
                  <a:pt x="4726" y="4575"/>
                </a:cubicBezTo>
                <a:cubicBezTo>
                  <a:pt x="4701" y="4575"/>
                  <a:pt x="4601" y="4626"/>
                  <a:pt x="4601" y="4626"/>
                </a:cubicBezTo>
                <a:cubicBezTo>
                  <a:pt x="4577" y="4626"/>
                  <a:pt x="4601" y="4575"/>
                  <a:pt x="4601" y="4575"/>
                </a:cubicBezTo>
                <a:cubicBezTo>
                  <a:pt x="4626" y="4551"/>
                  <a:pt x="4577" y="4501"/>
                  <a:pt x="4551" y="4451"/>
                </a:cubicBezTo>
                <a:cubicBezTo>
                  <a:pt x="4551" y="4401"/>
                  <a:pt x="4526" y="4375"/>
                  <a:pt x="4501" y="4375"/>
                </a:cubicBezTo>
                <a:cubicBezTo>
                  <a:pt x="4451" y="4375"/>
                  <a:pt x="4401" y="4351"/>
                  <a:pt x="4401" y="4351"/>
                </a:cubicBezTo>
                <a:cubicBezTo>
                  <a:pt x="4377" y="4326"/>
                  <a:pt x="4377" y="4226"/>
                  <a:pt x="4377" y="4175"/>
                </a:cubicBezTo>
                <a:cubicBezTo>
                  <a:pt x="4401" y="4126"/>
                  <a:pt x="4451" y="4050"/>
                  <a:pt x="4451" y="4001"/>
                </a:cubicBezTo>
                <a:cubicBezTo>
                  <a:pt x="4451" y="3975"/>
                  <a:pt x="4477" y="3975"/>
                  <a:pt x="4526" y="3950"/>
                </a:cubicBezTo>
                <a:cubicBezTo>
                  <a:pt x="4551" y="3950"/>
                  <a:pt x="4526" y="3901"/>
                  <a:pt x="4551" y="3875"/>
                </a:cubicBezTo>
                <a:cubicBezTo>
                  <a:pt x="4577" y="3875"/>
                  <a:pt x="4577" y="3875"/>
                  <a:pt x="4601" y="3850"/>
                </a:cubicBezTo>
                <a:cubicBezTo>
                  <a:pt x="4601" y="3826"/>
                  <a:pt x="4626" y="3826"/>
                  <a:pt x="4626" y="3826"/>
                </a:cubicBezTo>
                <a:cubicBezTo>
                  <a:pt x="4601" y="3801"/>
                  <a:pt x="4601" y="3775"/>
                  <a:pt x="4651" y="3775"/>
                </a:cubicBezTo>
                <a:cubicBezTo>
                  <a:pt x="4701" y="3775"/>
                  <a:pt x="4777" y="3775"/>
                  <a:pt x="4777" y="3726"/>
                </a:cubicBezTo>
                <a:cubicBezTo>
                  <a:pt x="4751" y="3675"/>
                  <a:pt x="4626" y="3701"/>
                  <a:pt x="4626" y="3675"/>
                </a:cubicBezTo>
                <a:cubicBezTo>
                  <a:pt x="4626" y="3626"/>
                  <a:pt x="4477" y="3626"/>
                  <a:pt x="4477" y="3601"/>
                </a:cubicBezTo>
                <a:cubicBezTo>
                  <a:pt x="4501" y="3575"/>
                  <a:pt x="4651" y="3626"/>
                  <a:pt x="4701" y="3650"/>
                </a:cubicBezTo>
                <a:cubicBezTo>
                  <a:pt x="4751" y="3675"/>
                  <a:pt x="4777" y="3650"/>
                  <a:pt x="4801" y="3650"/>
                </a:cubicBezTo>
                <a:cubicBezTo>
                  <a:pt x="4851" y="3650"/>
                  <a:pt x="4826" y="3601"/>
                  <a:pt x="4826" y="3575"/>
                </a:cubicBezTo>
                <a:cubicBezTo>
                  <a:pt x="4851" y="3550"/>
                  <a:pt x="4926" y="3626"/>
                  <a:pt x="4977" y="3601"/>
                </a:cubicBezTo>
                <a:cubicBezTo>
                  <a:pt x="5026" y="3601"/>
                  <a:pt x="5077" y="3501"/>
                  <a:pt x="5102" y="3475"/>
                </a:cubicBezTo>
                <a:cubicBezTo>
                  <a:pt x="5151" y="3426"/>
                  <a:pt x="5102" y="3401"/>
                  <a:pt x="5026" y="3426"/>
                </a:cubicBezTo>
                <a:cubicBezTo>
                  <a:pt x="4951" y="3426"/>
                  <a:pt x="4901" y="3401"/>
                  <a:pt x="4877" y="3375"/>
                </a:cubicBezTo>
                <a:cubicBezTo>
                  <a:pt x="4826" y="3326"/>
                  <a:pt x="4826" y="3301"/>
                  <a:pt x="4877" y="3301"/>
                </a:cubicBezTo>
                <a:cubicBezTo>
                  <a:pt x="4926" y="3326"/>
                  <a:pt x="5026" y="3401"/>
                  <a:pt x="5077" y="3401"/>
                </a:cubicBezTo>
                <a:cubicBezTo>
                  <a:pt x="5102" y="3401"/>
                  <a:pt x="5177" y="3326"/>
                  <a:pt x="5202" y="3301"/>
                </a:cubicBezTo>
                <a:cubicBezTo>
                  <a:pt x="5251" y="3275"/>
                  <a:pt x="5177" y="3275"/>
                  <a:pt x="5151" y="3250"/>
                </a:cubicBezTo>
                <a:cubicBezTo>
                  <a:pt x="5126" y="3226"/>
                  <a:pt x="5202" y="3226"/>
                  <a:pt x="5226" y="3226"/>
                </a:cubicBezTo>
                <a:cubicBezTo>
                  <a:pt x="5251" y="3226"/>
                  <a:pt x="5277" y="3250"/>
                  <a:pt x="5277" y="3250"/>
                </a:cubicBezTo>
                <a:cubicBezTo>
                  <a:pt x="5302" y="3275"/>
                  <a:pt x="5351" y="3250"/>
                  <a:pt x="5377" y="3250"/>
                </a:cubicBezTo>
                <a:cubicBezTo>
                  <a:pt x="5426" y="3250"/>
                  <a:pt x="5377" y="3201"/>
                  <a:pt x="5326" y="3175"/>
                </a:cubicBezTo>
                <a:cubicBezTo>
                  <a:pt x="5277" y="3175"/>
                  <a:pt x="5326" y="3126"/>
                  <a:pt x="5351" y="3150"/>
                </a:cubicBezTo>
                <a:cubicBezTo>
                  <a:pt x="5377" y="3175"/>
                  <a:pt x="5402" y="3175"/>
                  <a:pt x="5426" y="3226"/>
                </a:cubicBezTo>
                <a:cubicBezTo>
                  <a:pt x="5451" y="3250"/>
                  <a:pt x="5451" y="3226"/>
                  <a:pt x="5502" y="3226"/>
                </a:cubicBezTo>
                <a:cubicBezTo>
                  <a:pt x="5526" y="3201"/>
                  <a:pt x="5551" y="3175"/>
                  <a:pt x="5577" y="3150"/>
                </a:cubicBezTo>
                <a:cubicBezTo>
                  <a:pt x="5602" y="3126"/>
                  <a:pt x="5602" y="3150"/>
                  <a:pt x="5626" y="3126"/>
                </a:cubicBezTo>
                <a:cubicBezTo>
                  <a:pt x="5651" y="3075"/>
                  <a:pt x="5626" y="3050"/>
                  <a:pt x="5602" y="3026"/>
                </a:cubicBezTo>
                <a:cubicBezTo>
                  <a:pt x="5551" y="3001"/>
                  <a:pt x="5602" y="2975"/>
                  <a:pt x="5551" y="2950"/>
                </a:cubicBezTo>
                <a:cubicBezTo>
                  <a:pt x="5526" y="2926"/>
                  <a:pt x="5526" y="2900"/>
                  <a:pt x="5551" y="2900"/>
                </a:cubicBezTo>
                <a:cubicBezTo>
                  <a:pt x="5602" y="2926"/>
                  <a:pt x="5626" y="2900"/>
                  <a:pt x="5651" y="2875"/>
                </a:cubicBezTo>
                <a:cubicBezTo>
                  <a:pt x="5677" y="2850"/>
                  <a:pt x="5602" y="2850"/>
                  <a:pt x="5626" y="2825"/>
                </a:cubicBezTo>
                <a:cubicBezTo>
                  <a:pt x="5677" y="2800"/>
                  <a:pt x="5626" y="2775"/>
                  <a:pt x="5602" y="2775"/>
                </a:cubicBezTo>
                <a:cubicBezTo>
                  <a:pt x="5551" y="2775"/>
                  <a:pt x="5526" y="2750"/>
                  <a:pt x="5526" y="2725"/>
                </a:cubicBezTo>
                <a:cubicBezTo>
                  <a:pt x="5526" y="2701"/>
                  <a:pt x="5451" y="2725"/>
                  <a:pt x="5426" y="2701"/>
                </a:cubicBezTo>
                <a:cubicBezTo>
                  <a:pt x="5377" y="2675"/>
                  <a:pt x="5302" y="2675"/>
                  <a:pt x="5277" y="2675"/>
                </a:cubicBezTo>
                <a:cubicBezTo>
                  <a:pt x="5251" y="2675"/>
                  <a:pt x="5251" y="2775"/>
                  <a:pt x="5277" y="2775"/>
                </a:cubicBezTo>
                <a:cubicBezTo>
                  <a:pt x="5302" y="2775"/>
                  <a:pt x="5326" y="2800"/>
                  <a:pt x="5302" y="2825"/>
                </a:cubicBezTo>
                <a:cubicBezTo>
                  <a:pt x="5277" y="2825"/>
                  <a:pt x="5326" y="2875"/>
                  <a:pt x="5302" y="2850"/>
                </a:cubicBezTo>
                <a:cubicBezTo>
                  <a:pt x="5277" y="2850"/>
                  <a:pt x="5251" y="2850"/>
                  <a:pt x="5226" y="2900"/>
                </a:cubicBezTo>
                <a:cubicBezTo>
                  <a:pt x="5226" y="2950"/>
                  <a:pt x="5226" y="2975"/>
                  <a:pt x="5177" y="3001"/>
                </a:cubicBezTo>
                <a:cubicBezTo>
                  <a:pt x="5151" y="3026"/>
                  <a:pt x="5177" y="2926"/>
                  <a:pt x="5151" y="2950"/>
                </a:cubicBezTo>
                <a:cubicBezTo>
                  <a:pt x="5102" y="2950"/>
                  <a:pt x="5102" y="3001"/>
                  <a:pt x="5126" y="3001"/>
                </a:cubicBezTo>
                <a:cubicBezTo>
                  <a:pt x="5151" y="3026"/>
                  <a:pt x="5151" y="3050"/>
                  <a:pt x="5177" y="3075"/>
                </a:cubicBezTo>
                <a:cubicBezTo>
                  <a:pt x="5177" y="3101"/>
                  <a:pt x="5126" y="3075"/>
                  <a:pt x="5102" y="3126"/>
                </a:cubicBezTo>
                <a:cubicBezTo>
                  <a:pt x="5077" y="3150"/>
                  <a:pt x="5077" y="3101"/>
                  <a:pt x="5051" y="3075"/>
                </a:cubicBezTo>
                <a:cubicBezTo>
                  <a:pt x="5026" y="3050"/>
                  <a:pt x="4977" y="3001"/>
                  <a:pt x="4977" y="2975"/>
                </a:cubicBezTo>
                <a:cubicBezTo>
                  <a:pt x="5001" y="2950"/>
                  <a:pt x="5001" y="2950"/>
                  <a:pt x="5026" y="2926"/>
                </a:cubicBezTo>
                <a:cubicBezTo>
                  <a:pt x="5051" y="2926"/>
                  <a:pt x="5026" y="2900"/>
                  <a:pt x="5026" y="2875"/>
                </a:cubicBezTo>
                <a:cubicBezTo>
                  <a:pt x="5026" y="2825"/>
                  <a:pt x="5001" y="2850"/>
                  <a:pt x="4951" y="2800"/>
                </a:cubicBezTo>
                <a:cubicBezTo>
                  <a:pt x="4926" y="2775"/>
                  <a:pt x="4901" y="2775"/>
                  <a:pt x="4877" y="2775"/>
                </a:cubicBezTo>
                <a:cubicBezTo>
                  <a:pt x="4851" y="2800"/>
                  <a:pt x="4877" y="2850"/>
                  <a:pt x="4851" y="2850"/>
                </a:cubicBezTo>
                <a:cubicBezTo>
                  <a:pt x="4801" y="2875"/>
                  <a:pt x="4826" y="2926"/>
                  <a:pt x="4801" y="2926"/>
                </a:cubicBezTo>
                <a:cubicBezTo>
                  <a:pt x="4777" y="2926"/>
                  <a:pt x="4777" y="2825"/>
                  <a:pt x="4777" y="2825"/>
                </a:cubicBezTo>
                <a:cubicBezTo>
                  <a:pt x="4751" y="2800"/>
                  <a:pt x="4751" y="2775"/>
                  <a:pt x="4777" y="2775"/>
                </a:cubicBezTo>
                <a:cubicBezTo>
                  <a:pt x="4801" y="2775"/>
                  <a:pt x="4826" y="2750"/>
                  <a:pt x="4801" y="2750"/>
                </a:cubicBezTo>
                <a:cubicBezTo>
                  <a:pt x="4777" y="2750"/>
                  <a:pt x="4726" y="2701"/>
                  <a:pt x="4701" y="2701"/>
                </a:cubicBezTo>
                <a:cubicBezTo>
                  <a:pt x="4701" y="2701"/>
                  <a:pt x="4651" y="2725"/>
                  <a:pt x="4626" y="2725"/>
                </a:cubicBezTo>
                <a:cubicBezTo>
                  <a:pt x="4626" y="2701"/>
                  <a:pt x="4651" y="2650"/>
                  <a:pt x="4651" y="2650"/>
                </a:cubicBezTo>
                <a:cubicBezTo>
                  <a:pt x="4651" y="2625"/>
                  <a:pt x="4677" y="2650"/>
                  <a:pt x="4701" y="2625"/>
                </a:cubicBezTo>
                <a:cubicBezTo>
                  <a:pt x="4726" y="2601"/>
                  <a:pt x="4626" y="2601"/>
                  <a:pt x="4626" y="2550"/>
                </a:cubicBezTo>
                <a:cubicBezTo>
                  <a:pt x="4626" y="2525"/>
                  <a:pt x="4577" y="2525"/>
                  <a:pt x="4551" y="2501"/>
                </a:cubicBezTo>
                <a:cubicBezTo>
                  <a:pt x="4526" y="2501"/>
                  <a:pt x="4577" y="2450"/>
                  <a:pt x="4551" y="2425"/>
                </a:cubicBezTo>
                <a:cubicBezTo>
                  <a:pt x="4551" y="2401"/>
                  <a:pt x="4477" y="2325"/>
                  <a:pt x="4426" y="2350"/>
                </a:cubicBezTo>
                <a:cubicBezTo>
                  <a:pt x="4401" y="2350"/>
                  <a:pt x="4401" y="2301"/>
                  <a:pt x="4426" y="2301"/>
                </a:cubicBezTo>
                <a:cubicBezTo>
                  <a:pt x="4426" y="2301"/>
                  <a:pt x="4451" y="2301"/>
                  <a:pt x="4477" y="2250"/>
                </a:cubicBezTo>
                <a:cubicBezTo>
                  <a:pt x="4526" y="2201"/>
                  <a:pt x="4526" y="2201"/>
                  <a:pt x="4501" y="2201"/>
                </a:cubicBezTo>
                <a:cubicBezTo>
                  <a:pt x="4477" y="2175"/>
                  <a:pt x="4451" y="2150"/>
                  <a:pt x="4501" y="2150"/>
                </a:cubicBezTo>
                <a:cubicBezTo>
                  <a:pt x="4551" y="2150"/>
                  <a:pt x="4626" y="2201"/>
                  <a:pt x="4651" y="2175"/>
                </a:cubicBezTo>
                <a:cubicBezTo>
                  <a:pt x="4677" y="2150"/>
                  <a:pt x="4751" y="2025"/>
                  <a:pt x="4777" y="1975"/>
                </a:cubicBezTo>
                <a:cubicBezTo>
                  <a:pt x="4826" y="1950"/>
                  <a:pt x="4751" y="1950"/>
                  <a:pt x="4677" y="1950"/>
                </a:cubicBezTo>
                <a:cubicBezTo>
                  <a:pt x="4601" y="1950"/>
                  <a:pt x="4601" y="1925"/>
                  <a:pt x="4526" y="1901"/>
                </a:cubicBezTo>
                <a:cubicBezTo>
                  <a:pt x="4477" y="1901"/>
                  <a:pt x="4351" y="1925"/>
                  <a:pt x="4326" y="1950"/>
                </a:cubicBezTo>
                <a:cubicBezTo>
                  <a:pt x="4326" y="1950"/>
                  <a:pt x="4377" y="1975"/>
                  <a:pt x="4351" y="2001"/>
                </a:cubicBezTo>
                <a:cubicBezTo>
                  <a:pt x="4351" y="2025"/>
                  <a:pt x="4326" y="1975"/>
                  <a:pt x="4301" y="2001"/>
                </a:cubicBezTo>
                <a:cubicBezTo>
                  <a:pt x="4277" y="2001"/>
                  <a:pt x="4301" y="2025"/>
                  <a:pt x="4301" y="2101"/>
                </a:cubicBezTo>
                <a:cubicBezTo>
                  <a:pt x="4301" y="2175"/>
                  <a:pt x="4326" y="2175"/>
                  <a:pt x="4326" y="2201"/>
                </a:cubicBezTo>
                <a:cubicBezTo>
                  <a:pt x="4351" y="2225"/>
                  <a:pt x="4351" y="2275"/>
                  <a:pt x="4351" y="2325"/>
                </a:cubicBezTo>
                <a:cubicBezTo>
                  <a:pt x="4351" y="2350"/>
                  <a:pt x="4301" y="2350"/>
                  <a:pt x="4301" y="2375"/>
                </a:cubicBezTo>
                <a:cubicBezTo>
                  <a:pt x="4277" y="2375"/>
                  <a:pt x="4326" y="2401"/>
                  <a:pt x="4326" y="2425"/>
                </a:cubicBezTo>
                <a:cubicBezTo>
                  <a:pt x="4326" y="2450"/>
                  <a:pt x="4277" y="2401"/>
                  <a:pt x="4251" y="2425"/>
                </a:cubicBezTo>
                <a:cubicBezTo>
                  <a:pt x="4226" y="2425"/>
                  <a:pt x="4201" y="2501"/>
                  <a:pt x="4226" y="2525"/>
                </a:cubicBezTo>
                <a:cubicBezTo>
                  <a:pt x="4251" y="2550"/>
                  <a:pt x="4277" y="2525"/>
                  <a:pt x="4251" y="2575"/>
                </a:cubicBezTo>
                <a:cubicBezTo>
                  <a:pt x="4226" y="2601"/>
                  <a:pt x="4201" y="2625"/>
                  <a:pt x="4251" y="2675"/>
                </a:cubicBezTo>
                <a:cubicBezTo>
                  <a:pt x="4301" y="2701"/>
                  <a:pt x="4401" y="2701"/>
                  <a:pt x="4451" y="2725"/>
                </a:cubicBezTo>
                <a:cubicBezTo>
                  <a:pt x="4501" y="2775"/>
                  <a:pt x="4426" y="2750"/>
                  <a:pt x="4451" y="2775"/>
                </a:cubicBezTo>
                <a:cubicBezTo>
                  <a:pt x="4451" y="2825"/>
                  <a:pt x="4401" y="2825"/>
                  <a:pt x="4401" y="2850"/>
                </a:cubicBezTo>
                <a:cubicBezTo>
                  <a:pt x="4401" y="2875"/>
                  <a:pt x="4426" y="2875"/>
                  <a:pt x="4451" y="2825"/>
                </a:cubicBezTo>
                <a:cubicBezTo>
                  <a:pt x="4477" y="2775"/>
                  <a:pt x="4501" y="2850"/>
                  <a:pt x="4501" y="2875"/>
                </a:cubicBezTo>
                <a:cubicBezTo>
                  <a:pt x="4501" y="2926"/>
                  <a:pt x="4451" y="2900"/>
                  <a:pt x="4426" y="2926"/>
                </a:cubicBezTo>
                <a:cubicBezTo>
                  <a:pt x="4401" y="2975"/>
                  <a:pt x="4377" y="2975"/>
                  <a:pt x="4351" y="2975"/>
                </a:cubicBezTo>
                <a:cubicBezTo>
                  <a:pt x="4301" y="2975"/>
                  <a:pt x="4326" y="3026"/>
                  <a:pt x="4351" y="3075"/>
                </a:cubicBezTo>
                <a:cubicBezTo>
                  <a:pt x="4351" y="3101"/>
                  <a:pt x="4326" y="3101"/>
                  <a:pt x="4301" y="3101"/>
                </a:cubicBezTo>
                <a:cubicBezTo>
                  <a:pt x="4251" y="3075"/>
                  <a:pt x="4226" y="3050"/>
                  <a:pt x="4251" y="3026"/>
                </a:cubicBezTo>
                <a:cubicBezTo>
                  <a:pt x="4277" y="2975"/>
                  <a:pt x="4277" y="2950"/>
                  <a:pt x="4251" y="2950"/>
                </a:cubicBezTo>
                <a:cubicBezTo>
                  <a:pt x="4226" y="2950"/>
                  <a:pt x="4177" y="2950"/>
                  <a:pt x="4151" y="2926"/>
                </a:cubicBezTo>
                <a:cubicBezTo>
                  <a:pt x="4126" y="2900"/>
                  <a:pt x="4151" y="2900"/>
                  <a:pt x="4226" y="2900"/>
                </a:cubicBezTo>
                <a:cubicBezTo>
                  <a:pt x="4277" y="2926"/>
                  <a:pt x="4226" y="2875"/>
                  <a:pt x="4277" y="2875"/>
                </a:cubicBezTo>
                <a:cubicBezTo>
                  <a:pt x="4301" y="2875"/>
                  <a:pt x="4326" y="2900"/>
                  <a:pt x="4377" y="2850"/>
                </a:cubicBezTo>
                <a:cubicBezTo>
                  <a:pt x="4401" y="2825"/>
                  <a:pt x="4351" y="2775"/>
                  <a:pt x="4326" y="2775"/>
                </a:cubicBezTo>
                <a:cubicBezTo>
                  <a:pt x="4301" y="2800"/>
                  <a:pt x="4251" y="2800"/>
                  <a:pt x="4251" y="2775"/>
                </a:cubicBezTo>
                <a:cubicBezTo>
                  <a:pt x="4251" y="2750"/>
                  <a:pt x="4301" y="2775"/>
                  <a:pt x="4326" y="2750"/>
                </a:cubicBezTo>
                <a:cubicBezTo>
                  <a:pt x="4351" y="2750"/>
                  <a:pt x="4301" y="2725"/>
                  <a:pt x="4277" y="2725"/>
                </a:cubicBezTo>
                <a:cubicBezTo>
                  <a:pt x="4226" y="2725"/>
                  <a:pt x="4201" y="2750"/>
                  <a:pt x="4151" y="2701"/>
                </a:cubicBezTo>
                <a:cubicBezTo>
                  <a:pt x="4126" y="2675"/>
                  <a:pt x="4076" y="2650"/>
                  <a:pt x="4051" y="2725"/>
                </a:cubicBezTo>
                <a:cubicBezTo>
                  <a:pt x="4051" y="2800"/>
                  <a:pt x="3976" y="2775"/>
                  <a:pt x="3951" y="2800"/>
                </a:cubicBezTo>
                <a:cubicBezTo>
                  <a:pt x="3926" y="2825"/>
                  <a:pt x="3976" y="2850"/>
                  <a:pt x="4051" y="2850"/>
                </a:cubicBezTo>
                <a:cubicBezTo>
                  <a:pt x="4101" y="2850"/>
                  <a:pt x="4151" y="2900"/>
                  <a:pt x="4101" y="2900"/>
                </a:cubicBezTo>
                <a:cubicBezTo>
                  <a:pt x="4076" y="2900"/>
                  <a:pt x="4101" y="2926"/>
                  <a:pt x="4076" y="2926"/>
                </a:cubicBezTo>
                <a:cubicBezTo>
                  <a:pt x="4051" y="2900"/>
                  <a:pt x="4001" y="2926"/>
                  <a:pt x="4026" y="2950"/>
                </a:cubicBezTo>
                <a:cubicBezTo>
                  <a:pt x="4051" y="2975"/>
                  <a:pt x="4026" y="2975"/>
                  <a:pt x="4026" y="3001"/>
                </a:cubicBezTo>
                <a:cubicBezTo>
                  <a:pt x="4026" y="3026"/>
                  <a:pt x="3976" y="3001"/>
                  <a:pt x="3926" y="3001"/>
                </a:cubicBezTo>
                <a:cubicBezTo>
                  <a:pt x="3901" y="3001"/>
                  <a:pt x="3801" y="3026"/>
                  <a:pt x="3751" y="3026"/>
                </a:cubicBezTo>
                <a:cubicBezTo>
                  <a:pt x="3701" y="3050"/>
                  <a:pt x="3626" y="3026"/>
                  <a:pt x="3601" y="3001"/>
                </a:cubicBezTo>
                <a:cubicBezTo>
                  <a:pt x="3576" y="2975"/>
                  <a:pt x="3551" y="2975"/>
                  <a:pt x="3501" y="2975"/>
                </a:cubicBezTo>
                <a:cubicBezTo>
                  <a:pt x="3476" y="2975"/>
                  <a:pt x="3476" y="2926"/>
                  <a:pt x="3426" y="2926"/>
                </a:cubicBezTo>
                <a:cubicBezTo>
                  <a:pt x="3376" y="2926"/>
                  <a:pt x="3376" y="2875"/>
                  <a:pt x="3376" y="2850"/>
                </a:cubicBezTo>
                <a:cubicBezTo>
                  <a:pt x="3376" y="2825"/>
                  <a:pt x="3251" y="2825"/>
                  <a:pt x="3226" y="2850"/>
                </a:cubicBezTo>
                <a:cubicBezTo>
                  <a:pt x="3176" y="2875"/>
                  <a:pt x="3101" y="2875"/>
                  <a:pt x="3076" y="2926"/>
                </a:cubicBezTo>
                <a:cubicBezTo>
                  <a:pt x="3051" y="2975"/>
                  <a:pt x="3101" y="2950"/>
                  <a:pt x="3126" y="2950"/>
                </a:cubicBezTo>
                <a:cubicBezTo>
                  <a:pt x="3151" y="2950"/>
                  <a:pt x="3151" y="2926"/>
                  <a:pt x="3201" y="2926"/>
                </a:cubicBezTo>
                <a:cubicBezTo>
                  <a:pt x="3276" y="2926"/>
                  <a:pt x="3301" y="2875"/>
                  <a:pt x="3326" y="2900"/>
                </a:cubicBezTo>
                <a:cubicBezTo>
                  <a:pt x="3351" y="2926"/>
                  <a:pt x="3226" y="2975"/>
                  <a:pt x="3176" y="2975"/>
                </a:cubicBezTo>
                <a:cubicBezTo>
                  <a:pt x="3126" y="2975"/>
                  <a:pt x="3151" y="3026"/>
                  <a:pt x="3201" y="3101"/>
                </a:cubicBezTo>
                <a:cubicBezTo>
                  <a:pt x="3251" y="3175"/>
                  <a:pt x="3176" y="3126"/>
                  <a:pt x="3176" y="3175"/>
                </a:cubicBezTo>
                <a:cubicBezTo>
                  <a:pt x="3176" y="3201"/>
                  <a:pt x="3076" y="3150"/>
                  <a:pt x="3101" y="3150"/>
                </a:cubicBezTo>
                <a:cubicBezTo>
                  <a:pt x="3151" y="3126"/>
                  <a:pt x="3126" y="3101"/>
                  <a:pt x="3101" y="3075"/>
                </a:cubicBezTo>
                <a:cubicBezTo>
                  <a:pt x="3076" y="3050"/>
                  <a:pt x="3051" y="3075"/>
                  <a:pt x="3051" y="3050"/>
                </a:cubicBezTo>
                <a:cubicBezTo>
                  <a:pt x="3051" y="3026"/>
                  <a:pt x="3026" y="3050"/>
                  <a:pt x="3001" y="3026"/>
                </a:cubicBezTo>
                <a:cubicBezTo>
                  <a:pt x="2951" y="3001"/>
                  <a:pt x="2951" y="2975"/>
                  <a:pt x="2901" y="3001"/>
                </a:cubicBezTo>
                <a:cubicBezTo>
                  <a:pt x="2876" y="3026"/>
                  <a:pt x="2826" y="3026"/>
                  <a:pt x="2726" y="3026"/>
                </a:cubicBezTo>
                <a:cubicBezTo>
                  <a:pt x="2651" y="3050"/>
                  <a:pt x="2476" y="3050"/>
                  <a:pt x="2451" y="3026"/>
                </a:cubicBezTo>
                <a:cubicBezTo>
                  <a:pt x="2426" y="2975"/>
                  <a:pt x="2526" y="2926"/>
                  <a:pt x="2576" y="2950"/>
                </a:cubicBezTo>
                <a:cubicBezTo>
                  <a:pt x="2601" y="2950"/>
                  <a:pt x="2576" y="2900"/>
                  <a:pt x="2526" y="2875"/>
                </a:cubicBezTo>
                <a:cubicBezTo>
                  <a:pt x="2476" y="2825"/>
                  <a:pt x="2376" y="2800"/>
                  <a:pt x="2376" y="2825"/>
                </a:cubicBezTo>
                <a:cubicBezTo>
                  <a:pt x="2376" y="2850"/>
                  <a:pt x="2326" y="2825"/>
                  <a:pt x="2250" y="2825"/>
                </a:cubicBezTo>
                <a:cubicBezTo>
                  <a:pt x="2150" y="2800"/>
                  <a:pt x="2150" y="2775"/>
                  <a:pt x="2101" y="2775"/>
                </a:cubicBezTo>
                <a:cubicBezTo>
                  <a:pt x="2050" y="2775"/>
                  <a:pt x="1976" y="2750"/>
                  <a:pt x="1926" y="2725"/>
                </a:cubicBezTo>
                <a:cubicBezTo>
                  <a:pt x="1850" y="2675"/>
                  <a:pt x="1726" y="2675"/>
                  <a:pt x="1701" y="2725"/>
                </a:cubicBezTo>
                <a:cubicBezTo>
                  <a:pt x="1701" y="2775"/>
                  <a:pt x="1650" y="2750"/>
                  <a:pt x="1601" y="2750"/>
                </a:cubicBezTo>
                <a:cubicBezTo>
                  <a:pt x="1550" y="2750"/>
                  <a:pt x="1626" y="2701"/>
                  <a:pt x="1601" y="2701"/>
                </a:cubicBezTo>
                <a:cubicBezTo>
                  <a:pt x="1576" y="2701"/>
                  <a:pt x="1601" y="2625"/>
                  <a:pt x="1576" y="2625"/>
                </a:cubicBezTo>
                <a:cubicBezTo>
                  <a:pt x="1526" y="2625"/>
                  <a:pt x="1501" y="2775"/>
                  <a:pt x="1450" y="2750"/>
                </a:cubicBezTo>
                <a:cubicBezTo>
                  <a:pt x="1376" y="2750"/>
                  <a:pt x="1350" y="2601"/>
                  <a:pt x="1301" y="2575"/>
                </a:cubicBezTo>
                <a:cubicBezTo>
                  <a:pt x="1250" y="2525"/>
                  <a:pt x="1201" y="2525"/>
                  <a:pt x="1250" y="2601"/>
                </a:cubicBezTo>
                <a:cubicBezTo>
                  <a:pt x="1301" y="2650"/>
                  <a:pt x="1201" y="2601"/>
                  <a:pt x="1201" y="2650"/>
                </a:cubicBezTo>
                <a:cubicBezTo>
                  <a:pt x="1225" y="2675"/>
                  <a:pt x="1150" y="2725"/>
                  <a:pt x="1150" y="2701"/>
                </a:cubicBezTo>
                <a:cubicBezTo>
                  <a:pt x="1150" y="2675"/>
                  <a:pt x="1101" y="2650"/>
                  <a:pt x="1050" y="2725"/>
                </a:cubicBezTo>
                <a:cubicBezTo>
                  <a:pt x="1001" y="2775"/>
                  <a:pt x="976" y="2775"/>
                  <a:pt x="950" y="2750"/>
                </a:cubicBezTo>
                <a:cubicBezTo>
                  <a:pt x="950" y="2725"/>
                  <a:pt x="801" y="2800"/>
                  <a:pt x="825" y="2825"/>
                </a:cubicBezTo>
                <a:cubicBezTo>
                  <a:pt x="825" y="2850"/>
                  <a:pt x="801" y="2875"/>
                  <a:pt x="750" y="2875"/>
                </a:cubicBezTo>
                <a:cubicBezTo>
                  <a:pt x="725" y="2875"/>
                  <a:pt x="750" y="2825"/>
                  <a:pt x="776" y="2825"/>
                </a:cubicBezTo>
                <a:cubicBezTo>
                  <a:pt x="801" y="2800"/>
                  <a:pt x="901" y="2725"/>
                  <a:pt x="950" y="2725"/>
                </a:cubicBezTo>
                <a:cubicBezTo>
                  <a:pt x="1001" y="2701"/>
                  <a:pt x="1101" y="2675"/>
                  <a:pt x="1101" y="2650"/>
                </a:cubicBezTo>
                <a:cubicBezTo>
                  <a:pt x="1101" y="2625"/>
                  <a:pt x="1050" y="2650"/>
                  <a:pt x="1025" y="2625"/>
                </a:cubicBezTo>
                <a:cubicBezTo>
                  <a:pt x="1001" y="2625"/>
                  <a:pt x="925" y="2675"/>
                  <a:pt x="876" y="2701"/>
                </a:cubicBezTo>
                <a:cubicBezTo>
                  <a:pt x="825" y="2725"/>
                  <a:pt x="750" y="2701"/>
                  <a:pt x="776" y="2750"/>
                </a:cubicBezTo>
                <a:cubicBezTo>
                  <a:pt x="801" y="2775"/>
                  <a:pt x="725" y="2725"/>
                  <a:pt x="701" y="2750"/>
                </a:cubicBezTo>
                <a:cubicBezTo>
                  <a:pt x="701" y="2775"/>
                  <a:pt x="676" y="2750"/>
                  <a:pt x="676" y="2750"/>
                </a:cubicBezTo>
                <a:cubicBezTo>
                  <a:pt x="701" y="2725"/>
                  <a:pt x="625" y="2701"/>
                  <a:pt x="625" y="2725"/>
                </a:cubicBezTo>
                <a:cubicBezTo>
                  <a:pt x="625" y="2725"/>
                  <a:pt x="625" y="2750"/>
                  <a:pt x="576" y="2750"/>
                </a:cubicBezTo>
                <a:cubicBezTo>
                  <a:pt x="525" y="2750"/>
                  <a:pt x="476" y="2800"/>
                  <a:pt x="500" y="2825"/>
                </a:cubicBezTo>
                <a:cubicBezTo>
                  <a:pt x="550" y="2850"/>
                  <a:pt x="550" y="2850"/>
                  <a:pt x="550" y="2875"/>
                </a:cubicBezTo>
                <a:cubicBezTo>
                  <a:pt x="525" y="2875"/>
                  <a:pt x="476" y="2825"/>
                  <a:pt x="400" y="2825"/>
                </a:cubicBezTo>
                <a:cubicBezTo>
                  <a:pt x="325" y="2850"/>
                  <a:pt x="176" y="2750"/>
                  <a:pt x="176" y="2725"/>
                </a:cubicBezTo>
                <a:cubicBezTo>
                  <a:pt x="176" y="2701"/>
                  <a:pt x="76" y="2725"/>
                  <a:pt x="0" y="2725"/>
                </a:cubicBezTo>
                <a:cubicBezTo>
                  <a:pt x="0" y="4151"/>
                  <a:pt x="0" y="4151"/>
                  <a:pt x="0" y="4151"/>
                </a:cubicBezTo>
                <a:lnTo>
                  <a:pt x="50" y="4175"/>
                </a:lnTo>
                <a:cubicBezTo>
                  <a:pt x="76" y="4151"/>
                  <a:pt x="100" y="4175"/>
                  <a:pt x="150" y="4151"/>
                </a:cubicBezTo>
                <a:cubicBezTo>
                  <a:pt x="200" y="4126"/>
                  <a:pt x="200" y="4175"/>
                  <a:pt x="200" y="4200"/>
                </a:cubicBezTo>
                <a:cubicBezTo>
                  <a:pt x="200" y="4226"/>
                  <a:pt x="276" y="4251"/>
                  <a:pt x="300" y="4301"/>
                </a:cubicBezTo>
                <a:cubicBezTo>
                  <a:pt x="325" y="4326"/>
                  <a:pt x="350" y="4351"/>
                  <a:pt x="376" y="4351"/>
                </a:cubicBezTo>
                <a:cubicBezTo>
                  <a:pt x="400" y="4326"/>
                  <a:pt x="450" y="4301"/>
                  <a:pt x="450" y="4275"/>
                </a:cubicBezTo>
                <a:cubicBezTo>
                  <a:pt x="450" y="4226"/>
                  <a:pt x="601" y="4226"/>
                  <a:pt x="601" y="4275"/>
                </a:cubicBezTo>
                <a:cubicBezTo>
                  <a:pt x="601" y="4326"/>
                  <a:pt x="725" y="4375"/>
                  <a:pt x="801" y="4501"/>
                </a:cubicBezTo>
                <a:cubicBezTo>
                  <a:pt x="876" y="4626"/>
                  <a:pt x="850" y="4675"/>
                  <a:pt x="950" y="4701"/>
                </a:cubicBezTo>
                <a:cubicBezTo>
                  <a:pt x="1076" y="4751"/>
                  <a:pt x="1050" y="4775"/>
                  <a:pt x="1050" y="4801"/>
                </a:cubicBezTo>
                <a:cubicBezTo>
                  <a:pt x="1025" y="4851"/>
                  <a:pt x="1101" y="4851"/>
                  <a:pt x="1076" y="4901"/>
                </a:cubicBezTo>
                <a:cubicBezTo>
                  <a:pt x="1050" y="4901"/>
                  <a:pt x="1025" y="4926"/>
                  <a:pt x="1001" y="4926"/>
                </a:cubicBezTo>
                <a:cubicBezTo>
                  <a:pt x="1001" y="4951"/>
                  <a:pt x="1025" y="4975"/>
                  <a:pt x="1050" y="4975"/>
                </a:cubicBezTo>
                <a:cubicBezTo>
                  <a:pt x="1076" y="5001"/>
                  <a:pt x="1001" y="5001"/>
                  <a:pt x="1025" y="5026"/>
                </a:cubicBezTo>
                <a:cubicBezTo>
                  <a:pt x="1050" y="5051"/>
                  <a:pt x="1025" y="5075"/>
                  <a:pt x="1025" y="5101"/>
                </a:cubicBezTo>
                <a:cubicBezTo>
                  <a:pt x="1050" y="5126"/>
                  <a:pt x="1101" y="5101"/>
                  <a:pt x="1125" y="5101"/>
                </a:cubicBezTo>
                <a:cubicBezTo>
                  <a:pt x="1150" y="5075"/>
                  <a:pt x="1150" y="5126"/>
                  <a:pt x="1125" y="5151"/>
                </a:cubicBezTo>
                <a:cubicBezTo>
                  <a:pt x="1125" y="5175"/>
                  <a:pt x="1150" y="5201"/>
                  <a:pt x="1176" y="5175"/>
                </a:cubicBezTo>
                <a:cubicBezTo>
                  <a:pt x="1201" y="5151"/>
                  <a:pt x="1225" y="5226"/>
                  <a:pt x="1250" y="5226"/>
                </a:cubicBezTo>
                <a:cubicBezTo>
                  <a:pt x="1276" y="5226"/>
                  <a:pt x="1301" y="5275"/>
                  <a:pt x="1250" y="5275"/>
                </a:cubicBezTo>
                <a:cubicBezTo>
                  <a:pt x="1225" y="5275"/>
                  <a:pt x="1225" y="5326"/>
                  <a:pt x="1250" y="5326"/>
                </a:cubicBezTo>
                <a:cubicBezTo>
                  <a:pt x="1276" y="5326"/>
                  <a:pt x="1276" y="5351"/>
                  <a:pt x="1276" y="5376"/>
                </a:cubicBezTo>
                <a:cubicBezTo>
                  <a:pt x="1276" y="5401"/>
                  <a:pt x="1350" y="5426"/>
                  <a:pt x="1376" y="5401"/>
                </a:cubicBezTo>
                <a:cubicBezTo>
                  <a:pt x="1401" y="5401"/>
                  <a:pt x="1425" y="5426"/>
                  <a:pt x="1450" y="5451"/>
                </a:cubicBezTo>
                <a:cubicBezTo>
                  <a:pt x="1450" y="5476"/>
                  <a:pt x="1501" y="5500"/>
                  <a:pt x="1526" y="5476"/>
                </a:cubicBezTo>
                <a:cubicBezTo>
                  <a:pt x="1550" y="5451"/>
                  <a:pt x="1550" y="5500"/>
                  <a:pt x="1550" y="5526"/>
                </a:cubicBezTo>
                <a:cubicBezTo>
                  <a:pt x="1550" y="5551"/>
                  <a:pt x="1601" y="5551"/>
                  <a:pt x="1626" y="5551"/>
                </a:cubicBezTo>
                <a:cubicBezTo>
                  <a:pt x="1650" y="5551"/>
                  <a:pt x="1676" y="5576"/>
                  <a:pt x="1676" y="5576"/>
                </a:cubicBezTo>
                <a:cubicBezTo>
                  <a:pt x="1726" y="5551"/>
                  <a:pt x="1726" y="5626"/>
                  <a:pt x="1750" y="5651"/>
                </a:cubicBezTo>
                <a:cubicBezTo>
                  <a:pt x="4351" y="5651"/>
                  <a:pt x="4351" y="5651"/>
                  <a:pt x="4351" y="5651"/>
                </a:cubicBezTo>
                <a:cubicBezTo>
                  <a:pt x="4351" y="5651"/>
                  <a:pt x="4351" y="5576"/>
                  <a:pt x="4377" y="5600"/>
                </a:cubicBezTo>
                <a:cubicBezTo>
                  <a:pt x="4401" y="5626"/>
                  <a:pt x="4377" y="5651"/>
                  <a:pt x="4426" y="5676"/>
                </a:cubicBezTo>
                <a:cubicBezTo>
                  <a:pt x="4451" y="5676"/>
                  <a:pt x="4477" y="5701"/>
                  <a:pt x="4501" y="5701"/>
                </a:cubicBezTo>
                <a:cubicBezTo>
                  <a:pt x="4526" y="5701"/>
                  <a:pt x="4551" y="5676"/>
                  <a:pt x="4577" y="5701"/>
                </a:cubicBezTo>
                <a:cubicBezTo>
                  <a:pt x="4626" y="5751"/>
                  <a:pt x="4651" y="5701"/>
                  <a:pt x="4651" y="5726"/>
                </a:cubicBezTo>
                <a:cubicBezTo>
                  <a:pt x="4677" y="5751"/>
                  <a:pt x="4726" y="5776"/>
                  <a:pt x="4751" y="5751"/>
                </a:cubicBezTo>
                <a:cubicBezTo>
                  <a:pt x="4751" y="5726"/>
                  <a:pt x="4851" y="5751"/>
                  <a:pt x="4877" y="5776"/>
                </a:cubicBezTo>
                <a:cubicBezTo>
                  <a:pt x="4926" y="5726"/>
                  <a:pt x="4951" y="5651"/>
                  <a:pt x="5001" y="5651"/>
                </a:cubicBezTo>
                <a:cubicBezTo>
                  <a:pt x="5051" y="5651"/>
                  <a:pt x="5202" y="5676"/>
                  <a:pt x="5202" y="5726"/>
                </a:cubicBezTo>
                <a:cubicBezTo>
                  <a:pt x="5202" y="5801"/>
                  <a:pt x="5302" y="5751"/>
                  <a:pt x="5302" y="5801"/>
                </a:cubicBezTo>
                <a:cubicBezTo>
                  <a:pt x="5302" y="5851"/>
                  <a:pt x="5351" y="5901"/>
                  <a:pt x="5351" y="5926"/>
                </a:cubicBezTo>
                <a:cubicBezTo>
                  <a:pt x="5377" y="5951"/>
                  <a:pt x="5402" y="5951"/>
                  <a:pt x="5402" y="5976"/>
                </a:cubicBezTo>
                <a:cubicBezTo>
                  <a:pt x="5426" y="5976"/>
                  <a:pt x="5502" y="5976"/>
                  <a:pt x="5551" y="6001"/>
                </a:cubicBezTo>
                <a:cubicBezTo>
                  <a:pt x="5602" y="6026"/>
                  <a:pt x="5702" y="5976"/>
                  <a:pt x="5726" y="6051"/>
                </a:cubicBezTo>
                <a:cubicBezTo>
                  <a:pt x="5751" y="6101"/>
                  <a:pt x="5826" y="6151"/>
                  <a:pt x="5751" y="6176"/>
                </a:cubicBezTo>
                <a:cubicBezTo>
                  <a:pt x="5702" y="6176"/>
                  <a:pt x="5626" y="6101"/>
                  <a:pt x="5626" y="6151"/>
                </a:cubicBezTo>
                <a:cubicBezTo>
                  <a:pt x="5651" y="6176"/>
                  <a:pt x="5602" y="6151"/>
                  <a:pt x="5602" y="6226"/>
                </a:cubicBezTo>
                <a:cubicBezTo>
                  <a:pt x="5602" y="6276"/>
                  <a:pt x="5577" y="6376"/>
                  <a:pt x="5551" y="6376"/>
                </a:cubicBezTo>
                <a:lnTo>
                  <a:pt x="5551" y="6376"/>
                </a:lnTo>
                <a:cubicBezTo>
                  <a:pt x="5526" y="6401"/>
                  <a:pt x="5526" y="6426"/>
                  <a:pt x="5551" y="6451"/>
                </a:cubicBezTo>
                <a:cubicBezTo>
                  <a:pt x="5577" y="6426"/>
                  <a:pt x="5626" y="6376"/>
                  <a:pt x="5677" y="6376"/>
                </a:cubicBezTo>
                <a:cubicBezTo>
                  <a:pt x="5726" y="6376"/>
                  <a:pt x="5751" y="6426"/>
                  <a:pt x="5802" y="6401"/>
                </a:cubicBezTo>
                <a:cubicBezTo>
                  <a:pt x="5826" y="6376"/>
                  <a:pt x="5851" y="6351"/>
                  <a:pt x="5851" y="6376"/>
                </a:cubicBezTo>
                <a:lnTo>
                  <a:pt x="5851" y="6376"/>
                </a:lnTo>
                <a:cubicBezTo>
                  <a:pt x="5877" y="6376"/>
                  <a:pt x="5877" y="6376"/>
                  <a:pt x="5877" y="6351"/>
                </a:cubicBezTo>
                <a:lnTo>
                  <a:pt x="5877" y="6326"/>
                </a:lnTo>
                <a:cubicBezTo>
                  <a:pt x="5826" y="6326"/>
                  <a:pt x="5826" y="6326"/>
                  <a:pt x="5802" y="6301"/>
                </a:cubicBezTo>
                <a:cubicBezTo>
                  <a:pt x="5777" y="6251"/>
                  <a:pt x="5926" y="6226"/>
                  <a:pt x="6002" y="6226"/>
                </a:cubicBezTo>
                <a:cubicBezTo>
                  <a:pt x="6051" y="6226"/>
                  <a:pt x="6102" y="6201"/>
                  <a:pt x="6127" y="6226"/>
                </a:cubicBezTo>
                <a:cubicBezTo>
                  <a:pt x="6177" y="6176"/>
                  <a:pt x="6227" y="6126"/>
                  <a:pt x="6251" y="6126"/>
                </a:cubicBezTo>
                <a:cubicBezTo>
                  <a:pt x="6277" y="6126"/>
                  <a:pt x="6577" y="6126"/>
                  <a:pt x="6577" y="6126"/>
                </a:cubicBezTo>
                <a:cubicBezTo>
                  <a:pt x="6577" y="6126"/>
                  <a:pt x="6677" y="6051"/>
                  <a:pt x="6702" y="6001"/>
                </a:cubicBezTo>
                <a:cubicBezTo>
                  <a:pt x="6702" y="5951"/>
                  <a:pt x="6777" y="5801"/>
                  <a:pt x="6802" y="5826"/>
                </a:cubicBezTo>
                <a:cubicBezTo>
                  <a:pt x="6852" y="5851"/>
                  <a:pt x="6927" y="5851"/>
                  <a:pt x="6927" y="5876"/>
                </a:cubicBezTo>
                <a:cubicBezTo>
                  <a:pt x="6927" y="5901"/>
                  <a:pt x="6902" y="5976"/>
                  <a:pt x="7027" y="6126"/>
                </a:cubicBezTo>
                <a:cubicBezTo>
                  <a:pt x="7052" y="6101"/>
                  <a:pt x="7102" y="6076"/>
                  <a:pt x="7102" y="6076"/>
                </a:cubicBezTo>
                <a:cubicBezTo>
                  <a:pt x="7152" y="6101"/>
                  <a:pt x="7202" y="6051"/>
                  <a:pt x="7227" y="6001"/>
                </a:cubicBezTo>
                <a:cubicBezTo>
                  <a:pt x="7252" y="5976"/>
                  <a:pt x="7252" y="6026"/>
                  <a:pt x="7227" y="6051"/>
                </a:cubicBezTo>
                <a:cubicBezTo>
                  <a:pt x="7202" y="6051"/>
                  <a:pt x="7252" y="6076"/>
                  <a:pt x="7327" y="6076"/>
                </a:cubicBezTo>
                <a:cubicBezTo>
                  <a:pt x="7377" y="6076"/>
                  <a:pt x="7277" y="6101"/>
                  <a:pt x="7252" y="6101"/>
                </a:cubicBezTo>
                <a:cubicBezTo>
                  <a:pt x="7202" y="6101"/>
                  <a:pt x="7177" y="6101"/>
                  <a:pt x="7127" y="6151"/>
                </a:cubicBezTo>
                <a:cubicBezTo>
                  <a:pt x="7077" y="6226"/>
                  <a:pt x="7077" y="6226"/>
                  <a:pt x="7102" y="6276"/>
                </a:cubicBezTo>
                <a:cubicBezTo>
                  <a:pt x="7152" y="6301"/>
                  <a:pt x="7202" y="6276"/>
                  <a:pt x="7227" y="6251"/>
                </a:cubicBezTo>
                <a:cubicBezTo>
                  <a:pt x="7277" y="6201"/>
                  <a:pt x="7277" y="6176"/>
                  <a:pt x="7327" y="6176"/>
                </a:cubicBezTo>
                <a:cubicBezTo>
                  <a:pt x="7377" y="6176"/>
                  <a:pt x="7502" y="6126"/>
                  <a:pt x="7552" y="6101"/>
                </a:cubicBezTo>
                <a:cubicBezTo>
                  <a:pt x="7602" y="6101"/>
                  <a:pt x="7552" y="6076"/>
                  <a:pt x="7552" y="6051"/>
                </a:cubicBezTo>
                <a:cubicBezTo>
                  <a:pt x="7552" y="6026"/>
                  <a:pt x="7652" y="6026"/>
                  <a:pt x="7677" y="6026"/>
                </a:cubicBezTo>
                <a:cubicBezTo>
                  <a:pt x="7727" y="6001"/>
                  <a:pt x="7677" y="5976"/>
                  <a:pt x="7652" y="5976"/>
                </a:cubicBezTo>
                <a:close/>
                <a:moveTo>
                  <a:pt x="2226" y="3275"/>
                </a:moveTo>
                <a:lnTo>
                  <a:pt x="2226" y="3275"/>
                </a:lnTo>
                <a:cubicBezTo>
                  <a:pt x="2176" y="3350"/>
                  <a:pt x="2150" y="3350"/>
                  <a:pt x="2101" y="3350"/>
                </a:cubicBezTo>
                <a:cubicBezTo>
                  <a:pt x="2050" y="3326"/>
                  <a:pt x="2001" y="3350"/>
                  <a:pt x="2026" y="3375"/>
                </a:cubicBezTo>
                <a:cubicBezTo>
                  <a:pt x="2076" y="3401"/>
                  <a:pt x="2076" y="3426"/>
                  <a:pt x="2001" y="3426"/>
                </a:cubicBezTo>
                <a:cubicBezTo>
                  <a:pt x="1950" y="3450"/>
                  <a:pt x="1901" y="3501"/>
                  <a:pt x="1876" y="3475"/>
                </a:cubicBezTo>
                <a:cubicBezTo>
                  <a:pt x="1876" y="3475"/>
                  <a:pt x="1976" y="3401"/>
                  <a:pt x="1950" y="3375"/>
                </a:cubicBezTo>
                <a:cubicBezTo>
                  <a:pt x="1926" y="3350"/>
                  <a:pt x="1850" y="3401"/>
                  <a:pt x="1850" y="3426"/>
                </a:cubicBezTo>
                <a:cubicBezTo>
                  <a:pt x="1850" y="3475"/>
                  <a:pt x="1801" y="3475"/>
                  <a:pt x="1750" y="3475"/>
                </a:cubicBezTo>
                <a:cubicBezTo>
                  <a:pt x="1726" y="3450"/>
                  <a:pt x="1676" y="3426"/>
                  <a:pt x="1726" y="3426"/>
                </a:cubicBezTo>
                <a:cubicBezTo>
                  <a:pt x="1750" y="3426"/>
                  <a:pt x="1726" y="3401"/>
                  <a:pt x="1776" y="3375"/>
                </a:cubicBezTo>
                <a:cubicBezTo>
                  <a:pt x="1826" y="3350"/>
                  <a:pt x="1776" y="3326"/>
                  <a:pt x="1776" y="3326"/>
                </a:cubicBezTo>
                <a:cubicBezTo>
                  <a:pt x="1801" y="3301"/>
                  <a:pt x="1876" y="3326"/>
                  <a:pt x="1876" y="3301"/>
                </a:cubicBezTo>
                <a:cubicBezTo>
                  <a:pt x="1876" y="3275"/>
                  <a:pt x="1801" y="3250"/>
                  <a:pt x="1750" y="3250"/>
                </a:cubicBezTo>
                <a:cubicBezTo>
                  <a:pt x="1726" y="3275"/>
                  <a:pt x="1650" y="3326"/>
                  <a:pt x="1576" y="3301"/>
                </a:cubicBezTo>
                <a:cubicBezTo>
                  <a:pt x="1550" y="3275"/>
                  <a:pt x="1801" y="3250"/>
                  <a:pt x="1826" y="3226"/>
                </a:cubicBezTo>
                <a:cubicBezTo>
                  <a:pt x="1876" y="3175"/>
                  <a:pt x="2050" y="3126"/>
                  <a:pt x="2050" y="3175"/>
                </a:cubicBezTo>
                <a:cubicBezTo>
                  <a:pt x="2076" y="3201"/>
                  <a:pt x="1976" y="3226"/>
                  <a:pt x="2026" y="3250"/>
                </a:cubicBezTo>
                <a:cubicBezTo>
                  <a:pt x="2076" y="3275"/>
                  <a:pt x="2150" y="3275"/>
                  <a:pt x="2176" y="3226"/>
                </a:cubicBezTo>
                <a:cubicBezTo>
                  <a:pt x="2201" y="3201"/>
                  <a:pt x="2276" y="3201"/>
                  <a:pt x="2226" y="3275"/>
                </a:cubicBezTo>
                <a:close/>
                <a:moveTo>
                  <a:pt x="2751" y="3950"/>
                </a:moveTo>
                <a:lnTo>
                  <a:pt x="2751" y="3950"/>
                </a:lnTo>
                <a:cubicBezTo>
                  <a:pt x="2701" y="4001"/>
                  <a:pt x="2701" y="3975"/>
                  <a:pt x="2651" y="4001"/>
                </a:cubicBezTo>
                <a:cubicBezTo>
                  <a:pt x="2576" y="4001"/>
                  <a:pt x="2626" y="4050"/>
                  <a:pt x="2551" y="4075"/>
                </a:cubicBezTo>
                <a:cubicBezTo>
                  <a:pt x="2501" y="4075"/>
                  <a:pt x="2326" y="4075"/>
                  <a:pt x="2301" y="4050"/>
                </a:cubicBezTo>
                <a:cubicBezTo>
                  <a:pt x="2301" y="4026"/>
                  <a:pt x="2401" y="4026"/>
                  <a:pt x="2401" y="4001"/>
                </a:cubicBezTo>
                <a:cubicBezTo>
                  <a:pt x="2401" y="3975"/>
                  <a:pt x="2426" y="3926"/>
                  <a:pt x="2476" y="3926"/>
                </a:cubicBezTo>
                <a:cubicBezTo>
                  <a:pt x="2526" y="3926"/>
                  <a:pt x="2501" y="3875"/>
                  <a:pt x="2451" y="3850"/>
                </a:cubicBezTo>
                <a:cubicBezTo>
                  <a:pt x="2376" y="3826"/>
                  <a:pt x="2551" y="3801"/>
                  <a:pt x="2576" y="3850"/>
                </a:cubicBezTo>
                <a:cubicBezTo>
                  <a:pt x="2626" y="3901"/>
                  <a:pt x="2676" y="3926"/>
                  <a:pt x="2726" y="3901"/>
                </a:cubicBezTo>
                <a:cubicBezTo>
                  <a:pt x="2751" y="3850"/>
                  <a:pt x="2976" y="3750"/>
                  <a:pt x="2976" y="3801"/>
                </a:cubicBezTo>
                <a:cubicBezTo>
                  <a:pt x="2976" y="3850"/>
                  <a:pt x="2826" y="3901"/>
                  <a:pt x="2751" y="3950"/>
                </a:cubicBezTo>
                <a:close/>
                <a:moveTo>
                  <a:pt x="4201" y="5451"/>
                </a:moveTo>
                <a:lnTo>
                  <a:pt x="4201" y="5451"/>
                </a:lnTo>
                <a:cubicBezTo>
                  <a:pt x="4151" y="5476"/>
                  <a:pt x="4201" y="5351"/>
                  <a:pt x="4126" y="5301"/>
                </a:cubicBezTo>
                <a:cubicBezTo>
                  <a:pt x="4026" y="5251"/>
                  <a:pt x="3976" y="5151"/>
                  <a:pt x="3976" y="5075"/>
                </a:cubicBezTo>
                <a:cubicBezTo>
                  <a:pt x="3976" y="5026"/>
                  <a:pt x="4076" y="5001"/>
                  <a:pt x="4101" y="5051"/>
                </a:cubicBezTo>
                <a:cubicBezTo>
                  <a:pt x="4126" y="5101"/>
                  <a:pt x="4177" y="5251"/>
                  <a:pt x="4201" y="5326"/>
                </a:cubicBezTo>
                <a:cubicBezTo>
                  <a:pt x="4251" y="5376"/>
                  <a:pt x="4251" y="5451"/>
                  <a:pt x="4201" y="5451"/>
                </a:cubicBezTo>
                <a:close/>
              </a:path>
            </a:pathLst>
          </a:custGeom>
          <a:solidFill>
            <a:schemeClr val="accent3">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18" name="Freeform 242">
            <a:extLst>
              <a:ext uri="{FF2B5EF4-FFF2-40B4-BE49-F238E27FC236}">
                <a16:creationId xmlns:a16="http://schemas.microsoft.com/office/drawing/2014/main" id="{5D06A966-5624-AF41-84E7-92308B828270}"/>
              </a:ext>
            </a:extLst>
          </p:cNvPr>
          <p:cNvSpPr>
            <a:spLocks noChangeArrowheads="1"/>
          </p:cNvSpPr>
          <p:nvPr/>
        </p:nvSpPr>
        <p:spPr bwMode="auto">
          <a:xfrm>
            <a:off x="693223" y="2196799"/>
            <a:ext cx="3054356" cy="2072800"/>
          </a:xfrm>
          <a:custGeom>
            <a:avLst/>
            <a:gdLst>
              <a:gd name="T0" fmla="*/ 3001 w 9579"/>
              <a:gd name="T1" fmla="*/ 1850 h 6502"/>
              <a:gd name="T2" fmla="*/ 2551 w 9579"/>
              <a:gd name="T3" fmla="*/ 1726 h 6502"/>
              <a:gd name="T4" fmla="*/ 1801 w 9579"/>
              <a:gd name="T5" fmla="*/ 150 h 6502"/>
              <a:gd name="T6" fmla="*/ 1201 w 9579"/>
              <a:gd name="T7" fmla="*/ 76 h 6502"/>
              <a:gd name="T8" fmla="*/ 776 w 9579"/>
              <a:gd name="T9" fmla="*/ 125 h 6502"/>
              <a:gd name="T10" fmla="*/ 200 w 9579"/>
              <a:gd name="T11" fmla="*/ 425 h 6502"/>
              <a:gd name="T12" fmla="*/ 726 w 9579"/>
              <a:gd name="T13" fmla="*/ 825 h 6502"/>
              <a:gd name="T14" fmla="*/ 226 w 9579"/>
              <a:gd name="T15" fmla="*/ 876 h 6502"/>
              <a:gd name="T16" fmla="*/ 426 w 9579"/>
              <a:gd name="T17" fmla="*/ 1125 h 6502"/>
              <a:gd name="T18" fmla="*/ 476 w 9579"/>
              <a:gd name="T19" fmla="*/ 1350 h 6502"/>
              <a:gd name="T20" fmla="*/ 276 w 9579"/>
              <a:gd name="T21" fmla="*/ 1701 h 6502"/>
              <a:gd name="T22" fmla="*/ 676 w 9579"/>
              <a:gd name="T23" fmla="*/ 1950 h 6502"/>
              <a:gd name="T24" fmla="*/ 976 w 9579"/>
              <a:gd name="T25" fmla="*/ 2150 h 6502"/>
              <a:gd name="T26" fmla="*/ 626 w 9579"/>
              <a:gd name="T27" fmla="*/ 2426 h 6502"/>
              <a:gd name="T28" fmla="*/ 1126 w 9579"/>
              <a:gd name="T29" fmla="*/ 2150 h 6502"/>
              <a:gd name="T30" fmla="*/ 1376 w 9579"/>
              <a:gd name="T31" fmla="*/ 1826 h 6502"/>
              <a:gd name="T32" fmla="*/ 1701 w 9579"/>
              <a:gd name="T33" fmla="*/ 1650 h 6502"/>
              <a:gd name="T34" fmla="*/ 1751 w 9579"/>
              <a:gd name="T35" fmla="*/ 1801 h 6502"/>
              <a:gd name="T36" fmla="*/ 2001 w 9579"/>
              <a:gd name="T37" fmla="*/ 1676 h 6502"/>
              <a:gd name="T38" fmla="*/ 2201 w 9579"/>
              <a:gd name="T39" fmla="*/ 1750 h 6502"/>
              <a:gd name="T40" fmla="*/ 2727 w 9579"/>
              <a:gd name="T41" fmla="*/ 1876 h 6502"/>
              <a:gd name="T42" fmla="*/ 3127 w 9579"/>
              <a:gd name="T43" fmla="*/ 1950 h 6502"/>
              <a:gd name="T44" fmla="*/ 3152 w 9579"/>
              <a:gd name="T45" fmla="*/ 2276 h 6502"/>
              <a:gd name="T46" fmla="*/ 3276 w 9579"/>
              <a:gd name="T47" fmla="*/ 2126 h 6502"/>
              <a:gd name="T48" fmla="*/ 3376 w 9579"/>
              <a:gd name="T49" fmla="*/ 2326 h 6502"/>
              <a:gd name="T50" fmla="*/ 3301 w 9579"/>
              <a:gd name="T51" fmla="*/ 2401 h 6502"/>
              <a:gd name="T52" fmla="*/ 3501 w 9579"/>
              <a:gd name="T53" fmla="*/ 2426 h 6502"/>
              <a:gd name="T54" fmla="*/ 76 w 9579"/>
              <a:gd name="T55" fmla="*/ 2676 h 6502"/>
              <a:gd name="T56" fmla="*/ 300 w 9579"/>
              <a:gd name="T57" fmla="*/ 2550 h 6502"/>
              <a:gd name="T58" fmla="*/ 1326 w 9579"/>
              <a:gd name="T59" fmla="*/ 2126 h 6502"/>
              <a:gd name="T60" fmla="*/ 1501 w 9579"/>
              <a:gd name="T61" fmla="*/ 2050 h 6502"/>
              <a:gd name="T62" fmla="*/ 226 w 9579"/>
              <a:gd name="T63" fmla="*/ 1750 h 6502"/>
              <a:gd name="T64" fmla="*/ 1176 w 9579"/>
              <a:gd name="T65" fmla="*/ 6350 h 6502"/>
              <a:gd name="T66" fmla="*/ 776 w 9579"/>
              <a:gd name="T67" fmla="*/ 6176 h 6502"/>
              <a:gd name="T68" fmla="*/ 926 w 9579"/>
              <a:gd name="T69" fmla="*/ 6225 h 6502"/>
              <a:gd name="T70" fmla="*/ 8802 w 9579"/>
              <a:gd name="T71" fmla="*/ 3701 h 6502"/>
              <a:gd name="T72" fmla="*/ 8402 w 9579"/>
              <a:gd name="T73" fmla="*/ 3951 h 6502"/>
              <a:gd name="T74" fmla="*/ 8053 w 9579"/>
              <a:gd name="T75" fmla="*/ 3826 h 6502"/>
              <a:gd name="T76" fmla="*/ 7653 w 9579"/>
              <a:gd name="T77" fmla="*/ 4051 h 6502"/>
              <a:gd name="T78" fmla="*/ 7902 w 9579"/>
              <a:gd name="T79" fmla="*/ 3501 h 6502"/>
              <a:gd name="T80" fmla="*/ 7302 w 9579"/>
              <a:gd name="T81" fmla="*/ 3501 h 6502"/>
              <a:gd name="T82" fmla="*/ 7128 w 9579"/>
              <a:gd name="T83" fmla="*/ 3276 h 6502"/>
              <a:gd name="T84" fmla="*/ 4327 w 9579"/>
              <a:gd name="T85" fmla="*/ 3251 h 6502"/>
              <a:gd name="T86" fmla="*/ 4101 w 9579"/>
              <a:gd name="T87" fmla="*/ 3301 h 6502"/>
              <a:gd name="T88" fmla="*/ 4177 w 9579"/>
              <a:gd name="T89" fmla="*/ 3876 h 6502"/>
              <a:gd name="T90" fmla="*/ 4327 w 9579"/>
              <a:gd name="T91" fmla="*/ 4551 h 6502"/>
              <a:gd name="T92" fmla="*/ 4727 w 9579"/>
              <a:gd name="T93" fmla="*/ 4926 h 6502"/>
              <a:gd name="T94" fmla="*/ 5677 w 9579"/>
              <a:gd name="T95" fmla="*/ 5201 h 6502"/>
              <a:gd name="T96" fmla="*/ 6152 w 9579"/>
              <a:gd name="T97" fmla="*/ 5451 h 6502"/>
              <a:gd name="T98" fmla="*/ 6652 w 9579"/>
              <a:gd name="T99" fmla="*/ 5751 h 6502"/>
              <a:gd name="T100" fmla="*/ 6928 w 9579"/>
              <a:gd name="T101" fmla="*/ 5401 h 6502"/>
              <a:gd name="T102" fmla="*/ 7252 w 9579"/>
              <a:gd name="T103" fmla="*/ 5401 h 6502"/>
              <a:gd name="T104" fmla="*/ 7502 w 9579"/>
              <a:gd name="T105" fmla="*/ 5301 h 6502"/>
              <a:gd name="T106" fmla="*/ 7977 w 9579"/>
              <a:gd name="T107" fmla="*/ 5351 h 6502"/>
              <a:gd name="T108" fmla="*/ 8277 w 9579"/>
              <a:gd name="T109" fmla="*/ 5850 h 6502"/>
              <a:gd name="T110" fmla="*/ 8377 w 9579"/>
              <a:gd name="T111" fmla="*/ 5026 h 6502"/>
              <a:gd name="T112" fmla="*/ 8702 w 9579"/>
              <a:gd name="T113" fmla="*/ 4776 h 6502"/>
              <a:gd name="T114" fmla="*/ 8653 w 9579"/>
              <a:gd name="T115" fmla="*/ 4451 h 6502"/>
              <a:gd name="T116" fmla="*/ 8753 w 9579"/>
              <a:gd name="T117" fmla="*/ 4376 h 6502"/>
              <a:gd name="T118" fmla="*/ 8928 w 9579"/>
              <a:gd name="T119" fmla="*/ 4151 h 6502"/>
              <a:gd name="T120" fmla="*/ 9253 w 9579"/>
              <a:gd name="T121" fmla="*/ 3851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79" h="6502">
                <a:moveTo>
                  <a:pt x="3601" y="2376"/>
                </a:moveTo>
                <a:lnTo>
                  <a:pt x="3601" y="2376"/>
                </a:lnTo>
                <a:cubicBezTo>
                  <a:pt x="3601" y="2350"/>
                  <a:pt x="3627" y="2326"/>
                  <a:pt x="3501" y="2276"/>
                </a:cubicBezTo>
                <a:cubicBezTo>
                  <a:pt x="3401" y="2250"/>
                  <a:pt x="3427" y="2201"/>
                  <a:pt x="3352" y="2076"/>
                </a:cubicBezTo>
                <a:cubicBezTo>
                  <a:pt x="3276" y="1950"/>
                  <a:pt x="3152" y="1901"/>
                  <a:pt x="3152" y="1850"/>
                </a:cubicBezTo>
                <a:cubicBezTo>
                  <a:pt x="3152" y="1801"/>
                  <a:pt x="3001" y="1801"/>
                  <a:pt x="3001" y="1850"/>
                </a:cubicBezTo>
                <a:cubicBezTo>
                  <a:pt x="3001" y="1876"/>
                  <a:pt x="2951" y="1901"/>
                  <a:pt x="2927" y="1926"/>
                </a:cubicBezTo>
                <a:cubicBezTo>
                  <a:pt x="2901" y="1926"/>
                  <a:pt x="2876" y="1901"/>
                  <a:pt x="2851" y="1876"/>
                </a:cubicBezTo>
                <a:cubicBezTo>
                  <a:pt x="2827" y="1826"/>
                  <a:pt x="2751" y="1801"/>
                  <a:pt x="2751" y="1775"/>
                </a:cubicBezTo>
                <a:cubicBezTo>
                  <a:pt x="2751" y="1750"/>
                  <a:pt x="2751" y="1701"/>
                  <a:pt x="2701" y="1726"/>
                </a:cubicBezTo>
                <a:cubicBezTo>
                  <a:pt x="2651" y="1750"/>
                  <a:pt x="2627" y="1726"/>
                  <a:pt x="2601" y="1750"/>
                </a:cubicBezTo>
                <a:lnTo>
                  <a:pt x="2551" y="1726"/>
                </a:lnTo>
                <a:cubicBezTo>
                  <a:pt x="2551" y="300"/>
                  <a:pt x="2551" y="300"/>
                  <a:pt x="2551" y="300"/>
                </a:cubicBezTo>
                <a:lnTo>
                  <a:pt x="2527" y="276"/>
                </a:lnTo>
                <a:cubicBezTo>
                  <a:pt x="2451" y="250"/>
                  <a:pt x="2376" y="225"/>
                  <a:pt x="2327" y="225"/>
                </a:cubicBezTo>
                <a:cubicBezTo>
                  <a:pt x="2276" y="250"/>
                  <a:pt x="2176" y="250"/>
                  <a:pt x="2151" y="225"/>
                </a:cubicBezTo>
                <a:cubicBezTo>
                  <a:pt x="2101" y="225"/>
                  <a:pt x="2051" y="200"/>
                  <a:pt x="2001" y="225"/>
                </a:cubicBezTo>
                <a:cubicBezTo>
                  <a:pt x="1926" y="225"/>
                  <a:pt x="1876" y="176"/>
                  <a:pt x="1801" y="150"/>
                </a:cubicBezTo>
                <a:cubicBezTo>
                  <a:pt x="1701" y="125"/>
                  <a:pt x="1576" y="150"/>
                  <a:pt x="1551" y="176"/>
                </a:cubicBezTo>
                <a:cubicBezTo>
                  <a:pt x="1526" y="176"/>
                  <a:pt x="1526" y="150"/>
                  <a:pt x="1501" y="150"/>
                </a:cubicBezTo>
                <a:cubicBezTo>
                  <a:pt x="1451" y="150"/>
                  <a:pt x="1476" y="125"/>
                  <a:pt x="1476" y="100"/>
                </a:cubicBezTo>
                <a:cubicBezTo>
                  <a:pt x="1451" y="76"/>
                  <a:pt x="1351" y="100"/>
                  <a:pt x="1301" y="100"/>
                </a:cubicBezTo>
                <a:cubicBezTo>
                  <a:pt x="1276" y="100"/>
                  <a:pt x="1251" y="76"/>
                  <a:pt x="1251" y="50"/>
                </a:cubicBezTo>
                <a:cubicBezTo>
                  <a:pt x="1251" y="50"/>
                  <a:pt x="1226" y="50"/>
                  <a:pt x="1201" y="76"/>
                </a:cubicBezTo>
                <a:cubicBezTo>
                  <a:pt x="1201" y="100"/>
                  <a:pt x="1151" y="100"/>
                  <a:pt x="1126" y="76"/>
                </a:cubicBezTo>
                <a:cubicBezTo>
                  <a:pt x="1126" y="76"/>
                  <a:pt x="1176" y="76"/>
                  <a:pt x="1176" y="50"/>
                </a:cubicBezTo>
                <a:cubicBezTo>
                  <a:pt x="1176" y="25"/>
                  <a:pt x="1126" y="25"/>
                  <a:pt x="1101" y="0"/>
                </a:cubicBezTo>
                <a:cubicBezTo>
                  <a:pt x="1076" y="0"/>
                  <a:pt x="1051" y="25"/>
                  <a:pt x="1001" y="76"/>
                </a:cubicBezTo>
                <a:cubicBezTo>
                  <a:pt x="951" y="100"/>
                  <a:pt x="901" y="100"/>
                  <a:pt x="851" y="100"/>
                </a:cubicBezTo>
                <a:cubicBezTo>
                  <a:pt x="801" y="100"/>
                  <a:pt x="751" y="100"/>
                  <a:pt x="776" y="125"/>
                </a:cubicBezTo>
                <a:cubicBezTo>
                  <a:pt x="776" y="150"/>
                  <a:pt x="826" y="150"/>
                  <a:pt x="776" y="176"/>
                </a:cubicBezTo>
                <a:cubicBezTo>
                  <a:pt x="751" y="200"/>
                  <a:pt x="751" y="150"/>
                  <a:pt x="726" y="176"/>
                </a:cubicBezTo>
                <a:cubicBezTo>
                  <a:pt x="676" y="200"/>
                  <a:pt x="601" y="200"/>
                  <a:pt x="576" y="200"/>
                </a:cubicBezTo>
                <a:cubicBezTo>
                  <a:pt x="551" y="200"/>
                  <a:pt x="501" y="276"/>
                  <a:pt x="476" y="276"/>
                </a:cubicBezTo>
                <a:cubicBezTo>
                  <a:pt x="451" y="300"/>
                  <a:pt x="476" y="325"/>
                  <a:pt x="426" y="375"/>
                </a:cubicBezTo>
                <a:cubicBezTo>
                  <a:pt x="376" y="450"/>
                  <a:pt x="226" y="425"/>
                  <a:pt x="200" y="425"/>
                </a:cubicBezTo>
                <a:cubicBezTo>
                  <a:pt x="151" y="425"/>
                  <a:pt x="176" y="475"/>
                  <a:pt x="176" y="501"/>
                </a:cubicBezTo>
                <a:cubicBezTo>
                  <a:pt x="151" y="525"/>
                  <a:pt x="176" y="525"/>
                  <a:pt x="276" y="550"/>
                </a:cubicBezTo>
                <a:cubicBezTo>
                  <a:pt x="351" y="576"/>
                  <a:pt x="426" y="701"/>
                  <a:pt x="426" y="725"/>
                </a:cubicBezTo>
                <a:cubicBezTo>
                  <a:pt x="426" y="750"/>
                  <a:pt x="551" y="725"/>
                  <a:pt x="576" y="725"/>
                </a:cubicBezTo>
                <a:cubicBezTo>
                  <a:pt x="626" y="725"/>
                  <a:pt x="576" y="801"/>
                  <a:pt x="626" y="801"/>
                </a:cubicBezTo>
                <a:cubicBezTo>
                  <a:pt x="651" y="825"/>
                  <a:pt x="701" y="801"/>
                  <a:pt x="726" y="825"/>
                </a:cubicBezTo>
                <a:cubicBezTo>
                  <a:pt x="726" y="850"/>
                  <a:pt x="651" y="825"/>
                  <a:pt x="601" y="850"/>
                </a:cubicBezTo>
                <a:cubicBezTo>
                  <a:pt x="551" y="901"/>
                  <a:pt x="551" y="901"/>
                  <a:pt x="526" y="876"/>
                </a:cubicBezTo>
                <a:cubicBezTo>
                  <a:pt x="501" y="850"/>
                  <a:pt x="426" y="876"/>
                  <a:pt x="400" y="876"/>
                </a:cubicBezTo>
                <a:cubicBezTo>
                  <a:pt x="376" y="876"/>
                  <a:pt x="400" y="825"/>
                  <a:pt x="400" y="825"/>
                </a:cubicBezTo>
                <a:cubicBezTo>
                  <a:pt x="400" y="801"/>
                  <a:pt x="351" y="776"/>
                  <a:pt x="276" y="825"/>
                </a:cubicBezTo>
                <a:cubicBezTo>
                  <a:pt x="226" y="850"/>
                  <a:pt x="251" y="850"/>
                  <a:pt x="226" y="876"/>
                </a:cubicBezTo>
                <a:cubicBezTo>
                  <a:pt x="226" y="901"/>
                  <a:pt x="200" y="850"/>
                  <a:pt x="151" y="876"/>
                </a:cubicBezTo>
                <a:cubicBezTo>
                  <a:pt x="100" y="901"/>
                  <a:pt x="25" y="925"/>
                  <a:pt x="25" y="950"/>
                </a:cubicBezTo>
                <a:cubicBezTo>
                  <a:pt x="0" y="976"/>
                  <a:pt x="126" y="1001"/>
                  <a:pt x="151" y="1001"/>
                </a:cubicBezTo>
                <a:cubicBezTo>
                  <a:pt x="200" y="1025"/>
                  <a:pt x="100" y="1050"/>
                  <a:pt x="151" y="1050"/>
                </a:cubicBezTo>
                <a:cubicBezTo>
                  <a:pt x="176" y="1076"/>
                  <a:pt x="151" y="1101"/>
                  <a:pt x="226" y="1125"/>
                </a:cubicBezTo>
                <a:cubicBezTo>
                  <a:pt x="276" y="1150"/>
                  <a:pt x="376" y="1125"/>
                  <a:pt x="426" y="1125"/>
                </a:cubicBezTo>
                <a:cubicBezTo>
                  <a:pt x="451" y="1125"/>
                  <a:pt x="476" y="1150"/>
                  <a:pt x="501" y="1125"/>
                </a:cubicBezTo>
                <a:cubicBezTo>
                  <a:pt x="526" y="1101"/>
                  <a:pt x="626" y="1025"/>
                  <a:pt x="676" y="1076"/>
                </a:cubicBezTo>
                <a:cubicBezTo>
                  <a:pt x="726" y="1125"/>
                  <a:pt x="626" y="1125"/>
                  <a:pt x="651" y="1150"/>
                </a:cubicBezTo>
                <a:cubicBezTo>
                  <a:pt x="676" y="1176"/>
                  <a:pt x="701" y="1225"/>
                  <a:pt x="651" y="1276"/>
                </a:cubicBezTo>
                <a:cubicBezTo>
                  <a:pt x="601" y="1301"/>
                  <a:pt x="551" y="1276"/>
                  <a:pt x="526" y="1276"/>
                </a:cubicBezTo>
                <a:cubicBezTo>
                  <a:pt x="501" y="1276"/>
                  <a:pt x="526" y="1325"/>
                  <a:pt x="476" y="1350"/>
                </a:cubicBezTo>
                <a:cubicBezTo>
                  <a:pt x="451" y="1376"/>
                  <a:pt x="426" y="1325"/>
                  <a:pt x="376" y="1325"/>
                </a:cubicBezTo>
                <a:cubicBezTo>
                  <a:pt x="326" y="1325"/>
                  <a:pt x="326" y="1376"/>
                  <a:pt x="326" y="1425"/>
                </a:cubicBezTo>
                <a:cubicBezTo>
                  <a:pt x="326" y="1450"/>
                  <a:pt x="251" y="1401"/>
                  <a:pt x="226" y="1476"/>
                </a:cubicBezTo>
                <a:cubicBezTo>
                  <a:pt x="226" y="1550"/>
                  <a:pt x="126" y="1501"/>
                  <a:pt x="200" y="1576"/>
                </a:cubicBezTo>
                <a:cubicBezTo>
                  <a:pt x="251" y="1650"/>
                  <a:pt x="226" y="1601"/>
                  <a:pt x="276" y="1625"/>
                </a:cubicBezTo>
                <a:cubicBezTo>
                  <a:pt x="326" y="1650"/>
                  <a:pt x="226" y="1701"/>
                  <a:pt x="276" y="1701"/>
                </a:cubicBezTo>
                <a:cubicBezTo>
                  <a:pt x="300" y="1726"/>
                  <a:pt x="351" y="1801"/>
                  <a:pt x="376" y="1826"/>
                </a:cubicBezTo>
                <a:cubicBezTo>
                  <a:pt x="426" y="1850"/>
                  <a:pt x="451" y="1801"/>
                  <a:pt x="501" y="1801"/>
                </a:cubicBezTo>
                <a:cubicBezTo>
                  <a:pt x="551" y="1801"/>
                  <a:pt x="526" y="1750"/>
                  <a:pt x="551" y="1775"/>
                </a:cubicBezTo>
                <a:cubicBezTo>
                  <a:pt x="576" y="1801"/>
                  <a:pt x="601" y="1850"/>
                  <a:pt x="576" y="1876"/>
                </a:cubicBezTo>
                <a:cubicBezTo>
                  <a:pt x="551" y="1901"/>
                  <a:pt x="576" y="1950"/>
                  <a:pt x="576" y="1976"/>
                </a:cubicBezTo>
                <a:cubicBezTo>
                  <a:pt x="576" y="2001"/>
                  <a:pt x="676" y="1976"/>
                  <a:pt x="676" y="1950"/>
                </a:cubicBezTo>
                <a:cubicBezTo>
                  <a:pt x="676" y="1926"/>
                  <a:pt x="751" y="1926"/>
                  <a:pt x="801" y="1976"/>
                </a:cubicBezTo>
                <a:cubicBezTo>
                  <a:pt x="851" y="2001"/>
                  <a:pt x="876" y="2026"/>
                  <a:pt x="876" y="1976"/>
                </a:cubicBezTo>
                <a:cubicBezTo>
                  <a:pt x="876" y="1950"/>
                  <a:pt x="901" y="1901"/>
                  <a:pt x="901" y="1926"/>
                </a:cubicBezTo>
                <a:cubicBezTo>
                  <a:pt x="901" y="1976"/>
                  <a:pt x="951" y="1976"/>
                  <a:pt x="1001" y="1950"/>
                </a:cubicBezTo>
                <a:cubicBezTo>
                  <a:pt x="1076" y="1926"/>
                  <a:pt x="1051" y="1950"/>
                  <a:pt x="1001" y="2001"/>
                </a:cubicBezTo>
                <a:cubicBezTo>
                  <a:pt x="951" y="2050"/>
                  <a:pt x="1001" y="2126"/>
                  <a:pt x="976" y="2150"/>
                </a:cubicBezTo>
                <a:cubicBezTo>
                  <a:pt x="951" y="2150"/>
                  <a:pt x="926" y="2226"/>
                  <a:pt x="851" y="2250"/>
                </a:cubicBezTo>
                <a:cubicBezTo>
                  <a:pt x="801" y="2250"/>
                  <a:pt x="726" y="2350"/>
                  <a:pt x="701" y="2376"/>
                </a:cubicBezTo>
                <a:cubicBezTo>
                  <a:pt x="701" y="2376"/>
                  <a:pt x="576" y="2326"/>
                  <a:pt x="551" y="2376"/>
                </a:cubicBezTo>
                <a:cubicBezTo>
                  <a:pt x="551" y="2426"/>
                  <a:pt x="476" y="2450"/>
                  <a:pt x="476" y="2476"/>
                </a:cubicBezTo>
                <a:cubicBezTo>
                  <a:pt x="501" y="2501"/>
                  <a:pt x="601" y="2450"/>
                  <a:pt x="601" y="2426"/>
                </a:cubicBezTo>
                <a:cubicBezTo>
                  <a:pt x="601" y="2401"/>
                  <a:pt x="626" y="2401"/>
                  <a:pt x="626" y="2426"/>
                </a:cubicBezTo>
                <a:cubicBezTo>
                  <a:pt x="651" y="2426"/>
                  <a:pt x="701" y="2401"/>
                  <a:pt x="701" y="2401"/>
                </a:cubicBezTo>
                <a:cubicBezTo>
                  <a:pt x="726" y="2376"/>
                  <a:pt x="751" y="2376"/>
                  <a:pt x="776" y="2376"/>
                </a:cubicBezTo>
                <a:cubicBezTo>
                  <a:pt x="801" y="2376"/>
                  <a:pt x="801" y="2350"/>
                  <a:pt x="851" y="2350"/>
                </a:cubicBezTo>
                <a:cubicBezTo>
                  <a:pt x="926" y="2350"/>
                  <a:pt x="901" y="2326"/>
                  <a:pt x="926" y="2301"/>
                </a:cubicBezTo>
                <a:cubicBezTo>
                  <a:pt x="926" y="2276"/>
                  <a:pt x="1076" y="2201"/>
                  <a:pt x="1101" y="2201"/>
                </a:cubicBezTo>
                <a:cubicBezTo>
                  <a:pt x="1126" y="2201"/>
                  <a:pt x="1101" y="2150"/>
                  <a:pt x="1126" y="2150"/>
                </a:cubicBezTo>
                <a:cubicBezTo>
                  <a:pt x="1151" y="2150"/>
                  <a:pt x="1201" y="2101"/>
                  <a:pt x="1226" y="2076"/>
                </a:cubicBezTo>
                <a:cubicBezTo>
                  <a:pt x="1276" y="2050"/>
                  <a:pt x="1276" y="2076"/>
                  <a:pt x="1301" y="2050"/>
                </a:cubicBezTo>
                <a:cubicBezTo>
                  <a:pt x="1326" y="2050"/>
                  <a:pt x="1301" y="2001"/>
                  <a:pt x="1326" y="1976"/>
                </a:cubicBezTo>
                <a:cubicBezTo>
                  <a:pt x="1351" y="1976"/>
                  <a:pt x="1376" y="1950"/>
                  <a:pt x="1376" y="1950"/>
                </a:cubicBezTo>
                <a:cubicBezTo>
                  <a:pt x="1376" y="1926"/>
                  <a:pt x="1326" y="1926"/>
                  <a:pt x="1301" y="1901"/>
                </a:cubicBezTo>
                <a:cubicBezTo>
                  <a:pt x="1301" y="1876"/>
                  <a:pt x="1351" y="1826"/>
                  <a:pt x="1376" y="1826"/>
                </a:cubicBezTo>
                <a:cubicBezTo>
                  <a:pt x="1401" y="1826"/>
                  <a:pt x="1451" y="1801"/>
                  <a:pt x="1451" y="1775"/>
                </a:cubicBezTo>
                <a:cubicBezTo>
                  <a:pt x="1451" y="1750"/>
                  <a:pt x="1476" y="1750"/>
                  <a:pt x="1501" y="1701"/>
                </a:cubicBezTo>
                <a:cubicBezTo>
                  <a:pt x="1526" y="1676"/>
                  <a:pt x="1526" y="1650"/>
                  <a:pt x="1551" y="1650"/>
                </a:cubicBezTo>
                <a:cubicBezTo>
                  <a:pt x="1576" y="1650"/>
                  <a:pt x="1601" y="1625"/>
                  <a:pt x="1651" y="1601"/>
                </a:cubicBezTo>
                <a:cubicBezTo>
                  <a:pt x="1676" y="1576"/>
                  <a:pt x="1651" y="1625"/>
                  <a:pt x="1701" y="1625"/>
                </a:cubicBezTo>
                <a:cubicBezTo>
                  <a:pt x="1751" y="1625"/>
                  <a:pt x="1751" y="1676"/>
                  <a:pt x="1701" y="1650"/>
                </a:cubicBezTo>
                <a:cubicBezTo>
                  <a:pt x="1651" y="1625"/>
                  <a:pt x="1626" y="1650"/>
                  <a:pt x="1601" y="1676"/>
                </a:cubicBezTo>
                <a:cubicBezTo>
                  <a:pt x="1551" y="1701"/>
                  <a:pt x="1601" y="1726"/>
                  <a:pt x="1551" y="1750"/>
                </a:cubicBezTo>
                <a:cubicBezTo>
                  <a:pt x="1526" y="1801"/>
                  <a:pt x="1526" y="1826"/>
                  <a:pt x="1576" y="1826"/>
                </a:cubicBezTo>
                <a:cubicBezTo>
                  <a:pt x="1601" y="1826"/>
                  <a:pt x="1576" y="1850"/>
                  <a:pt x="1526" y="1876"/>
                </a:cubicBezTo>
                <a:cubicBezTo>
                  <a:pt x="1501" y="1876"/>
                  <a:pt x="1526" y="1901"/>
                  <a:pt x="1576" y="1901"/>
                </a:cubicBezTo>
                <a:cubicBezTo>
                  <a:pt x="1626" y="1901"/>
                  <a:pt x="1701" y="1826"/>
                  <a:pt x="1751" y="1801"/>
                </a:cubicBezTo>
                <a:cubicBezTo>
                  <a:pt x="1826" y="1775"/>
                  <a:pt x="1876" y="1801"/>
                  <a:pt x="1901" y="1801"/>
                </a:cubicBezTo>
                <a:cubicBezTo>
                  <a:pt x="1901" y="1775"/>
                  <a:pt x="1876" y="1750"/>
                  <a:pt x="1901" y="1750"/>
                </a:cubicBezTo>
                <a:cubicBezTo>
                  <a:pt x="1926" y="1726"/>
                  <a:pt x="1876" y="1726"/>
                  <a:pt x="1851" y="1701"/>
                </a:cubicBezTo>
                <a:cubicBezTo>
                  <a:pt x="1851" y="1650"/>
                  <a:pt x="1876" y="1676"/>
                  <a:pt x="1876" y="1650"/>
                </a:cubicBezTo>
                <a:cubicBezTo>
                  <a:pt x="1901" y="1601"/>
                  <a:pt x="1926" y="1625"/>
                  <a:pt x="1926" y="1650"/>
                </a:cubicBezTo>
                <a:cubicBezTo>
                  <a:pt x="1951" y="1650"/>
                  <a:pt x="1976" y="1625"/>
                  <a:pt x="2001" y="1676"/>
                </a:cubicBezTo>
                <a:cubicBezTo>
                  <a:pt x="2026" y="1701"/>
                  <a:pt x="2051" y="1650"/>
                  <a:pt x="2076" y="1676"/>
                </a:cubicBezTo>
                <a:cubicBezTo>
                  <a:pt x="2101" y="1701"/>
                  <a:pt x="2076" y="1701"/>
                  <a:pt x="2026" y="1701"/>
                </a:cubicBezTo>
                <a:cubicBezTo>
                  <a:pt x="2001" y="1726"/>
                  <a:pt x="2026" y="1775"/>
                  <a:pt x="2051" y="1750"/>
                </a:cubicBezTo>
                <a:cubicBezTo>
                  <a:pt x="2076" y="1726"/>
                  <a:pt x="2101" y="1701"/>
                  <a:pt x="2126" y="1726"/>
                </a:cubicBezTo>
                <a:cubicBezTo>
                  <a:pt x="2151" y="1750"/>
                  <a:pt x="2151" y="1750"/>
                  <a:pt x="2176" y="1726"/>
                </a:cubicBezTo>
                <a:cubicBezTo>
                  <a:pt x="2201" y="1701"/>
                  <a:pt x="2201" y="1726"/>
                  <a:pt x="2201" y="1750"/>
                </a:cubicBezTo>
                <a:cubicBezTo>
                  <a:pt x="2201" y="1750"/>
                  <a:pt x="2251" y="1775"/>
                  <a:pt x="2301" y="1775"/>
                </a:cubicBezTo>
                <a:cubicBezTo>
                  <a:pt x="2376" y="1775"/>
                  <a:pt x="2476" y="1775"/>
                  <a:pt x="2501" y="1775"/>
                </a:cubicBezTo>
                <a:cubicBezTo>
                  <a:pt x="2551" y="1775"/>
                  <a:pt x="2527" y="1801"/>
                  <a:pt x="2601" y="1826"/>
                </a:cubicBezTo>
                <a:cubicBezTo>
                  <a:pt x="2651" y="1826"/>
                  <a:pt x="2676" y="1750"/>
                  <a:pt x="2701" y="1775"/>
                </a:cubicBezTo>
                <a:cubicBezTo>
                  <a:pt x="2751" y="1826"/>
                  <a:pt x="2701" y="1826"/>
                  <a:pt x="2701" y="1850"/>
                </a:cubicBezTo>
                <a:cubicBezTo>
                  <a:pt x="2676" y="1876"/>
                  <a:pt x="2701" y="1876"/>
                  <a:pt x="2727" y="1876"/>
                </a:cubicBezTo>
                <a:cubicBezTo>
                  <a:pt x="2751" y="1901"/>
                  <a:pt x="2827" y="1901"/>
                  <a:pt x="2851" y="1926"/>
                </a:cubicBezTo>
                <a:cubicBezTo>
                  <a:pt x="2876" y="1950"/>
                  <a:pt x="2901" y="2001"/>
                  <a:pt x="2951" y="2026"/>
                </a:cubicBezTo>
                <a:cubicBezTo>
                  <a:pt x="3027" y="2050"/>
                  <a:pt x="2951" y="1950"/>
                  <a:pt x="3001" y="1976"/>
                </a:cubicBezTo>
                <a:cubicBezTo>
                  <a:pt x="3051" y="2026"/>
                  <a:pt x="3051" y="1976"/>
                  <a:pt x="3076" y="2026"/>
                </a:cubicBezTo>
                <a:cubicBezTo>
                  <a:pt x="3127" y="2050"/>
                  <a:pt x="3101" y="2001"/>
                  <a:pt x="3101" y="1926"/>
                </a:cubicBezTo>
                <a:cubicBezTo>
                  <a:pt x="3076" y="1876"/>
                  <a:pt x="3101" y="1926"/>
                  <a:pt x="3127" y="1950"/>
                </a:cubicBezTo>
                <a:cubicBezTo>
                  <a:pt x="3152" y="1976"/>
                  <a:pt x="3152" y="2026"/>
                  <a:pt x="3127" y="2076"/>
                </a:cubicBezTo>
                <a:cubicBezTo>
                  <a:pt x="3127" y="2101"/>
                  <a:pt x="3051" y="2076"/>
                  <a:pt x="3076" y="2050"/>
                </a:cubicBezTo>
                <a:cubicBezTo>
                  <a:pt x="3076" y="2026"/>
                  <a:pt x="3001" y="2050"/>
                  <a:pt x="3001" y="2076"/>
                </a:cubicBezTo>
                <a:cubicBezTo>
                  <a:pt x="3001" y="2101"/>
                  <a:pt x="3051" y="2150"/>
                  <a:pt x="3076" y="2150"/>
                </a:cubicBezTo>
                <a:cubicBezTo>
                  <a:pt x="3127" y="2176"/>
                  <a:pt x="3101" y="2226"/>
                  <a:pt x="3101" y="2226"/>
                </a:cubicBezTo>
                <a:cubicBezTo>
                  <a:pt x="3152" y="2226"/>
                  <a:pt x="3127" y="2301"/>
                  <a:pt x="3152" y="2276"/>
                </a:cubicBezTo>
                <a:cubicBezTo>
                  <a:pt x="3176" y="2276"/>
                  <a:pt x="3176" y="2201"/>
                  <a:pt x="3152" y="2176"/>
                </a:cubicBezTo>
                <a:cubicBezTo>
                  <a:pt x="3127" y="2150"/>
                  <a:pt x="3127" y="2101"/>
                  <a:pt x="3152" y="2126"/>
                </a:cubicBezTo>
                <a:cubicBezTo>
                  <a:pt x="3176" y="2126"/>
                  <a:pt x="3152" y="2176"/>
                  <a:pt x="3176" y="2176"/>
                </a:cubicBezTo>
                <a:cubicBezTo>
                  <a:pt x="3176" y="2201"/>
                  <a:pt x="3201" y="2176"/>
                  <a:pt x="3227" y="2150"/>
                </a:cubicBezTo>
                <a:cubicBezTo>
                  <a:pt x="3252" y="2126"/>
                  <a:pt x="3227" y="2076"/>
                  <a:pt x="3227" y="2050"/>
                </a:cubicBezTo>
                <a:cubicBezTo>
                  <a:pt x="3227" y="2026"/>
                  <a:pt x="3276" y="2076"/>
                  <a:pt x="3276" y="2126"/>
                </a:cubicBezTo>
                <a:cubicBezTo>
                  <a:pt x="3301" y="2176"/>
                  <a:pt x="3252" y="2176"/>
                  <a:pt x="3252" y="2201"/>
                </a:cubicBezTo>
                <a:cubicBezTo>
                  <a:pt x="3252" y="2226"/>
                  <a:pt x="3201" y="2201"/>
                  <a:pt x="3201" y="2226"/>
                </a:cubicBezTo>
                <a:cubicBezTo>
                  <a:pt x="3176" y="2226"/>
                  <a:pt x="3201" y="2301"/>
                  <a:pt x="3201" y="2326"/>
                </a:cubicBezTo>
                <a:cubicBezTo>
                  <a:pt x="3227" y="2326"/>
                  <a:pt x="3227" y="2250"/>
                  <a:pt x="3252" y="2276"/>
                </a:cubicBezTo>
                <a:cubicBezTo>
                  <a:pt x="3252" y="2326"/>
                  <a:pt x="3301" y="2226"/>
                  <a:pt x="3301" y="2276"/>
                </a:cubicBezTo>
                <a:cubicBezTo>
                  <a:pt x="3327" y="2301"/>
                  <a:pt x="3376" y="2350"/>
                  <a:pt x="3376" y="2326"/>
                </a:cubicBezTo>
                <a:cubicBezTo>
                  <a:pt x="3401" y="2326"/>
                  <a:pt x="3376" y="2276"/>
                  <a:pt x="3352" y="2276"/>
                </a:cubicBezTo>
                <a:cubicBezTo>
                  <a:pt x="3327" y="2276"/>
                  <a:pt x="3327" y="2226"/>
                  <a:pt x="3352" y="2226"/>
                </a:cubicBezTo>
                <a:cubicBezTo>
                  <a:pt x="3376" y="2226"/>
                  <a:pt x="3427" y="2301"/>
                  <a:pt x="3427" y="2326"/>
                </a:cubicBezTo>
                <a:cubicBezTo>
                  <a:pt x="3427" y="2350"/>
                  <a:pt x="3401" y="2350"/>
                  <a:pt x="3376" y="2376"/>
                </a:cubicBezTo>
                <a:cubicBezTo>
                  <a:pt x="3352" y="2401"/>
                  <a:pt x="3327" y="2326"/>
                  <a:pt x="3301" y="2326"/>
                </a:cubicBezTo>
                <a:cubicBezTo>
                  <a:pt x="3276" y="2326"/>
                  <a:pt x="3301" y="2376"/>
                  <a:pt x="3301" y="2401"/>
                </a:cubicBezTo>
                <a:cubicBezTo>
                  <a:pt x="3327" y="2426"/>
                  <a:pt x="3276" y="2476"/>
                  <a:pt x="3301" y="2501"/>
                </a:cubicBezTo>
                <a:cubicBezTo>
                  <a:pt x="3352" y="2526"/>
                  <a:pt x="3327" y="2476"/>
                  <a:pt x="3352" y="2476"/>
                </a:cubicBezTo>
                <a:cubicBezTo>
                  <a:pt x="3352" y="2450"/>
                  <a:pt x="3376" y="2476"/>
                  <a:pt x="3401" y="2476"/>
                </a:cubicBezTo>
                <a:cubicBezTo>
                  <a:pt x="3401" y="2501"/>
                  <a:pt x="3427" y="2450"/>
                  <a:pt x="3427" y="2426"/>
                </a:cubicBezTo>
                <a:cubicBezTo>
                  <a:pt x="3427" y="2426"/>
                  <a:pt x="3452" y="2426"/>
                  <a:pt x="3452" y="2450"/>
                </a:cubicBezTo>
                <a:cubicBezTo>
                  <a:pt x="3476" y="2476"/>
                  <a:pt x="3476" y="2426"/>
                  <a:pt x="3501" y="2426"/>
                </a:cubicBezTo>
                <a:cubicBezTo>
                  <a:pt x="3527" y="2426"/>
                  <a:pt x="3527" y="2476"/>
                  <a:pt x="3527" y="2501"/>
                </a:cubicBezTo>
                <a:cubicBezTo>
                  <a:pt x="3527" y="2526"/>
                  <a:pt x="3552" y="2476"/>
                  <a:pt x="3552" y="2501"/>
                </a:cubicBezTo>
                <a:lnTo>
                  <a:pt x="3552" y="2501"/>
                </a:lnTo>
                <a:cubicBezTo>
                  <a:pt x="3576" y="2501"/>
                  <a:pt x="3601" y="2476"/>
                  <a:pt x="3627" y="2476"/>
                </a:cubicBezTo>
                <a:cubicBezTo>
                  <a:pt x="3652" y="2426"/>
                  <a:pt x="3576" y="2426"/>
                  <a:pt x="3601" y="2376"/>
                </a:cubicBezTo>
                <a:close/>
                <a:moveTo>
                  <a:pt x="76" y="2676"/>
                </a:moveTo>
                <a:lnTo>
                  <a:pt x="76" y="2676"/>
                </a:lnTo>
                <a:cubicBezTo>
                  <a:pt x="126" y="2650"/>
                  <a:pt x="151" y="2626"/>
                  <a:pt x="126" y="2601"/>
                </a:cubicBezTo>
                <a:cubicBezTo>
                  <a:pt x="100" y="2576"/>
                  <a:pt x="51" y="2701"/>
                  <a:pt x="76" y="2676"/>
                </a:cubicBezTo>
                <a:close/>
                <a:moveTo>
                  <a:pt x="426" y="2501"/>
                </a:moveTo>
                <a:lnTo>
                  <a:pt x="426" y="2501"/>
                </a:lnTo>
                <a:cubicBezTo>
                  <a:pt x="400" y="2476"/>
                  <a:pt x="276" y="2550"/>
                  <a:pt x="300" y="2550"/>
                </a:cubicBezTo>
                <a:cubicBezTo>
                  <a:pt x="351" y="2550"/>
                  <a:pt x="351" y="2526"/>
                  <a:pt x="376" y="2526"/>
                </a:cubicBezTo>
                <a:cubicBezTo>
                  <a:pt x="426" y="2526"/>
                  <a:pt x="476" y="2501"/>
                  <a:pt x="426" y="2501"/>
                </a:cubicBezTo>
                <a:close/>
                <a:moveTo>
                  <a:pt x="1501" y="2001"/>
                </a:moveTo>
                <a:lnTo>
                  <a:pt x="1501" y="2001"/>
                </a:lnTo>
                <a:cubicBezTo>
                  <a:pt x="1501" y="1976"/>
                  <a:pt x="1451" y="1976"/>
                  <a:pt x="1426" y="2026"/>
                </a:cubicBezTo>
                <a:cubicBezTo>
                  <a:pt x="1376" y="2076"/>
                  <a:pt x="1351" y="2101"/>
                  <a:pt x="1326" y="2126"/>
                </a:cubicBezTo>
                <a:cubicBezTo>
                  <a:pt x="1326" y="2150"/>
                  <a:pt x="1276" y="2126"/>
                  <a:pt x="1276" y="2150"/>
                </a:cubicBezTo>
                <a:cubicBezTo>
                  <a:pt x="1251" y="2176"/>
                  <a:pt x="1276" y="2250"/>
                  <a:pt x="1301" y="2226"/>
                </a:cubicBezTo>
                <a:cubicBezTo>
                  <a:pt x="1326" y="2201"/>
                  <a:pt x="1351" y="2226"/>
                  <a:pt x="1351" y="2226"/>
                </a:cubicBezTo>
                <a:cubicBezTo>
                  <a:pt x="1376" y="2226"/>
                  <a:pt x="1451" y="2150"/>
                  <a:pt x="1476" y="2126"/>
                </a:cubicBezTo>
                <a:cubicBezTo>
                  <a:pt x="1501" y="2101"/>
                  <a:pt x="1451" y="2101"/>
                  <a:pt x="1451" y="2076"/>
                </a:cubicBezTo>
                <a:cubicBezTo>
                  <a:pt x="1451" y="2050"/>
                  <a:pt x="1501" y="2050"/>
                  <a:pt x="1501" y="2050"/>
                </a:cubicBezTo>
                <a:cubicBezTo>
                  <a:pt x="1526" y="2026"/>
                  <a:pt x="1501" y="2026"/>
                  <a:pt x="1501" y="2001"/>
                </a:cubicBezTo>
                <a:close/>
                <a:moveTo>
                  <a:pt x="176" y="1750"/>
                </a:moveTo>
                <a:lnTo>
                  <a:pt x="176" y="1750"/>
                </a:lnTo>
                <a:cubicBezTo>
                  <a:pt x="151" y="1726"/>
                  <a:pt x="76" y="1750"/>
                  <a:pt x="76" y="1775"/>
                </a:cubicBezTo>
                <a:cubicBezTo>
                  <a:pt x="100" y="1826"/>
                  <a:pt x="176" y="1826"/>
                  <a:pt x="226" y="1826"/>
                </a:cubicBezTo>
                <a:cubicBezTo>
                  <a:pt x="251" y="1801"/>
                  <a:pt x="251" y="1775"/>
                  <a:pt x="226" y="1750"/>
                </a:cubicBezTo>
                <a:cubicBezTo>
                  <a:pt x="200" y="1726"/>
                  <a:pt x="176" y="1775"/>
                  <a:pt x="176" y="1750"/>
                </a:cubicBezTo>
                <a:close/>
                <a:moveTo>
                  <a:pt x="1176" y="6350"/>
                </a:moveTo>
                <a:lnTo>
                  <a:pt x="1176" y="6350"/>
                </a:lnTo>
                <a:cubicBezTo>
                  <a:pt x="1126" y="6350"/>
                  <a:pt x="1151" y="6501"/>
                  <a:pt x="1176" y="6476"/>
                </a:cubicBezTo>
                <a:cubicBezTo>
                  <a:pt x="1201" y="6450"/>
                  <a:pt x="1251" y="6450"/>
                  <a:pt x="1251" y="6425"/>
                </a:cubicBezTo>
                <a:cubicBezTo>
                  <a:pt x="1276" y="6400"/>
                  <a:pt x="1226" y="6350"/>
                  <a:pt x="1176" y="6350"/>
                </a:cubicBezTo>
                <a:close/>
                <a:moveTo>
                  <a:pt x="1101" y="6276"/>
                </a:moveTo>
                <a:lnTo>
                  <a:pt x="1101" y="6276"/>
                </a:lnTo>
                <a:cubicBezTo>
                  <a:pt x="1076" y="6276"/>
                  <a:pt x="1101" y="6325"/>
                  <a:pt x="1126" y="6325"/>
                </a:cubicBezTo>
                <a:cubicBezTo>
                  <a:pt x="1151" y="6300"/>
                  <a:pt x="1151" y="6276"/>
                  <a:pt x="1101" y="6276"/>
                </a:cubicBezTo>
                <a:close/>
                <a:moveTo>
                  <a:pt x="776" y="6176"/>
                </a:moveTo>
                <a:lnTo>
                  <a:pt x="776" y="6176"/>
                </a:lnTo>
                <a:cubicBezTo>
                  <a:pt x="826" y="6200"/>
                  <a:pt x="826" y="6200"/>
                  <a:pt x="851" y="6150"/>
                </a:cubicBezTo>
                <a:cubicBezTo>
                  <a:pt x="851" y="6125"/>
                  <a:pt x="751" y="6125"/>
                  <a:pt x="776" y="6176"/>
                </a:cubicBezTo>
                <a:close/>
                <a:moveTo>
                  <a:pt x="926" y="6225"/>
                </a:moveTo>
                <a:lnTo>
                  <a:pt x="926" y="6225"/>
                </a:lnTo>
                <a:cubicBezTo>
                  <a:pt x="951" y="6250"/>
                  <a:pt x="976" y="6276"/>
                  <a:pt x="1001" y="6250"/>
                </a:cubicBezTo>
                <a:cubicBezTo>
                  <a:pt x="1001" y="6200"/>
                  <a:pt x="901" y="6200"/>
                  <a:pt x="926" y="6225"/>
                </a:cubicBezTo>
                <a:close/>
                <a:moveTo>
                  <a:pt x="9478" y="3451"/>
                </a:moveTo>
                <a:lnTo>
                  <a:pt x="9478" y="3451"/>
                </a:lnTo>
                <a:cubicBezTo>
                  <a:pt x="9478" y="3426"/>
                  <a:pt x="9403" y="3426"/>
                  <a:pt x="9353" y="3401"/>
                </a:cubicBezTo>
                <a:cubicBezTo>
                  <a:pt x="9328" y="3376"/>
                  <a:pt x="9253" y="3526"/>
                  <a:pt x="9253" y="3576"/>
                </a:cubicBezTo>
                <a:cubicBezTo>
                  <a:pt x="9228" y="3626"/>
                  <a:pt x="9128" y="3701"/>
                  <a:pt x="9128" y="3701"/>
                </a:cubicBezTo>
                <a:cubicBezTo>
                  <a:pt x="9128" y="3701"/>
                  <a:pt x="8828" y="3701"/>
                  <a:pt x="8802" y="3701"/>
                </a:cubicBezTo>
                <a:cubicBezTo>
                  <a:pt x="8778" y="3701"/>
                  <a:pt x="8728" y="3751"/>
                  <a:pt x="8678" y="3801"/>
                </a:cubicBezTo>
                <a:lnTo>
                  <a:pt x="8678" y="3801"/>
                </a:lnTo>
                <a:cubicBezTo>
                  <a:pt x="8702" y="3851"/>
                  <a:pt x="8602" y="3876"/>
                  <a:pt x="8502" y="3901"/>
                </a:cubicBezTo>
                <a:cubicBezTo>
                  <a:pt x="8477" y="3901"/>
                  <a:pt x="8453" y="3901"/>
                  <a:pt x="8428" y="3901"/>
                </a:cubicBezTo>
                <a:lnTo>
                  <a:pt x="8428" y="3926"/>
                </a:lnTo>
                <a:cubicBezTo>
                  <a:pt x="8428" y="3951"/>
                  <a:pt x="8428" y="3951"/>
                  <a:pt x="8402" y="3951"/>
                </a:cubicBezTo>
                <a:cubicBezTo>
                  <a:pt x="8377" y="4001"/>
                  <a:pt x="8253" y="4051"/>
                  <a:pt x="8177" y="4101"/>
                </a:cubicBezTo>
                <a:cubicBezTo>
                  <a:pt x="8102" y="4126"/>
                  <a:pt x="8002" y="4101"/>
                  <a:pt x="8002" y="4051"/>
                </a:cubicBezTo>
                <a:cubicBezTo>
                  <a:pt x="8002" y="3976"/>
                  <a:pt x="8053" y="4001"/>
                  <a:pt x="8077" y="4026"/>
                </a:cubicBezTo>
                <a:cubicBezTo>
                  <a:pt x="8077" y="4026"/>
                  <a:pt x="8077" y="4026"/>
                  <a:pt x="8102" y="4026"/>
                </a:cubicBezTo>
                <a:cubicBezTo>
                  <a:pt x="8077" y="4001"/>
                  <a:pt x="8077" y="3976"/>
                  <a:pt x="8102" y="3951"/>
                </a:cubicBezTo>
                <a:cubicBezTo>
                  <a:pt x="8077" y="3926"/>
                  <a:pt x="8102" y="3826"/>
                  <a:pt x="8053" y="3826"/>
                </a:cubicBezTo>
                <a:cubicBezTo>
                  <a:pt x="8002" y="3801"/>
                  <a:pt x="7953" y="3901"/>
                  <a:pt x="7953" y="3851"/>
                </a:cubicBezTo>
                <a:cubicBezTo>
                  <a:pt x="7953" y="3776"/>
                  <a:pt x="8028" y="3751"/>
                  <a:pt x="8002" y="3676"/>
                </a:cubicBezTo>
                <a:cubicBezTo>
                  <a:pt x="7953" y="3601"/>
                  <a:pt x="7853" y="3601"/>
                  <a:pt x="7853" y="3651"/>
                </a:cubicBezTo>
                <a:cubicBezTo>
                  <a:pt x="7828" y="3701"/>
                  <a:pt x="7777" y="3676"/>
                  <a:pt x="7753" y="3726"/>
                </a:cubicBezTo>
                <a:cubicBezTo>
                  <a:pt x="7728" y="3776"/>
                  <a:pt x="7702" y="3851"/>
                  <a:pt x="7728" y="3926"/>
                </a:cubicBezTo>
                <a:cubicBezTo>
                  <a:pt x="7753" y="4001"/>
                  <a:pt x="7728" y="4026"/>
                  <a:pt x="7653" y="4051"/>
                </a:cubicBezTo>
                <a:cubicBezTo>
                  <a:pt x="7602" y="4101"/>
                  <a:pt x="7552" y="4001"/>
                  <a:pt x="7577" y="3876"/>
                </a:cubicBezTo>
                <a:cubicBezTo>
                  <a:pt x="7602" y="3801"/>
                  <a:pt x="7653" y="3726"/>
                  <a:pt x="7602" y="3726"/>
                </a:cubicBezTo>
                <a:cubicBezTo>
                  <a:pt x="7577" y="3726"/>
                  <a:pt x="7653" y="3626"/>
                  <a:pt x="7753" y="3601"/>
                </a:cubicBezTo>
                <a:cubicBezTo>
                  <a:pt x="7828" y="3576"/>
                  <a:pt x="7953" y="3576"/>
                  <a:pt x="7953" y="3551"/>
                </a:cubicBezTo>
                <a:lnTo>
                  <a:pt x="7953" y="3551"/>
                </a:lnTo>
                <a:cubicBezTo>
                  <a:pt x="7953" y="3526"/>
                  <a:pt x="7928" y="3526"/>
                  <a:pt x="7902" y="3501"/>
                </a:cubicBezTo>
                <a:cubicBezTo>
                  <a:pt x="7902" y="3526"/>
                  <a:pt x="7902" y="3526"/>
                  <a:pt x="7902" y="3526"/>
                </a:cubicBezTo>
                <a:cubicBezTo>
                  <a:pt x="7853" y="3551"/>
                  <a:pt x="7877" y="3501"/>
                  <a:pt x="7802" y="3501"/>
                </a:cubicBezTo>
                <a:cubicBezTo>
                  <a:pt x="7753" y="3501"/>
                  <a:pt x="7677" y="3551"/>
                  <a:pt x="7628" y="3526"/>
                </a:cubicBezTo>
                <a:cubicBezTo>
                  <a:pt x="7577" y="3501"/>
                  <a:pt x="7602" y="3476"/>
                  <a:pt x="7552" y="3476"/>
                </a:cubicBezTo>
                <a:cubicBezTo>
                  <a:pt x="7502" y="3476"/>
                  <a:pt x="7602" y="3376"/>
                  <a:pt x="7528" y="3426"/>
                </a:cubicBezTo>
                <a:cubicBezTo>
                  <a:pt x="7452" y="3451"/>
                  <a:pt x="7352" y="3551"/>
                  <a:pt x="7302" y="3501"/>
                </a:cubicBezTo>
                <a:cubicBezTo>
                  <a:pt x="7277" y="3451"/>
                  <a:pt x="7228" y="3526"/>
                  <a:pt x="7202" y="3476"/>
                </a:cubicBezTo>
                <a:cubicBezTo>
                  <a:pt x="7152" y="3451"/>
                  <a:pt x="7302" y="3351"/>
                  <a:pt x="7377" y="3351"/>
                </a:cubicBezTo>
                <a:cubicBezTo>
                  <a:pt x="7402" y="3351"/>
                  <a:pt x="7402" y="3351"/>
                  <a:pt x="7428" y="3351"/>
                </a:cubicBezTo>
                <a:cubicBezTo>
                  <a:pt x="7402" y="3326"/>
                  <a:pt x="7302" y="3301"/>
                  <a:pt x="7302" y="3326"/>
                </a:cubicBezTo>
                <a:cubicBezTo>
                  <a:pt x="7277" y="3351"/>
                  <a:pt x="7228" y="3326"/>
                  <a:pt x="7202" y="3301"/>
                </a:cubicBezTo>
                <a:cubicBezTo>
                  <a:pt x="7202" y="3276"/>
                  <a:pt x="7177" y="3326"/>
                  <a:pt x="7128" y="3276"/>
                </a:cubicBezTo>
                <a:cubicBezTo>
                  <a:pt x="7102" y="3251"/>
                  <a:pt x="7077" y="3276"/>
                  <a:pt x="7052" y="3276"/>
                </a:cubicBezTo>
                <a:cubicBezTo>
                  <a:pt x="7028" y="3276"/>
                  <a:pt x="7002" y="3251"/>
                  <a:pt x="6977" y="3251"/>
                </a:cubicBezTo>
                <a:cubicBezTo>
                  <a:pt x="6928" y="3226"/>
                  <a:pt x="6952" y="3201"/>
                  <a:pt x="6928" y="3175"/>
                </a:cubicBezTo>
                <a:cubicBezTo>
                  <a:pt x="6902" y="3151"/>
                  <a:pt x="6902" y="3226"/>
                  <a:pt x="6902" y="3226"/>
                </a:cubicBezTo>
                <a:cubicBezTo>
                  <a:pt x="4301" y="3226"/>
                  <a:pt x="4301" y="3226"/>
                  <a:pt x="4301" y="3226"/>
                </a:cubicBezTo>
                <a:lnTo>
                  <a:pt x="4327" y="3251"/>
                </a:lnTo>
                <a:cubicBezTo>
                  <a:pt x="4352" y="3276"/>
                  <a:pt x="4327" y="3301"/>
                  <a:pt x="4327" y="3351"/>
                </a:cubicBezTo>
                <a:cubicBezTo>
                  <a:pt x="4352" y="3376"/>
                  <a:pt x="4327" y="3426"/>
                  <a:pt x="4301" y="3426"/>
                </a:cubicBezTo>
                <a:cubicBezTo>
                  <a:pt x="4277" y="3426"/>
                  <a:pt x="4277" y="3401"/>
                  <a:pt x="4301" y="3401"/>
                </a:cubicBezTo>
                <a:cubicBezTo>
                  <a:pt x="4327" y="3376"/>
                  <a:pt x="4301" y="3326"/>
                  <a:pt x="4277" y="3326"/>
                </a:cubicBezTo>
                <a:cubicBezTo>
                  <a:pt x="4277" y="3326"/>
                  <a:pt x="4252" y="3326"/>
                  <a:pt x="4252" y="3301"/>
                </a:cubicBezTo>
                <a:cubicBezTo>
                  <a:pt x="4227" y="3301"/>
                  <a:pt x="4177" y="3301"/>
                  <a:pt x="4101" y="3301"/>
                </a:cubicBezTo>
                <a:cubicBezTo>
                  <a:pt x="4127" y="3301"/>
                  <a:pt x="4127" y="3301"/>
                  <a:pt x="4127" y="3301"/>
                </a:cubicBezTo>
                <a:cubicBezTo>
                  <a:pt x="4127" y="3326"/>
                  <a:pt x="4127" y="3376"/>
                  <a:pt x="4152" y="3426"/>
                </a:cubicBezTo>
                <a:cubicBezTo>
                  <a:pt x="4201" y="3476"/>
                  <a:pt x="4177" y="3501"/>
                  <a:pt x="4201" y="3526"/>
                </a:cubicBezTo>
                <a:cubicBezTo>
                  <a:pt x="4227" y="3526"/>
                  <a:pt x="4227" y="3551"/>
                  <a:pt x="4201" y="3551"/>
                </a:cubicBezTo>
                <a:cubicBezTo>
                  <a:pt x="4177" y="3551"/>
                  <a:pt x="4201" y="3576"/>
                  <a:pt x="4177" y="3626"/>
                </a:cubicBezTo>
                <a:cubicBezTo>
                  <a:pt x="4177" y="3701"/>
                  <a:pt x="4177" y="3826"/>
                  <a:pt x="4177" y="3876"/>
                </a:cubicBezTo>
                <a:cubicBezTo>
                  <a:pt x="4177" y="3901"/>
                  <a:pt x="4127" y="3976"/>
                  <a:pt x="4152" y="4001"/>
                </a:cubicBezTo>
                <a:cubicBezTo>
                  <a:pt x="4177" y="4051"/>
                  <a:pt x="4201" y="4101"/>
                  <a:pt x="4177" y="4151"/>
                </a:cubicBezTo>
                <a:cubicBezTo>
                  <a:pt x="4152" y="4226"/>
                  <a:pt x="4177" y="4251"/>
                  <a:pt x="4177" y="4276"/>
                </a:cubicBezTo>
                <a:cubicBezTo>
                  <a:pt x="4201" y="4326"/>
                  <a:pt x="4201" y="4401"/>
                  <a:pt x="4227" y="4401"/>
                </a:cubicBezTo>
                <a:cubicBezTo>
                  <a:pt x="4252" y="4426"/>
                  <a:pt x="4277" y="4451"/>
                  <a:pt x="4277" y="4501"/>
                </a:cubicBezTo>
                <a:cubicBezTo>
                  <a:pt x="4301" y="4526"/>
                  <a:pt x="4327" y="4501"/>
                  <a:pt x="4327" y="4551"/>
                </a:cubicBezTo>
                <a:cubicBezTo>
                  <a:pt x="4352" y="4576"/>
                  <a:pt x="4352" y="4576"/>
                  <a:pt x="4377" y="4601"/>
                </a:cubicBezTo>
                <a:cubicBezTo>
                  <a:pt x="4401" y="4626"/>
                  <a:pt x="4377" y="4651"/>
                  <a:pt x="4377" y="4676"/>
                </a:cubicBezTo>
                <a:cubicBezTo>
                  <a:pt x="4377" y="4701"/>
                  <a:pt x="4427" y="4726"/>
                  <a:pt x="4477" y="4776"/>
                </a:cubicBezTo>
                <a:cubicBezTo>
                  <a:pt x="4527" y="4826"/>
                  <a:pt x="4501" y="4876"/>
                  <a:pt x="4527" y="4876"/>
                </a:cubicBezTo>
                <a:cubicBezTo>
                  <a:pt x="4577" y="4876"/>
                  <a:pt x="4601" y="4901"/>
                  <a:pt x="4652" y="4926"/>
                </a:cubicBezTo>
                <a:cubicBezTo>
                  <a:pt x="4677" y="4951"/>
                  <a:pt x="4701" y="4926"/>
                  <a:pt x="4727" y="4926"/>
                </a:cubicBezTo>
                <a:cubicBezTo>
                  <a:pt x="4752" y="4926"/>
                  <a:pt x="4801" y="5001"/>
                  <a:pt x="4827" y="5026"/>
                </a:cubicBezTo>
                <a:cubicBezTo>
                  <a:pt x="4827" y="5051"/>
                  <a:pt x="4827" y="5076"/>
                  <a:pt x="4827" y="5101"/>
                </a:cubicBezTo>
                <a:cubicBezTo>
                  <a:pt x="5052" y="5076"/>
                  <a:pt x="5052" y="5076"/>
                  <a:pt x="5052" y="5076"/>
                </a:cubicBezTo>
                <a:cubicBezTo>
                  <a:pt x="5052" y="5076"/>
                  <a:pt x="5127" y="5101"/>
                  <a:pt x="5152" y="5126"/>
                </a:cubicBezTo>
                <a:cubicBezTo>
                  <a:pt x="5202" y="5126"/>
                  <a:pt x="5402" y="5201"/>
                  <a:pt x="5402" y="5201"/>
                </a:cubicBezTo>
                <a:cubicBezTo>
                  <a:pt x="5677" y="5201"/>
                  <a:pt x="5677" y="5201"/>
                  <a:pt x="5677" y="5201"/>
                </a:cubicBezTo>
                <a:cubicBezTo>
                  <a:pt x="5702" y="5151"/>
                  <a:pt x="5702" y="5151"/>
                  <a:pt x="5702" y="5151"/>
                </a:cubicBezTo>
                <a:cubicBezTo>
                  <a:pt x="5852" y="5151"/>
                  <a:pt x="5852" y="5151"/>
                  <a:pt x="5852" y="5151"/>
                </a:cubicBezTo>
                <a:cubicBezTo>
                  <a:pt x="5852" y="5151"/>
                  <a:pt x="5927" y="5251"/>
                  <a:pt x="5952" y="5251"/>
                </a:cubicBezTo>
                <a:cubicBezTo>
                  <a:pt x="5977" y="5277"/>
                  <a:pt x="6002" y="5301"/>
                  <a:pt x="6002" y="5326"/>
                </a:cubicBezTo>
                <a:cubicBezTo>
                  <a:pt x="6002" y="5351"/>
                  <a:pt x="6027" y="5377"/>
                  <a:pt x="6052" y="5401"/>
                </a:cubicBezTo>
                <a:cubicBezTo>
                  <a:pt x="6077" y="5401"/>
                  <a:pt x="6152" y="5451"/>
                  <a:pt x="6152" y="5451"/>
                </a:cubicBezTo>
                <a:cubicBezTo>
                  <a:pt x="6177" y="5451"/>
                  <a:pt x="6177" y="5351"/>
                  <a:pt x="6227" y="5351"/>
                </a:cubicBezTo>
                <a:cubicBezTo>
                  <a:pt x="6277" y="5377"/>
                  <a:pt x="6377" y="5401"/>
                  <a:pt x="6402" y="5451"/>
                </a:cubicBezTo>
                <a:cubicBezTo>
                  <a:pt x="6402" y="5526"/>
                  <a:pt x="6477" y="5577"/>
                  <a:pt x="6477" y="5577"/>
                </a:cubicBezTo>
                <a:cubicBezTo>
                  <a:pt x="6502" y="5601"/>
                  <a:pt x="6502" y="5626"/>
                  <a:pt x="6502" y="5651"/>
                </a:cubicBezTo>
                <a:cubicBezTo>
                  <a:pt x="6527" y="5677"/>
                  <a:pt x="6527" y="5701"/>
                  <a:pt x="6527" y="5701"/>
                </a:cubicBezTo>
                <a:cubicBezTo>
                  <a:pt x="6552" y="5701"/>
                  <a:pt x="6627" y="5751"/>
                  <a:pt x="6652" y="5751"/>
                </a:cubicBezTo>
                <a:cubicBezTo>
                  <a:pt x="6677" y="5751"/>
                  <a:pt x="6677" y="5777"/>
                  <a:pt x="6702" y="5777"/>
                </a:cubicBezTo>
                <a:cubicBezTo>
                  <a:pt x="6702" y="5701"/>
                  <a:pt x="6627" y="5677"/>
                  <a:pt x="6677" y="5651"/>
                </a:cubicBezTo>
                <a:cubicBezTo>
                  <a:pt x="6728" y="5626"/>
                  <a:pt x="6677" y="5577"/>
                  <a:pt x="6702" y="5577"/>
                </a:cubicBezTo>
                <a:cubicBezTo>
                  <a:pt x="6728" y="5551"/>
                  <a:pt x="6777" y="5526"/>
                  <a:pt x="6777" y="5501"/>
                </a:cubicBezTo>
                <a:cubicBezTo>
                  <a:pt x="6777" y="5477"/>
                  <a:pt x="6802" y="5477"/>
                  <a:pt x="6828" y="5477"/>
                </a:cubicBezTo>
                <a:cubicBezTo>
                  <a:pt x="6852" y="5501"/>
                  <a:pt x="6928" y="5426"/>
                  <a:pt x="6928" y="5401"/>
                </a:cubicBezTo>
                <a:cubicBezTo>
                  <a:pt x="6902" y="5377"/>
                  <a:pt x="6928" y="5377"/>
                  <a:pt x="6952" y="5401"/>
                </a:cubicBezTo>
                <a:cubicBezTo>
                  <a:pt x="7002" y="5401"/>
                  <a:pt x="7002" y="5351"/>
                  <a:pt x="7028" y="5351"/>
                </a:cubicBezTo>
                <a:cubicBezTo>
                  <a:pt x="7052" y="5351"/>
                  <a:pt x="7077" y="5377"/>
                  <a:pt x="7077" y="5351"/>
                </a:cubicBezTo>
                <a:cubicBezTo>
                  <a:pt x="7077" y="5326"/>
                  <a:pt x="7102" y="5351"/>
                  <a:pt x="7102" y="5377"/>
                </a:cubicBezTo>
                <a:cubicBezTo>
                  <a:pt x="7128" y="5401"/>
                  <a:pt x="7177" y="5401"/>
                  <a:pt x="7202" y="5377"/>
                </a:cubicBezTo>
                <a:cubicBezTo>
                  <a:pt x="7202" y="5351"/>
                  <a:pt x="7228" y="5377"/>
                  <a:pt x="7252" y="5401"/>
                </a:cubicBezTo>
                <a:cubicBezTo>
                  <a:pt x="7277" y="5426"/>
                  <a:pt x="7302" y="5426"/>
                  <a:pt x="7328" y="5426"/>
                </a:cubicBezTo>
                <a:cubicBezTo>
                  <a:pt x="7377" y="5426"/>
                  <a:pt x="7377" y="5401"/>
                  <a:pt x="7377" y="5377"/>
                </a:cubicBezTo>
                <a:cubicBezTo>
                  <a:pt x="7377" y="5351"/>
                  <a:pt x="7428" y="5451"/>
                  <a:pt x="7452" y="5451"/>
                </a:cubicBezTo>
                <a:cubicBezTo>
                  <a:pt x="7502" y="5451"/>
                  <a:pt x="7477" y="5426"/>
                  <a:pt x="7428" y="5401"/>
                </a:cubicBezTo>
                <a:cubicBezTo>
                  <a:pt x="7402" y="5377"/>
                  <a:pt x="7452" y="5377"/>
                  <a:pt x="7428" y="5351"/>
                </a:cubicBezTo>
                <a:cubicBezTo>
                  <a:pt x="7402" y="5326"/>
                  <a:pt x="7452" y="5301"/>
                  <a:pt x="7502" y="5301"/>
                </a:cubicBezTo>
                <a:cubicBezTo>
                  <a:pt x="7552" y="5301"/>
                  <a:pt x="7552" y="5326"/>
                  <a:pt x="7577" y="5301"/>
                </a:cubicBezTo>
                <a:cubicBezTo>
                  <a:pt x="7577" y="5251"/>
                  <a:pt x="7602" y="5301"/>
                  <a:pt x="7602" y="5326"/>
                </a:cubicBezTo>
                <a:cubicBezTo>
                  <a:pt x="7602" y="5351"/>
                  <a:pt x="7677" y="5301"/>
                  <a:pt x="7728" y="5301"/>
                </a:cubicBezTo>
                <a:cubicBezTo>
                  <a:pt x="7777" y="5301"/>
                  <a:pt x="7802" y="5326"/>
                  <a:pt x="7828" y="5351"/>
                </a:cubicBezTo>
                <a:cubicBezTo>
                  <a:pt x="7828" y="5377"/>
                  <a:pt x="7853" y="5401"/>
                  <a:pt x="7877" y="5377"/>
                </a:cubicBezTo>
                <a:cubicBezTo>
                  <a:pt x="7902" y="5351"/>
                  <a:pt x="7928" y="5326"/>
                  <a:pt x="7977" y="5351"/>
                </a:cubicBezTo>
                <a:cubicBezTo>
                  <a:pt x="8002" y="5377"/>
                  <a:pt x="8028" y="5401"/>
                  <a:pt x="8053" y="5451"/>
                </a:cubicBezTo>
                <a:cubicBezTo>
                  <a:pt x="8102" y="5477"/>
                  <a:pt x="8053" y="5526"/>
                  <a:pt x="8053" y="5551"/>
                </a:cubicBezTo>
                <a:cubicBezTo>
                  <a:pt x="8077" y="5577"/>
                  <a:pt x="8053" y="5626"/>
                  <a:pt x="8102" y="5651"/>
                </a:cubicBezTo>
                <a:cubicBezTo>
                  <a:pt x="8153" y="5677"/>
                  <a:pt x="8102" y="5726"/>
                  <a:pt x="8153" y="5751"/>
                </a:cubicBezTo>
                <a:cubicBezTo>
                  <a:pt x="8177" y="5751"/>
                  <a:pt x="8202" y="5801"/>
                  <a:pt x="8202" y="5826"/>
                </a:cubicBezTo>
                <a:cubicBezTo>
                  <a:pt x="8202" y="5850"/>
                  <a:pt x="8277" y="5875"/>
                  <a:pt x="8277" y="5850"/>
                </a:cubicBezTo>
                <a:cubicBezTo>
                  <a:pt x="8277" y="5801"/>
                  <a:pt x="8302" y="5751"/>
                  <a:pt x="8328" y="5726"/>
                </a:cubicBezTo>
                <a:cubicBezTo>
                  <a:pt x="8328" y="5701"/>
                  <a:pt x="8302" y="5577"/>
                  <a:pt x="8277" y="5551"/>
                </a:cubicBezTo>
                <a:cubicBezTo>
                  <a:pt x="8228" y="5501"/>
                  <a:pt x="8277" y="5501"/>
                  <a:pt x="8228" y="5451"/>
                </a:cubicBezTo>
                <a:cubicBezTo>
                  <a:pt x="8202" y="5401"/>
                  <a:pt x="8177" y="5326"/>
                  <a:pt x="8177" y="5277"/>
                </a:cubicBezTo>
                <a:cubicBezTo>
                  <a:pt x="8177" y="5201"/>
                  <a:pt x="8253" y="5101"/>
                  <a:pt x="8302" y="5076"/>
                </a:cubicBezTo>
                <a:cubicBezTo>
                  <a:pt x="8328" y="5051"/>
                  <a:pt x="8377" y="5051"/>
                  <a:pt x="8377" y="5026"/>
                </a:cubicBezTo>
                <a:cubicBezTo>
                  <a:pt x="8377" y="5001"/>
                  <a:pt x="8428" y="4951"/>
                  <a:pt x="8453" y="4951"/>
                </a:cubicBezTo>
                <a:cubicBezTo>
                  <a:pt x="8477" y="4951"/>
                  <a:pt x="8502" y="4951"/>
                  <a:pt x="8502" y="4926"/>
                </a:cubicBezTo>
                <a:cubicBezTo>
                  <a:pt x="8528" y="4901"/>
                  <a:pt x="8553" y="4876"/>
                  <a:pt x="8602" y="4851"/>
                </a:cubicBezTo>
                <a:cubicBezTo>
                  <a:pt x="8678" y="4851"/>
                  <a:pt x="8628" y="4826"/>
                  <a:pt x="8628" y="4801"/>
                </a:cubicBezTo>
                <a:cubicBezTo>
                  <a:pt x="8602" y="4776"/>
                  <a:pt x="8628" y="4751"/>
                  <a:pt x="8653" y="4751"/>
                </a:cubicBezTo>
                <a:cubicBezTo>
                  <a:pt x="8653" y="4776"/>
                  <a:pt x="8678" y="4776"/>
                  <a:pt x="8702" y="4776"/>
                </a:cubicBezTo>
                <a:cubicBezTo>
                  <a:pt x="8728" y="4751"/>
                  <a:pt x="8778" y="4701"/>
                  <a:pt x="8728" y="4701"/>
                </a:cubicBezTo>
                <a:cubicBezTo>
                  <a:pt x="8678" y="4701"/>
                  <a:pt x="8678" y="4701"/>
                  <a:pt x="8702" y="4676"/>
                </a:cubicBezTo>
                <a:cubicBezTo>
                  <a:pt x="8728" y="4676"/>
                  <a:pt x="8702" y="4626"/>
                  <a:pt x="8678" y="4626"/>
                </a:cubicBezTo>
                <a:cubicBezTo>
                  <a:pt x="8628" y="4601"/>
                  <a:pt x="8653" y="4601"/>
                  <a:pt x="8678" y="4576"/>
                </a:cubicBezTo>
                <a:cubicBezTo>
                  <a:pt x="8702" y="4551"/>
                  <a:pt x="8628" y="4501"/>
                  <a:pt x="8602" y="4501"/>
                </a:cubicBezTo>
                <a:cubicBezTo>
                  <a:pt x="8578" y="4476"/>
                  <a:pt x="8628" y="4451"/>
                  <a:pt x="8653" y="4451"/>
                </a:cubicBezTo>
                <a:cubicBezTo>
                  <a:pt x="8678" y="4451"/>
                  <a:pt x="8653" y="4351"/>
                  <a:pt x="8653" y="4326"/>
                </a:cubicBezTo>
                <a:cubicBezTo>
                  <a:pt x="8678" y="4301"/>
                  <a:pt x="8702" y="4301"/>
                  <a:pt x="8702" y="4326"/>
                </a:cubicBezTo>
                <a:cubicBezTo>
                  <a:pt x="8678" y="4351"/>
                  <a:pt x="8653" y="4401"/>
                  <a:pt x="8678" y="4426"/>
                </a:cubicBezTo>
                <a:cubicBezTo>
                  <a:pt x="8702" y="4451"/>
                  <a:pt x="8728" y="4501"/>
                  <a:pt x="8702" y="4526"/>
                </a:cubicBezTo>
                <a:cubicBezTo>
                  <a:pt x="8702" y="4576"/>
                  <a:pt x="8728" y="4576"/>
                  <a:pt x="8753" y="4501"/>
                </a:cubicBezTo>
                <a:cubicBezTo>
                  <a:pt x="8778" y="4451"/>
                  <a:pt x="8778" y="4401"/>
                  <a:pt x="8753" y="4376"/>
                </a:cubicBezTo>
                <a:cubicBezTo>
                  <a:pt x="8753" y="4376"/>
                  <a:pt x="8753" y="4326"/>
                  <a:pt x="8778" y="4351"/>
                </a:cubicBezTo>
                <a:cubicBezTo>
                  <a:pt x="8802" y="4376"/>
                  <a:pt x="8802" y="4376"/>
                  <a:pt x="8828" y="4351"/>
                </a:cubicBezTo>
                <a:cubicBezTo>
                  <a:pt x="8878" y="4301"/>
                  <a:pt x="8902" y="4251"/>
                  <a:pt x="8878" y="4226"/>
                </a:cubicBezTo>
                <a:cubicBezTo>
                  <a:pt x="8853" y="4201"/>
                  <a:pt x="8902" y="4201"/>
                  <a:pt x="8928" y="4201"/>
                </a:cubicBezTo>
                <a:cubicBezTo>
                  <a:pt x="8978" y="4201"/>
                  <a:pt x="9078" y="4176"/>
                  <a:pt x="9078" y="4151"/>
                </a:cubicBezTo>
                <a:cubicBezTo>
                  <a:pt x="9102" y="4126"/>
                  <a:pt x="8928" y="4176"/>
                  <a:pt x="8928" y="4151"/>
                </a:cubicBezTo>
                <a:cubicBezTo>
                  <a:pt x="8928" y="4126"/>
                  <a:pt x="9028" y="4101"/>
                  <a:pt x="9078" y="4101"/>
                </a:cubicBezTo>
                <a:cubicBezTo>
                  <a:pt x="9128" y="4101"/>
                  <a:pt x="9102" y="4051"/>
                  <a:pt x="9128" y="4076"/>
                </a:cubicBezTo>
                <a:cubicBezTo>
                  <a:pt x="9153" y="4101"/>
                  <a:pt x="9178" y="4101"/>
                  <a:pt x="9202" y="4076"/>
                </a:cubicBezTo>
                <a:cubicBezTo>
                  <a:pt x="9228" y="4051"/>
                  <a:pt x="9202" y="4001"/>
                  <a:pt x="9178" y="4001"/>
                </a:cubicBezTo>
                <a:cubicBezTo>
                  <a:pt x="9153" y="4001"/>
                  <a:pt x="9202" y="3976"/>
                  <a:pt x="9202" y="3951"/>
                </a:cubicBezTo>
                <a:cubicBezTo>
                  <a:pt x="9178" y="3926"/>
                  <a:pt x="9228" y="3851"/>
                  <a:pt x="9253" y="3851"/>
                </a:cubicBezTo>
                <a:cubicBezTo>
                  <a:pt x="9302" y="3851"/>
                  <a:pt x="9278" y="3826"/>
                  <a:pt x="9302" y="3826"/>
                </a:cubicBezTo>
                <a:cubicBezTo>
                  <a:pt x="9353" y="3826"/>
                  <a:pt x="9353" y="3776"/>
                  <a:pt x="9378" y="3751"/>
                </a:cubicBezTo>
                <a:cubicBezTo>
                  <a:pt x="9403" y="3726"/>
                  <a:pt x="9453" y="3801"/>
                  <a:pt x="9503" y="3751"/>
                </a:cubicBezTo>
                <a:cubicBezTo>
                  <a:pt x="9503" y="3726"/>
                  <a:pt x="9528" y="3726"/>
                  <a:pt x="9578" y="3701"/>
                </a:cubicBezTo>
                <a:cubicBezTo>
                  <a:pt x="9453" y="3551"/>
                  <a:pt x="9478" y="3476"/>
                  <a:pt x="9478" y="3451"/>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49" name="Title 2">
            <a:extLst>
              <a:ext uri="{FF2B5EF4-FFF2-40B4-BE49-F238E27FC236}">
                <a16:creationId xmlns:a16="http://schemas.microsoft.com/office/drawing/2014/main" id="{4AAB04C7-A75E-4623-AB59-71E3900EAC7B}"/>
              </a:ext>
            </a:extLst>
          </p:cNvPr>
          <p:cNvSpPr txBox="1">
            <a:spLocks/>
          </p:cNvSpPr>
          <p:nvPr/>
        </p:nvSpPr>
        <p:spPr>
          <a:xfrm>
            <a:off x="461640" y="234469"/>
            <a:ext cx="11631320" cy="439479"/>
          </a:xfrm>
          <a:prstGeom prst="rect">
            <a:avLst/>
          </a:prstGeom>
        </p:spPr>
        <p:txBody>
          <a:bodyPr vert="horz" wrap="square" lIns="0" tIns="0" rIns="0" bIns="0" rtlCol="0" anchor="b">
            <a:spAutoFit/>
          </a:bodyPr>
          <a:lst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a:lstStyle>
          <a:p>
            <a:pPr defTabSz="914354">
              <a:defRPr/>
            </a:pPr>
            <a:r>
              <a:rPr lang="en-US" spc="-151"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Significant interests towards 5G broadcast deployment worldwide</a:t>
            </a:r>
          </a:p>
        </p:txBody>
      </p:sp>
      <p:sp>
        <p:nvSpPr>
          <p:cNvPr id="320" name="Freeform 66">
            <a:extLst>
              <a:ext uri="{FF2B5EF4-FFF2-40B4-BE49-F238E27FC236}">
                <a16:creationId xmlns:a16="http://schemas.microsoft.com/office/drawing/2014/main" id="{5D27F4AF-609E-F243-9DD8-A4A74F20B900}"/>
              </a:ext>
            </a:extLst>
          </p:cNvPr>
          <p:cNvSpPr>
            <a:spLocks noChangeArrowheads="1"/>
          </p:cNvSpPr>
          <p:nvPr/>
        </p:nvSpPr>
        <p:spPr bwMode="auto">
          <a:xfrm>
            <a:off x="6060846" y="3217731"/>
            <a:ext cx="223593" cy="104063"/>
          </a:xfrm>
          <a:custGeom>
            <a:avLst/>
            <a:gdLst>
              <a:gd name="T0" fmla="*/ 573 w 700"/>
              <a:gd name="T1" fmla="*/ 25 h 326"/>
              <a:gd name="T2" fmla="*/ 573 w 700"/>
              <a:gd name="T3" fmla="*/ 25 h 326"/>
              <a:gd name="T4" fmla="*/ 499 w 700"/>
              <a:gd name="T5" fmla="*/ 0 h 326"/>
              <a:gd name="T6" fmla="*/ 473 w 700"/>
              <a:gd name="T7" fmla="*/ 50 h 326"/>
              <a:gd name="T8" fmla="*/ 398 w 700"/>
              <a:gd name="T9" fmla="*/ 50 h 326"/>
              <a:gd name="T10" fmla="*/ 348 w 700"/>
              <a:gd name="T11" fmla="*/ 100 h 326"/>
              <a:gd name="T12" fmla="*/ 299 w 700"/>
              <a:gd name="T13" fmla="*/ 150 h 326"/>
              <a:gd name="T14" fmla="*/ 273 w 700"/>
              <a:gd name="T15" fmla="*/ 175 h 326"/>
              <a:gd name="T16" fmla="*/ 173 w 700"/>
              <a:gd name="T17" fmla="*/ 200 h 326"/>
              <a:gd name="T18" fmla="*/ 125 w 700"/>
              <a:gd name="T19" fmla="*/ 200 h 326"/>
              <a:gd name="T20" fmla="*/ 74 w 700"/>
              <a:gd name="T21" fmla="*/ 200 h 326"/>
              <a:gd name="T22" fmla="*/ 0 w 700"/>
              <a:gd name="T23" fmla="*/ 200 h 326"/>
              <a:gd name="T24" fmla="*/ 0 w 700"/>
              <a:gd name="T25" fmla="*/ 250 h 326"/>
              <a:gd name="T26" fmla="*/ 49 w 700"/>
              <a:gd name="T27" fmla="*/ 275 h 326"/>
              <a:gd name="T28" fmla="*/ 100 w 700"/>
              <a:gd name="T29" fmla="*/ 275 h 326"/>
              <a:gd name="T30" fmla="*/ 173 w 700"/>
              <a:gd name="T31" fmla="*/ 250 h 326"/>
              <a:gd name="T32" fmla="*/ 248 w 700"/>
              <a:gd name="T33" fmla="*/ 250 h 326"/>
              <a:gd name="T34" fmla="*/ 248 w 700"/>
              <a:gd name="T35" fmla="*/ 300 h 326"/>
              <a:gd name="T36" fmla="*/ 348 w 700"/>
              <a:gd name="T37" fmla="*/ 300 h 326"/>
              <a:gd name="T38" fmla="*/ 448 w 700"/>
              <a:gd name="T39" fmla="*/ 325 h 326"/>
              <a:gd name="T40" fmla="*/ 524 w 700"/>
              <a:gd name="T41" fmla="*/ 300 h 326"/>
              <a:gd name="T42" fmla="*/ 599 w 700"/>
              <a:gd name="T43" fmla="*/ 275 h 326"/>
              <a:gd name="T44" fmla="*/ 599 w 700"/>
              <a:gd name="T45" fmla="*/ 275 h 326"/>
              <a:gd name="T46" fmla="*/ 599 w 700"/>
              <a:gd name="T47" fmla="*/ 250 h 326"/>
              <a:gd name="T48" fmla="*/ 624 w 700"/>
              <a:gd name="T49" fmla="*/ 200 h 326"/>
              <a:gd name="T50" fmla="*/ 624 w 700"/>
              <a:gd name="T51" fmla="*/ 175 h 326"/>
              <a:gd name="T52" fmla="*/ 673 w 700"/>
              <a:gd name="T53" fmla="*/ 150 h 326"/>
              <a:gd name="T54" fmla="*/ 699 w 700"/>
              <a:gd name="T55" fmla="*/ 125 h 326"/>
              <a:gd name="T56" fmla="*/ 649 w 700"/>
              <a:gd name="T57" fmla="*/ 50 h 326"/>
              <a:gd name="T58" fmla="*/ 573 w 700"/>
              <a:gd name="T59"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0" h="326">
                <a:moveTo>
                  <a:pt x="573" y="25"/>
                </a:moveTo>
                <a:lnTo>
                  <a:pt x="573" y="25"/>
                </a:lnTo>
                <a:cubicBezTo>
                  <a:pt x="548" y="0"/>
                  <a:pt x="499" y="0"/>
                  <a:pt x="499" y="0"/>
                </a:cubicBezTo>
                <a:cubicBezTo>
                  <a:pt x="499" y="0"/>
                  <a:pt x="473" y="25"/>
                  <a:pt x="473" y="50"/>
                </a:cubicBezTo>
                <a:cubicBezTo>
                  <a:pt x="473" y="50"/>
                  <a:pt x="424" y="50"/>
                  <a:pt x="398" y="50"/>
                </a:cubicBezTo>
                <a:cubicBezTo>
                  <a:pt x="398" y="75"/>
                  <a:pt x="348" y="75"/>
                  <a:pt x="348" y="100"/>
                </a:cubicBezTo>
                <a:cubicBezTo>
                  <a:pt x="348" y="100"/>
                  <a:pt x="299" y="100"/>
                  <a:pt x="299" y="150"/>
                </a:cubicBezTo>
                <a:cubicBezTo>
                  <a:pt x="324" y="200"/>
                  <a:pt x="273" y="175"/>
                  <a:pt x="273" y="175"/>
                </a:cubicBezTo>
                <a:cubicBezTo>
                  <a:pt x="248" y="175"/>
                  <a:pt x="199" y="175"/>
                  <a:pt x="173" y="200"/>
                </a:cubicBezTo>
                <a:cubicBezTo>
                  <a:pt x="148" y="200"/>
                  <a:pt x="125" y="200"/>
                  <a:pt x="125" y="200"/>
                </a:cubicBezTo>
                <a:cubicBezTo>
                  <a:pt x="100" y="200"/>
                  <a:pt x="74" y="175"/>
                  <a:pt x="74" y="200"/>
                </a:cubicBezTo>
                <a:cubicBezTo>
                  <a:pt x="49" y="225"/>
                  <a:pt x="25" y="200"/>
                  <a:pt x="0" y="200"/>
                </a:cubicBezTo>
                <a:cubicBezTo>
                  <a:pt x="0" y="200"/>
                  <a:pt x="0" y="225"/>
                  <a:pt x="0" y="250"/>
                </a:cubicBezTo>
                <a:cubicBezTo>
                  <a:pt x="0" y="250"/>
                  <a:pt x="25" y="275"/>
                  <a:pt x="49" y="275"/>
                </a:cubicBezTo>
                <a:cubicBezTo>
                  <a:pt x="74" y="250"/>
                  <a:pt x="100" y="275"/>
                  <a:pt x="100" y="275"/>
                </a:cubicBezTo>
                <a:cubicBezTo>
                  <a:pt x="125" y="300"/>
                  <a:pt x="148" y="275"/>
                  <a:pt x="173" y="250"/>
                </a:cubicBezTo>
                <a:cubicBezTo>
                  <a:pt x="173" y="250"/>
                  <a:pt x="224" y="250"/>
                  <a:pt x="248" y="250"/>
                </a:cubicBezTo>
                <a:cubicBezTo>
                  <a:pt x="248" y="250"/>
                  <a:pt x="248" y="275"/>
                  <a:pt x="248" y="300"/>
                </a:cubicBezTo>
                <a:cubicBezTo>
                  <a:pt x="273" y="300"/>
                  <a:pt x="299" y="300"/>
                  <a:pt x="348" y="300"/>
                </a:cubicBezTo>
                <a:cubicBezTo>
                  <a:pt x="373" y="300"/>
                  <a:pt x="424" y="325"/>
                  <a:pt x="448" y="325"/>
                </a:cubicBezTo>
                <a:cubicBezTo>
                  <a:pt x="473" y="325"/>
                  <a:pt x="499" y="300"/>
                  <a:pt x="524" y="300"/>
                </a:cubicBezTo>
                <a:cubicBezTo>
                  <a:pt x="573" y="300"/>
                  <a:pt x="573" y="275"/>
                  <a:pt x="599" y="275"/>
                </a:cubicBezTo>
                <a:lnTo>
                  <a:pt x="599" y="275"/>
                </a:lnTo>
                <a:cubicBezTo>
                  <a:pt x="599" y="250"/>
                  <a:pt x="599" y="250"/>
                  <a:pt x="599" y="250"/>
                </a:cubicBezTo>
                <a:cubicBezTo>
                  <a:pt x="624" y="250"/>
                  <a:pt x="624" y="225"/>
                  <a:pt x="624" y="200"/>
                </a:cubicBezTo>
                <a:lnTo>
                  <a:pt x="624" y="175"/>
                </a:lnTo>
                <a:cubicBezTo>
                  <a:pt x="649" y="175"/>
                  <a:pt x="673" y="175"/>
                  <a:pt x="673" y="150"/>
                </a:cubicBezTo>
                <a:cubicBezTo>
                  <a:pt x="673" y="125"/>
                  <a:pt x="673" y="125"/>
                  <a:pt x="699" y="125"/>
                </a:cubicBezTo>
                <a:cubicBezTo>
                  <a:pt x="673" y="100"/>
                  <a:pt x="649" y="50"/>
                  <a:pt x="649" y="50"/>
                </a:cubicBezTo>
                <a:cubicBezTo>
                  <a:pt x="649" y="50"/>
                  <a:pt x="599" y="50"/>
                  <a:pt x="573" y="25"/>
                </a:cubicBezTo>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1" name="Freeform 83">
            <a:extLst>
              <a:ext uri="{FF2B5EF4-FFF2-40B4-BE49-F238E27FC236}">
                <a16:creationId xmlns:a16="http://schemas.microsoft.com/office/drawing/2014/main" id="{D5F728EF-C436-A74B-94A6-5A32620692A2}"/>
              </a:ext>
            </a:extLst>
          </p:cNvPr>
          <p:cNvSpPr>
            <a:spLocks noChangeArrowheads="1"/>
          </p:cNvSpPr>
          <p:nvPr/>
        </p:nvSpPr>
        <p:spPr bwMode="auto">
          <a:xfrm>
            <a:off x="5948344" y="2987107"/>
            <a:ext cx="271405" cy="303748"/>
          </a:xfrm>
          <a:custGeom>
            <a:avLst/>
            <a:gdLst>
              <a:gd name="T0" fmla="*/ 125 w 851"/>
              <a:gd name="T1" fmla="*/ 250 h 951"/>
              <a:gd name="T2" fmla="*/ 125 w 851"/>
              <a:gd name="T3" fmla="*/ 250 h 951"/>
              <a:gd name="T4" fmla="*/ 76 w 851"/>
              <a:gd name="T5" fmla="*/ 300 h 951"/>
              <a:gd name="T6" fmla="*/ 100 w 851"/>
              <a:gd name="T7" fmla="*/ 350 h 951"/>
              <a:gd name="T8" fmla="*/ 76 w 851"/>
              <a:gd name="T9" fmla="*/ 374 h 951"/>
              <a:gd name="T10" fmla="*/ 25 w 851"/>
              <a:gd name="T11" fmla="*/ 400 h 951"/>
              <a:gd name="T12" fmla="*/ 25 w 851"/>
              <a:gd name="T13" fmla="*/ 450 h 951"/>
              <a:gd name="T14" fmla="*/ 0 w 851"/>
              <a:gd name="T15" fmla="*/ 525 h 951"/>
              <a:gd name="T16" fmla="*/ 25 w 851"/>
              <a:gd name="T17" fmla="*/ 575 h 951"/>
              <a:gd name="T18" fmla="*/ 25 w 851"/>
              <a:gd name="T19" fmla="*/ 599 h 951"/>
              <a:gd name="T20" fmla="*/ 51 w 851"/>
              <a:gd name="T21" fmla="*/ 675 h 951"/>
              <a:gd name="T22" fmla="*/ 76 w 851"/>
              <a:gd name="T23" fmla="*/ 699 h 951"/>
              <a:gd name="T24" fmla="*/ 125 w 851"/>
              <a:gd name="T25" fmla="*/ 725 h 951"/>
              <a:gd name="T26" fmla="*/ 176 w 851"/>
              <a:gd name="T27" fmla="*/ 750 h 951"/>
              <a:gd name="T28" fmla="*/ 200 w 851"/>
              <a:gd name="T29" fmla="*/ 775 h 951"/>
              <a:gd name="T30" fmla="*/ 151 w 851"/>
              <a:gd name="T31" fmla="*/ 850 h 951"/>
              <a:gd name="T32" fmla="*/ 151 w 851"/>
              <a:gd name="T33" fmla="*/ 900 h 951"/>
              <a:gd name="T34" fmla="*/ 225 w 851"/>
              <a:gd name="T35" fmla="*/ 900 h 951"/>
              <a:gd name="T36" fmla="*/ 300 w 851"/>
              <a:gd name="T37" fmla="*/ 900 h 951"/>
              <a:gd name="T38" fmla="*/ 351 w 851"/>
              <a:gd name="T39" fmla="*/ 925 h 951"/>
              <a:gd name="T40" fmla="*/ 351 w 851"/>
              <a:gd name="T41" fmla="*/ 925 h 951"/>
              <a:gd name="T42" fmla="*/ 425 w 851"/>
              <a:gd name="T43" fmla="*/ 925 h 951"/>
              <a:gd name="T44" fmla="*/ 476 w 851"/>
              <a:gd name="T45" fmla="*/ 925 h 951"/>
              <a:gd name="T46" fmla="*/ 524 w 851"/>
              <a:gd name="T47" fmla="*/ 925 h 951"/>
              <a:gd name="T48" fmla="*/ 624 w 851"/>
              <a:gd name="T49" fmla="*/ 900 h 951"/>
              <a:gd name="T50" fmla="*/ 650 w 851"/>
              <a:gd name="T51" fmla="*/ 875 h 951"/>
              <a:gd name="T52" fmla="*/ 699 w 851"/>
              <a:gd name="T53" fmla="*/ 825 h 951"/>
              <a:gd name="T54" fmla="*/ 749 w 851"/>
              <a:gd name="T55" fmla="*/ 775 h 951"/>
              <a:gd name="T56" fmla="*/ 650 w 851"/>
              <a:gd name="T57" fmla="*/ 699 h 951"/>
              <a:gd name="T58" fmla="*/ 624 w 851"/>
              <a:gd name="T59" fmla="*/ 625 h 951"/>
              <a:gd name="T60" fmla="*/ 599 w 851"/>
              <a:gd name="T61" fmla="*/ 575 h 951"/>
              <a:gd name="T62" fmla="*/ 699 w 851"/>
              <a:gd name="T63" fmla="*/ 525 h 951"/>
              <a:gd name="T64" fmla="*/ 775 w 851"/>
              <a:gd name="T65" fmla="*/ 500 h 951"/>
              <a:gd name="T66" fmla="*/ 824 w 851"/>
              <a:gd name="T67" fmla="*/ 500 h 951"/>
              <a:gd name="T68" fmla="*/ 850 w 851"/>
              <a:gd name="T69" fmla="*/ 450 h 951"/>
              <a:gd name="T70" fmla="*/ 824 w 851"/>
              <a:gd name="T71" fmla="*/ 374 h 951"/>
              <a:gd name="T72" fmla="*/ 799 w 851"/>
              <a:gd name="T73" fmla="*/ 325 h 951"/>
              <a:gd name="T74" fmla="*/ 775 w 851"/>
              <a:gd name="T75" fmla="*/ 274 h 951"/>
              <a:gd name="T76" fmla="*/ 775 w 851"/>
              <a:gd name="T77" fmla="*/ 225 h 951"/>
              <a:gd name="T78" fmla="*/ 775 w 851"/>
              <a:gd name="T79" fmla="*/ 125 h 951"/>
              <a:gd name="T80" fmla="*/ 775 w 851"/>
              <a:gd name="T81" fmla="*/ 125 h 951"/>
              <a:gd name="T82" fmla="*/ 775 w 851"/>
              <a:gd name="T83" fmla="*/ 125 h 951"/>
              <a:gd name="T84" fmla="*/ 724 w 851"/>
              <a:gd name="T85" fmla="*/ 74 h 951"/>
              <a:gd name="T86" fmla="*/ 724 w 851"/>
              <a:gd name="T87" fmla="*/ 25 h 951"/>
              <a:gd name="T88" fmla="*/ 650 w 851"/>
              <a:gd name="T89" fmla="*/ 50 h 951"/>
              <a:gd name="T90" fmla="*/ 524 w 851"/>
              <a:gd name="T91" fmla="*/ 100 h 951"/>
              <a:gd name="T92" fmla="*/ 476 w 851"/>
              <a:gd name="T93" fmla="*/ 74 h 951"/>
              <a:gd name="T94" fmla="*/ 451 w 851"/>
              <a:gd name="T95" fmla="*/ 50 h 951"/>
              <a:gd name="T96" fmla="*/ 376 w 851"/>
              <a:gd name="T97" fmla="*/ 25 h 951"/>
              <a:gd name="T98" fmla="*/ 376 w 851"/>
              <a:gd name="T99" fmla="*/ 0 h 951"/>
              <a:gd name="T100" fmla="*/ 351 w 851"/>
              <a:gd name="T101" fmla="*/ 0 h 951"/>
              <a:gd name="T102" fmla="*/ 251 w 851"/>
              <a:gd name="T103" fmla="*/ 0 h 951"/>
              <a:gd name="T104" fmla="*/ 276 w 851"/>
              <a:gd name="T105" fmla="*/ 50 h 951"/>
              <a:gd name="T106" fmla="*/ 300 w 851"/>
              <a:gd name="T107" fmla="*/ 125 h 951"/>
              <a:gd name="T108" fmla="*/ 251 w 851"/>
              <a:gd name="T109" fmla="*/ 150 h 951"/>
              <a:gd name="T110" fmla="*/ 200 w 851"/>
              <a:gd name="T111" fmla="*/ 150 h 951"/>
              <a:gd name="T112" fmla="*/ 125 w 851"/>
              <a:gd name="T113" fmla="*/ 150 h 951"/>
              <a:gd name="T114" fmla="*/ 125 w 851"/>
              <a:gd name="T115" fmla="*/ 174 h 951"/>
              <a:gd name="T116" fmla="*/ 125 w 851"/>
              <a:gd name="T117" fmla="*/ 250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1" h="951">
                <a:moveTo>
                  <a:pt x="125" y="250"/>
                </a:moveTo>
                <a:lnTo>
                  <a:pt x="125" y="250"/>
                </a:lnTo>
                <a:cubicBezTo>
                  <a:pt x="100" y="274"/>
                  <a:pt x="76" y="274"/>
                  <a:pt x="76" y="300"/>
                </a:cubicBezTo>
                <a:cubicBezTo>
                  <a:pt x="76" y="300"/>
                  <a:pt x="100" y="325"/>
                  <a:pt x="100" y="350"/>
                </a:cubicBezTo>
                <a:cubicBezTo>
                  <a:pt x="100" y="350"/>
                  <a:pt x="76" y="350"/>
                  <a:pt x="76" y="374"/>
                </a:cubicBezTo>
                <a:cubicBezTo>
                  <a:pt x="76" y="400"/>
                  <a:pt x="51" y="400"/>
                  <a:pt x="25" y="400"/>
                </a:cubicBezTo>
                <a:cubicBezTo>
                  <a:pt x="25" y="400"/>
                  <a:pt x="25" y="425"/>
                  <a:pt x="25" y="450"/>
                </a:cubicBezTo>
                <a:cubicBezTo>
                  <a:pt x="25" y="450"/>
                  <a:pt x="25" y="500"/>
                  <a:pt x="0" y="525"/>
                </a:cubicBezTo>
                <a:cubicBezTo>
                  <a:pt x="0" y="525"/>
                  <a:pt x="51" y="550"/>
                  <a:pt x="25" y="575"/>
                </a:cubicBezTo>
                <a:cubicBezTo>
                  <a:pt x="25" y="575"/>
                  <a:pt x="0" y="599"/>
                  <a:pt x="25" y="599"/>
                </a:cubicBezTo>
                <a:cubicBezTo>
                  <a:pt x="25" y="625"/>
                  <a:pt x="51" y="625"/>
                  <a:pt x="51" y="675"/>
                </a:cubicBezTo>
                <a:cubicBezTo>
                  <a:pt x="51" y="699"/>
                  <a:pt x="76" y="699"/>
                  <a:pt x="76" y="699"/>
                </a:cubicBezTo>
                <a:cubicBezTo>
                  <a:pt x="76" y="725"/>
                  <a:pt x="100" y="725"/>
                  <a:pt x="125" y="725"/>
                </a:cubicBezTo>
                <a:cubicBezTo>
                  <a:pt x="151" y="725"/>
                  <a:pt x="176" y="750"/>
                  <a:pt x="176" y="750"/>
                </a:cubicBezTo>
                <a:cubicBezTo>
                  <a:pt x="200" y="750"/>
                  <a:pt x="225" y="750"/>
                  <a:pt x="200" y="775"/>
                </a:cubicBezTo>
                <a:cubicBezTo>
                  <a:pt x="176" y="800"/>
                  <a:pt x="176" y="825"/>
                  <a:pt x="151" y="850"/>
                </a:cubicBezTo>
                <a:cubicBezTo>
                  <a:pt x="151" y="875"/>
                  <a:pt x="151" y="900"/>
                  <a:pt x="151" y="900"/>
                </a:cubicBezTo>
                <a:cubicBezTo>
                  <a:pt x="176" y="900"/>
                  <a:pt x="225" y="900"/>
                  <a:pt x="225" y="900"/>
                </a:cubicBezTo>
                <a:cubicBezTo>
                  <a:pt x="251" y="900"/>
                  <a:pt x="276" y="900"/>
                  <a:pt x="300" y="900"/>
                </a:cubicBezTo>
                <a:cubicBezTo>
                  <a:pt x="300" y="900"/>
                  <a:pt x="325" y="925"/>
                  <a:pt x="351" y="925"/>
                </a:cubicBezTo>
                <a:lnTo>
                  <a:pt x="351" y="925"/>
                </a:lnTo>
                <a:cubicBezTo>
                  <a:pt x="376" y="925"/>
                  <a:pt x="400" y="950"/>
                  <a:pt x="425" y="925"/>
                </a:cubicBezTo>
                <a:cubicBezTo>
                  <a:pt x="425" y="900"/>
                  <a:pt x="451" y="925"/>
                  <a:pt x="476" y="925"/>
                </a:cubicBezTo>
                <a:cubicBezTo>
                  <a:pt x="476" y="925"/>
                  <a:pt x="499" y="925"/>
                  <a:pt x="524" y="925"/>
                </a:cubicBezTo>
                <a:cubicBezTo>
                  <a:pt x="550" y="900"/>
                  <a:pt x="599" y="900"/>
                  <a:pt x="624" y="900"/>
                </a:cubicBezTo>
                <a:cubicBezTo>
                  <a:pt x="624" y="900"/>
                  <a:pt x="675" y="925"/>
                  <a:pt x="650" y="875"/>
                </a:cubicBezTo>
                <a:cubicBezTo>
                  <a:pt x="650" y="825"/>
                  <a:pt x="699" y="825"/>
                  <a:pt x="699" y="825"/>
                </a:cubicBezTo>
                <a:cubicBezTo>
                  <a:pt x="699" y="800"/>
                  <a:pt x="749" y="775"/>
                  <a:pt x="749" y="775"/>
                </a:cubicBezTo>
                <a:cubicBezTo>
                  <a:pt x="749" y="750"/>
                  <a:pt x="675" y="725"/>
                  <a:pt x="650" y="699"/>
                </a:cubicBezTo>
                <a:cubicBezTo>
                  <a:pt x="624" y="675"/>
                  <a:pt x="624" y="650"/>
                  <a:pt x="624" y="625"/>
                </a:cubicBezTo>
                <a:cubicBezTo>
                  <a:pt x="599" y="599"/>
                  <a:pt x="575" y="575"/>
                  <a:pt x="599" y="575"/>
                </a:cubicBezTo>
                <a:cubicBezTo>
                  <a:pt x="650" y="575"/>
                  <a:pt x="675" y="550"/>
                  <a:pt x="699" y="525"/>
                </a:cubicBezTo>
                <a:cubicBezTo>
                  <a:pt x="724" y="500"/>
                  <a:pt x="775" y="500"/>
                  <a:pt x="775" y="500"/>
                </a:cubicBezTo>
                <a:cubicBezTo>
                  <a:pt x="799" y="475"/>
                  <a:pt x="824" y="500"/>
                  <a:pt x="824" y="500"/>
                </a:cubicBezTo>
                <a:cubicBezTo>
                  <a:pt x="850" y="475"/>
                  <a:pt x="850" y="450"/>
                  <a:pt x="850" y="450"/>
                </a:cubicBezTo>
                <a:cubicBezTo>
                  <a:pt x="824" y="425"/>
                  <a:pt x="824" y="400"/>
                  <a:pt x="824" y="374"/>
                </a:cubicBezTo>
                <a:cubicBezTo>
                  <a:pt x="824" y="325"/>
                  <a:pt x="799" y="325"/>
                  <a:pt x="799" y="325"/>
                </a:cubicBezTo>
                <a:cubicBezTo>
                  <a:pt x="799" y="300"/>
                  <a:pt x="799" y="274"/>
                  <a:pt x="775" y="274"/>
                </a:cubicBezTo>
                <a:cubicBezTo>
                  <a:pt x="775" y="274"/>
                  <a:pt x="749" y="250"/>
                  <a:pt x="775" y="225"/>
                </a:cubicBezTo>
                <a:cubicBezTo>
                  <a:pt x="799" y="200"/>
                  <a:pt x="775" y="150"/>
                  <a:pt x="775" y="125"/>
                </a:cubicBezTo>
                <a:lnTo>
                  <a:pt x="775" y="125"/>
                </a:lnTo>
                <a:lnTo>
                  <a:pt x="775" y="125"/>
                </a:lnTo>
                <a:cubicBezTo>
                  <a:pt x="775" y="100"/>
                  <a:pt x="749" y="74"/>
                  <a:pt x="724" y="74"/>
                </a:cubicBezTo>
                <a:cubicBezTo>
                  <a:pt x="675" y="74"/>
                  <a:pt x="724" y="50"/>
                  <a:pt x="724" y="25"/>
                </a:cubicBezTo>
                <a:cubicBezTo>
                  <a:pt x="699" y="0"/>
                  <a:pt x="675" y="50"/>
                  <a:pt x="650" y="50"/>
                </a:cubicBezTo>
                <a:cubicBezTo>
                  <a:pt x="599" y="50"/>
                  <a:pt x="575" y="100"/>
                  <a:pt x="524" y="100"/>
                </a:cubicBezTo>
                <a:cubicBezTo>
                  <a:pt x="499" y="125"/>
                  <a:pt x="476" y="100"/>
                  <a:pt x="476" y="74"/>
                </a:cubicBezTo>
                <a:cubicBezTo>
                  <a:pt x="499" y="50"/>
                  <a:pt x="476" y="50"/>
                  <a:pt x="451" y="50"/>
                </a:cubicBezTo>
                <a:cubicBezTo>
                  <a:pt x="425" y="74"/>
                  <a:pt x="376" y="50"/>
                  <a:pt x="376" y="25"/>
                </a:cubicBezTo>
                <a:lnTo>
                  <a:pt x="376" y="0"/>
                </a:lnTo>
                <a:cubicBezTo>
                  <a:pt x="351" y="0"/>
                  <a:pt x="351" y="0"/>
                  <a:pt x="351" y="0"/>
                </a:cubicBezTo>
                <a:cubicBezTo>
                  <a:pt x="325" y="0"/>
                  <a:pt x="300" y="0"/>
                  <a:pt x="251" y="0"/>
                </a:cubicBezTo>
                <a:cubicBezTo>
                  <a:pt x="276" y="0"/>
                  <a:pt x="276" y="25"/>
                  <a:pt x="276" y="50"/>
                </a:cubicBezTo>
                <a:cubicBezTo>
                  <a:pt x="251" y="74"/>
                  <a:pt x="276" y="74"/>
                  <a:pt x="300" y="125"/>
                </a:cubicBezTo>
                <a:cubicBezTo>
                  <a:pt x="325" y="150"/>
                  <a:pt x="251" y="125"/>
                  <a:pt x="251" y="150"/>
                </a:cubicBezTo>
                <a:cubicBezTo>
                  <a:pt x="251" y="174"/>
                  <a:pt x="200" y="150"/>
                  <a:pt x="200" y="150"/>
                </a:cubicBezTo>
                <a:cubicBezTo>
                  <a:pt x="176" y="150"/>
                  <a:pt x="125" y="150"/>
                  <a:pt x="125" y="150"/>
                </a:cubicBezTo>
                <a:cubicBezTo>
                  <a:pt x="125" y="174"/>
                  <a:pt x="125" y="174"/>
                  <a:pt x="125" y="174"/>
                </a:cubicBezTo>
                <a:cubicBezTo>
                  <a:pt x="125" y="200"/>
                  <a:pt x="125" y="225"/>
                  <a:pt x="125" y="250"/>
                </a:cubicBezTo>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2" name="Freeform 102">
            <a:extLst>
              <a:ext uri="{FF2B5EF4-FFF2-40B4-BE49-F238E27FC236}">
                <a16:creationId xmlns:a16="http://schemas.microsoft.com/office/drawing/2014/main" id="{7CB3722C-F144-4E46-B659-511CB4071EEC}"/>
              </a:ext>
            </a:extLst>
          </p:cNvPr>
          <p:cNvSpPr>
            <a:spLocks noChangeArrowheads="1"/>
          </p:cNvSpPr>
          <p:nvPr/>
        </p:nvSpPr>
        <p:spPr bwMode="auto">
          <a:xfrm>
            <a:off x="3532423" y="4677410"/>
            <a:ext cx="1196712" cy="1220617"/>
          </a:xfrm>
          <a:custGeom>
            <a:avLst/>
            <a:gdLst>
              <a:gd name="T0" fmla="*/ 2051 w 3753"/>
              <a:gd name="T1" fmla="*/ 3675 h 3826"/>
              <a:gd name="T2" fmla="*/ 2151 w 3753"/>
              <a:gd name="T3" fmla="*/ 3550 h 3826"/>
              <a:gd name="T4" fmla="*/ 2376 w 3753"/>
              <a:gd name="T5" fmla="*/ 3300 h 3826"/>
              <a:gd name="T6" fmla="*/ 2427 w 3753"/>
              <a:gd name="T7" fmla="*/ 2950 h 3826"/>
              <a:gd name="T8" fmla="*/ 2727 w 3753"/>
              <a:gd name="T9" fmla="*/ 2775 h 3826"/>
              <a:gd name="T10" fmla="*/ 3027 w 3753"/>
              <a:gd name="T11" fmla="*/ 2700 h 3826"/>
              <a:gd name="T12" fmla="*/ 3176 w 3753"/>
              <a:gd name="T13" fmla="*/ 2500 h 3826"/>
              <a:gd name="T14" fmla="*/ 3252 w 3753"/>
              <a:gd name="T15" fmla="*/ 2250 h 3826"/>
              <a:gd name="T16" fmla="*/ 3327 w 3753"/>
              <a:gd name="T17" fmla="*/ 1900 h 3826"/>
              <a:gd name="T18" fmla="*/ 3352 w 3753"/>
              <a:gd name="T19" fmla="*/ 1700 h 3826"/>
              <a:gd name="T20" fmla="*/ 3576 w 3753"/>
              <a:gd name="T21" fmla="*/ 1500 h 3826"/>
              <a:gd name="T22" fmla="*/ 3601 w 3753"/>
              <a:gd name="T23" fmla="*/ 1000 h 3826"/>
              <a:gd name="T24" fmla="*/ 2927 w 3753"/>
              <a:gd name="T25" fmla="*/ 750 h 3826"/>
              <a:gd name="T26" fmla="*/ 2601 w 3753"/>
              <a:gd name="T27" fmla="*/ 574 h 3826"/>
              <a:gd name="T28" fmla="*/ 2327 w 3753"/>
              <a:gd name="T29" fmla="*/ 674 h 3826"/>
              <a:gd name="T30" fmla="*/ 2176 w 3753"/>
              <a:gd name="T31" fmla="*/ 574 h 3826"/>
              <a:gd name="T32" fmla="*/ 2201 w 3753"/>
              <a:gd name="T33" fmla="*/ 274 h 3826"/>
              <a:gd name="T34" fmla="*/ 1926 w 3753"/>
              <a:gd name="T35" fmla="*/ 300 h 3826"/>
              <a:gd name="T36" fmla="*/ 1701 w 3753"/>
              <a:gd name="T37" fmla="*/ 325 h 3826"/>
              <a:gd name="T38" fmla="*/ 1476 w 3753"/>
              <a:gd name="T39" fmla="*/ 374 h 3826"/>
              <a:gd name="T40" fmla="*/ 1351 w 3753"/>
              <a:gd name="T41" fmla="*/ 100 h 3826"/>
              <a:gd name="T42" fmla="*/ 1126 w 3753"/>
              <a:gd name="T43" fmla="*/ 100 h 3826"/>
              <a:gd name="T44" fmla="*/ 951 w 3753"/>
              <a:gd name="T45" fmla="*/ 125 h 3826"/>
              <a:gd name="T46" fmla="*/ 951 w 3753"/>
              <a:gd name="T47" fmla="*/ 250 h 3826"/>
              <a:gd name="T48" fmla="*/ 926 w 3753"/>
              <a:gd name="T49" fmla="*/ 350 h 3826"/>
              <a:gd name="T50" fmla="*/ 751 w 3753"/>
              <a:gd name="T51" fmla="*/ 425 h 3826"/>
              <a:gd name="T52" fmla="*/ 526 w 3753"/>
              <a:gd name="T53" fmla="*/ 350 h 3826"/>
              <a:gd name="T54" fmla="*/ 426 w 3753"/>
              <a:gd name="T55" fmla="*/ 450 h 3826"/>
              <a:gd name="T56" fmla="*/ 400 w 3753"/>
              <a:gd name="T57" fmla="*/ 774 h 3826"/>
              <a:gd name="T58" fmla="*/ 176 w 3753"/>
              <a:gd name="T59" fmla="*/ 950 h 3826"/>
              <a:gd name="T60" fmla="*/ 26 w 3753"/>
              <a:gd name="T61" fmla="*/ 1150 h 3826"/>
              <a:gd name="T62" fmla="*/ 76 w 3753"/>
              <a:gd name="T63" fmla="*/ 1375 h 3826"/>
              <a:gd name="T64" fmla="*/ 276 w 3753"/>
              <a:gd name="T65" fmla="*/ 1450 h 3826"/>
              <a:gd name="T66" fmla="*/ 451 w 3753"/>
              <a:gd name="T67" fmla="*/ 1550 h 3826"/>
              <a:gd name="T68" fmla="*/ 726 w 3753"/>
              <a:gd name="T69" fmla="*/ 1450 h 3826"/>
              <a:gd name="T70" fmla="*/ 951 w 3753"/>
              <a:gd name="T71" fmla="*/ 1700 h 3826"/>
              <a:gd name="T72" fmla="*/ 1151 w 3753"/>
              <a:gd name="T73" fmla="*/ 1775 h 3826"/>
              <a:gd name="T74" fmla="*/ 1301 w 3753"/>
              <a:gd name="T75" fmla="*/ 1950 h 3826"/>
              <a:gd name="T76" fmla="*/ 1476 w 3753"/>
              <a:gd name="T77" fmla="*/ 2125 h 3826"/>
              <a:gd name="T78" fmla="*/ 1501 w 3753"/>
              <a:gd name="T79" fmla="*/ 2400 h 3826"/>
              <a:gd name="T80" fmla="*/ 1576 w 3753"/>
              <a:gd name="T81" fmla="*/ 2625 h 3826"/>
              <a:gd name="T82" fmla="*/ 1776 w 3753"/>
              <a:gd name="T83" fmla="*/ 2825 h 3826"/>
              <a:gd name="T84" fmla="*/ 1901 w 3753"/>
              <a:gd name="T85" fmla="*/ 2975 h 3826"/>
              <a:gd name="T86" fmla="*/ 1626 w 3753"/>
              <a:gd name="T87" fmla="*/ 3350 h 3826"/>
              <a:gd name="T88" fmla="*/ 1651 w 3753"/>
              <a:gd name="T89" fmla="*/ 3475 h 3826"/>
              <a:gd name="T90" fmla="*/ 1851 w 3753"/>
              <a:gd name="T91" fmla="*/ 3625 h 3826"/>
              <a:gd name="T92" fmla="*/ 1976 w 3753"/>
              <a:gd name="T93" fmla="*/ 3801 h 3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53" h="3826">
                <a:moveTo>
                  <a:pt x="1976" y="3801"/>
                </a:moveTo>
                <a:lnTo>
                  <a:pt x="1976" y="3801"/>
                </a:lnTo>
                <a:cubicBezTo>
                  <a:pt x="2026" y="3750"/>
                  <a:pt x="2026" y="3725"/>
                  <a:pt x="2051" y="3675"/>
                </a:cubicBezTo>
                <a:cubicBezTo>
                  <a:pt x="2076" y="3625"/>
                  <a:pt x="2051" y="3601"/>
                  <a:pt x="2101" y="3550"/>
                </a:cubicBezTo>
                <a:cubicBezTo>
                  <a:pt x="2151" y="3525"/>
                  <a:pt x="2101" y="3475"/>
                  <a:pt x="2151" y="3450"/>
                </a:cubicBezTo>
                <a:cubicBezTo>
                  <a:pt x="2201" y="3425"/>
                  <a:pt x="2201" y="3475"/>
                  <a:pt x="2151" y="3550"/>
                </a:cubicBezTo>
                <a:cubicBezTo>
                  <a:pt x="2101" y="3601"/>
                  <a:pt x="2101" y="3625"/>
                  <a:pt x="2151" y="3575"/>
                </a:cubicBezTo>
                <a:cubicBezTo>
                  <a:pt x="2226" y="3525"/>
                  <a:pt x="2251" y="3475"/>
                  <a:pt x="2276" y="3400"/>
                </a:cubicBezTo>
                <a:cubicBezTo>
                  <a:pt x="2327" y="3325"/>
                  <a:pt x="2351" y="3300"/>
                  <a:pt x="2376" y="3300"/>
                </a:cubicBezTo>
                <a:cubicBezTo>
                  <a:pt x="2401" y="3275"/>
                  <a:pt x="2401" y="3200"/>
                  <a:pt x="2401" y="3150"/>
                </a:cubicBezTo>
                <a:cubicBezTo>
                  <a:pt x="2401" y="3100"/>
                  <a:pt x="2376" y="3050"/>
                  <a:pt x="2401" y="3025"/>
                </a:cubicBezTo>
                <a:cubicBezTo>
                  <a:pt x="2427" y="2975"/>
                  <a:pt x="2401" y="2950"/>
                  <a:pt x="2427" y="2950"/>
                </a:cubicBezTo>
                <a:cubicBezTo>
                  <a:pt x="2451" y="2950"/>
                  <a:pt x="2501" y="2900"/>
                  <a:pt x="2551" y="2850"/>
                </a:cubicBezTo>
                <a:cubicBezTo>
                  <a:pt x="2601" y="2800"/>
                  <a:pt x="2627" y="2800"/>
                  <a:pt x="2676" y="2800"/>
                </a:cubicBezTo>
                <a:cubicBezTo>
                  <a:pt x="2727" y="2800"/>
                  <a:pt x="2701" y="2775"/>
                  <a:pt x="2727" y="2775"/>
                </a:cubicBezTo>
                <a:cubicBezTo>
                  <a:pt x="2751" y="2775"/>
                  <a:pt x="2776" y="2725"/>
                  <a:pt x="2801" y="2725"/>
                </a:cubicBezTo>
                <a:cubicBezTo>
                  <a:pt x="2827" y="2700"/>
                  <a:pt x="2901" y="2725"/>
                  <a:pt x="2951" y="2725"/>
                </a:cubicBezTo>
                <a:cubicBezTo>
                  <a:pt x="3001" y="2725"/>
                  <a:pt x="3027" y="2725"/>
                  <a:pt x="3027" y="2700"/>
                </a:cubicBezTo>
                <a:cubicBezTo>
                  <a:pt x="3027" y="2650"/>
                  <a:pt x="3051" y="2625"/>
                  <a:pt x="3101" y="2625"/>
                </a:cubicBezTo>
                <a:cubicBezTo>
                  <a:pt x="3127" y="2625"/>
                  <a:pt x="3127" y="2625"/>
                  <a:pt x="3127" y="2575"/>
                </a:cubicBezTo>
                <a:cubicBezTo>
                  <a:pt x="3127" y="2550"/>
                  <a:pt x="3151" y="2525"/>
                  <a:pt x="3176" y="2500"/>
                </a:cubicBezTo>
                <a:cubicBezTo>
                  <a:pt x="3201" y="2475"/>
                  <a:pt x="3201" y="2450"/>
                  <a:pt x="3201" y="2425"/>
                </a:cubicBezTo>
                <a:cubicBezTo>
                  <a:pt x="3227" y="2375"/>
                  <a:pt x="3252" y="2400"/>
                  <a:pt x="3252" y="2375"/>
                </a:cubicBezTo>
                <a:cubicBezTo>
                  <a:pt x="3252" y="2325"/>
                  <a:pt x="3252" y="2275"/>
                  <a:pt x="3252" y="2250"/>
                </a:cubicBezTo>
                <a:cubicBezTo>
                  <a:pt x="3252" y="2225"/>
                  <a:pt x="3301" y="2225"/>
                  <a:pt x="3301" y="2199"/>
                </a:cubicBezTo>
                <a:cubicBezTo>
                  <a:pt x="3327" y="2175"/>
                  <a:pt x="3301" y="2150"/>
                  <a:pt x="3327" y="2075"/>
                </a:cubicBezTo>
                <a:cubicBezTo>
                  <a:pt x="3327" y="2025"/>
                  <a:pt x="3327" y="1950"/>
                  <a:pt x="3327" y="1900"/>
                </a:cubicBezTo>
                <a:cubicBezTo>
                  <a:pt x="3327" y="1850"/>
                  <a:pt x="3327" y="1775"/>
                  <a:pt x="3327" y="1750"/>
                </a:cubicBezTo>
                <a:cubicBezTo>
                  <a:pt x="3352" y="1750"/>
                  <a:pt x="3352" y="1725"/>
                  <a:pt x="3327" y="1725"/>
                </a:cubicBezTo>
                <a:cubicBezTo>
                  <a:pt x="3301" y="1725"/>
                  <a:pt x="3327" y="1700"/>
                  <a:pt x="3352" y="1700"/>
                </a:cubicBezTo>
                <a:cubicBezTo>
                  <a:pt x="3352" y="1700"/>
                  <a:pt x="3376" y="1725"/>
                  <a:pt x="3401" y="1725"/>
                </a:cubicBezTo>
                <a:cubicBezTo>
                  <a:pt x="3427" y="1700"/>
                  <a:pt x="3452" y="1625"/>
                  <a:pt x="3476" y="1575"/>
                </a:cubicBezTo>
                <a:cubicBezTo>
                  <a:pt x="3501" y="1500"/>
                  <a:pt x="3552" y="1525"/>
                  <a:pt x="3576" y="1500"/>
                </a:cubicBezTo>
                <a:cubicBezTo>
                  <a:pt x="3601" y="1500"/>
                  <a:pt x="3652" y="1425"/>
                  <a:pt x="3701" y="1325"/>
                </a:cubicBezTo>
                <a:cubicBezTo>
                  <a:pt x="3752" y="1225"/>
                  <a:pt x="3701" y="1125"/>
                  <a:pt x="3676" y="1050"/>
                </a:cubicBezTo>
                <a:cubicBezTo>
                  <a:pt x="3676" y="974"/>
                  <a:pt x="3652" y="974"/>
                  <a:pt x="3601" y="1000"/>
                </a:cubicBezTo>
                <a:cubicBezTo>
                  <a:pt x="3552" y="1000"/>
                  <a:pt x="3476" y="974"/>
                  <a:pt x="3376" y="874"/>
                </a:cubicBezTo>
                <a:cubicBezTo>
                  <a:pt x="3276" y="750"/>
                  <a:pt x="3176" y="774"/>
                  <a:pt x="3101" y="774"/>
                </a:cubicBezTo>
                <a:cubicBezTo>
                  <a:pt x="3027" y="799"/>
                  <a:pt x="2951" y="750"/>
                  <a:pt x="2927" y="750"/>
                </a:cubicBezTo>
                <a:cubicBezTo>
                  <a:pt x="2876" y="725"/>
                  <a:pt x="2827" y="774"/>
                  <a:pt x="2801" y="799"/>
                </a:cubicBezTo>
                <a:cubicBezTo>
                  <a:pt x="2751" y="799"/>
                  <a:pt x="2801" y="750"/>
                  <a:pt x="2801" y="700"/>
                </a:cubicBezTo>
                <a:cubicBezTo>
                  <a:pt x="2801" y="674"/>
                  <a:pt x="2676" y="625"/>
                  <a:pt x="2601" y="574"/>
                </a:cubicBezTo>
                <a:cubicBezTo>
                  <a:pt x="2501" y="550"/>
                  <a:pt x="2451" y="550"/>
                  <a:pt x="2451" y="625"/>
                </a:cubicBezTo>
                <a:cubicBezTo>
                  <a:pt x="2451" y="674"/>
                  <a:pt x="2427" y="600"/>
                  <a:pt x="2376" y="674"/>
                </a:cubicBezTo>
                <a:cubicBezTo>
                  <a:pt x="2351" y="725"/>
                  <a:pt x="2301" y="674"/>
                  <a:pt x="2327" y="674"/>
                </a:cubicBezTo>
                <a:cubicBezTo>
                  <a:pt x="2376" y="650"/>
                  <a:pt x="2401" y="600"/>
                  <a:pt x="2427" y="550"/>
                </a:cubicBezTo>
                <a:cubicBezTo>
                  <a:pt x="2427" y="525"/>
                  <a:pt x="2276" y="474"/>
                  <a:pt x="2226" y="500"/>
                </a:cubicBezTo>
                <a:cubicBezTo>
                  <a:pt x="2176" y="525"/>
                  <a:pt x="2201" y="600"/>
                  <a:pt x="2176" y="574"/>
                </a:cubicBezTo>
                <a:cubicBezTo>
                  <a:pt x="2126" y="550"/>
                  <a:pt x="2151" y="500"/>
                  <a:pt x="2201" y="500"/>
                </a:cubicBezTo>
                <a:cubicBezTo>
                  <a:pt x="2226" y="500"/>
                  <a:pt x="2276" y="425"/>
                  <a:pt x="2276" y="374"/>
                </a:cubicBezTo>
                <a:cubicBezTo>
                  <a:pt x="2301" y="325"/>
                  <a:pt x="2251" y="325"/>
                  <a:pt x="2201" y="274"/>
                </a:cubicBezTo>
                <a:cubicBezTo>
                  <a:pt x="2176" y="250"/>
                  <a:pt x="2176" y="125"/>
                  <a:pt x="2151" y="100"/>
                </a:cubicBezTo>
                <a:cubicBezTo>
                  <a:pt x="2101" y="150"/>
                  <a:pt x="2051" y="200"/>
                  <a:pt x="2026" y="250"/>
                </a:cubicBezTo>
                <a:cubicBezTo>
                  <a:pt x="2001" y="325"/>
                  <a:pt x="1976" y="274"/>
                  <a:pt x="1926" y="300"/>
                </a:cubicBezTo>
                <a:cubicBezTo>
                  <a:pt x="1876" y="325"/>
                  <a:pt x="1851" y="300"/>
                  <a:pt x="1851" y="274"/>
                </a:cubicBezTo>
                <a:cubicBezTo>
                  <a:pt x="1826" y="250"/>
                  <a:pt x="1776" y="274"/>
                  <a:pt x="1726" y="274"/>
                </a:cubicBezTo>
                <a:cubicBezTo>
                  <a:pt x="1701" y="274"/>
                  <a:pt x="1726" y="300"/>
                  <a:pt x="1701" y="325"/>
                </a:cubicBezTo>
                <a:cubicBezTo>
                  <a:pt x="1676" y="350"/>
                  <a:pt x="1601" y="300"/>
                  <a:pt x="1576" y="325"/>
                </a:cubicBezTo>
                <a:cubicBezTo>
                  <a:pt x="1551" y="350"/>
                  <a:pt x="1551" y="325"/>
                  <a:pt x="1526" y="350"/>
                </a:cubicBezTo>
                <a:cubicBezTo>
                  <a:pt x="1526" y="374"/>
                  <a:pt x="1476" y="350"/>
                  <a:pt x="1476" y="374"/>
                </a:cubicBezTo>
                <a:cubicBezTo>
                  <a:pt x="1451" y="374"/>
                  <a:pt x="1426" y="400"/>
                  <a:pt x="1376" y="325"/>
                </a:cubicBezTo>
                <a:cubicBezTo>
                  <a:pt x="1326" y="274"/>
                  <a:pt x="1326" y="174"/>
                  <a:pt x="1351" y="174"/>
                </a:cubicBezTo>
                <a:cubicBezTo>
                  <a:pt x="1376" y="150"/>
                  <a:pt x="1376" y="100"/>
                  <a:pt x="1351" y="100"/>
                </a:cubicBezTo>
                <a:cubicBezTo>
                  <a:pt x="1301" y="74"/>
                  <a:pt x="1351" y="25"/>
                  <a:pt x="1301" y="0"/>
                </a:cubicBezTo>
                <a:cubicBezTo>
                  <a:pt x="1276" y="0"/>
                  <a:pt x="1276" y="50"/>
                  <a:pt x="1251" y="74"/>
                </a:cubicBezTo>
                <a:cubicBezTo>
                  <a:pt x="1226" y="74"/>
                  <a:pt x="1151" y="125"/>
                  <a:pt x="1126" y="100"/>
                </a:cubicBezTo>
                <a:cubicBezTo>
                  <a:pt x="1101" y="100"/>
                  <a:pt x="1076" y="125"/>
                  <a:pt x="1076" y="150"/>
                </a:cubicBezTo>
                <a:cubicBezTo>
                  <a:pt x="1076" y="174"/>
                  <a:pt x="1026" y="174"/>
                  <a:pt x="1026" y="150"/>
                </a:cubicBezTo>
                <a:cubicBezTo>
                  <a:pt x="1026" y="125"/>
                  <a:pt x="951" y="125"/>
                  <a:pt x="951" y="125"/>
                </a:cubicBezTo>
                <a:cubicBezTo>
                  <a:pt x="926" y="100"/>
                  <a:pt x="851" y="100"/>
                  <a:pt x="876" y="125"/>
                </a:cubicBezTo>
                <a:cubicBezTo>
                  <a:pt x="926" y="150"/>
                  <a:pt x="926" y="174"/>
                  <a:pt x="926" y="200"/>
                </a:cubicBezTo>
                <a:cubicBezTo>
                  <a:pt x="926" y="225"/>
                  <a:pt x="951" y="225"/>
                  <a:pt x="951" y="250"/>
                </a:cubicBezTo>
                <a:cubicBezTo>
                  <a:pt x="951" y="300"/>
                  <a:pt x="976" y="274"/>
                  <a:pt x="1001" y="274"/>
                </a:cubicBezTo>
                <a:cubicBezTo>
                  <a:pt x="1026" y="274"/>
                  <a:pt x="1026" y="300"/>
                  <a:pt x="976" y="300"/>
                </a:cubicBezTo>
                <a:cubicBezTo>
                  <a:pt x="951" y="300"/>
                  <a:pt x="926" y="325"/>
                  <a:pt x="926" y="350"/>
                </a:cubicBezTo>
                <a:cubicBezTo>
                  <a:pt x="926" y="374"/>
                  <a:pt x="901" y="374"/>
                  <a:pt x="876" y="374"/>
                </a:cubicBezTo>
                <a:cubicBezTo>
                  <a:pt x="851" y="400"/>
                  <a:pt x="826" y="425"/>
                  <a:pt x="801" y="425"/>
                </a:cubicBezTo>
                <a:cubicBezTo>
                  <a:pt x="776" y="400"/>
                  <a:pt x="776" y="425"/>
                  <a:pt x="751" y="425"/>
                </a:cubicBezTo>
                <a:cubicBezTo>
                  <a:pt x="726" y="450"/>
                  <a:pt x="726" y="425"/>
                  <a:pt x="701" y="400"/>
                </a:cubicBezTo>
                <a:cubicBezTo>
                  <a:pt x="676" y="400"/>
                  <a:pt x="651" y="350"/>
                  <a:pt x="626" y="300"/>
                </a:cubicBezTo>
                <a:cubicBezTo>
                  <a:pt x="601" y="325"/>
                  <a:pt x="551" y="350"/>
                  <a:pt x="526" y="350"/>
                </a:cubicBezTo>
                <a:cubicBezTo>
                  <a:pt x="501" y="350"/>
                  <a:pt x="400" y="325"/>
                  <a:pt x="400" y="350"/>
                </a:cubicBezTo>
                <a:cubicBezTo>
                  <a:pt x="376" y="374"/>
                  <a:pt x="400" y="400"/>
                  <a:pt x="426" y="400"/>
                </a:cubicBezTo>
                <a:cubicBezTo>
                  <a:pt x="426" y="400"/>
                  <a:pt x="476" y="425"/>
                  <a:pt x="426" y="450"/>
                </a:cubicBezTo>
                <a:cubicBezTo>
                  <a:pt x="400" y="474"/>
                  <a:pt x="376" y="425"/>
                  <a:pt x="376" y="500"/>
                </a:cubicBezTo>
                <a:cubicBezTo>
                  <a:pt x="376" y="550"/>
                  <a:pt x="451" y="600"/>
                  <a:pt x="426" y="650"/>
                </a:cubicBezTo>
                <a:cubicBezTo>
                  <a:pt x="426" y="674"/>
                  <a:pt x="400" y="750"/>
                  <a:pt x="400" y="774"/>
                </a:cubicBezTo>
                <a:cubicBezTo>
                  <a:pt x="400" y="799"/>
                  <a:pt x="400" y="900"/>
                  <a:pt x="376" y="900"/>
                </a:cubicBezTo>
                <a:cubicBezTo>
                  <a:pt x="351" y="900"/>
                  <a:pt x="326" y="874"/>
                  <a:pt x="300" y="900"/>
                </a:cubicBezTo>
                <a:cubicBezTo>
                  <a:pt x="251" y="925"/>
                  <a:pt x="226" y="925"/>
                  <a:pt x="176" y="950"/>
                </a:cubicBezTo>
                <a:cubicBezTo>
                  <a:pt x="151" y="974"/>
                  <a:pt x="100" y="974"/>
                  <a:pt x="100" y="1000"/>
                </a:cubicBezTo>
                <a:cubicBezTo>
                  <a:pt x="100" y="1050"/>
                  <a:pt x="51" y="1050"/>
                  <a:pt x="76" y="1100"/>
                </a:cubicBezTo>
                <a:cubicBezTo>
                  <a:pt x="76" y="1125"/>
                  <a:pt x="51" y="1125"/>
                  <a:pt x="26" y="1150"/>
                </a:cubicBezTo>
                <a:cubicBezTo>
                  <a:pt x="0" y="1175"/>
                  <a:pt x="26" y="1175"/>
                  <a:pt x="0" y="1200"/>
                </a:cubicBezTo>
                <a:cubicBezTo>
                  <a:pt x="0" y="1225"/>
                  <a:pt x="26" y="1250"/>
                  <a:pt x="26" y="1275"/>
                </a:cubicBezTo>
                <a:cubicBezTo>
                  <a:pt x="51" y="1325"/>
                  <a:pt x="76" y="1325"/>
                  <a:pt x="76" y="1375"/>
                </a:cubicBezTo>
                <a:cubicBezTo>
                  <a:pt x="76" y="1400"/>
                  <a:pt x="100" y="1400"/>
                  <a:pt x="126" y="1400"/>
                </a:cubicBezTo>
                <a:cubicBezTo>
                  <a:pt x="151" y="1400"/>
                  <a:pt x="126" y="1450"/>
                  <a:pt x="176" y="1450"/>
                </a:cubicBezTo>
                <a:cubicBezTo>
                  <a:pt x="226" y="1450"/>
                  <a:pt x="251" y="1475"/>
                  <a:pt x="276" y="1450"/>
                </a:cubicBezTo>
                <a:cubicBezTo>
                  <a:pt x="276" y="1425"/>
                  <a:pt x="300" y="1400"/>
                  <a:pt x="300" y="1425"/>
                </a:cubicBezTo>
                <a:cubicBezTo>
                  <a:pt x="300" y="1475"/>
                  <a:pt x="300" y="1575"/>
                  <a:pt x="326" y="1550"/>
                </a:cubicBezTo>
                <a:cubicBezTo>
                  <a:pt x="376" y="1550"/>
                  <a:pt x="426" y="1550"/>
                  <a:pt x="451" y="1550"/>
                </a:cubicBezTo>
                <a:cubicBezTo>
                  <a:pt x="476" y="1575"/>
                  <a:pt x="526" y="1550"/>
                  <a:pt x="526" y="1525"/>
                </a:cubicBezTo>
                <a:cubicBezTo>
                  <a:pt x="551" y="1525"/>
                  <a:pt x="576" y="1525"/>
                  <a:pt x="626" y="1500"/>
                </a:cubicBezTo>
                <a:cubicBezTo>
                  <a:pt x="651" y="1475"/>
                  <a:pt x="701" y="1450"/>
                  <a:pt x="726" y="1450"/>
                </a:cubicBezTo>
                <a:cubicBezTo>
                  <a:pt x="776" y="1450"/>
                  <a:pt x="826" y="1425"/>
                  <a:pt x="826" y="1450"/>
                </a:cubicBezTo>
                <a:cubicBezTo>
                  <a:pt x="801" y="1475"/>
                  <a:pt x="801" y="1575"/>
                  <a:pt x="851" y="1625"/>
                </a:cubicBezTo>
                <a:cubicBezTo>
                  <a:pt x="901" y="1675"/>
                  <a:pt x="926" y="1700"/>
                  <a:pt x="951" y="1700"/>
                </a:cubicBezTo>
                <a:cubicBezTo>
                  <a:pt x="1001" y="1700"/>
                  <a:pt x="1001" y="1725"/>
                  <a:pt x="1026" y="1725"/>
                </a:cubicBezTo>
                <a:cubicBezTo>
                  <a:pt x="1051" y="1700"/>
                  <a:pt x="1026" y="1750"/>
                  <a:pt x="1076" y="1750"/>
                </a:cubicBezTo>
                <a:cubicBezTo>
                  <a:pt x="1101" y="1750"/>
                  <a:pt x="1151" y="1750"/>
                  <a:pt x="1151" y="1775"/>
                </a:cubicBezTo>
                <a:cubicBezTo>
                  <a:pt x="1151" y="1825"/>
                  <a:pt x="1226" y="1800"/>
                  <a:pt x="1251" y="1800"/>
                </a:cubicBezTo>
                <a:cubicBezTo>
                  <a:pt x="1276" y="1825"/>
                  <a:pt x="1276" y="1825"/>
                  <a:pt x="1276" y="1875"/>
                </a:cubicBezTo>
                <a:cubicBezTo>
                  <a:pt x="1276" y="1900"/>
                  <a:pt x="1326" y="1925"/>
                  <a:pt x="1301" y="1950"/>
                </a:cubicBezTo>
                <a:cubicBezTo>
                  <a:pt x="1276" y="1950"/>
                  <a:pt x="1301" y="1975"/>
                  <a:pt x="1301" y="2025"/>
                </a:cubicBezTo>
                <a:cubicBezTo>
                  <a:pt x="1301" y="2050"/>
                  <a:pt x="1351" y="2075"/>
                  <a:pt x="1401" y="2075"/>
                </a:cubicBezTo>
                <a:cubicBezTo>
                  <a:pt x="1476" y="2075"/>
                  <a:pt x="1476" y="2075"/>
                  <a:pt x="1476" y="2125"/>
                </a:cubicBezTo>
                <a:cubicBezTo>
                  <a:pt x="1476" y="2150"/>
                  <a:pt x="1526" y="2175"/>
                  <a:pt x="1551" y="2199"/>
                </a:cubicBezTo>
                <a:cubicBezTo>
                  <a:pt x="1551" y="2250"/>
                  <a:pt x="1526" y="2300"/>
                  <a:pt x="1526" y="2325"/>
                </a:cubicBezTo>
                <a:cubicBezTo>
                  <a:pt x="1526" y="2350"/>
                  <a:pt x="1526" y="2375"/>
                  <a:pt x="1501" y="2400"/>
                </a:cubicBezTo>
                <a:cubicBezTo>
                  <a:pt x="1526" y="2425"/>
                  <a:pt x="1526" y="2425"/>
                  <a:pt x="1501" y="2450"/>
                </a:cubicBezTo>
                <a:cubicBezTo>
                  <a:pt x="1476" y="2450"/>
                  <a:pt x="1551" y="2500"/>
                  <a:pt x="1526" y="2550"/>
                </a:cubicBezTo>
                <a:cubicBezTo>
                  <a:pt x="1501" y="2625"/>
                  <a:pt x="1501" y="2625"/>
                  <a:pt x="1576" y="2625"/>
                </a:cubicBezTo>
                <a:cubicBezTo>
                  <a:pt x="1626" y="2625"/>
                  <a:pt x="1626" y="2650"/>
                  <a:pt x="1651" y="2650"/>
                </a:cubicBezTo>
                <a:cubicBezTo>
                  <a:pt x="1676" y="2625"/>
                  <a:pt x="1701" y="2700"/>
                  <a:pt x="1726" y="2725"/>
                </a:cubicBezTo>
                <a:cubicBezTo>
                  <a:pt x="1726" y="2750"/>
                  <a:pt x="1751" y="2825"/>
                  <a:pt x="1776" y="2825"/>
                </a:cubicBezTo>
                <a:cubicBezTo>
                  <a:pt x="1776" y="2825"/>
                  <a:pt x="1801" y="2800"/>
                  <a:pt x="1851" y="2800"/>
                </a:cubicBezTo>
                <a:cubicBezTo>
                  <a:pt x="1876" y="2825"/>
                  <a:pt x="1826" y="2925"/>
                  <a:pt x="1826" y="2975"/>
                </a:cubicBezTo>
                <a:cubicBezTo>
                  <a:pt x="1851" y="2975"/>
                  <a:pt x="1876" y="2975"/>
                  <a:pt x="1901" y="2975"/>
                </a:cubicBezTo>
                <a:cubicBezTo>
                  <a:pt x="1901" y="3000"/>
                  <a:pt x="1926" y="3100"/>
                  <a:pt x="1901" y="3125"/>
                </a:cubicBezTo>
                <a:cubicBezTo>
                  <a:pt x="1901" y="3150"/>
                  <a:pt x="1826" y="3175"/>
                  <a:pt x="1801" y="3175"/>
                </a:cubicBezTo>
                <a:cubicBezTo>
                  <a:pt x="1751" y="3200"/>
                  <a:pt x="1676" y="3300"/>
                  <a:pt x="1626" y="3350"/>
                </a:cubicBezTo>
                <a:cubicBezTo>
                  <a:pt x="1601" y="3400"/>
                  <a:pt x="1576" y="3425"/>
                  <a:pt x="1551" y="3450"/>
                </a:cubicBezTo>
                <a:cubicBezTo>
                  <a:pt x="1576" y="3450"/>
                  <a:pt x="1576" y="3450"/>
                  <a:pt x="1576" y="3450"/>
                </a:cubicBezTo>
                <a:cubicBezTo>
                  <a:pt x="1601" y="3450"/>
                  <a:pt x="1626" y="3450"/>
                  <a:pt x="1651" y="3475"/>
                </a:cubicBezTo>
                <a:cubicBezTo>
                  <a:pt x="1701" y="3525"/>
                  <a:pt x="1701" y="3550"/>
                  <a:pt x="1701" y="3550"/>
                </a:cubicBezTo>
                <a:cubicBezTo>
                  <a:pt x="1726" y="3550"/>
                  <a:pt x="1726" y="3501"/>
                  <a:pt x="1751" y="3525"/>
                </a:cubicBezTo>
                <a:cubicBezTo>
                  <a:pt x="1776" y="3575"/>
                  <a:pt x="1851" y="3601"/>
                  <a:pt x="1851" y="3625"/>
                </a:cubicBezTo>
                <a:cubicBezTo>
                  <a:pt x="1876" y="3625"/>
                  <a:pt x="1926" y="3650"/>
                  <a:pt x="1926" y="3701"/>
                </a:cubicBezTo>
                <a:cubicBezTo>
                  <a:pt x="1926" y="3725"/>
                  <a:pt x="1901" y="3775"/>
                  <a:pt x="1926" y="3825"/>
                </a:cubicBezTo>
                <a:cubicBezTo>
                  <a:pt x="1951" y="3825"/>
                  <a:pt x="1951" y="3801"/>
                  <a:pt x="1976" y="3801"/>
                </a:cubicBezTo>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3" name="Freeform 109">
            <a:extLst>
              <a:ext uri="{FF2B5EF4-FFF2-40B4-BE49-F238E27FC236}">
                <a16:creationId xmlns:a16="http://schemas.microsoft.com/office/drawing/2014/main" id="{0E7E7EED-496C-B54D-86AB-BEA91096E57C}"/>
              </a:ext>
            </a:extLst>
          </p:cNvPr>
          <p:cNvSpPr>
            <a:spLocks noChangeArrowheads="1"/>
          </p:cNvSpPr>
          <p:nvPr/>
        </p:nvSpPr>
        <p:spPr bwMode="auto">
          <a:xfrm>
            <a:off x="3381958" y="4453817"/>
            <a:ext cx="358591" cy="510467"/>
          </a:xfrm>
          <a:custGeom>
            <a:avLst/>
            <a:gdLst>
              <a:gd name="T0" fmla="*/ 174 w 1126"/>
              <a:gd name="T1" fmla="*/ 1174 h 1601"/>
              <a:gd name="T2" fmla="*/ 174 w 1126"/>
              <a:gd name="T3" fmla="*/ 1174 h 1601"/>
              <a:gd name="T4" fmla="*/ 250 w 1126"/>
              <a:gd name="T5" fmla="*/ 1174 h 1601"/>
              <a:gd name="T6" fmla="*/ 300 w 1126"/>
              <a:gd name="T7" fmla="*/ 1225 h 1601"/>
              <a:gd name="T8" fmla="*/ 300 w 1126"/>
              <a:gd name="T9" fmla="*/ 1225 h 1601"/>
              <a:gd name="T10" fmla="*/ 400 w 1126"/>
              <a:gd name="T11" fmla="*/ 1225 h 1601"/>
              <a:gd name="T12" fmla="*/ 450 w 1126"/>
              <a:gd name="T13" fmla="*/ 1300 h 1601"/>
              <a:gd name="T14" fmla="*/ 500 w 1126"/>
              <a:gd name="T15" fmla="*/ 1350 h 1601"/>
              <a:gd name="T16" fmla="*/ 550 w 1126"/>
              <a:gd name="T17" fmla="*/ 1425 h 1601"/>
              <a:gd name="T18" fmla="*/ 650 w 1126"/>
              <a:gd name="T19" fmla="*/ 1425 h 1601"/>
              <a:gd name="T20" fmla="*/ 700 w 1126"/>
              <a:gd name="T21" fmla="*/ 1425 h 1601"/>
              <a:gd name="T22" fmla="*/ 774 w 1126"/>
              <a:gd name="T23" fmla="*/ 1425 h 1601"/>
              <a:gd name="T24" fmla="*/ 825 w 1126"/>
              <a:gd name="T25" fmla="*/ 1474 h 1601"/>
              <a:gd name="T26" fmla="*/ 774 w 1126"/>
              <a:gd name="T27" fmla="*/ 1550 h 1601"/>
              <a:gd name="T28" fmla="*/ 850 w 1126"/>
              <a:gd name="T29" fmla="*/ 1600 h 1601"/>
              <a:gd name="T30" fmla="*/ 850 w 1126"/>
              <a:gd name="T31" fmla="*/ 1600 h 1601"/>
              <a:gd name="T32" fmla="*/ 874 w 1126"/>
              <a:gd name="T33" fmla="*/ 1474 h 1601"/>
              <a:gd name="T34" fmla="*/ 900 w 1126"/>
              <a:gd name="T35" fmla="*/ 1350 h 1601"/>
              <a:gd name="T36" fmla="*/ 850 w 1126"/>
              <a:gd name="T37" fmla="*/ 1200 h 1601"/>
              <a:gd name="T38" fmla="*/ 900 w 1126"/>
              <a:gd name="T39" fmla="*/ 1150 h 1601"/>
              <a:gd name="T40" fmla="*/ 900 w 1126"/>
              <a:gd name="T41" fmla="*/ 1100 h 1601"/>
              <a:gd name="T42" fmla="*/ 874 w 1126"/>
              <a:gd name="T43" fmla="*/ 1050 h 1601"/>
              <a:gd name="T44" fmla="*/ 1000 w 1126"/>
              <a:gd name="T45" fmla="*/ 1050 h 1601"/>
              <a:gd name="T46" fmla="*/ 1100 w 1126"/>
              <a:gd name="T47" fmla="*/ 1000 h 1601"/>
              <a:gd name="T48" fmla="*/ 1100 w 1126"/>
              <a:gd name="T49" fmla="*/ 950 h 1601"/>
              <a:gd name="T50" fmla="*/ 1100 w 1126"/>
              <a:gd name="T51" fmla="*/ 874 h 1601"/>
              <a:gd name="T52" fmla="*/ 1050 w 1126"/>
              <a:gd name="T53" fmla="*/ 825 h 1601"/>
              <a:gd name="T54" fmla="*/ 1075 w 1126"/>
              <a:gd name="T55" fmla="*/ 650 h 1601"/>
              <a:gd name="T56" fmla="*/ 975 w 1126"/>
              <a:gd name="T57" fmla="*/ 625 h 1601"/>
              <a:gd name="T58" fmla="*/ 850 w 1126"/>
              <a:gd name="T59" fmla="*/ 550 h 1601"/>
              <a:gd name="T60" fmla="*/ 674 w 1126"/>
              <a:gd name="T61" fmla="*/ 550 h 1601"/>
              <a:gd name="T62" fmla="*/ 625 w 1126"/>
              <a:gd name="T63" fmla="*/ 425 h 1601"/>
              <a:gd name="T64" fmla="*/ 574 w 1126"/>
              <a:gd name="T65" fmla="*/ 349 h 1601"/>
              <a:gd name="T66" fmla="*/ 525 w 1126"/>
              <a:gd name="T67" fmla="*/ 325 h 1601"/>
              <a:gd name="T68" fmla="*/ 550 w 1126"/>
              <a:gd name="T69" fmla="*/ 300 h 1601"/>
              <a:gd name="T70" fmla="*/ 574 w 1126"/>
              <a:gd name="T71" fmla="*/ 225 h 1601"/>
              <a:gd name="T72" fmla="*/ 650 w 1126"/>
              <a:gd name="T73" fmla="*/ 125 h 1601"/>
              <a:gd name="T74" fmla="*/ 674 w 1126"/>
              <a:gd name="T75" fmla="*/ 99 h 1601"/>
              <a:gd name="T76" fmla="*/ 700 w 1126"/>
              <a:gd name="T77" fmla="*/ 74 h 1601"/>
              <a:gd name="T78" fmla="*/ 725 w 1126"/>
              <a:gd name="T79" fmla="*/ 25 h 1601"/>
              <a:gd name="T80" fmla="*/ 625 w 1126"/>
              <a:gd name="T81" fmla="*/ 74 h 1601"/>
              <a:gd name="T82" fmla="*/ 525 w 1126"/>
              <a:gd name="T83" fmla="*/ 125 h 1601"/>
              <a:gd name="T84" fmla="*/ 450 w 1126"/>
              <a:gd name="T85" fmla="*/ 149 h 1601"/>
              <a:gd name="T86" fmla="*/ 400 w 1126"/>
              <a:gd name="T87" fmla="*/ 149 h 1601"/>
              <a:gd name="T88" fmla="*/ 325 w 1126"/>
              <a:gd name="T89" fmla="*/ 225 h 1601"/>
              <a:gd name="T90" fmla="*/ 274 w 1126"/>
              <a:gd name="T91" fmla="*/ 300 h 1601"/>
              <a:gd name="T92" fmla="*/ 200 w 1126"/>
              <a:gd name="T93" fmla="*/ 425 h 1601"/>
              <a:gd name="T94" fmla="*/ 174 w 1126"/>
              <a:gd name="T95" fmla="*/ 425 h 1601"/>
              <a:gd name="T96" fmla="*/ 150 w 1126"/>
              <a:gd name="T97" fmla="*/ 449 h 1601"/>
              <a:gd name="T98" fmla="*/ 100 w 1126"/>
              <a:gd name="T99" fmla="*/ 525 h 1601"/>
              <a:gd name="T100" fmla="*/ 125 w 1126"/>
              <a:gd name="T101" fmla="*/ 550 h 1601"/>
              <a:gd name="T102" fmla="*/ 150 w 1126"/>
              <a:gd name="T103" fmla="*/ 625 h 1601"/>
              <a:gd name="T104" fmla="*/ 150 w 1126"/>
              <a:gd name="T105" fmla="*/ 674 h 1601"/>
              <a:gd name="T106" fmla="*/ 150 w 1126"/>
              <a:gd name="T107" fmla="*/ 825 h 1601"/>
              <a:gd name="T108" fmla="*/ 125 w 1126"/>
              <a:gd name="T109" fmla="*/ 900 h 1601"/>
              <a:gd name="T110" fmla="*/ 49 w 1126"/>
              <a:gd name="T111" fmla="*/ 950 h 1601"/>
              <a:gd name="T112" fmla="*/ 0 w 1126"/>
              <a:gd name="T113" fmla="*/ 1025 h 1601"/>
              <a:gd name="T114" fmla="*/ 0 w 1126"/>
              <a:gd name="T115" fmla="*/ 1050 h 1601"/>
              <a:gd name="T116" fmla="*/ 100 w 1126"/>
              <a:gd name="T117" fmla="*/ 1125 h 1601"/>
              <a:gd name="T118" fmla="*/ 174 w 1126"/>
              <a:gd name="T119" fmla="*/ 1174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6" h="1601">
                <a:moveTo>
                  <a:pt x="174" y="1174"/>
                </a:moveTo>
                <a:lnTo>
                  <a:pt x="174" y="1174"/>
                </a:lnTo>
                <a:cubicBezTo>
                  <a:pt x="200" y="1174"/>
                  <a:pt x="225" y="1174"/>
                  <a:pt x="250" y="1174"/>
                </a:cubicBezTo>
                <a:cubicBezTo>
                  <a:pt x="250" y="1150"/>
                  <a:pt x="274" y="1174"/>
                  <a:pt x="300" y="1225"/>
                </a:cubicBezTo>
                <a:lnTo>
                  <a:pt x="300" y="1225"/>
                </a:lnTo>
                <a:cubicBezTo>
                  <a:pt x="350" y="1225"/>
                  <a:pt x="374" y="1200"/>
                  <a:pt x="400" y="1225"/>
                </a:cubicBezTo>
                <a:cubicBezTo>
                  <a:pt x="425" y="1225"/>
                  <a:pt x="400" y="1300"/>
                  <a:pt x="450" y="1300"/>
                </a:cubicBezTo>
                <a:cubicBezTo>
                  <a:pt x="474" y="1300"/>
                  <a:pt x="500" y="1350"/>
                  <a:pt x="500" y="1350"/>
                </a:cubicBezTo>
                <a:cubicBezTo>
                  <a:pt x="500" y="1374"/>
                  <a:pt x="550" y="1400"/>
                  <a:pt x="550" y="1425"/>
                </a:cubicBezTo>
                <a:cubicBezTo>
                  <a:pt x="550" y="1450"/>
                  <a:pt x="625" y="1450"/>
                  <a:pt x="650" y="1425"/>
                </a:cubicBezTo>
                <a:cubicBezTo>
                  <a:pt x="674" y="1425"/>
                  <a:pt x="700" y="1425"/>
                  <a:pt x="700" y="1425"/>
                </a:cubicBezTo>
                <a:cubicBezTo>
                  <a:pt x="725" y="1425"/>
                  <a:pt x="750" y="1425"/>
                  <a:pt x="774" y="1425"/>
                </a:cubicBezTo>
                <a:cubicBezTo>
                  <a:pt x="774" y="1425"/>
                  <a:pt x="850" y="1450"/>
                  <a:pt x="825" y="1474"/>
                </a:cubicBezTo>
                <a:cubicBezTo>
                  <a:pt x="825" y="1499"/>
                  <a:pt x="774" y="1525"/>
                  <a:pt x="774" y="1550"/>
                </a:cubicBezTo>
                <a:cubicBezTo>
                  <a:pt x="800" y="1574"/>
                  <a:pt x="825" y="1574"/>
                  <a:pt x="850" y="1600"/>
                </a:cubicBezTo>
                <a:lnTo>
                  <a:pt x="850" y="1600"/>
                </a:lnTo>
                <a:cubicBezTo>
                  <a:pt x="874" y="1600"/>
                  <a:pt x="874" y="1499"/>
                  <a:pt x="874" y="1474"/>
                </a:cubicBezTo>
                <a:cubicBezTo>
                  <a:pt x="874" y="1450"/>
                  <a:pt x="900" y="1374"/>
                  <a:pt x="900" y="1350"/>
                </a:cubicBezTo>
                <a:cubicBezTo>
                  <a:pt x="925" y="1300"/>
                  <a:pt x="850" y="1250"/>
                  <a:pt x="850" y="1200"/>
                </a:cubicBezTo>
                <a:cubicBezTo>
                  <a:pt x="850" y="1125"/>
                  <a:pt x="874" y="1174"/>
                  <a:pt x="900" y="1150"/>
                </a:cubicBezTo>
                <a:cubicBezTo>
                  <a:pt x="950" y="1125"/>
                  <a:pt x="900" y="1100"/>
                  <a:pt x="900" y="1100"/>
                </a:cubicBezTo>
                <a:cubicBezTo>
                  <a:pt x="874" y="1100"/>
                  <a:pt x="850" y="1074"/>
                  <a:pt x="874" y="1050"/>
                </a:cubicBezTo>
                <a:cubicBezTo>
                  <a:pt x="874" y="1025"/>
                  <a:pt x="975" y="1050"/>
                  <a:pt x="1000" y="1050"/>
                </a:cubicBezTo>
                <a:cubicBezTo>
                  <a:pt x="1050" y="1050"/>
                  <a:pt x="1100" y="1000"/>
                  <a:pt x="1100" y="1000"/>
                </a:cubicBezTo>
                <a:cubicBezTo>
                  <a:pt x="1100" y="1000"/>
                  <a:pt x="1125" y="974"/>
                  <a:pt x="1100" y="950"/>
                </a:cubicBezTo>
                <a:cubicBezTo>
                  <a:pt x="1075" y="925"/>
                  <a:pt x="1075" y="900"/>
                  <a:pt x="1100" y="874"/>
                </a:cubicBezTo>
                <a:cubicBezTo>
                  <a:pt x="1125" y="874"/>
                  <a:pt x="1075" y="850"/>
                  <a:pt x="1050" y="825"/>
                </a:cubicBezTo>
                <a:cubicBezTo>
                  <a:pt x="1025" y="774"/>
                  <a:pt x="1050" y="700"/>
                  <a:pt x="1075" y="650"/>
                </a:cubicBezTo>
                <a:cubicBezTo>
                  <a:pt x="1100" y="600"/>
                  <a:pt x="1025" y="600"/>
                  <a:pt x="975" y="625"/>
                </a:cubicBezTo>
                <a:cubicBezTo>
                  <a:pt x="925" y="625"/>
                  <a:pt x="874" y="600"/>
                  <a:pt x="850" y="550"/>
                </a:cubicBezTo>
                <a:cubicBezTo>
                  <a:pt x="800" y="500"/>
                  <a:pt x="750" y="550"/>
                  <a:pt x="674" y="550"/>
                </a:cubicBezTo>
                <a:cubicBezTo>
                  <a:pt x="600" y="550"/>
                  <a:pt x="625" y="449"/>
                  <a:pt x="625" y="425"/>
                </a:cubicBezTo>
                <a:cubicBezTo>
                  <a:pt x="625" y="374"/>
                  <a:pt x="574" y="374"/>
                  <a:pt x="574" y="349"/>
                </a:cubicBezTo>
                <a:cubicBezTo>
                  <a:pt x="574" y="325"/>
                  <a:pt x="550" y="325"/>
                  <a:pt x="525" y="325"/>
                </a:cubicBezTo>
                <a:cubicBezTo>
                  <a:pt x="525" y="325"/>
                  <a:pt x="525" y="300"/>
                  <a:pt x="550" y="300"/>
                </a:cubicBezTo>
                <a:cubicBezTo>
                  <a:pt x="574" y="274"/>
                  <a:pt x="550" y="249"/>
                  <a:pt x="574" y="225"/>
                </a:cubicBezTo>
                <a:cubicBezTo>
                  <a:pt x="574" y="174"/>
                  <a:pt x="625" y="149"/>
                  <a:pt x="650" y="125"/>
                </a:cubicBezTo>
                <a:cubicBezTo>
                  <a:pt x="650" y="99"/>
                  <a:pt x="674" y="99"/>
                  <a:pt x="674" y="99"/>
                </a:cubicBezTo>
                <a:cubicBezTo>
                  <a:pt x="674" y="99"/>
                  <a:pt x="674" y="74"/>
                  <a:pt x="700" y="74"/>
                </a:cubicBezTo>
                <a:cubicBezTo>
                  <a:pt x="750" y="74"/>
                  <a:pt x="750" y="49"/>
                  <a:pt x="725" y="25"/>
                </a:cubicBezTo>
                <a:cubicBezTo>
                  <a:pt x="674" y="0"/>
                  <a:pt x="650" y="74"/>
                  <a:pt x="625" y="74"/>
                </a:cubicBezTo>
                <a:cubicBezTo>
                  <a:pt x="574" y="74"/>
                  <a:pt x="550" y="99"/>
                  <a:pt x="525" y="125"/>
                </a:cubicBezTo>
                <a:cubicBezTo>
                  <a:pt x="500" y="125"/>
                  <a:pt x="450" y="125"/>
                  <a:pt x="450" y="149"/>
                </a:cubicBezTo>
                <a:cubicBezTo>
                  <a:pt x="450" y="174"/>
                  <a:pt x="425" y="149"/>
                  <a:pt x="400" y="149"/>
                </a:cubicBezTo>
                <a:cubicBezTo>
                  <a:pt x="374" y="125"/>
                  <a:pt x="325" y="199"/>
                  <a:pt x="325" y="225"/>
                </a:cubicBezTo>
                <a:cubicBezTo>
                  <a:pt x="325" y="249"/>
                  <a:pt x="325" y="274"/>
                  <a:pt x="274" y="300"/>
                </a:cubicBezTo>
                <a:cubicBezTo>
                  <a:pt x="225" y="349"/>
                  <a:pt x="200" y="400"/>
                  <a:pt x="200" y="425"/>
                </a:cubicBezTo>
                <a:cubicBezTo>
                  <a:pt x="174" y="425"/>
                  <a:pt x="174" y="425"/>
                  <a:pt x="174" y="425"/>
                </a:cubicBezTo>
                <a:lnTo>
                  <a:pt x="150" y="449"/>
                </a:lnTo>
                <a:cubicBezTo>
                  <a:pt x="150" y="449"/>
                  <a:pt x="125" y="500"/>
                  <a:pt x="100" y="525"/>
                </a:cubicBezTo>
                <a:cubicBezTo>
                  <a:pt x="100" y="525"/>
                  <a:pt x="125" y="525"/>
                  <a:pt x="125" y="550"/>
                </a:cubicBezTo>
                <a:cubicBezTo>
                  <a:pt x="150" y="574"/>
                  <a:pt x="125" y="600"/>
                  <a:pt x="150" y="625"/>
                </a:cubicBezTo>
                <a:cubicBezTo>
                  <a:pt x="150" y="625"/>
                  <a:pt x="150" y="650"/>
                  <a:pt x="150" y="674"/>
                </a:cubicBezTo>
                <a:cubicBezTo>
                  <a:pt x="125" y="674"/>
                  <a:pt x="150" y="800"/>
                  <a:pt x="150" y="825"/>
                </a:cubicBezTo>
                <a:cubicBezTo>
                  <a:pt x="174" y="825"/>
                  <a:pt x="150" y="850"/>
                  <a:pt x="125" y="900"/>
                </a:cubicBezTo>
                <a:cubicBezTo>
                  <a:pt x="125" y="950"/>
                  <a:pt x="100" y="950"/>
                  <a:pt x="49" y="950"/>
                </a:cubicBezTo>
                <a:cubicBezTo>
                  <a:pt x="25" y="950"/>
                  <a:pt x="25" y="1025"/>
                  <a:pt x="0" y="1025"/>
                </a:cubicBezTo>
                <a:lnTo>
                  <a:pt x="0" y="1050"/>
                </a:lnTo>
                <a:cubicBezTo>
                  <a:pt x="25" y="1100"/>
                  <a:pt x="100" y="1125"/>
                  <a:pt x="100" y="1125"/>
                </a:cubicBezTo>
                <a:cubicBezTo>
                  <a:pt x="125" y="1125"/>
                  <a:pt x="150" y="1150"/>
                  <a:pt x="174" y="1174"/>
                </a:cubicBezTo>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4" name="Freeform 125">
            <a:extLst>
              <a:ext uri="{FF2B5EF4-FFF2-40B4-BE49-F238E27FC236}">
                <a16:creationId xmlns:a16="http://schemas.microsoft.com/office/drawing/2014/main" id="{716ADA7B-75FC-9A4A-81DF-A259C672CC4A}"/>
              </a:ext>
            </a:extLst>
          </p:cNvPr>
          <p:cNvSpPr>
            <a:spLocks noChangeArrowheads="1"/>
          </p:cNvSpPr>
          <p:nvPr/>
        </p:nvSpPr>
        <p:spPr bwMode="auto">
          <a:xfrm>
            <a:off x="5487097" y="3425855"/>
            <a:ext cx="383904" cy="271404"/>
          </a:xfrm>
          <a:custGeom>
            <a:avLst/>
            <a:gdLst>
              <a:gd name="T0" fmla="*/ 1201 w 1202"/>
              <a:gd name="T1" fmla="*/ 150 h 851"/>
              <a:gd name="T2" fmla="*/ 1201 w 1202"/>
              <a:gd name="T3" fmla="*/ 150 h 851"/>
              <a:gd name="T4" fmla="*/ 1101 w 1202"/>
              <a:gd name="T5" fmla="*/ 150 h 851"/>
              <a:gd name="T6" fmla="*/ 975 w 1202"/>
              <a:gd name="T7" fmla="*/ 125 h 851"/>
              <a:gd name="T8" fmla="*/ 950 w 1202"/>
              <a:gd name="T9" fmla="*/ 100 h 851"/>
              <a:gd name="T10" fmla="*/ 875 w 1202"/>
              <a:gd name="T11" fmla="*/ 100 h 851"/>
              <a:gd name="T12" fmla="*/ 775 w 1202"/>
              <a:gd name="T13" fmla="*/ 75 h 851"/>
              <a:gd name="T14" fmla="*/ 725 w 1202"/>
              <a:gd name="T15" fmla="*/ 50 h 851"/>
              <a:gd name="T16" fmla="*/ 550 w 1202"/>
              <a:gd name="T17" fmla="*/ 25 h 851"/>
              <a:gd name="T18" fmla="*/ 250 w 1202"/>
              <a:gd name="T19" fmla="*/ 25 h 851"/>
              <a:gd name="T20" fmla="*/ 125 w 1202"/>
              <a:gd name="T21" fmla="*/ 0 h 851"/>
              <a:gd name="T22" fmla="*/ 50 w 1202"/>
              <a:gd name="T23" fmla="*/ 50 h 851"/>
              <a:gd name="T24" fmla="*/ 50 w 1202"/>
              <a:gd name="T25" fmla="*/ 100 h 851"/>
              <a:gd name="T26" fmla="*/ 50 w 1202"/>
              <a:gd name="T27" fmla="*/ 200 h 851"/>
              <a:gd name="T28" fmla="*/ 75 w 1202"/>
              <a:gd name="T29" fmla="*/ 175 h 851"/>
              <a:gd name="T30" fmla="*/ 125 w 1202"/>
              <a:gd name="T31" fmla="*/ 200 h 851"/>
              <a:gd name="T32" fmla="*/ 175 w 1202"/>
              <a:gd name="T33" fmla="*/ 200 h 851"/>
              <a:gd name="T34" fmla="*/ 200 w 1202"/>
              <a:gd name="T35" fmla="*/ 200 h 851"/>
              <a:gd name="T36" fmla="*/ 275 w 1202"/>
              <a:gd name="T37" fmla="*/ 225 h 851"/>
              <a:gd name="T38" fmla="*/ 300 w 1202"/>
              <a:gd name="T39" fmla="*/ 250 h 851"/>
              <a:gd name="T40" fmla="*/ 225 w 1202"/>
              <a:gd name="T41" fmla="*/ 300 h 851"/>
              <a:gd name="T42" fmla="*/ 225 w 1202"/>
              <a:gd name="T43" fmla="*/ 400 h 851"/>
              <a:gd name="T44" fmla="*/ 225 w 1202"/>
              <a:gd name="T45" fmla="*/ 450 h 851"/>
              <a:gd name="T46" fmla="*/ 200 w 1202"/>
              <a:gd name="T47" fmla="*/ 500 h 851"/>
              <a:gd name="T48" fmla="*/ 225 w 1202"/>
              <a:gd name="T49" fmla="*/ 550 h 851"/>
              <a:gd name="T50" fmla="*/ 200 w 1202"/>
              <a:gd name="T51" fmla="*/ 600 h 851"/>
              <a:gd name="T52" fmla="*/ 225 w 1202"/>
              <a:gd name="T53" fmla="*/ 650 h 851"/>
              <a:gd name="T54" fmla="*/ 175 w 1202"/>
              <a:gd name="T55" fmla="*/ 700 h 851"/>
              <a:gd name="T56" fmla="*/ 200 w 1202"/>
              <a:gd name="T57" fmla="*/ 725 h 851"/>
              <a:gd name="T58" fmla="*/ 250 w 1202"/>
              <a:gd name="T59" fmla="*/ 725 h 851"/>
              <a:gd name="T60" fmla="*/ 350 w 1202"/>
              <a:gd name="T61" fmla="*/ 850 h 851"/>
              <a:gd name="T62" fmla="*/ 375 w 1202"/>
              <a:gd name="T63" fmla="*/ 825 h 851"/>
              <a:gd name="T64" fmla="*/ 425 w 1202"/>
              <a:gd name="T65" fmla="*/ 800 h 851"/>
              <a:gd name="T66" fmla="*/ 525 w 1202"/>
              <a:gd name="T67" fmla="*/ 775 h 851"/>
              <a:gd name="T68" fmla="*/ 650 w 1202"/>
              <a:gd name="T69" fmla="*/ 775 h 851"/>
              <a:gd name="T70" fmla="*/ 700 w 1202"/>
              <a:gd name="T71" fmla="*/ 750 h 851"/>
              <a:gd name="T72" fmla="*/ 775 w 1202"/>
              <a:gd name="T73" fmla="*/ 700 h 851"/>
              <a:gd name="T74" fmla="*/ 825 w 1202"/>
              <a:gd name="T75" fmla="*/ 625 h 851"/>
              <a:gd name="T76" fmla="*/ 875 w 1202"/>
              <a:gd name="T77" fmla="*/ 550 h 851"/>
              <a:gd name="T78" fmla="*/ 900 w 1202"/>
              <a:gd name="T79" fmla="*/ 425 h 851"/>
              <a:gd name="T80" fmla="*/ 975 w 1202"/>
              <a:gd name="T81" fmla="*/ 325 h 851"/>
              <a:gd name="T82" fmla="*/ 1050 w 1202"/>
              <a:gd name="T83" fmla="*/ 275 h 851"/>
              <a:gd name="T84" fmla="*/ 1150 w 1202"/>
              <a:gd name="T85" fmla="*/ 225 h 851"/>
              <a:gd name="T86" fmla="*/ 1201 w 1202"/>
              <a:gd name="T87" fmla="*/ 150 h 851"/>
              <a:gd name="T88" fmla="*/ 1201 w 1202"/>
              <a:gd name="T89" fmla="*/ 450 h 851"/>
              <a:gd name="T90" fmla="*/ 1201 w 1202"/>
              <a:gd name="T91" fmla="*/ 450 h 851"/>
              <a:gd name="T92" fmla="*/ 1125 w 1202"/>
              <a:gd name="T93" fmla="*/ 475 h 851"/>
              <a:gd name="T94" fmla="*/ 1201 w 1202"/>
              <a:gd name="T95" fmla="*/ 45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851">
                <a:moveTo>
                  <a:pt x="1201" y="150"/>
                </a:moveTo>
                <a:lnTo>
                  <a:pt x="1201" y="150"/>
                </a:lnTo>
                <a:cubicBezTo>
                  <a:pt x="1150" y="150"/>
                  <a:pt x="1125" y="150"/>
                  <a:pt x="1101" y="150"/>
                </a:cubicBezTo>
                <a:cubicBezTo>
                  <a:pt x="1075" y="125"/>
                  <a:pt x="1001" y="125"/>
                  <a:pt x="975" y="125"/>
                </a:cubicBezTo>
                <a:cubicBezTo>
                  <a:pt x="975" y="100"/>
                  <a:pt x="950" y="75"/>
                  <a:pt x="950" y="100"/>
                </a:cubicBezTo>
                <a:cubicBezTo>
                  <a:pt x="950" y="125"/>
                  <a:pt x="900" y="125"/>
                  <a:pt x="875" y="100"/>
                </a:cubicBezTo>
                <a:cubicBezTo>
                  <a:pt x="850" y="100"/>
                  <a:pt x="801" y="75"/>
                  <a:pt x="775" y="75"/>
                </a:cubicBezTo>
                <a:cubicBezTo>
                  <a:pt x="775" y="50"/>
                  <a:pt x="750" y="50"/>
                  <a:pt x="725" y="50"/>
                </a:cubicBezTo>
                <a:cubicBezTo>
                  <a:pt x="700" y="50"/>
                  <a:pt x="625" y="25"/>
                  <a:pt x="550" y="25"/>
                </a:cubicBezTo>
                <a:cubicBezTo>
                  <a:pt x="500" y="25"/>
                  <a:pt x="325" y="25"/>
                  <a:pt x="250" y="25"/>
                </a:cubicBezTo>
                <a:cubicBezTo>
                  <a:pt x="175" y="25"/>
                  <a:pt x="175" y="0"/>
                  <a:pt x="125" y="0"/>
                </a:cubicBezTo>
                <a:cubicBezTo>
                  <a:pt x="100" y="0"/>
                  <a:pt x="125" y="25"/>
                  <a:pt x="50" y="50"/>
                </a:cubicBezTo>
                <a:cubicBezTo>
                  <a:pt x="0" y="50"/>
                  <a:pt x="0" y="75"/>
                  <a:pt x="50" y="100"/>
                </a:cubicBezTo>
                <a:cubicBezTo>
                  <a:pt x="50" y="125"/>
                  <a:pt x="50" y="150"/>
                  <a:pt x="50" y="200"/>
                </a:cubicBezTo>
                <a:cubicBezTo>
                  <a:pt x="75" y="200"/>
                  <a:pt x="75" y="200"/>
                  <a:pt x="75" y="175"/>
                </a:cubicBezTo>
                <a:cubicBezTo>
                  <a:pt x="100" y="175"/>
                  <a:pt x="125" y="175"/>
                  <a:pt x="125" y="200"/>
                </a:cubicBezTo>
                <a:cubicBezTo>
                  <a:pt x="125" y="200"/>
                  <a:pt x="150" y="200"/>
                  <a:pt x="175" y="200"/>
                </a:cubicBezTo>
                <a:cubicBezTo>
                  <a:pt x="200" y="200"/>
                  <a:pt x="175" y="225"/>
                  <a:pt x="200" y="200"/>
                </a:cubicBezTo>
                <a:cubicBezTo>
                  <a:pt x="225" y="175"/>
                  <a:pt x="275" y="200"/>
                  <a:pt x="275" y="225"/>
                </a:cubicBezTo>
                <a:cubicBezTo>
                  <a:pt x="275" y="225"/>
                  <a:pt x="325" y="225"/>
                  <a:pt x="300" y="250"/>
                </a:cubicBezTo>
                <a:cubicBezTo>
                  <a:pt x="250" y="275"/>
                  <a:pt x="225" y="275"/>
                  <a:pt x="225" y="300"/>
                </a:cubicBezTo>
                <a:cubicBezTo>
                  <a:pt x="225" y="325"/>
                  <a:pt x="250" y="375"/>
                  <a:pt x="225" y="400"/>
                </a:cubicBezTo>
                <a:cubicBezTo>
                  <a:pt x="200" y="425"/>
                  <a:pt x="250" y="450"/>
                  <a:pt x="225" y="450"/>
                </a:cubicBezTo>
                <a:cubicBezTo>
                  <a:pt x="200" y="450"/>
                  <a:pt x="175" y="475"/>
                  <a:pt x="200" y="500"/>
                </a:cubicBezTo>
                <a:cubicBezTo>
                  <a:pt x="225" y="525"/>
                  <a:pt x="250" y="550"/>
                  <a:pt x="225" y="550"/>
                </a:cubicBezTo>
                <a:cubicBezTo>
                  <a:pt x="200" y="550"/>
                  <a:pt x="200" y="575"/>
                  <a:pt x="200" y="600"/>
                </a:cubicBezTo>
                <a:cubicBezTo>
                  <a:pt x="200" y="600"/>
                  <a:pt x="250" y="625"/>
                  <a:pt x="225" y="650"/>
                </a:cubicBezTo>
                <a:cubicBezTo>
                  <a:pt x="175" y="650"/>
                  <a:pt x="175" y="675"/>
                  <a:pt x="175" y="700"/>
                </a:cubicBezTo>
                <a:cubicBezTo>
                  <a:pt x="175" y="700"/>
                  <a:pt x="175" y="725"/>
                  <a:pt x="200" y="725"/>
                </a:cubicBezTo>
                <a:cubicBezTo>
                  <a:pt x="200" y="725"/>
                  <a:pt x="225" y="725"/>
                  <a:pt x="250" y="725"/>
                </a:cubicBezTo>
                <a:cubicBezTo>
                  <a:pt x="275" y="750"/>
                  <a:pt x="300" y="850"/>
                  <a:pt x="350" y="850"/>
                </a:cubicBezTo>
                <a:cubicBezTo>
                  <a:pt x="375" y="850"/>
                  <a:pt x="375" y="825"/>
                  <a:pt x="375" y="825"/>
                </a:cubicBezTo>
                <a:cubicBezTo>
                  <a:pt x="400" y="800"/>
                  <a:pt x="425" y="800"/>
                  <a:pt x="425" y="800"/>
                </a:cubicBezTo>
                <a:cubicBezTo>
                  <a:pt x="450" y="800"/>
                  <a:pt x="475" y="775"/>
                  <a:pt x="525" y="775"/>
                </a:cubicBezTo>
                <a:cubicBezTo>
                  <a:pt x="575" y="775"/>
                  <a:pt x="601" y="775"/>
                  <a:pt x="650" y="775"/>
                </a:cubicBezTo>
                <a:cubicBezTo>
                  <a:pt x="675" y="775"/>
                  <a:pt x="700" y="775"/>
                  <a:pt x="700" y="750"/>
                </a:cubicBezTo>
                <a:cubicBezTo>
                  <a:pt x="725" y="725"/>
                  <a:pt x="750" y="700"/>
                  <a:pt x="775" y="700"/>
                </a:cubicBezTo>
                <a:cubicBezTo>
                  <a:pt x="825" y="675"/>
                  <a:pt x="825" y="650"/>
                  <a:pt x="825" y="625"/>
                </a:cubicBezTo>
                <a:cubicBezTo>
                  <a:pt x="825" y="600"/>
                  <a:pt x="875" y="575"/>
                  <a:pt x="875" y="550"/>
                </a:cubicBezTo>
                <a:cubicBezTo>
                  <a:pt x="900" y="525"/>
                  <a:pt x="850" y="475"/>
                  <a:pt x="900" y="425"/>
                </a:cubicBezTo>
                <a:cubicBezTo>
                  <a:pt x="925" y="350"/>
                  <a:pt x="975" y="350"/>
                  <a:pt x="975" y="325"/>
                </a:cubicBezTo>
                <a:cubicBezTo>
                  <a:pt x="975" y="300"/>
                  <a:pt x="1001" y="275"/>
                  <a:pt x="1050" y="275"/>
                </a:cubicBezTo>
                <a:cubicBezTo>
                  <a:pt x="1101" y="275"/>
                  <a:pt x="1125" y="250"/>
                  <a:pt x="1150" y="225"/>
                </a:cubicBezTo>
                <a:cubicBezTo>
                  <a:pt x="1201" y="200"/>
                  <a:pt x="1201" y="175"/>
                  <a:pt x="1201" y="150"/>
                </a:cubicBezTo>
                <a:close/>
                <a:moveTo>
                  <a:pt x="1201" y="450"/>
                </a:moveTo>
                <a:lnTo>
                  <a:pt x="1201" y="450"/>
                </a:lnTo>
                <a:cubicBezTo>
                  <a:pt x="1201" y="400"/>
                  <a:pt x="1101" y="450"/>
                  <a:pt x="1125" y="475"/>
                </a:cubicBezTo>
                <a:cubicBezTo>
                  <a:pt x="1150" y="500"/>
                  <a:pt x="1201" y="500"/>
                  <a:pt x="1201" y="450"/>
                </a:cubicBezTo>
                <a:close/>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5" name="Freeform 132">
            <a:extLst>
              <a:ext uri="{FF2B5EF4-FFF2-40B4-BE49-F238E27FC236}">
                <a16:creationId xmlns:a16="http://schemas.microsoft.com/office/drawing/2014/main" id="{09038267-1DD3-D442-90ED-B7F564341255}"/>
              </a:ext>
            </a:extLst>
          </p:cNvPr>
          <p:cNvSpPr>
            <a:spLocks noChangeArrowheads="1"/>
          </p:cNvSpPr>
          <p:nvPr/>
        </p:nvSpPr>
        <p:spPr bwMode="auto">
          <a:xfrm>
            <a:off x="5526475" y="2724141"/>
            <a:ext cx="295311" cy="462655"/>
          </a:xfrm>
          <a:custGeom>
            <a:avLst/>
            <a:gdLst>
              <a:gd name="T0" fmla="*/ 175 w 926"/>
              <a:gd name="T1" fmla="*/ 776 h 1452"/>
              <a:gd name="T2" fmla="*/ 25 w 926"/>
              <a:gd name="T3" fmla="*/ 851 h 1452"/>
              <a:gd name="T4" fmla="*/ 75 w 926"/>
              <a:gd name="T5" fmla="*/ 926 h 1452"/>
              <a:gd name="T6" fmla="*/ 150 w 926"/>
              <a:gd name="T7" fmla="*/ 926 h 1452"/>
              <a:gd name="T8" fmla="*/ 175 w 926"/>
              <a:gd name="T9" fmla="*/ 776 h 1452"/>
              <a:gd name="T10" fmla="*/ 925 w 926"/>
              <a:gd name="T11" fmla="*/ 1126 h 1452"/>
              <a:gd name="T12" fmla="*/ 800 w 926"/>
              <a:gd name="T13" fmla="*/ 1076 h 1452"/>
              <a:gd name="T14" fmla="*/ 750 w 926"/>
              <a:gd name="T15" fmla="*/ 976 h 1452"/>
              <a:gd name="T16" fmla="*/ 625 w 926"/>
              <a:gd name="T17" fmla="*/ 751 h 1452"/>
              <a:gd name="T18" fmla="*/ 476 w 926"/>
              <a:gd name="T19" fmla="*/ 676 h 1452"/>
              <a:gd name="T20" fmla="*/ 575 w 926"/>
              <a:gd name="T21" fmla="*/ 451 h 1452"/>
              <a:gd name="T22" fmla="*/ 375 w 926"/>
              <a:gd name="T23" fmla="*/ 426 h 1452"/>
              <a:gd name="T24" fmla="*/ 450 w 926"/>
              <a:gd name="T25" fmla="*/ 276 h 1452"/>
              <a:gd name="T26" fmla="*/ 325 w 926"/>
              <a:gd name="T27" fmla="*/ 326 h 1452"/>
              <a:gd name="T28" fmla="*/ 225 w 926"/>
              <a:gd name="T29" fmla="*/ 451 h 1452"/>
              <a:gd name="T30" fmla="*/ 125 w 926"/>
              <a:gd name="T31" fmla="*/ 476 h 1452"/>
              <a:gd name="T32" fmla="*/ 175 w 926"/>
              <a:gd name="T33" fmla="*/ 600 h 1452"/>
              <a:gd name="T34" fmla="*/ 150 w 926"/>
              <a:gd name="T35" fmla="*/ 700 h 1452"/>
              <a:gd name="T36" fmla="*/ 250 w 926"/>
              <a:gd name="T37" fmla="*/ 726 h 1452"/>
              <a:gd name="T38" fmla="*/ 300 w 926"/>
              <a:gd name="T39" fmla="*/ 726 h 1452"/>
              <a:gd name="T40" fmla="*/ 400 w 926"/>
              <a:gd name="T41" fmla="*/ 800 h 1452"/>
              <a:gd name="T42" fmla="*/ 450 w 926"/>
              <a:gd name="T43" fmla="*/ 900 h 1452"/>
              <a:gd name="T44" fmla="*/ 476 w 926"/>
              <a:gd name="T45" fmla="*/ 1026 h 1452"/>
              <a:gd name="T46" fmla="*/ 350 w 926"/>
              <a:gd name="T47" fmla="*/ 1026 h 1452"/>
              <a:gd name="T48" fmla="*/ 375 w 926"/>
              <a:gd name="T49" fmla="*/ 1126 h 1452"/>
              <a:gd name="T50" fmla="*/ 325 w 926"/>
              <a:gd name="T51" fmla="*/ 1226 h 1452"/>
              <a:gd name="T52" fmla="*/ 476 w 926"/>
              <a:gd name="T53" fmla="*/ 1251 h 1452"/>
              <a:gd name="T54" fmla="*/ 375 w 926"/>
              <a:gd name="T55" fmla="*/ 1301 h 1452"/>
              <a:gd name="T56" fmla="*/ 325 w 926"/>
              <a:gd name="T57" fmla="*/ 1401 h 1452"/>
              <a:gd name="T58" fmla="*/ 425 w 926"/>
              <a:gd name="T59" fmla="*/ 1376 h 1452"/>
              <a:gd name="T60" fmla="*/ 575 w 926"/>
              <a:gd name="T61" fmla="*/ 1351 h 1452"/>
              <a:gd name="T62" fmla="*/ 750 w 926"/>
              <a:gd name="T63" fmla="*/ 1351 h 1452"/>
              <a:gd name="T64" fmla="*/ 850 w 926"/>
              <a:gd name="T65" fmla="*/ 1276 h 1452"/>
              <a:gd name="T66" fmla="*/ 925 w 926"/>
              <a:gd name="T67" fmla="*/ 1126 h 1452"/>
              <a:gd name="T68" fmla="*/ 100 w 926"/>
              <a:gd name="T69" fmla="*/ 426 h 1452"/>
              <a:gd name="T70" fmla="*/ 100 w 926"/>
              <a:gd name="T71" fmla="*/ 426 h 1452"/>
              <a:gd name="T72" fmla="*/ 625 w 926"/>
              <a:gd name="T73" fmla="*/ 125 h 1452"/>
              <a:gd name="T74" fmla="*/ 625 w 926"/>
              <a:gd name="T75" fmla="*/ 125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6" h="1452">
                <a:moveTo>
                  <a:pt x="175" y="776"/>
                </a:moveTo>
                <a:lnTo>
                  <a:pt x="175" y="776"/>
                </a:lnTo>
                <a:cubicBezTo>
                  <a:pt x="150" y="751"/>
                  <a:pt x="100" y="800"/>
                  <a:pt x="50" y="800"/>
                </a:cubicBezTo>
                <a:cubicBezTo>
                  <a:pt x="50" y="826"/>
                  <a:pt x="50" y="851"/>
                  <a:pt x="25" y="851"/>
                </a:cubicBezTo>
                <a:lnTo>
                  <a:pt x="0" y="900"/>
                </a:lnTo>
                <a:cubicBezTo>
                  <a:pt x="25" y="900"/>
                  <a:pt x="75" y="951"/>
                  <a:pt x="75" y="926"/>
                </a:cubicBezTo>
                <a:cubicBezTo>
                  <a:pt x="75" y="900"/>
                  <a:pt x="75" y="851"/>
                  <a:pt x="125" y="900"/>
                </a:cubicBezTo>
                <a:lnTo>
                  <a:pt x="150" y="926"/>
                </a:lnTo>
                <a:cubicBezTo>
                  <a:pt x="150" y="900"/>
                  <a:pt x="200" y="900"/>
                  <a:pt x="225" y="876"/>
                </a:cubicBezTo>
                <a:cubicBezTo>
                  <a:pt x="250" y="851"/>
                  <a:pt x="200" y="826"/>
                  <a:pt x="175" y="776"/>
                </a:cubicBezTo>
                <a:close/>
                <a:moveTo>
                  <a:pt x="925" y="1126"/>
                </a:moveTo>
                <a:lnTo>
                  <a:pt x="925" y="1126"/>
                </a:lnTo>
                <a:cubicBezTo>
                  <a:pt x="925" y="1076"/>
                  <a:pt x="850" y="1051"/>
                  <a:pt x="825" y="1076"/>
                </a:cubicBezTo>
                <a:cubicBezTo>
                  <a:pt x="825" y="1100"/>
                  <a:pt x="800" y="1100"/>
                  <a:pt x="800" y="1076"/>
                </a:cubicBezTo>
                <a:cubicBezTo>
                  <a:pt x="775" y="1051"/>
                  <a:pt x="800" y="1026"/>
                  <a:pt x="775" y="1026"/>
                </a:cubicBezTo>
                <a:lnTo>
                  <a:pt x="750" y="976"/>
                </a:lnTo>
                <a:cubicBezTo>
                  <a:pt x="750" y="951"/>
                  <a:pt x="725" y="876"/>
                  <a:pt x="676" y="851"/>
                </a:cubicBezTo>
                <a:cubicBezTo>
                  <a:pt x="650" y="851"/>
                  <a:pt x="625" y="776"/>
                  <a:pt x="625" y="751"/>
                </a:cubicBezTo>
                <a:cubicBezTo>
                  <a:pt x="625" y="700"/>
                  <a:pt x="575" y="726"/>
                  <a:pt x="550" y="700"/>
                </a:cubicBezTo>
                <a:cubicBezTo>
                  <a:pt x="525" y="651"/>
                  <a:pt x="500" y="676"/>
                  <a:pt x="476" y="676"/>
                </a:cubicBezTo>
                <a:cubicBezTo>
                  <a:pt x="450" y="676"/>
                  <a:pt x="476" y="651"/>
                  <a:pt x="500" y="626"/>
                </a:cubicBezTo>
                <a:cubicBezTo>
                  <a:pt x="550" y="600"/>
                  <a:pt x="575" y="476"/>
                  <a:pt x="575" y="451"/>
                </a:cubicBezTo>
                <a:cubicBezTo>
                  <a:pt x="575" y="426"/>
                  <a:pt x="425" y="426"/>
                  <a:pt x="400" y="451"/>
                </a:cubicBezTo>
                <a:cubicBezTo>
                  <a:pt x="375" y="451"/>
                  <a:pt x="350" y="426"/>
                  <a:pt x="375" y="426"/>
                </a:cubicBezTo>
                <a:cubicBezTo>
                  <a:pt x="400" y="400"/>
                  <a:pt x="450" y="351"/>
                  <a:pt x="450" y="326"/>
                </a:cubicBezTo>
                <a:cubicBezTo>
                  <a:pt x="450" y="326"/>
                  <a:pt x="476" y="300"/>
                  <a:pt x="450" y="276"/>
                </a:cubicBezTo>
                <a:cubicBezTo>
                  <a:pt x="450" y="251"/>
                  <a:pt x="425" y="300"/>
                  <a:pt x="425" y="326"/>
                </a:cubicBezTo>
                <a:cubicBezTo>
                  <a:pt x="400" y="326"/>
                  <a:pt x="350" y="326"/>
                  <a:pt x="325" y="326"/>
                </a:cubicBezTo>
                <a:cubicBezTo>
                  <a:pt x="275" y="300"/>
                  <a:pt x="250" y="376"/>
                  <a:pt x="250" y="400"/>
                </a:cubicBezTo>
                <a:cubicBezTo>
                  <a:pt x="250" y="426"/>
                  <a:pt x="200" y="451"/>
                  <a:pt x="225" y="451"/>
                </a:cubicBezTo>
                <a:cubicBezTo>
                  <a:pt x="225" y="476"/>
                  <a:pt x="200" y="500"/>
                  <a:pt x="200" y="500"/>
                </a:cubicBezTo>
                <a:cubicBezTo>
                  <a:pt x="175" y="476"/>
                  <a:pt x="175" y="451"/>
                  <a:pt x="125" y="476"/>
                </a:cubicBezTo>
                <a:cubicBezTo>
                  <a:pt x="100" y="500"/>
                  <a:pt x="175" y="526"/>
                  <a:pt x="200" y="526"/>
                </a:cubicBezTo>
                <a:cubicBezTo>
                  <a:pt x="250" y="526"/>
                  <a:pt x="175" y="551"/>
                  <a:pt x="175" y="600"/>
                </a:cubicBezTo>
                <a:cubicBezTo>
                  <a:pt x="175" y="626"/>
                  <a:pt x="225" y="626"/>
                  <a:pt x="225" y="651"/>
                </a:cubicBezTo>
                <a:cubicBezTo>
                  <a:pt x="225" y="676"/>
                  <a:pt x="150" y="676"/>
                  <a:pt x="150" y="700"/>
                </a:cubicBezTo>
                <a:cubicBezTo>
                  <a:pt x="150" y="726"/>
                  <a:pt x="200" y="700"/>
                  <a:pt x="200" y="676"/>
                </a:cubicBezTo>
                <a:cubicBezTo>
                  <a:pt x="225" y="676"/>
                  <a:pt x="200" y="751"/>
                  <a:pt x="250" y="726"/>
                </a:cubicBezTo>
                <a:cubicBezTo>
                  <a:pt x="300" y="726"/>
                  <a:pt x="275" y="651"/>
                  <a:pt x="300" y="651"/>
                </a:cubicBezTo>
                <a:cubicBezTo>
                  <a:pt x="325" y="676"/>
                  <a:pt x="300" y="700"/>
                  <a:pt x="300" y="726"/>
                </a:cubicBezTo>
                <a:cubicBezTo>
                  <a:pt x="325" y="751"/>
                  <a:pt x="275" y="800"/>
                  <a:pt x="275" y="826"/>
                </a:cubicBezTo>
                <a:cubicBezTo>
                  <a:pt x="275" y="851"/>
                  <a:pt x="375" y="851"/>
                  <a:pt x="400" y="800"/>
                </a:cubicBezTo>
                <a:cubicBezTo>
                  <a:pt x="450" y="776"/>
                  <a:pt x="450" y="800"/>
                  <a:pt x="425" y="826"/>
                </a:cubicBezTo>
                <a:cubicBezTo>
                  <a:pt x="425" y="851"/>
                  <a:pt x="425" y="876"/>
                  <a:pt x="450" y="900"/>
                </a:cubicBezTo>
                <a:cubicBezTo>
                  <a:pt x="476" y="900"/>
                  <a:pt x="500" y="900"/>
                  <a:pt x="476" y="926"/>
                </a:cubicBezTo>
                <a:cubicBezTo>
                  <a:pt x="476" y="951"/>
                  <a:pt x="476" y="1000"/>
                  <a:pt x="476" y="1026"/>
                </a:cubicBezTo>
                <a:cubicBezTo>
                  <a:pt x="450" y="1026"/>
                  <a:pt x="375" y="1026"/>
                  <a:pt x="375" y="1026"/>
                </a:cubicBezTo>
                <a:cubicBezTo>
                  <a:pt x="375" y="1000"/>
                  <a:pt x="325" y="1026"/>
                  <a:pt x="350" y="1026"/>
                </a:cubicBezTo>
                <a:cubicBezTo>
                  <a:pt x="350" y="1051"/>
                  <a:pt x="300" y="1076"/>
                  <a:pt x="325" y="1100"/>
                </a:cubicBezTo>
                <a:cubicBezTo>
                  <a:pt x="325" y="1100"/>
                  <a:pt x="375" y="1100"/>
                  <a:pt x="375" y="1126"/>
                </a:cubicBezTo>
                <a:cubicBezTo>
                  <a:pt x="375" y="1151"/>
                  <a:pt x="325" y="1176"/>
                  <a:pt x="275" y="1200"/>
                </a:cubicBezTo>
                <a:cubicBezTo>
                  <a:pt x="225" y="1200"/>
                  <a:pt x="300" y="1251"/>
                  <a:pt x="325" y="1226"/>
                </a:cubicBezTo>
                <a:cubicBezTo>
                  <a:pt x="350" y="1200"/>
                  <a:pt x="325" y="1251"/>
                  <a:pt x="375" y="1251"/>
                </a:cubicBezTo>
                <a:cubicBezTo>
                  <a:pt x="400" y="1251"/>
                  <a:pt x="425" y="1276"/>
                  <a:pt x="476" y="1251"/>
                </a:cubicBezTo>
                <a:cubicBezTo>
                  <a:pt x="500" y="1251"/>
                  <a:pt x="500" y="1251"/>
                  <a:pt x="476" y="1276"/>
                </a:cubicBezTo>
                <a:cubicBezTo>
                  <a:pt x="450" y="1301"/>
                  <a:pt x="400" y="1276"/>
                  <a:pt x="375" y="1301"/>
                </a:cubicBezTo>
                <a:cubicBezTo>
                  <a:pt x="350" y="1301"/>
                  <a:pt x="225" y="1425"/>
                  <a:pt x="250" y="1451"/>
                </a:cubicBezTo>
                <a:cubicBezTo>
                  <a:pt x="275" y="1451"/>
                  <a:pt x="275" y="1425"/>
                  <a:pt x="325" y="1401"/>
                </a:cubicBezTo>
                <a:cubicBezTo>
                  <a:pt x="375" y="1376"/>
                  <a:pt x="375" y="1425"/>
                  <a:pt x="400" y="1425"/>
                </a:cubicBezTo>
                <a:cubicBezTo>
                  <a:pt x="425" y="1425"/>
                  <a:pt x="425" y="1376"/>
                  <a:pt x="425" y="1376"/>
                </a:cubicBezTo>
                <a:cubicBezTo>
                  <a:pt x="450" y="1376"/>
                  <a:pt x="476" y="1351"/>
                  <a:pt x="500" y="1376"/>
                </a:cubicBezTo>
                <a:cubicBezTo>
                  <a:pt x="525" y="1376"/>
                  <a:pt x="550" y="1351"/>
                  <a:pt x="575" y="1351"/>
                </a:cubicBezTo>
                <a:cubicBezTo>
                  <a:pt x="600" y="1326"/>
                  <a:pt x="650" y="1376"/>
                  <a:pt x="650" y="1351"/>
                </a:cubicBezTo>
                <a:cubicBezTo>
                  <a:pt x="676" y="1351"/>
                  <a:pt x="725" y="1351"/>
                  <a:pt x="750" y="1351"/>
                </a:cubicBezTo>
                <a:cubicBezTo>
                  <a:pt x="800" y="1351"/>
                  <a:pt x="876" y="1301"/>
                  <a:pt x="900" y="1301"/>
                </a:cubicBezTo>
                <a:cubicBezTo>
                  <a:pt x="900" y="1276"/>
                  <a:pt x="876" y="1276"/>
                  <a:pt x="850" y="1276"/>
                </a:cubicBezTo>
                <a:cubicBezTo>
                  <a:pt x="825" y="1276"/>
                  <a:pt x="825" y="1251"/>
                  <a:pt x="850" y="1226"/>
                </a:cubicBezTo>
                <a:cubicBezTo>
                  <a:pt x="876" y="1176"/>
                  <a:pt x="925" y="1176"/>
                  <a:pt x="925" y="1126"/>
                </a:cubicBezTo>
                <a:close/>
                <a:moveTo>
                  <a:pt x="100" y="426"/>
                </a:moveTo>
                <a:lnTo>
                  <a:pt x="100" y="426"/>
                </a:lnTo>
                <a:cubicBezTo>
                  <a:pt x="125" y="426"/>
                  <a:pt x="175" y="351"/>
                  <a:pt x="150" y="351"/>
                </a:cubicBezTo>
                <a:cubicBezTo>
                  <a:pt x="150" y="326"/>
                  <a:pt x="75" y="426"/>
                  <a:pt x="100" y="426"/>
                </a:cubicBezTo>
                <a:close/>
                <a:moveTo>
                  <a:pt x="625" y="125"/>
                </a:moveTo>
                <a:lnTo>
                  <a:pt x="625" y="125"/>
                </a:lnTo>
                <a:cubicBezTo>
                  <a:pt x="650" y="100"/>
                  <a:pt x="676" y="0"/>
                  <a:pt x="650" y="26"/>
                </a:cubicBezTo>
                <a:cubicBezTo>
                  <a:pt x="625" y="26"/>
                  <a:pt x="625" y="125"/>
                  <a:pt x="625" y="125"/>
                </a:cubicBezTo>
                <a:close/>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6" name="Freeform 142">
            <a:extLst>
              <a:ext uri="{FF2B5EF4-FFF2-40B4-BE49-F238E27FC236}">
                <a16:creationId xmlns:a16="http://schemas.microsoft.com/office/drawing/2014/main" id="{4C01018D-F0F4-2D40-A566-AAEACC80E235}"/>
              </a:ext>
            </a:extLst>
          </p:cNvPr>
          <p:cNvSpPr>
            <a:spLocks noChangeArrowheads="1"/>
          </p:cNvSpPr>
          <p:nvPr/>
        </p:nvSpPr>
        <p:spPr bwMode="auto">
          <a:xfrm>
            <a:off x="7981772" y="3050387"/>
            <a:ext cx="1802801" cy="1244524"/>
          </a:xfrm>
          <a:custGeom>
            <a:avLst/>
            <a:gdLst>
              <a:gd name="T0" fmla="*/ 5451 w 5652"/>
              <a:gd name="T1" fmla="*/ 700 h 3901"/>
              <a:gd name="T2" fmla="*/ 5176 w 5652"/>
              <a:gd name="T3" fmla="*/ 550 h 3901"/>
              <a:gd name="T4" fmla="*/ 4901 w 5652"/>
              <a:gd name="T5" fmla="*/ 325 h 3901"/>
              <a:gd name="T6" fmla="*/ 4626 w 5652"/>
              <a:gd name="T7" fmla="*/ 25 h 3901"/>
              <a:gd name="T8" fmla="*/ 4275 w 5652"/>
              <a:gd name="T9" fmla="*/ 100 h 3901"/>
              <a:gd name="T10" fmla="*/ 4176 w 5652"/>
              <a:gd name="T11" fmla="*/ 399 h 3901"/>
              <a:gd name="T12" fmla="*/ 3926 w 5652"/>
              <a:gd name="T13" fmla="*/ 450 h 3901"/>
              <a:gd name="T14" fmla="*/ 3926 w 5652"/>
              <a:gd name="T15" fmla="*/ 700 h 3901"/>
              <a:gd name="T16" fmla="*/ 4126 w 5652"/>
              <a:gd name="T17" fmla="*/ 850 h 3901"/>
              <a:gd name="T18" fmla="*/ 3676 w 5652"/>
              <a:gd name="T19" fmla="*/ 1025 h 3901"/>
              <a:gd name="T20" fmla="*/ 3350 w 5652"/>
              <a:gd name="T21" fmla="*/ 1275 h 3901"/>
              <a:gd name="T22" fmla="*/ 2725 w 5652"/>
              <a:gd name="T23" fmla="*/ 1400 h 3901"/>
              <a:gd name="T24" fmla="*/ 2125 w 5652"/>
              <a:gd name="T25" fmla="*/ 1300 h 3901"/>
              <a:gd name="T26" fmla="*/ 1825 w 5652"/>
              <a:gd name="T27" fmla="*/ 1075 h 3901"/>
              <a:gd name="T28" fmla="*/ 1575 w 5652"/>
              <a:gd name="T29" fmla="*/ 800 h 3901"/>
              <a:gd name="T30" fmla="*/ 1275 w 5652"/>
              <a:gd name="T31" fmla="*/ 550 h 3901"/>
              <a:gd name="T32" fmla="*/ 1175 w 5652"/>
              <a:gd name="T33" fmla="*/ 575 h 3901"/>
              <a:gd name="T34" fmla="*/ 1000 w 5652"/>
              <a:gd name="T35" fmla="*/ 800 h 3901"/>
              <a:gd name="T36" fmla="*/ 800 w 5652"/>
              <a:gd name="T37" fmla="*/ 1025 h 3901"/>
              <a:gd name="T38" fmla="*/ 600 w 5652"/>
              <a:gd name="T39" fmla="*/ 1125 h 3901"/>
              <a:gd name="T40" fmla="*/ 500 w 5652"/>
              <a:gd name="T41" fmla="*/ 1400 h 3901"/>
              <a:gd name="T42" fmla="*/ 225 w 5652"/>
              <a:gd name="T43" fmla="*/ 1550 h 3901"/>
              <a:gd name="T44" fmla="*/ 0 w 5652"/>
              <a:gd name="T45" fmla="*/ 1625 h 3901"/>
              <a:gd name="T46" fmla="*/ 100 w 5652"/>
              <a:gd name="T47" fmla="*/ 1800 h 3901"/>
              <a:gd name="T48" fmla="*/ 250 w 5652"/>
              <a:gd name="T49" fmla="*/ 2075 h 3901"/>
              <a:gd name="T50" fmla="*/ 400 w 5652"/>
              <a:gd name="T51" fmla="*/ 2125 h 3901"/>
              <a:gd name="T52" fmla="*/ 475 w 5652"/>
              <a:gd name="T53" fmla="*/ 2250 h 3901"/>
              <a:gd name="T54" fmla="*/ 450 w 5652"/>
              <a:gd name="T55" fmla="*/ 2450 h 3901"/>
              <a:gd name="T56" fmla="*/ 650 w 5652"/>
              <a:gd name="T57" fmla="*/ 2675 h 3901"/>
              <a:gd name="T58" fmla="*/ 975 w 5652"/>
              <a:gd name="T59" fmla="*/ 2801 h 3901"/>
              <a:gd name="T60" fmla="*/ 1325 w 5652"/>
              <a:gd name="T61" fmla="*/ 2875 h 3901"/>
              <a:gd name="T62" fmla="*/ 1450 w 5652"/>
              <a:gd name="T63" fmla="*/ 2875 h 3901"/>
              <a:gd name="T64" fmla="*/ 1700 w 5652"/>
              <a:gd name="T65" fmla="*/ 2875 h 3901"/>
              <a:gd name="T66" fmla="*/ 2000 w 5652"/>
              <a:gd name="T67" fmla="*/ 2775 h 3901"/>
              <a:gd name="T68" fmla="*/ 2150 w 5652"/>
              <a:gd name="T69" fmla="*/ 2875 h 3901"/>
              <a:gd name="T70" fmla="*/ 2125 w 5652"/>
              <a:gd name="T71" fmla="*/ 3249 h 3901"/>
              <a:gd name="T72" fmla="*/ 2276 w 5652"/>
              <a:gd name="T73" fmla="*/ 3424 h 3901"/>
              <a:gd name="T74" fmla="*/ 2425 w 5652"/>
              <a:gd name="T75" fmla="*/ 3524 h 3901"/>
              <a:gd name="T76" fmla="*/ 2576 w 5652"/>
              <a:gd name="T77" fmla="*/ 3424 h 3901"/>
              <a:gd name="T78" fmla="*/ 2850 w 5652"/>
              <a:gd name="T79" fmla="*/ 3374 h 3901"/>
              <a:gd name="T80" fmla="*/ 3076 w 5652"/>
              <a:gd name="T81" fmla="*/ 3549 h 3901"/>
              <a:gd name="T82" fmla="*/ 3250 w 5652"/>
              <a:gd name="T83" fmla="*/ 3574 h 3901"/>
              <a:gd name="T84" fmla="*/ 3626 w 5652"/>
              <a:gd name="T85" fmla="*/ 3424 h 3901"/>
              <a:gd name="T86" fmla="*/ 3976 w 5652"/>
              <a:gd name="T87" fmla="*/ 3300 h 3901"/>
              <a:gd name="T88" fmla="*/ 4201 w 5652"/>
              <a:gd name="T89" fmla="*/ 3125 h 3901"/>
              <a:gd name="T90" fmla="*/ 4301 w 5652"/>
              <a:gd name="T91" fmla="*/ 2925 h 3901"/>
              <a:gd name="T92" fmla="*/ 4426 w 5652"/>
              <a:gd name="T93" fmla="*/ 2701 h 3901"/>
              <a:gd name="T94" fmla="*/ 4401 w 5652"/>
              <a:gd name="T95" fmla="*/ 2601 h 3901"/>
              <a:gd name="T96" fmla="*/ 4401 w 5652"/>
              <a:gd name="T97" fmla="*/ 2500 h 3901"/>
              <a:gd name="T98" fmla="*/ 4150 w 5652"/>
              <a:gd name="T99" fmla="*/ 2175 h 3901"/>
              <a:gd name="T100" fmla="*/ 4351 w 5652"/>
              <a:gd name="T101" fmla="*/ 1975 h 3901"/>
              <a:gd name="T102" fmla="*/ 4201 w 5652"/>
              <a:gd name="T103" fmla="*/ 1925 h 3901"/>
              <a:gd name="T104" fmla="*/ 4150 w 5652"/>
              <a:gd name="T105" fmla="*/ 1675 h 3901"/>
              <a:gd name="T106" fmla="*/ 4351 w 5652"/>
              <a:gd name="T107" fmla="*/ 1725 h 3901"/>
              <a:gd name="T108" fmla="*/ 4651 w 5652"/>
              <a:gd name="T109" fmla="*/ 1575 h 3901"/>
              <a:gd name="T110" fmla="*/ 5026 w 5652"/>
              <a:gd name="T111" fmla="*/ 1425 h 3901"/>
              <a:gd name="T112" fmla="*/ 5251 w 5652"/>
              <a:gd name="T113" fmla="*/ 1300 h 3901"/>
              <a:gd name="T114" fmla="*/ 5276 w 5652"/>
              <a:gd name="T115" fmla="*/ 1125 h 3901"/>
              <a:gd name="T116" fmla="*/ 5501 w 5652"/>
              <a:gd name="T117" fmla="*/ 950 h 3901"/>
              <a:gd name="T118" fmla="*/ 4250 w 5652"/>
              <a:gd name="T119" fmla="*/ 3324 h 3901"/>
              <a:gd name="T120" fmla="*/ 4250 w 5652"/>
              <a:gd name="T121" fmla="*/ 3324 h 3901"/>
              <a:gd name="T122" fmla="*/ 3325 w 5652"/>
              <a:gd name="T123" fmla="*/ 3825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52" h="3901">
                <a:moveTo>
                  <a:pt x="5601" y="675"/>
                </a:moveTo>
                <a:lnTo>
                  <a:pt x="5601" y="675"/>
                </a:lnTo>
                <a:cubicBezTo>
                  <a:pt x="5601" y="625"/>
                  <a:pt x="5551" y="650"/>
                  <a:pt x="5526" y="675"/>
                </a:cubicBezTo>
                <a:cubicBezTo>
                  <a:pt x="5526" y="675"/>
                  <a:pt x="5451" y="675"/>
                  <a:pt x="5451" y="700"/>
                </a:cubicBezTo>
                <a:cubicBezTo>
                  <a:pt x="5426" y="725"/>
                  <a:pt x="5401" y="725"/>
                  <a:pt x="5351" y="725"/>
                </a:cubicBezTo>
                <a:cubicBezTo>
                  <a:pt x="5326" y="725"/>
                  <a:pt x="5276" y="700"/>
                  <a:pt x="5276" y="675"/>
                </a:cubicBezTo>
                <a:cubicBezTo>
                  <a:pt x="5276" y="650"/>
                  <a:pt x="5251" y="625"/>
                  <a:pt x="5251" y="600"/>
                </a:cubicBezTo>
                <a:cubicBezTo>
                  <a:pt x="5251" y="575"/>
                  <a:pt x="5201" y="575"/>
                  <a:pt x="5176" y="550"/>
                </a:cubicBezTo>
                <a:cubicBezTo>
                  <a:pt x="5151" y="525"/>
                  <a:pt x="5101" y="499"/>
                  <a:pt x="5076" y="525"/>
                </a:cubicBezTo>
                <a:cubicBezTo>
                  <a:pt x="5076" y="525"/>
                  <a:pt x="5051" y="475"/>
                  <a:pt x="5001" y="475"/>
                </a:cubicBezTo>
                <a:cubicBezTo>
                  <a:pt x="4951" y="475"/>
                  <a:pt x="4951" y="450"/>
                  <a:pt x="4951" y="425"/>
                </a:cubicBezTo>
                <a:cubicBezTo>
                  <a:pt x="4976" y="399"/>
                  <a:pt x="4926" y="350"/>
                  <a:pt x="4901" y="325"/>
                </a:cubicBezTo>
                <a:cubicBezTo>
                  <a:pt x="4901" y="275"/>
                  <a:pt x="4876" y="275"/>
                  <a:pt x="4851" y="200"/>
                </a:cubicBezTo>
                <a:cubicBezTo>
                  <a:pt x="4851" y="125"/>
                  <a:pt x="4801" y="150"/>
                  <a:pt x="4801" y="125"/>
                </a:cubicBezTo>
                <a:cubicBezTo>
                  <a:pt x="4826" y="74"/>
                  <a:pt x="4776" y="74"/>
                  <a:pt x="4751" y="50"/>
                </a:cubicBezTo>
                <a:cubicBezTo>
                  <a:pt x="4726" y="25"/>
                  <a:pt x="4676" y="50"/>
                  <a:pt x="4626" y="25"/>
                </a:cubicBezTo>
                <a:cubicBezTo>
                  <a:pt x="4601" y="0"/>
                  <a:pt x="4576" y="0"/>
                  <a:pt x="4526" y="0"/>
                </a:cubicBezTo>
                <a:cubicBezTo>
                  <a:pt x="4501" y="0"/>
                  <a:pt x="4401" y="0"/>
                  <a:pt x="4401" y="0"/>
                </a:cubicBezTo>
                <a:cubicBezTo>
                  <a:pt x="4376" y="0"/>
                  <a:pt x="4301" y="0"/>
                  <a:pt x="4275" y="50"/>
                </a:cubicBezTo>
                <a:cubicBezTo>
                  <a:pt x="4226" y="100"/>
                  <a:pt x="4275" y="100"/>
                  <a:pt x="4275" y="100"/>
                </a:cubicBezTo>
                <a:cubicBezTo>
                  <a:pt x="4301" y="100"/>
                  <a:pt x="4301" y="150"/>
                  <a:pt x="4301" y="174"/>
                </a:cubicBezTo>
                <a:cubicBezTo>
                  <a:pt x="4301" y="174"/>
                  <a:pt x="4275" y="200"/>
                  <a:pt x="4275" y="225"/>
                </a:cubicBezTo>
                <a:cubicBezTo>
                  <a:pt x="4250" y="225"/>
                  <a:pt x="4226" y="275"/>
                  <a:pt x="4201" y="300"/>
                </a:cubicBezTo>
                <a:cubicBezTo>
                  <a:pt x="4201" y="325"/>
                  <a:pt x="4150" y="375"/>
                  <a:pt x="4176" y="399"/>
                </a:cubicBezTo>
                <a:cubicBezTo>
                  <a:pt x="4176" y="425"/>
                  <a:pt x="4150" y="450"/>
                  <a:pt x="4126" y="450"/>
                </a:cubicBezTo>
                <a:cubicBezTo>
                  <a:pt x="4101" y="450"/>
                  <a:pt x="4050" y="475"/>
                  <a:pt x="4026" y="499"/>
                </a:cubicBezTo>
                <a:lnTo>
                  <a:pt x="3950" y="475"/>
                </a:lnTo>
                <a:cubicBezTo>
                  <a:pt x="3950" y="450"/>
                  <a:pt x="3926" y="450"/>
                  <a:pt x="3926" y="450"/>
                </a:cubicBezTo>
                <a:cubicBezTo>
                  <a:pt x="3850" y="600"/>
                  <a:pt x="3850" y="600"/>
                  <a:pt x="3850" y="600"/>
                </a:cubicBezTo>
                <a:cubicBezTo>
                  <a:pt x="3850" y="650"/>
                  <a:pt x="3850" y="650"/>
                  <a:pt x="3850" y="650"/>
                </a:cubicBezTo>
                <a:cubicBezTo>
                  <a:pt x="3850" y="650"/>
                  <a:pt x="3801" y="650"/>
                  <a:pt x="3826" y="700"/>
                </a:cubicBezTo>
                <a:cubicBezTo>
                  <a:pt x="3876" y="725"/>
                  <a:pt x="3876" y="700"/>
                  <a:pt x="3926" y="700"/>
                </a:cubicBezTo>
                <a:cubicBezTo>
                  <a:pt x="3976" y="700"/>
                  <a:pt x="4001" y="750"/>
                  <a:pt x="4026" y="700"/>
                </a:cubicBezTo>
                <a:cubicBezTo>
                  <a:pt x="4026" y="675"/>
                  <a:pt x="4076" y="675"/>
                  <a:pt x="4101" y="700"/>
                </a:cubicBezTo>
                <a:cubicBezTo>
                  <a:pt x="4126" y="725"/>
                  <a:pt x="4226" y="800"/>
                  <a:pt x="4226" y="825"/>
                </a:cubicBezTo>
                <a:cubicBezTo>
                  <a:pt x="4226" y="850"/>
                  <a:pt x="4176" y="850"/>
                  <a:pt x="4126" y="850"/>
                </a:cubicBezTo>
                <a:cubicBezTo>
                  <a:pt x="4101" y="825"/>
                  <a:pt x="4050" y="875"/>
                  <a:pt x="4001" y="875"/>
                </a:cubicBezTo>
                <a:cubicBezTo>
                  <a:pt x="3976" y="875"/>
                  <a:pt x="3926" y="875"/>
                  <a:pt x="3901" y="900"/>
                </a:cubicBezTo>
                <a:cubicBezTo>
                  <a:pt x="3850" y="950"/>
                  <a:pt x="3876" y="975"/>
                  <a:pt x="3801" y="1000"/>
                </a:cubicBezTo>
                <a:cubicBezTo>
                  <a:pt x="3750" y="1000"/>
                  <a:pt x="3726" y="1000"/>
                  <a:pt x="3676" y="1025"/>
                </a:cubicBezTo>
                <a:cubicBezTo>
                  <a:pt x="3601" y="1075"/>
                  <a:pt x="3550" y="1050"/>
                  <a:pt x="3526" y="1050"/>
                </a:cubicBezTo>
                <a:cubicBezTo>
                  <a:pt x="3501" y="1025"/>
                  <a:pt x="3450" y="1025"/>
                  <a:pt x="3425" y="1075"/>
                </a:cubicBezTo>
                <a:cubicBezTo>
                  <a:pt x="3401" y="1100"/>
                  <a:pt x="3450" y="1125"/>
                  <a:pt x="3450" y="1175"/>
                </a:cubicBezTo>
                <a:cubicBezTo>
                  <a:pt x="3450" y="1225"/>
                  <a:pt x="3376" y="1225"/>
                  <a:pt x="3350" y="1275"/>
                </a:cubicBezTo>
                <a:cubicBezTo>
                  <a:pt x="3301" y="1325"/>
                  <a:pt x="3201" y="1350"/>
                  <a:pt x="3176" y="1350"/>
                </a:cubicBezTo>
                <a:cubicBezTo>
                  <a:pt x="3125" y="1325"/>
                  <a:pt x="3025" y="1300"/>
                  <a:pt x="2950" y="1350"/>
                </a:cubicBezTo>
                <a:cubicBezTo>
                  <a:pt x="2876" y="1375"/>
                  <a:pt x="2825" y="1450"/>
                  <a:pt x="2801" y="1425"/>
                </a:cubicBezTo>
                <a:cubicBezTo>
                  <a:pt x="2776" y="1425"/>
                  <a:pt x="2776" y="1400"/>
                  <a:pt x="2725" y="1400"/>
                </a:cubicBezTo>
                <a:cubicBezTo>
                  <a:pt x="2676" y="1400"/>
                  <a:pt x="2650" y="1400"/>
                  <a:pt x="2625" y="1375"/>
                </a:cubicBezTo>
                <a:cubicBezTo>
                  <a:pt x="2601" y="1350"/>
                  <a:pt x="2576" y="1375"/>
                  <a:pt x="2525" y="1350"/>
                </a:cubicBezTo>
                <a:cubicBezTo>
                  <a:pt x="2476" y="1300"/>
                  <a:pt x="2400" y="1325"/>
                  <a:pt x="2350" y="1300"/>
                </a:cubicBezTo>
                <a:cubicBezTo>
                  <a:pt x="2325" y="1300"/>
                  <a:pt x="2176" y="1300"/>
                  <a:pt x="2125" y="1300"/>
                </a:cubicBezTo>
                <a:cubicBezTo>
                  <a:pt x="2076" y="1300"/>
                  <a:pt x="2000" y="1325"/>
                  <a:pt x="2000" y="1300"/>
                </a:cubicBezTo>
                <a:cubicBezTo>
                  <a:pt x="2000" y="1275"/>
                  <a:pt x="1976" y="1250"/>
                  <a:pt x="1950" y="1200"/>
                </a:cubicBezTo>
                <a:cubicBezTo>
                  <a:pt x="1950" y="1150"/>
                  <a:pt x="1900" y="1125"/>
                  <a:pt x="1876" y="1125"/>
                </a:cubicBezTo>
                <a:cubicBezTo>
                  <a:pt x="1850" y="1100"/>
                  <a:pt x="1850" y="1075"/>
                  <a:pt x="1825" y="1075"/>
                </a:cubicBezTo>
                <a:cubicBezTo>
                  <a:pt x="1800" y="1075"/>
                  <a:pt x="1800" y="1025"/>
                  <a:pt x="1750" y="1025"/>
                </a:cubicBezTo>
                <a:cubicBezTo>
                  <a:pt x="1700" y="1025"/>
                  <a:pt x="1550" y="1025"/>
                  <a:pt x="1525" y="975"/>
                </a:cubicBezTo>
                <a:cubicBezTo>
                  <a:pt x="1525" y="950"/>
                  <a:pt x="1550" y="950"/>
                  <a:pt x="1550" y="900"/>
                </a:cubicBezTo>
                <a:cubicBezTo>
                  <a:pt x="1550" y="875"/>
                  <a:pt x="1575" y="825"/>
                  <a:pt x="1575" y="800"/>
                </a:cubicBezTo>
                <a:cubicBezTo>
                  <a:pt x="1550" y="800"/>
                  <a:pt x="1525" y="775"/>
                  <a:pt x="1525" y="750"/>
                </a:cubicBezTo>
                <a:cubicBezTo>
                  <a:pt x="1500" y="700"/>
                  <a:pt x="1475" y="675"/>
                  <a:pt x="1425" y="675"/>
                </a:cubicBezTo>
                <a:cubicBezTo>
                  <a:pt x="1400" y="675"/>
                  <a:pt x="1375" y="650"/>
                  <a:pt x="1350" y="625"/>
                </a:cubicBezTo>
                <a:cubicBezTo>
                  <a:pt x="1325" y="600"/>
                  <a:pt x="1300" y="600"/>
                  <a:pt x="1275" y="550"/>
                </a:cubicBezTo>
                <a:cubicBezTo>
                  <a:pt x="1275" y="525"/>
                  <a:pt x="1275" y="525"/>
                  <a:pt x="1275" y="525"/>
                </a:cubicBezTo>
                <a:lnTo>
                  <a:pt x="1250" y="525"/>
                </a:lnTo>
                <a:cubicBezTo>
                  <a:pt x="1225" y="525"/>
                  <a:pt x="1225" y="525"/>
                  <a:pt x="1225" y="499"/>
                </a:cubicBezTo>
                <a:cubicBezTo>
                  <a:pt x="1200" y="525"/>
                  <a:pt x="1175" y="550"/>
                  <a:pt x="1175" y="575"/>
                </a:cubicBezTo>
                <a:cubicBezTo>
                  <a:pt x="1175" y="600"/>
                  <a:pt x="1175" y="625"/>
                  <a:pt x="1150" y="625"/>
                </a:cubicBezTo>
                <a:cubicBezTo>
                  <a:pt x="1125" y="625"/>
                  <a:pt x="1075" y="650"/>
                  <a:pt x="1075" y="700"/>
                </a:cubicBezTo>
                <a:cubicBezTo>
                  <a:pt x="1075" y="750"/>
                  <a:pt x="1100" y="750"/>
                  <a:pt x="1100" y="775"/>
                </a:cubicBezTo>
                <a:cubicBezTo>
                  <a:pt x="1075" y="800"/>
                  <a:pt x="1025" y="800"/>
                  <a:pt x="1000" y="800"/>
                </a:cubicBezTo>
                <a:cubicBezTo>
                  <a:pt x="1000" y="800"/>
                  <a:pt x="950" y="800"/>
                  <a:pt x="925" y="800"/>
                </a:cubicBezTo>
                <a:cubicBezTo>
                  <a:pt x="900" y="800"/>
                  <a:pt x="875" y="750"/>
                  <a:pt x="850" y="800"/>
                </a:cubicBezTo>
                <a:cubicBezTo>
                  <a:pt x="850" y="825"/>
                  <a:pt x="775" y="950"/>
                  <a:pt x="800" y="975"/>
                </a:cubicBezTo>
                <a:cubicBezTo>
                  <a:pt x="825" y="975"/>
                  <a:pt x="825" y="1025"/>
                  <a:pt x="800" y="1025"/>
                </a:cubicBezTo>
                <a:cubicBezTo>
                  <a:pt x="775" y="1025"/>
                  <a:pt x="750" y="1025"/>
                  <a:pt x="725" y="1000"/>
                </a:cubicBezTo>
                <a:cubicBezTo>
                  <a:pt x="725" y="975"/>
                  <a:pt x="675" y="1025"/>
                  <a:pt x="650" y="1025"/>
                </a:cubicBezTo>
                <a:cubicBezTo>
                  <a:pt x="625" y="1025"/>
                  <a:pt x="575" y="1050"/>
                  <a:pt x="600" y="1050"/>
                </a:cubicBezTo>
                <a:cubicBezTo>
                  <a:pt x="600" y="1075"/>
                  <a:pt x="600" y="1125"/>
                  <a:pt x="600" y="1125"/>
                </a:cubicBezTo>
                <a:cubicBezTo>
                  <a:pt x="600" y="1150"/>
                  <a:pt x="650" y="1225"/>
                  <a:pt x="650" y="1250"/>
                </a:cubicBezTo>
                <a:cubicBezTo>
                  <a:pt x="650" y="1250"/>
                  <a:pt x="600" y="1275"/>
                  <a:pt x="600" y="1300"/>
                </a:cubicBezTo>
                <a:cubicBezTo>
                  <a:pt x="600" y="1350"/>
                  <a:pt x="600" y="1375"/>
                  <a:pt x="600" y="1375"/>
                </a:cubicBezTo>
                <a:cubicBezTo>
                  <a:pt x="575" y="1375"/>
                  <a:pt x="525" y="1400"/>
                  <a:pt x="500" y="1400"/>
                </a:cubicBezTo>
                <a:cubicBezTo>
                  <a:pt x="475" y="1425"/>
                  <a:pt x="450" y="1425"/>
                  <a:pt x="425" y="1450"/>
                </a:cubicBezTo>
                <a:cubicBezTo>
                  <a:pt x="425" y="1475"/>
                  <a:pt x="400" y="1500"/>
                  <a:pt x="350" y="1500"/>
                </a:cubicBezTo>
                <a:cubicBezTo>
                  <a:pt x="325" y="1500"/>
                  <a:pt x="300" y="1475"/>
                  <a:pt x="275" y="1525"/>
                </a:cubicBezTo>
                <a:cubicBezTo>
                  <a:pt x="250" y="1550"/>
                  <a:pt x="250" y="1550"/>
                  <a:pt x="225" y="1550"/>
                </a:cubicBezTo>
                <a:cubicBezTo>
                  <a:pt x="200" y="1575"/>
                  <a:pt x="174" y="1550"/>
                  <a:pt x="150" y="1550"/>
                </a:cubicBezTo>
                <a:cubicBezTo>
                  <a:pt x="150" y="1525"/>
                  <a:pt x="125" y="1550"/>
                  <a:pt x="100" y="1550"/>
                </a:cubicBezTo>
                <a:cubicBezTo>
                  <a:pt x="100" y="1550"/>
                  <a:pt x="75" y="1575"/>
                  <a:pt x="50" y="1600"/>
                </a:cubicBezTo>
                <a:cubicBezTo>
                  <a:pt x="25" y="1600"/>
                  <a:pt x="0" y="1600"/>
                  <a:pt x="0" y="1625"/>
                </a:cubicBezTo>
                <a:lnTo>
                  <a:pt x="0" y="1650"/>
                </a:lnTo>
                <a:lnTo>
                  <a:pt x="0" y="1650"/>
                </a:lnTo>
                <a:cubicBezTo>
                  <a:pt x="0" y="1750"/>
                  <a:pt x="0" y="1750"/>
                  <a:pt x="0" y="1750"/>
                </a:cubicBezTo>
                <a:cubicBezTo>
                  <a:pt x="0" y="1750"/>
                  <a:pt x="100" y="1775"/>
                  <a:pt x="100" y="1800"/>
                </a:cubicBezTo>
                <a:cubicBezTo>
                  <a:pt x="100" y="1825"/>
                  <a:pt x="125" y="1925"/>
                  <a:pt x="125" y="1925"/>
                </a:cubicBezTo>
                <a:lnTo>
                  <a:pt x="125" y="1925"/>
                </a:lnTo>
                <a:cubicBezTo>
                  <a:pt x="150" y="1950"/>
                  <a:pt x="200" y="1975"/>
                  <a:pt x="200" y="2000"/>
                </a:cubicBezTo>
                <a:cubicBezTo>
                  <a:pt x="200" y="2000"/>
                  <a:pt x="200" y="2050"/>
                  <a:pt x="250" y="2075"/>
                </a:cubicBezTo>
                <a:cubicBezTo>
                  <a:pt x="275" y="2075"/>
                  <a:pt x="300" y="2100"/>
                  <a:pt x="325" y="2100"/>
                </a:cubicBezTo>
                <a:lnTo>
                  <a:pt x="325" y="2100"/>
                </a:lnTo>
                <a:cubicBezTo>
                  <a:pt x="375" y="2100"/>
                  <a:pt x="375" y="2100"/>
                  <a:pt x="375" y="2100"/>
                </a:cubicBezTo>
                <a:cubicBezTo>
                  <a:pt x="375" y="2100"/>
                  <a:pt x="375" y="2100"/>
                  <a:pt x="400" y="2125"/>
                </a:cubicBezTo>
                <a:cubicBezTo>
                  <a:pt x="400" y="2075"/>
                  <a:pt x="450" y="2050"/>
                  <a:pt x="500" y="2050"/>
                </a:cubicBezTo>
                <a:cubicBezTo>
                  <a:pt x="525" y="2050"/>
                  <a:pt x="600" y="2125"/>
                  <a:pt x="600" y="2150"/>
                </a:cubicBezTo>
                <a:cubicBezTo>
                  <a:pt x="600" y="2175"/>
                  <a:pt x="525" y="2250"/>
                  <a:pt x="500" y="2250"/>
                </a:cubicBezTo>
                <a:lnTo>
                  <a:pt x="475" y="2250"/>
                </a:lnTo>
                <a:cubicBezTo>
                  <a:pt x="475" y="2275"/>
                  <a:pt x="475" y="2275"/>
                  <a:pt x="475" y="2300"/>
                </a:cubicBezTo>
                <a:cubicBezTo>
                  <a:pt x="475" y="2300"/>
                  <a:pt x="500" y="2350"/>
                  <a:pt x="525" y="2375"/>
                </a:cubicBezTo>
                <a:cubicBezTo>
                  <a:pt x="525" y="2400"/>
                  <a:pt x="475" y="2425"/>
                  <a:pt x="450" y="2400"/>
                </a:cubicBezTo>
                <a:cubicBezTo>
                  <a:pt x="425" y="2375"/>
                  <a:pt x="425" y="2425"/>
                  <a:pt x="450" y="2450"/>
                </a:cubicBezTo>
                <a:cubicBezTo>
                  <a:pt x="450" y="2475"/>
                  <a:pt x="450" y="2525"/>
                  <a:pt x="475" y="2525"/>
                </a:cubicBezTo>
                <a:cubicBezTo>
                  <a:pt x="500" y="2525"/>
                  <a:pt x="525" y="2575"/>
                  <a:pt x="550" y="2575"/>
                </a:cubicBezTo>
                <a:cubicBezTo>
                  <a:pt x="575" y="2575"/>
                  <a:pt x="600" y="2625"/>
                  <a:pt x="600" y="2625"/>
                </a:cubicBezTo>
                <a:cubicBezTo>
                  <a:pt x="600" y="2625"/>
                  <a:pt x="650" y="2650"/>
                  <a:pt x="650" y="2675"/>
                </a:cubicBezTo>
                <a:lnTo>
                  <a:pt x="650" y="2675"/>
                </a:lnTo>
                <a:cubicBezTo>
                  <a:pt x="675" y="2675"/>
                  <a:pt x="700" y="2675"/>
                  <a:pt x="700" y="2650"/>
                </a:cubicBezTo>
                <a:cubicBezTo>
                  <a:pt x="700" y="2650"/>
                  <a:pt x="750" y="2650"/>
                  <a:pt x="775" y="2675"/>
                </a:cubicBezTo>
                <a:cubicBezTo>
                  <a:pt x="800" y="2701"/>
                  <a:pt x="925" y="2775"/>
                  <a:pt x="975" y="2801"/>
                </a:cubicBezTo>
                <a:cubicBezTo>
                  <a:pt x="1000" y="2850"/>
                  <a:pt x="1125" y="2875"/>
                  <a:pt x="1150" y="2875"/>
                </a:cubicBezTo>
                <a:cubicBezTo>
                  <a:pt x="1175" y="2875"/>
                  <a:pt x="1225" y="2901"/>
                  <a:pt x="1275" y="2901"/>
                </a:cubicBezTo>
                <a:cubicBezTo>
                  <a:pt x="1275" y="2901"/>
                  <a:pt x="1275" y="2901"/>
                  <a:pt x="1300" y="2901"/>
                </a:cubicBezTo>
                <a:cubicBezTo>
                  <a:pt x="1300" y="2901"/>
                  <a:pt x="1325" y="2901"/>
                  <a:pt x="1325" y="2875"/>
                </a:cubicBezTo>
                <a:cubicBezTo>
                  <a:pt x="1350" y="2850"/>
                  <a:pt x="1350" y="2901"/>
                  <a:pt x="1350" y="2925"/>
                </a:cubicBezTo>
                <a:cubicBezTo>
                  <a:pt x="1350" y="2950"/>
                  <a:pt x="1350" y="2950"/>
                  <a:pt x="1350" y="2975"/>
                </a:cubicBezTo>
                <a:cubicBezTo>
                  <a:pt x="1375" y="2950"/>
                  <a:pt x="1375" y="2950"/>
                  <a:pt x="1375" y="2925"/>
                </a:cubicBezTo>
                <a:cubicBezTo>
                  <a:pt x="1400" y="2875"/>
                  <a:pt x="1425" y="2901"/>
                  <a:pt x="1450" y="2875"/>
                </a:cubicBezTo>
                <a:cubicBezTo>
                  <a:pt x="1475" y="2850"/>
                  <a:pt x="1475" y="2875"/>
                  <a:pt x="1525" y="2875"/>
                </a:cubicBezTo>
                <a:cubicBezTo>
                  <a:pt x="1550" y="2901"/>
                  <a:pt x="1575" y="2875"/>
                  <a:pt x="1625" y="2925"/>
                </a:cubicBezTo>
                <a:cubicBezTo>
                  <a:pt x="1650" y="2901"/>
                  <a:pt x="1650" y="2901"/>
                  <a:pt x="1675" y="2901"/>
                </a:cubicBezTo>
                <a:lnTo>
                  <a:pt x="1700" y="2875"/>
                </a:lnTo>
                <a:cubicBezTo>
                  <a:pt x="1725" y="2850"/>
                  <a:pt x="1725" y="2825"/>
                  <a:pt x="1750" y="2825"/>
                </a:cubicBezTo>
                <a:cubicBezTo>
                  <a:pt x="1776" y="2825"/>
                  <a:pt x="1776" y="2801"/>
                  <a:pt x="1825" y="2775"/>
                </a:cubicBezTo>
                <a:cubicBezTo>
                  <a:pt x="1876" y="2750"/>
                  <a:pt x="1925" y="2801"/>
                  <a:pt x="1950" y="2775"/>
                </a:cubicBezTo>
                <a:cubicBezTo>
                  <a:pt x="1950" y="2750"/>
                  <a:pt x="2000" y="2750"/>
                  <a:pt x="2000" y="2775"/>
                </a:cubicBezTo>
                <a:cubicBezTo>
                  <a:pt x="2000" y="2775"/>
                  <a:pt x="2025" y="2801"/>
                  <a:pt x="2025" y="2825"/>
                </a:cubicBezTo>
                <a:cubicBezTo>
                  <a:pt x="2025" y="2850"/>
                  <a:pt x="2076" y="2850"/>
                  <a:pt x="2076" y="2850"/>
                </a:cubicBezTo>
                <a:lnTo>
                  <a:pt x="2100" y="2850"/>
                </a:lnTo>
                <a:cubicBezTo>
                  <a:pt x="2125" y="2825"/>
                  <a:pt x="2150" y="2850"/>
                  <a:pt x="2150" y="2875"/>
                </a:cubicBezTo>
                <a:cubicBezTo>
                  <a:pt x="2150" y="2901"/>
                  <a:pt x="2150" y="2925"/>
                  <a:pt x="2176" y="2925"/>
                </a:cubicBezTo>
                <a:cubicBezTo>
                  <a:pt x="2200" y="2925"/>
                  <a:pt x="2225" y="2925"/>
                  <a:pt x="2225" y="2975"/>
                </a:cubicBezTo>
                <a:cubicBezTo>
                  <a:pt x="2225" y="3025"/>
                  <a:pt x="2225" y="3075"/>
                  <a:pt x="2200" y="3101"/>
                </a:cubicBezTo>
                <a:cubicBezTo>
                  <a:pt x="2150" y="3150"/>
                  <a:pt x="2100" y="3224"/>
                  <a:pt x="2125" y="3249"/>
                </a:cubicBezTo>
                <a:cubicBezTo>
                  <a:pt x="2125" y="3249"/>
                  <a:pt x="2100" y="3300"/>
                  <a:pt x="2125" y="3274"/>
                </a:cubicBezTo>
                <a:cubicBezTo>
                  <a:pt x="2150" y="3274"/>
                  <a:pt x="2225" y="3274"/>
                  <a:pt x="2225" y="3300"/>
                </a:cubicBezTo>
                <a:cubicBezTo>
                  <a:pt x="2200" y="3324"/>
                  <a:pt x="2225" y="3374"/>
                  <a:pt x="2250" y="3374"/>
                </a:cubicBezTo>
                <a:cubicBezTo>
                  <a:pt x="2276" y="3374"/>
                  <a:pt x="2300" y="3400"/>
                  <a:pt x="2276" y="3424"/>
                </a:cubicBezTo>
                <a:cubicBezTo>
                  <a:pt x="2276" y="3449"/>
                  <a:pt x="2250" y="3474"/>
                  <a:pt x="2276" y="3474"/>
                </a:cubicBezTo>
                <a:cubicBezTo>
                  <a:pt x="2300" y="3474"/>
                  <a:pt x="2350" y="3474"/>
                  <a:pt x="2325" y="3500"/>
                </a:cubicBezTo>
                <a:cubicBezTo>
                  <a:pt x="2325" y="3524"/>
                  <a:pt x="2350" y="3549"/>
                  <a:pt x="2400" y="3549"/>
                </a:cubicBezTo>
                <a:cubicBezTo>
                  <a:pt x="2425" y="3524"/>
                  <a:pt x="2425" y="3524"/>
                  <a:pt x="2425" y="3524"/>
                </a:cubicBezTo>
                <a:cubicBezTo>
                  <a:pt x="2450" y="3524"/>
                  <a:pt x="2450" y="3574"/>
                  <a:pt x="2476" y="3574"/>
                </a:cubicBezTo>
                <a:cubicBezTo>
                  <a:pt x="2500" y="3574"/>
                  <a:pt x="2500" y="3500"/>
                  <a:pt x="2476" y="3500"/>
                </a:cubicBezTo>
                <a:lnTo>
                  <a:pt x="2500" y="3449"/>
                </a:lnTo>
                <a:cubicBezTo>
                  <a:pt x="2500" y="3474"/>
                  <a:pt x="2550" y="3449"/>
                  <a:pt x="2576" y="3424"/>
                </a:cubicBezTo>
                <a:cubicBezTo>
                  <a:pt x="2576" y="3400"/>
                  <a:pt x="2625" y="3449"/>
                  <a:pt x="2625" y="3424"/>
                </a:cubicBezTo>
                <a:cubicBezTo>
                  <a:pt x="2650" y="3400"/>
                  <a:pt x="2676" y="3449"/>
                  <a:pt x="2725" y="3424"/>
                </a:cubicBezTo>
                <a:cubicBezTo>
                  <a:pt x="2750" y="3400"/>
                  <a:pt x="2776" y="3449"/>
                  <a:pt x="2776" y="3400"/>
                </a:cubicBezTo>
                <a:cubicBezTo>
                  <a:pt x="2801" y="3374"/>
                  <a:pt x="2850" y="3349"/>
                  <a:pt x="2850" y="3374"/>
                </a:cubicBezTo>
                <a:cubicBezTo>
                  <a:pt x="2876" y="3374"/>
                  <a:pt x="2876" y="3400"/>
                  <a:pt x="2925" y="3400"/>
                </a:cubicBezTo>
                <a:cubicBezTo>
                  <a:pt x="3001" y="3400"/>
                  <a:pt x="2950" y="3449"/>
                  <a:pt x="2950" y="3449"/>
                </a:cubicBezTo>
                <a:cubicBezTo>
                  <a:pt x="2950" y="3474"/>
                  <a:pt x="3025" y="3524"/>
                  <a:pt x="3050" y="3524"/>
                </a:cubicBezTo>
                <a:cubicBezTo>
                  <a:pt x="3050" y="3524"/>
                  <a:pt x="3050" y="3524"/>
                  <a:pt x="3076" y="3549"/>
                </a:cubicBezTo>
                <a:cubicBezTo>
                  <a:pt x="3076" y="3524"/>
                  <a:pt x="3125" y="3549"/>
                  <a:pt x="3125" y="3524"/>
                </a:cubicBezTo>
                <a:cubicBezTo>
                  <a:pt x="3125" y="3500"/>
                  <a:pt x="3176" y="3524"/>
                  <a:pt x="3176" y="3524"/>
                </a:cubicBezTo>
                <a:cubicBezTo>
                  <a:pt x="3201" y="3549"/>
                  <a:pt x="3201" y="3549"/>
                  <a:pt x="3225" y="3524"/>
                </a:cubicBezTo>
                <a:cubicBezTo>
                  <a:pt x="3250" y="3500"/>
                  <a:pt x="3276" y="3549"/>
                  <a:pt x="3250" y="3574"/>
                </a:cubicBezTo>
                <a:cubicBezTo>
                  <a:pt x="3250" y="3574"/>
                  <a:pt x="3250" y="3624"/>
                  <a:pt x="3276" y="3649"/>
                </a:cubicBezTo>
                <a:cubicBezTo>
                  <a:pt x="3301" y="3674"/>
                  <a:pt x="3301" y="3649"/>
                  <a:pt x="3301" y="3624"/>
                </a:cubicBezTo>
                <a:cubicBezTo>
                  <a:pt x="3301" y="3600"/>
                  <a:pt x="3350" y="3574"/>
                  <a:pt x="3425" y="3524"/>
                </a:cubicBezTo>
                <a:cubicBezTo>
                  <a:pt x="3526" y="3500"/>
                  <a:pt x="3626" y="3449"/>
                  <a:pt x="3626" y="3424"/>
                </a:cubicBezTo>
                <a:cubicBezTo>
                  <a:pt x="3626" y="3424"/>
                  <a:pt x="3676" y="3449"/>
                  <a:pt x="3701" y="3424"/>
                </a:cubicBezTo>
                <a:cubicBezTo>
                  <a:pt x="3750" y="3400"/>
                  <a:pt x="3850" y="3400"/>
                  <a:pt x="3876" y="3400"/>
                </a:cubicBezTo>
                <a:cubicBezTo>
                  <a:pt x="3901" y="3400"/>
                  <a:pt x="3901" y="3374"/>
                  <a:pt x="3926" y="3349"/>
                </a:cubicBezTo>
                <a:cubicBezTo>
                  <a:pt x="3950" y="3324"/>
                  <a:pt x="3950" y="3324"/>
                  <a:pt x="3976" y="3300"/>
                </a:cubicBezTo>
                <a:cubicBezTo>
                  <a:pt x="4026" y="3300"/>
                  <a:pt x="4026" y="3274"/>
                  <a:pt x="4026" y="3249"/>
                </a:cubicBezTo>
                <a:lnTo>
                  <a:pt x="4101" y="3224"/>
                </a:lnTo>
                <a:cubicBezTo>
                  <a:pt x="4101" y="3199"/>
                  <a:pt x="4150" y="3199"/>
                  <a:pt x="4150" y="3174"/>
                </a:cubicBezTo>
                <a:cubicBezTo>
                  <a:pt x="4150" y="3150"/>
                  <a:pt x="4176" y="3150"/>
                  <a:pt x="4201" y="3125"/>
                </a:cubicBezTo>
                <a:cubicBezTo>
                  <a:pt x="4201" y="3125"/>
                  <a:pt x="4176" y="3075"/>
                  <a:pt x="4201" y="3050"/>
                </a:cubicBezTo>
                <a:cubicBezTo>
                  <a:pt x="4226" y="3050"/>
                  <a:pt x="4201" y="3025"/>
                  <a:pt x="4201" y="3025"/>
                </a:cubicBezTo>
                <a:cubicBezTo>
                  <a:pt x="4176" y="3001"/>
                  <a:pt x="4226" y="3001"/>
                  <a:pt x="4250" y="2975"/>
                </a:cubicBezTo>
                <a:cubicBezTo>
                  <a:pt x="4275" y="2975"/>
                  <a:pt x="4301" y="2950"/>
                  <a:pt x="4301" y="2925"/>
                </a:cubicBezTo>
                <a:cubicBezTo>
                  <a:pt x="4301" y="2901"/>
                  <a:pt x="4351" y="2875"/>
                  <a:pt x="4351" y="2875"/>
                </a:cubicBezTo>
                <a:cubicBezTo>
                  <a:pt x="4376" y="2850"/>
                  <a:pt x="4376" y="2825"/>
                  <a:pt x="4376" y="2775"/>
                </a:cubicBezTo>
                <a:cubicBezTo>
                  <a:pt x="4376" y="2750"/>
                  <a:pt x="4401" y="2775"/>
                  <a:pt x="4401" y="2750"/>
                </a:cubicBezTo>
                <a:cubicBezTo>
                  <a:pt x="4376" y="2750"/>
                  <a:pt x="4401" y="2701"/>
                  <a:pt x="4426" y="2701"/>
                </a:cubicBezTo>
                <a:cubicBezTo>
                  <a:pt x="4475" y="2675"/>
                  <a:pt x="4401" y="2675"/>
                  <a:pt x="4401" y="2675"/>
                </a:cubicBezTo>
                <a:cubicBezTo>
                  <a:pt x="4376" y="2701"/>
                  <a:pt x="4351" y="2650"/>
                  <a:pt x="4351" y="2675"/>
                </a:cubicBezTo>
                <a:cubicBezTo>
                  <a:pt x="4326" y="2675"/>
                  <a:pt x="4275" y="2650"/>
                  <a:pt x="4301" y="2650"/>
                </a:cubicBezTo>
                <a:cubicBezTo>
                  <a:pt x="4326" y="2625"/>
                  <a:pt x="4376" y="2601"/>
                  <a:pt x="4401" y="2601"/>
                </a:cubicBezTo>
                <a:cubicBezTo>
                  <a:pt x="4426" y="2601"/>
                  <a:pt x="4376" y="2550"/>
                  <a:pt x="4351" y="2550"/>
                </a:cubicBezTo>
                <a:cubicBezTo>
                  <a:pt x="4326" y="2550"/>
                  <a:pt x="4301" y="2475"/>
                  <a:pt x="4275" y="2475"/>
                </a:cubicBezTo>
                <a:cubicBezTo>
                  <a:pt x="4226" y="2475"/>
                  <a:pt x="4275" y="2475"/>
                  <a:pt x="4326" y="2475"/>
                </a:cubicBezTo>
                <a:cubicBezTo>
                  <a:pt x="4351" y="2500"/>
                  <a:pt x="4376" y="2500"/>
                  <a:pt x="4401" y="2500"/>
                </a:cubicBezTo>
                <a:cubicBezTo>
                  <a:pt x="4426" y="2475"/>
                  <a:pt x="4351" y="2425"/>
                  <a:pt x="4326" y="2400"/>
                </a:cubicBezTo>
                <a:cubicBezTo>
                  <a:pt x="4301" y="2400"/>
                  <a:pt x="4326" y="2350"/>
                  <a:pt x="4301" y="2350"/>
                </a:cubicBezTo>
                <a:cubicBezTo>
                  <a:pt x="4301" y="2350"/>
                  <a:pt x="4250" y="2275"/>
                  <a:pt x="4250" y="2225"/>
                </a:cubicBezTo>
                <a:cubicBezTo>
                  <a:pt x="4226" y="2200"/>
                  <a:pt x="4176" y="2200"/>
                  <a:pt x="4150" y="2175"/>
                </a:cubicBezTo>
                <a:cubicBezTo>
                  <a:pt x="4150" y="2150"/>
                  <a:pt x="4176" y="2100"/>
                  <a:pt x="4201" y="2100"/>
                </a:cubicBezTo>
                <a:cubicBezTo>
                  <a:pt x="4250" y="2075"/>
                  <a:pt x="4226" y="2025"/>
                  <a:pt x="4250" y="2050"/>
                </a:cubicBezTo>
                <a:cubicBezTo>
                  <a:pt x="4275" y="2050"/>
                  <a:pt x="4275" y="2025"/>
                  <a:pt x="4301" y="2000"/>
                </a:cubicBezTo>
                <a:cubicBezTo>
                  <a:pt x="4326" y="1975"/>
                  <a:pt x="4351" y="2000"/>
                  <a:pt x="4351" y="1975"/>
                </a:cubicBezTo>
                <a:cubicBezTo>
                  <a:pt x="4376" y="1950"/>
                  <a:pt x="4451" y="1950"/>
                  <a:pt x="4475" y="1950"/>
                </a:cubicBezTo>
                <a:cubicBezTo>
                  <a:pt x="4501" y="1925"/>
                  <a:pt x="4451" y="1875"/>
                  <a:pt x="4401" y="1875"/>
                </a:cubicBezTo>
                <a:cubicBezTo>
                  <a:pt x="4376" y="1900"/>
                  <a:pt x="4351" y="1875"/>
                  <a:pt x="4326" y="1850"/>
                </a:cubicBezTo>
                <a:cubicBezTo>
                  <a:pt x="4301" y="1825"/>
                  <a:pt x="4250" y="1900"/>
                  <a:pt x="4201" y="1925"/>
                </a:cubicBezTo>
                <a:cubicBezTo>
                  <a:pt x="4150" y="1950"/>
                  <a:pt x="4126" y="1900"/>
                  <a:pt x="4126" y="1850"/>
                </a:cubicBezTo>
                <a:cubicBezTo>
                  <a:pt x="4150" y="1825"/>
                  <a:pt x="4101" y="1825"/>
                  <a:pt x="4050" y="1825"/>
                </a:cubicBezTo>
                <a:cubicBezTo>
                  <a:pt x="3976" y="1825"/>
                  <a:pt x="4001" y="1700"/>
                  <a:pt x="4050" y="1700"/>
                </a:cubicBezTo>
                <a:cubicBezTo>
                  <a:pt x="4076" y="1700"/>
                  <a:pt x="4126" y="1750"/>
                  <a:pt x="4150" y="1675"/>
                </a:cubicBezTo>
                <a:cubicBezTo>
                  <a:pt x="4176" y="1600"/>
                  <a:pt x="4201" y="1650"/>
                  <a:pt x="4275" y="1600"/>
                </a:cubicBezTo>
                <a:cubicBezTo>
                  <a:pt x="4326" y="1525"/>
                  <a:pt x="4376" y="1500"/>
                  <a:pt x="4426" y="1525"/>
                </a:cubicBezTo>
                <a:cubicBezTo>
                  <a:pt x="4475" y="1575"/>
                  <a:pt x="4376" y="1625"/>
                  <a:pt x="4351" y="1650"/>
                </a:cubicBezTo>
                <a:cubicBezTo>
                  <a:pt x="4351" y="1700"/>
                  <a:pt x="4376" y="1700"/>
                  <a:pt x="4351" y="1725"/>
                </a:cubicBezTo>
                <a:cubicBezTo>
                  <a:pt x="4326" y="1750"/>
                  <a:pt x="4351" y="1775"/>
                  <a:pt x="4401" y="1725"/>
                </a:cubicBezTo>
                <a:cubicBezTo>
                  <a:pt x="4475" y="1700"/>
                  <a:pt x="4526" y="1650"/>
                  <a:pt x="4576" y="1625"/>
                </a:cubicBezTo>
                <a:cubicBezTo>
                  <a:pt x="4601" y="1625"/>
                  <a:pt x="4626" y="1625"/>
                  <a:pt x="4626" y="1625"/>
                </a:cubicBezTo>
                <a:cubicBezTo>
                  <a:pt x="4651" y="1600"/>
                  <a:pt x="4651" y="1600"/>
                  <a:pt x="4651" y="1575"/>
                </a:cubicBezTo>
                <a:cubicBezTo>
                  <a:pt x="4701" y="1575"/>
                  <a:pt x="4826" y="1500"/>
                  <a:pt x="4826" y="1475"/>
                </a:cubicBezTo>
                <a:cubicBezTo>
                  <a:pt x="4851" y="1475"/>
                  <a:pt x="4876" y="1425"/>
                  <a:pt x="4901" y="1425"/>
                </a:cubicBezTo>
                <a:cubicBezTo>
                  <a:pt x="4926" y="1425"/>
                  <a:pt x="4926" y="1450"/>
                  <a:pt x="4951" y="1450"/>
                </a:cubicBezTo>
                <a:cubicBezTo>
                  <a:pt x="5001" y="1450"/>
                  <a:pt x="5026" y="1450"/>
                  <a:pt x="5026" y="1425"/>
                </a:cubicBezTo>
                <a:cubicBezTo>
                  <a:pt x="5001" y="1400"/>
                  <a:pt x="5001" y="1400"/>
                  <a:pt x="5051" y="1400"/>
                </a:cubicBezTo>
                <a:cubicBezTo>
                  <a:pt x="5101" y="1375"/>
                  <a:pt x="5076" y="1350"/>
                  <a:pt x="5126" y="1350"/>
                </a:cubicBezTo>
                <a:cubicBezTo>
                  <a:pt x="5151" y="1350"/>
                  <a:pt x="5151" y="1275"/>
                  <a:pt x="5176" y="1275"/>
                </a:cubicBezTo>
                <a:cubicBezTo>
                  <a:pt x="5201" y="1275"/>
                  <a:pt x="5226" y="1300"/>
                  <a:pt x="5251" y="1300"/>
                </a:cubicBezTo>
                <a:lnTo>
                  <a:pt x="5276" y="1300"/>
                </a:lnTo>
                <a:cubicBezTo>
                  <a:pt x="5276" y="1300"/>
                  <a:pt x="5301" y="1300"/>
                  <a:pt x="5301" y="1275"/>
                </a:cubicBezTo>
                <a:cubicBezTo>
                  <a:pt x="5301" y="1250"/>
                  <a:pt x="5301" y="1225"/>
                  <a:pt x="5301" y="1200"/>
                </a:cubicBezTo>
                <a:cubicBezTo>
                  <a:pt x="5276" y="1175"/>
                  <a:pt x="5301" y="1150"/>
                  <a:pt x="5276" y="1125"/>
                </a:cubicBezTo>
                <a:cubicBezTo>
                  <a:pt x="5276" y="1100"/>
                  <a:pt x="5276" y="1050"/>
                  <a:pt x="5301" y="1050"/>
                </a:cubicBezTo>
                <a:cubicBezTo>
                  <a:pt x="5326" y="1050"/>
                  <a:pt x="5351" y="1000"/>
                  <a:pt x="5376" y="1025"/>
                </a:cubicBezTo>
                <a:cubicBezTo>
                  <a:pt x="5401" y="1025"/>
                  <a:pt x="5451" y="1050"/>
                  <a:pt x="5451" y="1025"/>
                </a:cubicBezTo>
                <a:cubicBezTo>
                  <a:pt x="5451" y="1000"/>
                  <a:pt x="5501" y="1000"/>
                  <a:pt x="5501" y="950"/>
                </a:cubicBezTo>
                <a:cubicBezTo>
                  <a:pt x="5501" y="925"/>
                  <a:pt x="5551" y="925"/>
                  <a:pt x="5551" y="875"/>
                </a:cubicBezTo>
                <a:cubicBezTo>
                  <a:pt x="5576" y="850"/>
                  <a:pt x="5576" y="775"/>
                  <a:pt x="5601" y="775"/>
                </a:cubicBezTo>
                <a:cubicBezTo>
                  <a:pt x="5651" y="750"/>
                  <a:pt x="5601" y="725"/>
                  <a:pt x="5601" y="675"/>
                </a:cubicBezTo>
                <a:close/>
                <a:moveTo>
                  <a:pt x="4250" y="3324"/>
                </a:moveTo>
                <a:lnTo>
                  <a:pt x="4250" y="3324"/>
                </a:lnTo>
                <a:cubicBezTo>
                  <a:pt x="4226" y="3424"/>
                  <a:pt x="4301" y="3474"/>
                  <a:pt x="4301" y="3474"/>
                </a:cubicBezTo>
                <a:cubicBezTo>
                  <a:pt x="4326" y="3449"/>
                  <a:pt x="4451" y="3224"/>
                  <a:pt x="4426" y="3174"/>
                </a:cubicBezTo>
                <a:cubicBezTo>
                  <a:pt x="4401" y="3150"/>
                  <a:pt x="4275" y="3199"/>
                  <a:pt x="4250" y="3324"/>
                </a:cubicBezTo>
                <a:close/>
                <a:moveTo>
                  <a:pt x="3250" y="3700"/>
                </a:moveTo>
                <a:lnTo>
                  <a:pt x="3250" y="3700"/>
                </a:lnTo>
                <a:cubicBezTo>
                  <a:pt x="3225" y="3700"/>
                  <a:pt x="3125" y="3749"/>
                  <a:pt x="3176" y="3825"/>
                </a:cubicBezTo>
                <a:cubicBezTo>
                  <a:pt x="3201" y="3900"/>
                  <a:pt x="3325" y="3849"/>
                  <a:pt x="3325" y="3825"/>
                </a:cubicBezTo>
                <a:cubicBezTo>
                  <a:pt x="3325" y="3774"/>
                  <a:pt x="3376" y="3724"/>
                  <a:pt x="3376" y="3700"/>
                </a:cubicBezTo>
                <a:cubicBezTo>
                  <a:pt x="3376" y="3674"/>
                  <a:pt x="3301" y="3700"/>
                  <a:pt x="3250" y="3700"/>
                </a:cubicBezTo>
                <a:close/>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28" name="Freeform 240">
            <a:extLst>
              <a:ext uri="{FF2B5EF4-FFF2-40B4-BE49-F238E27FC236}">
                <a16:creationId xmlns:a16="http://schemas.microsoft.com/office/drawing/2014/main" id="{CD98258F-ABD0-594A-8945-8C845D9A966C}"/>
              </a:ext>
            </a:extLst>
          </p:cNvPr>
          <p:cNvSpPr>
            <a:spLocks noChangeArrowheads="1"/>
          </p:cNvSpPr>
          <p:nvPr/>
        </p:nvSpPr>
        <p:spPr bwMode="auto">
          <a:xfrm>
            <a:off x="9513165" y="3617104"/>
            <a:ext cx="119531" cy="143437"/>
          </a:xfrm>
          <a:custGeom>
            <a:avLst/>
            <a:gdLst>
              <a:gd name="T0" fmla="*/ 100 w 376"/>
              <a:gd name="T1" fmla="*/ 50 h 451"/>
              <a:gd name="T2" fmla="*/ 100 w 376"/>
              <a:gd name="T3" fmla="*/ 50 h 451"/>
              <a:gd name="T4" fmla="*/ 50 w 376"/>
              <a:gd name="T5" fmla="*/ 75 h 451"/>
              <a:gd name="T6" fmla="*/ 75 w 376"/>
              <a:gd name="T7" fmla="*/ 125 h 451"/>
              <a:gd name="T8" fmla="*/ 75 w 376"/>
              <a:gd name="T9" fmla="*/ 175 h 451"/>
              <a:gd name="T10" fmla="*/ 50 w 376"/>
              <a:gd name="T11" fmla="*/ 250 h 451"/>
              <a:gd name="T12" fmla="*/ 25 w 376"/>
              <a:gd name="T13" fmla="*/ 375 h 451"/>
              <a:gd name="T14" fmla="*/ 50 w 376"/>
              <a:gd name="T15" fmla="*/ 425 h 451"/>
              <a:gd name="T16" fmla="*/ 225 w 376"/>
              <a:gd name="T17" fmla="*/ 375 h 451"/>
              <a:gd name="T18" fmla="*/ 325 w 376"/>
              <a:gd name="T19" fmla="*/ 350 h 451"/>
              <a:gd name="T20" fmla="*/ 350 w 376"/>
              <a:gd name="T21" fmla="*/ 300 h 451"/>
              <a:gd name="T22" fmla="*/ 325 w 376"/>
              <a:gd name="T23" fmla="*/ 175 h 451"/>
              <a:gd name="T24" fmla="*/ 225 w 376"/>
              <a:gd name="T25" fmla="*/ 0 h 451"/>
              <a:gd name="T26" fmla="*/ 175 w 376"/>
              <a:gd name="T27" fmla="*/ 25 h 451"/>
              <a:gd name="T28" fmla="*/ 100 w 376"/>
              <a:gd name="T29" fmla="*/ 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6" h="451">
                <a:moveTo>
                  <a:pt x="100" y="50"/>
                </a:moveTo>
                <a:lnTo>
                  <a:pt x="100" y="50"/>
                </a:lnTo>
                <a:lnTo>
                  <a:pt x="50" y="75"/>
                </a:lnTo>
                <a:cubicBezTo>
                  <a:pt x="50" y="100"/>
                  <a:pt x="50" y="125"/>
                  <a:pt x="75" y="125"/>
                </a:cubicBezTo>
                <a:cubicBezTo>
                  <a:pt x="100" y="125"/>
                  <a:pt x="100" y="175"/>
                  <a:pt x="75" y="175"/>
                </a:cubicBezTo>
                <a:cubicBezTo>
                  <a:pt x="25" y="175"/>
                  <a:pt x="25" y="225"/>
                  <a:pt x="50" y="250"/>
                </a:cubicBezTo>
                <a:cubicBezTo>
                  <a:pt x="100" y="300"/>
                  <a:pt x="0" y="350"/>
                  <a:pt x="25" y="375"/>
                </a:cubicBezTo>
                <a:cubicBezTo>
                  <a:pt x="50" y="400"/>
                  <a:pt x="25" y="425"/>
                  <a:pt x="50" y="425"/>
                </a:cubicBezTo>
                <a:cubicBezTo>
                  <a:pt x="50" y="450"/>
                  <a:pt x="175" y="425"/>
                  <a:pt x="225" y="375"/>
                </a:cubicBezTo>
                <a:cubicBezTo>
                  <a:pt x="275" y="325"/>
                  <a:pt x="300" y="325"/>
                  <a:pt x="325" y="350"/>
                </a:cubicBezTo>
                <a:cubicBezTo>
                  <a:pt x="350" y="350"/>
                  <a:pt x="375" y="325"/>
                  <a:pt x="350" y="300"/>
                </a:cubicBezTo>
                <a:cubicBezTo>
                  <a:pt x="350" y="275"/>
                  <a:pt x="325" y="225"/>
                  <a:pt x="325" y="175"/>
                </a:cubicBezTo>
                <a:cubicBezTo>
                  <a:pt x="325" y="125"/>
                  <a:pt x="275" y="50"/>
                  <a:pt x="225" y="0"/>
                </a:cubicBezTo>
                <a:cubicBezTo>
                  <a:pt x="225" y="25"/>
                  <a:pt x="200" y="25"/>
                  <a:pt x="175" y="25"/>
                </a:cubicBezTo>
                <a:cubicBezTo>
                  <a:pt x="150" y="25"/>
                  <a:pt x="100" y="25"/>
                  <a:pt x="100" y="50"/>
                </a:cubicBezTo>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248" name="TextBox 247">
            <a:extLst>
              <a:ext uri="{FF2B5EF4-FFF2-40B4-BE49-F238E27FC236}">
                <a16:creationId xmlns:a16="http://schemas.microsoft.com/office/drawing/2014/main" id="{EC76404F-2CA9-104B-AB3F-FD960CBB5E2B}"/>
              </a:ext>
            </a:extLst>
          </p:cNvPr>
          <p:cNvSpPr txBox="1"/>
          <p:nvPr/>
        </p:nvSpPr>
        <p:spPr>
          <a:xfrm>
            <a:off x="995269" y="1550186"/>
            <a:ext cx="3352003" cy="418576"/>
          </a:xfrm>
          <a:prstGeom prst="rect">
            <a:avLst/>
          </a:prstGeom>
        </p:spPr>
        <p:txBody>
          <a:bodyPr wrap="square" lIns="0" tIns="45720" rIns="0" bIns="0" rtlCol="0">
            <a:spAutoFit/>
          </a:bodyPr>
          <a:lstStyle/>
          <a:p>
            <a:pPr defTabSz="914354" fontAlgn="b">
              <a:lnSpc>
                <a:spcPct val="96000"/>
              </a:lnSpc>
              <a:spcAft>
                <a:spcPts val="600"/>
              </a:spcAft>
              <a:defRPr/>
            </a:pPr>
            <a:r>
              <a:rPr lang="en-US" sz="1000" b="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0-22: </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5G Media2Go </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Stuttgart/Heilbronn</a:t>
            </a:r>
          </a:p>
          <a:p>
            <a:pPr defTabSz="914354" fontAlgn="b">
              <a:lnSpc>
                <a:spcPct val="96000"/>
              </a:lnSpc>
              <a:spcAft>
                <a:spcPts val="600"/>
              </a:spcAft>
              <a:defRPr/>
            </a:pPr>
            <a:r>
              <a:rPr lang="en-US" sz="1000" b="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17-20: </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5G Today in Bavaria</a:t>
            </a:r>
            <a:endPar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73" name="Freeform: Shape 1">
            <a:extLst>
              <a:ext uri="{FF2B5EF4-FFF2-40B4-BE49-F238E27FC236}">
                <a16:creationId xmlns:a16="http://schemas.microsoft.com/office/drawing/2014/main" id="{B68FC8AF-3B69-FA49-81F5-A0272252568C}"/>
              </a:ext>
            </a:extLst>
          </p:cNvPr>
          <p:cNvSpPr/>
          <p:nvPr/>
        </p:nvSpPr>
        <p:spPr>
          <a:xfrm>
            <a:off x="995271" y="1531138"/>
            <a:ext cx="5065575" cy="1614119"/>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15" name="TextBox 314">
            <a:extLst>
              <a:ext uri="{FF2B5EF4-FFF2-40B4-BE49-F238E27FC236}">
                <a16:creationId xmlns:a16="http://schemas.microsoft.com/office/drawing/2014/main" id="{1AE542B6-6402-2547-A036-139B1C83EDFB}"/>
              </a:ext>
            </a:extLst>
          </p:cNvPr>
          <p:cNvSpPr txBox="1"/>
          <p:nvPr/>
        </p:nvSpPr>
        <p:spPr>
          <a:xfrm>
            <a:off x="995269" y="1256577"/>
            <a:ext cx="1610547"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Germany</a:t>
            </a:r>
          </a:p>
        </p:txBody>
      </p:sp>
      <p:sp>
        <p:nvSpPr>
          <p:cNvPr id="316" name="TextBox 315">
            <a:extLst>
              <a:ext uri="{FF2B5EF4-FFF2-40B4-BE49-F238E27FC236}">
                <a16:creationId xmlns:a16="http://schemas.microsoft.com/office/drawing/2014/main" id="{1B336E13-CFDC-7141-8E86-8DC797741A8C}"/>
              </a:ext>
            </a:extLst>
          </p:cNvPr>
          <p:cNvSpPr txBox="1"/>
          <p:nvPr/>
        </p:nvSpPr>
        <p:spPr>
          <a:xfrm>
            <a:off x="966960" y="2702411"/>
            <a:ext cx="3233501" cy="193899"/>
          </a:xfrm>
          <a:prstGeom prst="rect">
            <a:avLst/>
          </a:prstGeom>
        </p:spPr>
        <p:txBody>
          <a:bodyPr wrap="square" lIns="0" tIns="45720" rIns="0" bIns="0" rtlCol="0">
            <a:spAutoFit/>
          </a:bodyPr>
          <a:lstStyle/>
          <a:p>
            <a:pPr defTabSz="914354">
              <a:lnSpc>
                <a:spcPct val="96000"/>
              </a:lnSpc>
              <a:defRPr/>
            </a:pPr>
            <a:r>
              <a:rPr lang="en-US" sz="1000" b="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20-22</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 VISTA Project with O2 Virgin Media</a:t>
            </a:r>
          </a:p>
        </p:txBody>
      </p:sp>
      <p:sp>
        <p:nvSpPr>
          <p:cNvPr id="329" name="Freeform: Shape 68">
            <a:extLst>
              <a:ext uri="{FF2B5EF4-FFF2-40B4-BE49-F238E27FC236}">
                <a16:creationId xmlns:a16="http://schemas.microsoft.com/office/drawing/2014/main" id="{EC3B7CA0-183E-BE45-A231-B9456A770E94}"/>
              </a:ext>
            </a:extLst>
          </p:cNvPr>
          <p:cNvSpPr/>
          <p:nvPr/>
        </p:nvSpPr>
        <p:spPr>
          <a:xfrm>
            <a:off x="995272" y="2710076"/>
            <a:ext cx="4659171" cy="351152"/>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30" name="TextBox 329">
            <a:extLst>
              <a:ext uri="{FF2B5EF4-FFF2-40B4-BE49-F238E27FC236}">
                <a16:creationId xmlns:a16="http://schemas.microsoft.com/office/drawing/2014/main" id="{067E17D3-A95C-2D48-A2A9-383C6F1CD940}"/>
              </a:ext>
            </a:extLst>
          </p:cNvPr>
          <p:cNvSpPr txBox="1"/>
          <p:nvPr/>
        </p:nvSpPr>
        <p:spPr>
          <a:xfrm>
            <a:off x="962145" y="2444441"/>
            <a:ext cx="513651"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UK</a:t>
            </a:r>
          </a:p>
        </p:txBody>
      </p:sp>
      <p:sp>
        <p:nvSpPr>
          <p:cNvPr id="333" name="TextBox 332">
            <a:extLst>
              <a:ext uri="{FF2B5EF4-FFF2-40B4-BE49-F238E27FC236}">
                <a16:creationId xmlns:a16="http://schemas.microsoft.com/office/drawing/2014/main" id="{24F58BE4-C29E-FF49-8079-47B72A9F708C}"/>
              </a:ext>
            </a:extLst>
          </p:cNvPr>
          <p:cNvSpPr txBox="1"/>
          <p:nvPr/>
        </p:nvSpPr>
        <p:spPr>
          <a:xfrm>
            <a:off x="769462" y="4773173"/>
            <a:ext cx="2635556" cy="489365"/>
          </a:xfrm>
          <a:prstGeom prst="rect">
            <a:avLst/>
          </a:prstGeom>
        </p:spPr>
        <p:txBody>
          <a:bodyPr wrap="square" lIns="0" tIns="45720" rIns="0" bIns="0" rtlCol="0">
            <a:spAutoFit/>
          </a:bodyPr>
          <a:lstStyle/>
          <a:p>
            <a:pPr defTabSz="914354">
              <a:lnSpc>
                <a:spcPct val="96000"/>
              </a:lnSpc>
              <a:defRPr/>
            </a:pPr>
            <a:r>
              <a:rPr lang="en-US" sz="1000" b="1" dirty="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20: </a:t>
            </a:r>
            <a:r>
              <a:rPr lang="en-US" sz="1000" dirty="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Distribution of free-to-air linear radio and TV using Rel-14 </a:t>
            </a:r>
            <a:r>
              <a:rPr lang="en-US" sz="1000" dirty="0" err="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enTV</a:t>
            </a:r>
            <a:r>
              <a:rPr lang="en-US" sz="1000" dirty="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 with HPHT in Barcelona</a:t>
            </a:r>
          </a:p>
          <a:p>
            <a:pPr defTabSz="914354">
              <a:lnSpc>
                <a:spcPct val="96000"/>
              </a:lnSpc>
              <a:defRPr/>
            </a:pPr>
            <a:r>
              <a:rPr lang="en-US" sz="1000" b="1" dirty="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22 &amp; 2023: </a:t>
            </a:r>
            <a:r>
              <a:rPr lang="en-US" sz="1000" dirty="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MWC demos</a:t>
            </a:r>
          </a:p>
        </p:txBody>
      </p:sp>
      <p:sp>
        <p:nvSpPr>
          <p:cNvPr id="335" name="TextBox 334">
            <a:extLst>
              <a:ext uri="{FF2B5EF4-FFF2-40B4-BE49-F238E27FC236}">
                <a16:creationId xmlns:a16="http://schemas.microsoft.com/office/drawing/2014/main" id="{285FBED0-7D1E-294D-86DF-0E96AF1FE723}"/>
              </a:ext>
            </a:extLst>
          </p:cNvPr>
          <p:cNvSpPr txBox="1"/>
          <p:nvPr/>
        </p:nvSpPr>
        <p:spPr>
          <a:xfrm>
            <a:off x="767235" y="4478935"/>
            <a:ext cx="703416"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Spain</a:t>
            </a:r>
          </a:p>
        </p:txBody>
      </p:sp>
      <p:sp>
        <p:nvSpPr>
          <p:cNvPr id="338" name="TextBox 337">
            <a:extLst>
              <a:ext uri="{FF2B5EF4-FFF2-40B4-BE49-F238E27FC236}">
                <a16:creationId xmlns:a16="http://schemas.microsoft.com/office/drawing/2014/main" id="{CB7DCB7D-0556-F74A-8D24-C2F5F0879D00}"/>
              </a:ext>
            </a:extLst>
          </p:cNvPr>
          <p:cNvSpPr txBox="1"/>
          <p:nvPr/>
        </p:nvSpPr>
        <p:spPr>
          <a:xfrm>
            <a:off x="975129" y="5691394"/>
            <a:ext cx="2852455" cy="341632"/>
          </a:xfrm>
          <a:prstGeom prst="rect">
            <a:avLst/>
          </a:prstGeom>
        </p:spPr>
        <p:txBody>
          <a:bodyPr wrap="square" lIns="0" tIns="45720" rIns="0" bIns="0" rtlCol="0">
            <a:spAutoFit/>
          </a:bodyPr>
          <a:lstStyle/>
          <a:p>
            <a:pPr defTabSz="914354">
              <a:lnSpc>
                <a:spcPct val="96000"/>
              </a:lnSpc>
              <a:defRPr/>
            </a:pPr>
            <a:r>
              <a:rPr lang="en-US" sz="1000" b="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20-21: </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Delivery of TV and radio with Rel-14 broadcast trial deployment in Santiago de </a:t>
            </a:r>
            <a:r>
              <a:rPr lang="en-US" sz="1000" err="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Tolú</a:t>
            </a:r>
            <a:endPar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39" name="Freeform: Shape 81">
            <a:extLst>
              <a:ext uri="{FF2B5EF4-FFF2-40B4-BE49-F238E27FC236}">
                <a16:creationId xmlns:a16="http://schemas.microsoft.com/office/drawing/2014/main" id="{49A1F807-5E10-7D41-B07F-48C98DB26A65}"/>
              </a:ext>
            </a:extLst>
          </p:cNvPr>
          <p:cNvSpPr/>
          <p:nvPr/>
        </p:nvSpPr>
        <p:spPr>
          <a:xfrm flipV="1">
            <a:off x="979712" y="4820846"/>
            <a:ext cx="2580291" cy="892719"/>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40" name="TextBox 339">
            <a:extLst>
              <a:ext uri="{FF2B5EF4-FFF2-40B4-BE49-F238E27FC236}">
                <a16:creationId xmlns:a16="http://schemas.microsoft.com/office/drawing/2014/main" id="{CFFA5FB8-A35F-D649-9003-43517F8DAE96}"/>
              </a:ext>
            </a:extLst>
          </p:cNvPr>
          <p:cNvSpPr txBox="1"/>
          <p:nvPr/>
        </p:nvSpPr>
        <p:spPr>
          <a:xfrm>
            <a:off x="961589" y="5430547"/>
            <a:ext cx="2758075"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Colombia</a:t>
            </a:r>
          </a:p>
        </p:txBody>
      </p:sp>
      <p:sp>
        <p:nvSpPr>
          <p:cNvPr id="343" name="TextBox 342">
            <a:extLst>
              <a:ext uri="{FF2B5EF4-FFF2-40B4-BE49-F238E27FC236}">
                <a16:creationId xmlns:a16="http://schemas.microsoft.com/office/drawing/2014/main" id="{DBEC2D92-DCD8-904C-A41A-F8804578F041}"/>
              </a:ext>
            </a:extLst>
          </p:cNvPr>
          <p:cNvSpPr txBox="1"/>
          <p:nvPr/>
        </p:nvSpPr>
        <p:spPr>
          <a:xfrm>
            <a:off x="4323085" y="5152502"/>
            <a:ext cx="1836003" cy="341632"/>
          </a:xfrm>
          <a:prstGeom prst="rect">
            <a:avLst/>
          </a:prstGeom>
        </p:spPr>
        <p:txBody>
          <a:bodyPr wrap="square" lIns="0" tIns="45720" rIns="0" bIns="0" rtlCol="0">
            <a:spAutoFit/>
          </a:bodyPr>
          <a:lstStyle/>
          <a:p>
            <a:pPr defTabSz="914354">
              <a:lnSpc>
                <a:spcPct val="96000"/>
              </a:lnSpc>
              <a:defRPr/>
            </a:pPr>
            <a:r>
              <a:rPr lang="en-US" sz="1000" b="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20-23: </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TV 3.0 project calling</a:t>
            </a:r>
            <a:b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for proposals</a:t>
            </a:r>
          </a:p>
        </p:txBody>
      </p:sp>
      <p:sp>
        <p:nvSpPr>
          <p:cNvPr id="344" name="Freeform: Shape 76">
            <a:extLst>
              <a:ext uri="{FF2B5EF4-FFF2-40B4-BE49-F238E27FC236}">
                <a16:creationId xmlns:a16="http://schemas.microsoft.com/office/drawing/2014/main" id="{D3725AAF-CF00-B24C-9190-0622573B0A29}"/>
              </a:ext>
            </a:extLst>
          </p:cNvPr>
          <p:cNvSpPr/>
          <p:nvPr/>
        </p:nvSpPr>
        <p:spPr>
          <a:xfrm flipH="1">
            <a:off x="4205405" y="5140285"/>
            <a:ext cx="1680272" cy="377867"/>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45" name="TextBox 344">
            <a:extLst>
              <a:ext uri="{FF2B5EF4-FFF2-40B4-BE49-F238E27FC236}">
                <a16:creationId xmlns:a16="http://schemas.microsoft.com/office/drawing/2014/main" id="{2C242AE5-37B3-B04B-A0BA-912182824877}"/>
              </a:ext>
            </a:extLst>
          </p:cNvPr>
          <p:cNvSpPr txBox="1"/>
          <p:nvPr/>
        </p:nvSpPr>
        <p:spPr>
          <a:xfrm>
            <a:off x="4729137" y="4851646"/>
            <a:ext cx="1156543"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Brazil</a:t>
            </a:r>
          </a:p>
        </p:txBody>
      </p:sp>
      <p:sp>
        <p:nvSpPr>
          <p:cNvPr id="346" name="TextBox 345">
            <a:extLst>
              <a:ext uri="{FF2B5EF4-FFF2-40B4-BE49-F238E27FC236}">
                <a16:creationId xmlns:a16="http://schemas.microsoft.com/office/drawing/2014/main" id="{7AF7339C-5592-0141-9ED4-BCC2CDA2FF0D}"/>
              </a:ext>
            </a:extLst>
          </p:cNvPr>
          <p:cNvSpPr txBox="1"/>
          <p:nvPr/>
        </p:nvSpPr>
        <p:spPr>
          <a:xfrm>
            <a:off x="6568440" y="1171795"/>
            <a:ext cx="2194661" cy="637097"/>
          </a:xfrm>
          <a:prstGeom prst="rect">
            <a:avLst/>
          </a:prstGeom>
        </p:spPr>
        <p:txBody>
          <a:bodyPr wrap="square" lIns="0" tIns="45720" rIns="0" bIns="0" rtlCol="0">
            <a:spAutoFit/>
          </a:bodyPr>
          <a:lstStyle/>
          <a:p>
            <a:pPr defTabSz="914354" fontAlgn="b">
              <a:lnSpc>
                <a:spcPct val="96000"/>
              </a:lnSpc>
              <a:spcAft>
                <a:spcPts val="600"/>
              </a:spcAft>
              <a:defRPr/>
            </a:pP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18-23: TV delivery with Rel-14/16 </a:t>
            </a:r>
            <a:b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HPHT in </a:t>
            </a:r>
            <a:r>
              <a:rPr lang="en-US" sz="1000" err="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Aosta</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and Turin</a:t>
            </a:r>
            <a:b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br>
            <a:b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br>
            <a:endPar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48" name="TextBox 347">
            <a:extLst>
              <a:ext uri="{FF2B5EF4-FFF2-40B4-BE49-F238E27FC236}">
                <a16:creationId xmlns:a16="http://schemas.microsoft.com/office/drawing/2014/main" id="{45332E81-4A77-D84A-A714-A7F7D54CC935}"/>
              </a:ext>
            </a:extLst>
          </p:cNvPr>
          <p:cNvSpPr txBox="1"/>
          <p:nvPr/>
        </p:nvSpPr>
        <p:spPr>
          <a:xfrm>
            <a:off x="7406589" y="885600"/>
            <a:ext cx="1156543"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Italy</a:t>
            </a:r>
          </a:p>
        </p:txBody>
      </p:sp>
      <p:sp>
        <p:nvSpPr>
          <p:cNvPr id="350" name="TextBox 349">
            <a:extLst>
              <a:ext uri="{FF2B5EF4-FFF2-40B4-BE49-F238E27FC236}">
                <a16:creationId xmlns:a16="http://schemas.microsoft.com/office/drawing/2014/main" id="{F9CCB8BA-5034-AA4B-AE4F-FF661EAD94E1}"/>
              </a:ext>
            </a:extLst>
          </p:cNvPr>
          <p:cNvSpPr txBox="1"/>
          <p:nvPr/>
        </p:nvSpPr>
        <p:spPr>
          <a:xfrm>
            <a:off x="6437794" y="2767190"/>
            <a:ext cx="2330009" cy="341632"/>
          </a:xfrm>
          <a:prstGeom prst="rect">
            <a:avLst/>
          </a:prstGeom>
        </p:spPr>
        <p:txBody>
          <a:bodyPr wrap="square" lIns="0" tIns="45720" rIns="0" bIns="0" rtlCol="0">
            <a:spAutoFit/>
          </a:bodyPr>
          <a:lstStyle/>
          <a:p>
            <a:pPr defTabSz="914354" fontAlgn="b">
              <a:lnSpc>
                <a:spcPct val="96000"/>
              </a:lnSpc>
              <a:defRPr/>
            </a:pPr>
            <a:r>
              <a:rPr lang="en-US" sz="1000" b="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0-23: </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Distribution of TV/Radio with 5G BC Rel-14/16 , with </a:t>
            </a:r>
            <a:r>
              <a:rPr lang="en-US" sz="1000" err="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eMBB</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in Vienna</a:t>
            </a:r>
          </a:p>
        </p:txBody>
      </p:sp>
      <p:sp>
        <p:nvSpPr>
          <p:cNvPr id="351" name="TextBox 350">
            <a:extLst>
              <a:ext uri="{FF2B5EF4-FFF2-40B4-BE49-F238E27FC236}">
                <a16:creationId xmlns:a16="http://schemas.microsoft.com/office/drawing/2014/main" id="{68776BD9-C718-E848-B348-13CFD3777EC1}"/>
              </a:ext>
            </a:extLst>
          </p:cNvPr>
          <p:cNvSpPr txBox="1"/>
          <p:nvPr/>
        </p:nvSpPr>
        <p:spPr>
          <a:xfrm>
            <a:off x="7408433" y="2525074"/>
            <a:ext cx="1156543"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Austria</a:t>
            </a:r>
          </a:p>
        </p:txBody>
      </p:sp>
      <p:sp>
        <p:nvSpPr>
          <p:cNvPr id="352" name="Freeform: Shape 36">
            <a:extLst>
              <a:ext uri="{FF2B5EF4-FFF2-40B4-BE49-F238E27FC236}">
                <a16:creationId xmlns:a16="http://schemas.microsoft.com/office/drawing/2014/main" id="{41893FA7-8D42-5F41-99B2-DC45DE15F202}"/>
              </a:ext>
            </a:extLst>
          </p:cNvPr>
          <p:cNvSpPr/>
          <p:nvPr/>
        </p:nvSpPr>
        <p:spPr>
          <a:xfrm flipH="1">
            <a:off x="6219589" y="2766608"/>
            <a:ext cx="2356947" cy="494381"/>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54" name="TextBox 353">
            <a:extLst>
              <a:ext uri="{FF2B5EF4-FFF2-40B4-BE49-F238E27FC236}">
                <a16:creationId xmlns:a16="http://schemas.microsoft.com/office/drawing/2014/main" id="{2A33D415-700D-8843-B7A7-668647FF9A5E}"/>
              </a:ext>
            </a:extLst>
          </p:cNvPr>
          <p:cNvSpPr txBox="1"/>
          <p:nvPr/>
        </p:nvSpPr>
        <p:spPr>
          <a:xfrm>
            <a:off x="6668039" y="5857245"/>
            <a:ext cx="1951767" cy="356636"/>
          </a:xfrm>
          <a:prstGeom prst="rect">
            <a:avLst/>
          </a:prstGeom>
        </p:spPr>
        <p:txBody>
          <a:bodyPr wrap="square" lIns="0" tIns="45720" rIns="0" bIns="0" rtlCol="0" anchor="t">
            <a:spAutoFit/>
          </a:bodyPr>
          <a:lstStyle/>
          <a:p>
            <a:pPr defTabSz="914354" fontAlgn="b">
              <a:lnSpc>
                <a:spcPct val="96000"/>
              </a:lnSpc>
              <a:defRPr/>
            </a:pPr>
            <a:r>
              <a:rPr lang="en-US" sz="1051" b="1">
                <a:solidFill>
                  <a:srgbClr val="F7F8FA"/>
                </a:solidFill>
                <a:latin typeface="Microsoft Sans Serif"/>
                <a:ea typeface="Microsoft Sans Serif"/>
                <a:cs typeface="Microsoft Sans Serif"/>
              </a:rPr>
              <a:t>2020+: </a:t>
            </a:r>
            <a:r>
              <a:rPr lang="en-US" sz="1051">
                <a:solidFill>
                  <a:srgbClr val="F7F8FA"/>
                </a:solidFill>
                <a:latin typeface="Microsoft Sans Serif"/>
                <a:ea typeface="Microsoft Sans Serif"/>
                <a:cs typeface="Microsoft Sans Serif"/>
              </a:rPr>
              <a:t>Growing interest</a:t>
            </a:r>
            <a:br>
              <a:rPr lang="en-US" sz="1051">
                <a:solidFill>
                  <a:srgbClr val="13171F"/>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051">
                <a:solidFill>
                  <a:srgbClr val="F7F8FA"/>
                </a:solidFill>
                <a:latin typeface="Microsoft Sans Serif"/>
                <a:ea typeface="Microsoft Sans Serif"/>
                <a:cs typeface="Microsoft Sans Serif"/>
              </a:rPr>
              <a:t>in latest broadcast</a:t>
            </a:r>
            <a:r>
              <a:rPr lang="en-US" sz="1051" baseline="30000">
                <a:solidFill>
                  <a:srgbClr val="F7F8FA"/>
                </a:solidFill>
                <a:latin typeface="Microsoft Sans Serif"/>
                <a:ea typeface="Microsoft Sans Serif"/>
                <a:cs typeface="Microsoft Sans Serif"/>
              </a:rPr>
              <a:t>3 </a:t>
            </a:r>
            <a:r>
              <a:rPr lang="en-US" sz="1051">
                <a:solidFill>
                  <a:srgbClr val="F7F8FA"/>
                </a:solidFill>
                <a:latin typeface="Microsoft Sans Serif"/>
                <a:ea typeface="Microsoft Sans Serif"/>
                <a:cs typeface="Microsoft Sans Serif"/>
              </a:rPr>
              <a:t>technologies</a:t>
            </a:r>
          </a:p>
        </p:txBody>
      </p:sp>
      <p:sp>
        <p:nvSpPr>
          <p:cNvPr id="356" name="Freeform: Shape 100">
            <a:extLst>
              <a:ext uri="{FF2B5EF4-FFF2-40B4-BE49-F238E27FC236}">
                <a16:creationId xmlns:a16="http://schemas.microsoft.com/office/drawing/2014/main" id="{3C81F7F2-DC62-0444-A32B-BCD3F37C94C8}"/>
              </a:ext>
            </a:extLst>
          </p:cNvPr>
          <p:cNvSpPr/>
          <p:nvPr/>
        </p:nvSpPr>
        <p:spPr>
          <a:xfrm flipV="1">
            <a:off x="6612093" y="4286474"/>
            <a:ext cx="1497647" cy="1570769"/>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63" name="TextBox 362">
            <a:extLst>
              <a:ext uri="{FF2B5EF4-FFF2-40B4-BE49-F238E27FC236}">
                <a16:creationId xmlns:a16="http://schemas.microsoft.com/office/drawing/2014/main" id="{2A7DF744-F09B-B84F-B774-2FEA6CB91280}"/>
              </a:ext>
            </a:extLst>
          </p:cNvPr>
          <p:cNvSpPr txBox="1"/>
          <p:nvPr/>
        </p:nvSpPr>
        <p:spPr>
          <a:xfrm>
            <a:off x="9742415" y="2575825"/>
            <a:ext cx="1929188" cy="341632"/>
          </a:xfrm>
          <a:prstGeom prst="rect">
            <a:avLst/>
          </a:prstGeom>
        </p:spPr>
        <p:txBody>
          <a:bodyPr wrap="square" lIns="0" tIns="45720" rIns="0" bIns="0" rtlCol="0">
            <a:spAutoFit/>
          </a:bodyPr>
          <a:lstStyle/>
          <a:p>
            <a:pPr defTabSz="914354" fontAlgn="b">
              <a:lnSpc>
                <a:spcPct val="96000"/>
              </a:lnSpc>
              <a:defRPr/>
            </a:pP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Late 2021: Distribution of live TV using Rel-16 </a:t>
            </a:r>
            <a:r>
              <a:rPr lang="en-US" sz="1000" err="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enTV</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near Seoul</a:t>
            </a:r>
          </a:p>
        </p:txBody>
      </p:sp>
      <p:sp>
        <p:nvSpPr>
          <p:cNvPr id="364" name="Freeform: Shape 98">
            <a:extLst>
              <a:ext uri="{FF2B5EF4-FFF2-40B4-BE49-F238E27FC236}">
                <a16:creationId xmlns:a16="http://schemas.microsoft.com/office/drawing/2014/main" id="{C25C47AA-5401-2F4C-976B-50AD0A5CCAEF}"/>
              </a:ext>
            </a:extLst>
          </p:cNvPr>
          <p:cNvSpPr/>
          <p:nvPr/>
        </p:nvSpPr>
        <p:spPr>
          <a:xfrm flipH="1">
            <a:off x="9571456" y="2575825"/>
            <a:ext cx="1378192" cy="1100107"/>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defRPr/>
            </a:pPr>
            <a:endParaRPr lang="en-US">
              <a:ln>
                <a:solidFill>
                  <a:srgbClr val="F7F8FA"/>
                </a:solidFill>
              </a:ln>
              <a:solidFill>
                <a:srgbClr val="F7F8FA"/>
              </a:solidFill>
              <a:latin typeface="Microsoft Sans Serif"/>
            </a:endParaRPr>
          </a:p>
        </p:txBody>
      </p:sp>
      <p:sp>
        <p:nvSpPr>
          <p:cNvPr id="365" name="TextBox 364">
            <a:extLst>
              <a:ext uri="{FF2B5EF4-FFF2-40B4-BE49-F238E27FC236}">
                <a16:creationId xmlns:a16="http://schemas.microsoft.com/office/drawing/2014/main" id="{5A653C27-F566-8042-812C-96001FD4D4F8}"/>
              </a:ext>
            </a:extLst>
          </p:cNvPr>
          <p:cNvSpPr txBox="1"/>
          <p:nvPr/>
        </p:nvSpPr>
        <p:spPr>
          <a:xfrm>
            <a:off x="9137064" y="2306380"/>
            <a:ext cx="1812587"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South Korea</a:t>
            </a:r>
          </a:p>
        </p:txBody>
      </p:sp>
      <p:sp>
        <p:nvSpPr>
          <p:cNvPr id="367" name="TextBox 366">
            <a:extLst>
              <a:ext uri="{FF2B5EF4-FFF2-40B4-BE49-F238E27FC236}">
                <a16:creationId xmlns:a16="http://schemas.microsoft.com/office/drawing/2014/main" id="{9CCB0EEB-8BCC-3E4B-8F5E-5597112B89E2}"/>
              </a:ext>
            </a:extLst>
          </p:cNvPr>
          <p:cNvSpPr txBox="1"/>
          <p:nvPr/>
        </p:nvSpPr>
        <p:spPr>
          <a:xfrm>
            <a:off x="267793" y="6639427"/>
            <a:ext cx="11825167" cy="203838"/>
          </a:xfrm>
          <a:prstGeom prst="rect">
            <a:avLst/>
          </a:prstGeom>
        </p:spPr>
        <p:txBody>
          <a:bodyPr wrap="square" lIns="0" tIns="45720" rIns="0" bIns="0" rtlCol="0">
            <a:spAutoFit/>
          </a:bodyPr>
          <a:lstStyle/>
          <a:p>
            <a:pPr defTabSz="914354">
              <a:lnSpc>
                <a:spcPct val="96000"/>
              </a:lnSpc>
              <a:spcAft>
                <a:spcPts val="600"/>
              </a:spcAft>
              <a:defRPr/>
            </a:pPr>
            <a:r>
              <a:rPr lang="en-US" sz="1000" baseline="30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1</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National Radio and Television Administration  </a:t>
            </a:r>
            <a:r>
              <a:rPr lang="en-US" sz="1000" baseline="30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 </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Academy of Broadcast and Science  commercia potential </a:t>
            </a:r>
            <a:r>
              <a:rPr lang="en-US" sz="1000" baseline="30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3</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a:t>
            </a:r>
            <a:r>
              <a:rPr lang="en-US" sz="1067" err="1">
                <a:solidFill>
                  <a:srgbClr val="FFFFFF"/>
                </a:solidFill>
                <a:latin typeface="Arial"/>
              </a:rPr>
              <a:t>Prasar</a:t>
            </a:r>
            <a:r>
              <a:rPr lang="en-US" sz="1067">
                <a:solidFill>
                  <a:srgbClr val="FFFFFF"/>
                </a:solidFill>
                <a:latin typeface="Arial"/>
              </a:rPr>
              <a:t> Bharti working jointly with IIT Kanpur on Next Generation Broadcast Technology</a:t>
            </a:r>
            <a:r>
              <a:rPr lang="en-US" sz="1067" baseline="30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    </a:t>
            </a:r>
            <a:endParaRPr lang="en-US" sz="1067">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68" name="TextBox 367">
            <a:extLst>
              <a:ext uri="{FF2B5EF4-FFF2-40B4-BE49-F238E27FC236}">
                <a16:creationId xmlns:a16="http://schemas.microsoft.com/office/drawing/2014/main" id="{D971ED8B-CD51-E343-B247-4D0A56DB431D}"/>
              </a:ext>
            </a:extLst>
          </p:cNvPr>
          <p:cNvSpPr txBox="1"/>
          <p:nvPr/>
        </p:nvSpPr>
        <p:spPr>
          <a:xfrm>
            <a:off x="9960034" y="4641461"/>
            <a:ext cx="1812587"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dirty="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Malaysia</a:t>
            </a:r>
          </a:p>
        </p:txBody>
      </p:sp>
      <p:sp>
        <p:nvSpPr>
          <p:cNvPr id="369" name="Freeform: Shape 103">
            <a:extLst>
              <a:ext uri="{FF2B5EF4-FFF2-40B4-BE49-F238E27FC236}">
                <a16:creationId xmlns:a16="http://schemas.microsoft.com/office/drawing/2014/main" id="{3489F8CE-E371-AC49-8FA5-0FE44B95C6FF}"/>
              </a:ext>
            </a:extLst>
          </p:cNvPr>
          <p:cNvSpPr/>
          <p:nvPr/>
        </p:nvSpPr>
        <p:spPr>
          <a:xfrm flipH="1" flipV="1">
            <a:off x="9124983" y="3999188"/>
            <a:ext cx="2375959" cy="1244937"/>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36" name="Freeform: Shape 68">
            <a:extLst>
              <a:ext uri="{FF2B5EF4-FFF2-40B4-BE49-F238E27FC236}">
                <a16:creationId xmlns:a16="http://schemas.microsoft.com/office/drawing/2014/main" id="{70F0F9FA-9CDB-4FF7-A19E-641CDA5F64A1}"/>
              </a:ext>
            </a:extLst>
          </p:cNvPr>
          <p:cNvSpPr/>
          <p:nvPr/>
        </p:nvSpPr>
        <p:spPr>
          <a:xfrm flipV="1">
            <a:off x="749474" y="3572100"/>
            <a:ext cx="2269457" cy="192222"/>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41" name="TextBox 340">
            <a:extLst>
              <a:ext uri="{FF2B5EF4-FFF2-40B4-BE49-F238E27FC236}">
                <a16:creationId xmlns:a16="http://schemas.microsoft.com/office/drawing/2014/main" id="{03A9768F-7500-4024-8BE7-A15EBE67AF92}"/>
              </a:ext>
            </a:extLst>
          </p:cNvPr>
          <p:cNvSpPr txBox="1"/>
          <p:nvPr/>
        </p:nvSpPr>
        <p:spPr>
          <a:xfrm>
            <a:off x="813904" y="3772913"/>
            <a:ext cx="4721951" cy="822341"/>
          </a:xfrm>
          <a:prstGeom prst="rect">
            <a:avLst/>
          </a:prstGeom>
        </p:spPr>
        <p:txBody>
          <a:bodyPr wrap="square" lIns="0" tIns="45720" rIns="0" bIns="0" rtlCol="0" anchor="t">
            <a:spAutoFit/>
          </a:bodyPr>
          <a:lstStyle/>
          <a:p>
            <a:pPr defTabSz="914354" fontAlgn="b">
              <a:lnSpc>
                <a:spcPct val="96000"/>
              </a:lnSpc>
              <a:defRPr/>
            </a:pPr>
            <a:r>
              <a:rPr lang="en-US" sz="1051" b="1" dirty="0">
                <a:solidFill>
                  <a:srgbClr val="F7F8FA"/>
                </a:solidFill>
                <a:latin typeface="Microsoft Sans Serif"/>
                <a:ea typeface="Microsoft Sans Serif"/>
                <a:cs typeface="Microsoft Sans Serif"/>
              </a:rPr>
              <a:t>2020+: </a:t>
            </a:r>
            <a:r>
              <a:rPr lang="en-US" sz="1051" dirty="0">
                <a:solidFill>
                  <a:srgbClr val="F7F8FA"/>
                </a:solidFill>
                <a:latin typeface="Microsoft Sans Serif"/>
                <a:ea typeface="Microsoft Sans Serif"/>
                <a:cs typeface="Microsoft Sans Serif"/>
              </a:rPr>
              <a:t>Growing interest</a:t>
            </a:r>
            <a:r>
              <a:rPr lang="en-US" sz="1051" dirty="0">
                <a:solidFill>
                  <a:srgbClr val="13171F"/>
                </a:solidFill>
                <a:latin typeface="Microsoft Sans Serif" panose="020B0604020202020204" pitchFamily="34" charset="0"/>
                <a:ea typeface="Microsoft Sans Serif" panose="020B0604020202020204" pitchFamily="34" charset="0"/>
                <a:cs typeface="Microsoft Sans Serif" panose="020B0604020202020204" pitchFamily="34" charset="0"/>
              </a:rPr>
              <a:t> </a:t>
            </a:r>
            <a:r>
              <a:rPr lang="en-US" sz="1051" dirty="0">
                <a:solidFill>
                  <a:srgbClr val="F7F8FA"/>
                </a:solidFill>
                <a:latin typeface="Microsoft Sans Serif"/>
                <a:ea typeface="Microsoft Sans Serif"/>
                <a:cs typeface="Microsoft Sans Serif"/>
              </a:rPr>
              <a:t>in 5G BC in addition to ATSC3.0</a:t>
            </a:r>
          </a:p>
          <a:p>
            <a:pPr defTabSz="914354" fontAlgn="b">
              <a:lnSpc>
                <a:spcPct val="96000"/>
              </a:lnSpc>
              <a:defRPr/>
            </a:pPr>
            <a:r>
              <a:rPr lang="en-US" sz="1051" b="1" dirty="0">
                <a:solidFill>
                  <a:srgbClr val="FFFF00"/>
                </a:solidFill>
                <a:latin typeface="Microsoft Sans Serif"/>
                <a:ea typeface="Microsoft Sans Serif"/>
                <a:cs typeface="Microsoft Sans Serif"/>
              </a:rPr>
              <a:t>2023: </a:t>
            </a:r>
            <a:r>
              <a:rPr lang="en-US" sz="1051" dirty="0">
                <a:solidFill>
                  <a:srgbClr val="FFFF00"/>
                </a:solidFill>
                <a:ea typeface="Microsoft Sans Serif"/>
                <a:cs typeface="Microsoft Sans Serif"/>
              </a:rPr>
              <a:t>FCC Approves A Low Power TV Station To Broadcast Over 5G Networks</a:t>
            </a:r>
          </a:p>
          <a:p>
            <a:pPr defTabSz="914354" fontAlgn="b">
              <a:lnSpc>
                <a:spcPct val="96000"/>
              </a:lnSpc>
              <a:defRPr/>
            </a:pPr>
            <a:r>
              <a:rPr lang="en-US" sz="1051" dirty="0">
                <a:solidFill>
                  <a:srgbClr val="FFFF00"/>
                </a:solidFill>
                <a:latin typeface="Microsoft Sans Serif"/>
                <a:ea typeface="Microsoft Sans Serif"/>
                <a:cs typeface="Microsoft Sans Serif"/>
              </a:rPr>
              <a:t>2023: First 5G Broadcast in the US and first 24/7 5G Broadcast station in the world on WWOO, Boston, MA!</a:t>
            </a:r>
          </a:p>
          <a:p>
            <a:pPr defTabSz="914354" fontAlgn="b">
              <a:lnSpc>
                <a:spcPct val="96000"/>
              </a:lnSpc>
              <a:defRPr/>
            </a:pPr>
            <a:endParaRPr lang="en-US" sz="1051" b="1" dirty="0">
              <a:solidFill>
                <a:srgbClr val="FFFF00"/>
              </a:solidFill>
              <a:latin typeface="Microsoft Sans Serif"/>
              <a:ea typeface="Microsoft Sans Serif"/>
              <a:cs typeface="Microsoft Sans Serif"/>
            </a:endParaRPr>
          </a:p>
        </p:txBody>
      </p:sp>
      <p:sp>
        <p:nvSpPr>
          <p:cNvPr id="342" name="TextBox 341">
            <a:extLst>
              <a:ext uri="{FF2B5EF4-FFF2-40B4-BE49-F238E27FC236}">
                <a16:creationId xmlns:a16="http://schemas.microsoft.com/office/drawing/2014/main" id="{F3D0857C-05D3-423D-8E47-2EEAABA0EB17}"/>
              </a:ext>
            </a:extLst>
          </p:cNvPr>
          <p:cNvSpPr txBox="1"/>
          <p:nvPr/>
        </p:nvSpPr>
        <p:spPr>
          <a:xfrm>
            <a:off x="836422" y="3569289"/>
            <a:ext cx="397919" cy="209288"/>
          </a:xfrm>
          <a:prstGeom prst="rect">
            <a:avLst/>
          </a:prstGeom>
        </p:spPr>
        <p:txBody>
          <a:bodyPr wrap="square" lIns="0" tIns="0" rIns="0" bIns="0" rtlCol="0" anchor="t">
            <a:spAutoFit/>
          </a:bodyPr>
          <a:lstStyle/>
          <a:p>
            <a:pPr defTabSz="914354">
              <a:lnSpc>
                <a:spcPct val="85000"/>
              </a:lnSpc>
              <a:defRPr/>
            </a:pPr>
            <a:r>
              <a:rPr lang="en-US" sz="1600" b="1" dirty="0">
                <a:solidFill>
                  <a:srgbClr val="F7F8FA"/>
                </a:solidFill>
                <a:latin typeface="Microsoft Sans Serif"/>
                <a:ea typeface="Microsoft Sans Serif"/>
                <a:cs typeface="Microsoft Sans Serif"/>
              </a:rPr>
              <a:t>US</a:t>
            </a:r>
          </a:p>
        </p:txBody>
      </p:sp>
      <p:sp>
        <p:nvSpPr>
          <p:cNvPr id="358" name="Freeform: Shape 103">
            <a:extLst>
              <a:ext uri="{FF2B5EF4-FFF2-40B4-BE49-F238E27FC236}">
                <a16:creationId xmlns:a16="http://schemas.microsoft.com/office/drawing/2014/main" id="{B87E8792-49F9-455F-A21A-B4D9E2EE0240}"/>
              </a:ext>
            </a:extLst>
          </p:cNvPr>
          <p:cNvSpPr/>
          <p:nvPr/>
        </p:nvSpPr>
        <p:spPr>
          <a:xfrm flipH="1">
            <a:off x="9372479" y="4206317"/>
            <a:ext cx="2375959" cy="148667"/>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59" name="TextBox 358">
            <a:extLst>
              <a:ext uri="{FF2B5EF4-FFF2-40B4-BE49-F238E27FC236}">
                <a16:creationId xmlns:a16="http://schemas.microsoft.com/office/drawing/2014/main" id="{6AEE84EE-359A-4190-A550-4FF798CF81E6}"/>
              </a:ext>
            </a:extLst>
          </p:cNvPr>
          <p:cNvSpPr txBox="1"/>
          <p:nvPr/>
        </p:nvSpPr>
        <p:spPr>
          <a:xfrm>
            <a:off x="9930544" y="3931202"/>
            <a:ext cx="1812587"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Philippines</a:t>
            </a:r>
          </a:p>
        </p:txBody>
      </p:sp>
      <p:sp>
        <p:nvSpPr>
          <p:cNvPr id="360" name="TextBox 359">
            <a:extLst>
              <a:ext uri="{FF2B5EF4-FFF2-40B4-BE49-F238E27FC236}">
                <a16:creationId xmlns:a16="http://schemas.microsoft.com/office/drawing/2014/main" id="{9367E6E1-3DC6-4554-8939-BDE7BEE4FBD3}"/>
              </a:ext>
            </a:extLst>
          </p:cNvPr>
          <p:cNvSpPr txBox="1"/>
          <p:nvPr/>
        </p:nvSpPr>
        <p:spPr>
          <a:xfrm>
            <a:off x="9582106" y="4212843"/>
            <a:ext cx="2375959" cy="341632"/>
          </a:xfrm>
          <a:prstGeom prst="rect">
            <a:avLst/>
          </a:prstGeom>
        </p:spPr>
        <p:txBody>
          <a:bodyPr wrap="square" lIns="0" tIns="45720" rIns="0" bIns="0" rtlCol="0">
            <a:spAutoFit/>
          </a:bodyPr>
          <a:lstStyle/>
          <a:p>
            <a:pPr defTabSz="914354">
              <a:lnSpc>
                <a:spcPct val="96000"/>
              </a:lnSpc>
              <a:spcAft>
                <a:spcPts val="600"/>
              </a:spcAft>
              <a:defRPr/>
            </a:pPr>
            <a:r>
              <a:rPr lang="en-US" sz="1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19-22: Direct to mobile Live TV/Radio  in Manilla </a:t>
            </a:r>
          </a:p>
        </p:txBody>
      </p:sp>
      <p:sp>
        <p:nvSpPr>
          <p:cNvPr id="362" name="TextBox 361">
            <a:extLst>
              <a:ext uri="{FF2B5EF4-FFF2-40B4-BE49-F238E27FC236}">
                <a16:creationId xmlns:a16="http://schemas.microsoft.com/office/drawing/2014/main" id="{A1E7842B-44BD-44E9-A10E-BE583F283DDB}"/>
              </a:ext>
            </a:extLst>
          </p:cNvPr>
          <p:cNvSpPr txBox="1"/>
          <p:nvPr/>
        </p:nvSpPr>
        <p:spPr>
          <a:xfrm>
            <a:off x="4409921" y="5876968"/>
            <a:ext cx="1285303"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South Africa</a:t>
            </a:r>
          </a:p>
        </p:txBody>
      </p:sp>
      <p:sp>
        <p:nvSpPr>
          <p:cNvPr id="371" name="TextBox 370">
            <a:extLst>
              <a:ext uri="{FF2B5EF4-FFF2-40B4-BE49-F238E27FC236}">
                <a16:creationId xmlns:a16="http://schemas.microsoft.com/office/drawing/2014/main" id="{C53F8EEC-858B-47A7-BA71-A56753E30D47}"/>
              </a:ext>
            </a:extLst>
          </p:cNvPr>
          <p:cNvSpPr txBox="1"/>
          <p:nvPr/>
        </p:nvSpPr>
        <p:spPr>
          <a:xfrm>
            <a:off x="4455465" y="6185588"/>
            <a:ext cx="1836003" cy="341632"/>
          </a:xfrm>
          <a:prstGeom prst="rect">
            <a:avLst/>
          </a:prstGeom>
        </p:spPr>
        <p:txBody>
          <a:bodyPr wrap="square" lIns="0" tIns="45720" rIns="0" bIns="0" rtlCol="0">
            <a:spAutoFit/>
          </a:bodyPr>
          <a:lstStyle/>
          <a:p>
            <a:pPr defTabSz="914354">
              <a:lnSpc>
                <a:spcPct val="96000"/>
              </a:lnSpc>
              <a:defRPr/>
            </a:pPr>
            <a:r>
              <a:rPr lang="en-US" sz="1000" b="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2019-20: </a:t>
            </a:r>
            <a:r>
              <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Live testing of Rel-14 in </a:t>
            </a:r>
            <a:r>
              <a:rPr lang="en-US" sz="1000" err="1">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rPr>
              <a:t>Johannsburg</a:t>
            </a:r>
            <a:endParaRPr lang="en-US" sz="1000">
              <a:solidFill>
                <a:srgbClr val="FFFFFF"/>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72" name="TextBox 371">
            <a:extLst>
              <a:ext uri="{FF2B5EF4-FFF2-40B4-BE49-F238E27FC236}">
                <a16:creationId xmlns:a16="http://schemas.microsoft.com/office/drawing/2014/main" id="{6BEA67EF-44C3-4B19-8693-B58B8C5130B7}"/>
              </a:ext>
            </a:extLst>
          </p:cNvPr>
          <p:cNvSpPr txBox="1"/>
          <p:nvPr/>
        </p:nvSpPr>
        <p:spPr>
          <a:xfrm>
            <a:off x="9258315" y="1424774"/>
            <a:ext cx="2390437" cy="341632"/>
          </a:xfrm>
          <a:prstGeom prst="rect">
            <a:avLst/>
          </a:prstGeom>
        </p:spPr>
        <p:txBody>
          <a:bodyPr wrap="square" lIns="0" tIns="45720" rIns="0" bIns="0" rtlCol="0">
            <a:spAutoFit/>
          </a:bodyPr>
          <a:lstStyle/>
          <a:p>
            <a:pPr defTabSz="914354" fontAlgn="b">
              <a:lnSpc>
                <a:spcPct val="96000"/>
              </a:lnSpc>
              <a:defRPr/>
            </a:pP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2+: 5G Broadcast under investigation as latest broadcast technology</a:t>
            </a:r>
          </a:p>
        </p:txBody>
      </p:sp>
      <p:sp>
        <p:nvSpPr>
          <p:cNvPr id="373" name="Freeform: Shape 98">
            <a:extLst>
              <a:ext uri="{FF2B5EF4-FFF2-40B4-BE49-F238E27FC236}">
                <a16:creationId xmlns:a16="http://schemas.microsoft.com/office/drawing/2014/main" id="{1BA45FE0-591A-44C8-9429-662E18D52F97}"/>
              </a:ext>
            </a:extLst>
          </p:cNvPr>
          <p:cNvSpPr/>
          <p:nvPr/>
        </p:nvSpPr>
        <p:spPr>
          <a:xfrm flipH="1">
            <a:off x="9241762" y="1420094"/>
            <a:ext cx="2342583" cy="1104788"/>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defRPr/>
            </a:pPr>
            <a:endParaRPr lang="en-US">
              <a:ln>
                <a:solidFill>
                  <a:srgbClr val="F7F8FA"/>
                </a:solidFill>
              </a:ln>
              <a:solidFill>
                <a:srgbClr val="F7F8FA"/>
              </a:solidFill>
              <a:latin typeface="Microsoft Sans Serif"/>
            </a:endParaRPr>
          </a:p>
        </p:txBody>
      </p:sp>
      <p:sp>
        <p:nvSpPr>
          <p:cNvPr id="374" name="TextBox 373">
            <a:extLst>
              <a:ext uri="{FF2B5EF4-FFF2-40B4-BE49-F238E27FC236}">
                <a16:creationId xmlns:a16="http://schemas.microsoft.com/office/drawing/2014/main" id="{91977116-F82C-4602-9D58-B947CE62D389}"/>
              </a:ext>
            </a:extLst>
          </p:cNvPr>
          <p:cNvSpPr txBox="1"/>
          <p:nvPr/>
        </p:nvSpPr>
        <p:spPr>
          <a:xfrm>
            <a:off x="10784299" y="1142253"/>
            <a:ext cx="759727"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Russia</a:t>
            </a:r>
          </a:p>
        </p:txBody>
      </p:sp>
      <p:sp>
        <p:nvSpPr>
          <p:cNvPr id="375" name="Freeform: Shape 72">
            <a:extLst>
              <a:ext uri="{FF2B5EF4-FFF2-40B4-BE49-F238E27FC236}">
                <a16:creationId xmlns:a16="http://schemas.microsoft.com/office/drawing/2014/main" id="{158CFAA2-044B-48AD-A9D0-392E46C69500}"/>
              </a:ext>
            </a:extLst>
          </p:cNvPr>
          <p:cNvSpPr/>
          <p:nvPr/>
        </p:nvSpPr>
        <p:spPr>
          <a:xfrm>
            <a:off x="4049629" y="3199010"/>
            <a:ext cx="1812939" cy="112076"/>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78" name="TextBox 377">
            <a:extLst>
              <a:ext uri="{FF2B5EF4-FFF2-40B4-BE49-F238E27FC236}">
                <a16:creationId xmlns:a16="http://schemas.microsoft.com/office/drawing/2014/main" id="{F1EFB1D1-B822-4AB4-9D60-F85E3A072417}"/>
              </a:ext>
            </a:extLst>
          </p:cNvPr>
          <p:cNvSpPr txBox="1"/>
          <p:nvPr/>
        </p:nvSpPr>
        <p:spPr>
          <a:xfrm>
            <a:off x="6194473" y="4885376"/>
            <a:ext cx="1951767" cy="356636"/>
          </a:xfrm>
          <a:prstGeom prst="rect">
            <a:avLst/>
          </a:prstGeom>
        </p:spPr>
        <p:txBody>
          <a:bodyPr wrap="square" lIns="0" tIns="45720" rIns="0" bIns="0" rtlCol="0" anchor="t">
            <a:spAutoFit/>
          </a:bodyPr>
          <a:lstStyle/>
          <a:p>
            <a:pPr defTabSz="914354" fontAlgn="b">
              <a:lnSpc>
                <a:spcPct val="96000"/>
              </a:lnSpc>
              <a:defRPr/>
            </a:pPr>
            <a:r>
              <a:rPr lang="en-US" sz="1051" b="1">
                <a:solidFill>
                  <a:srgbClr val="F7F8FA"/>
                </a:solidFill>
                <a:latin typeface="Microsoft Sans Serif"/>
                <a:ea typeface="Microsoft Sans Serif"/>
                <a:cs typeface="Microsoft Sans Serif"/>
              </a:rPr>
              <a:t>2022: </a:t>
            </a:r>
            <a:r>
              <a:rPr lang="en-US" sz="1051">
                <a:solidFill>
                  <a:srgbClr val="F7F8FA"/>
                </a:solidFill>
                <a:latin typeface="Microsoft Sans Serif"/>
                <a:ea typeface="Microsoft Sans Serif"/>
                <a:cs typeface="Microsoft Sans Serif"/>
              </a:rPr>
              <a:t>Interest towards 5G BC during Mediterranean Games</a:t>
            </a:r>
          </a:p>
        </p:txBody>
      </p:sp>
      <p:sp>
        <p:nvSpPr>
          <p:cNvPr id="379" name="TextBox 378">
            <a:extLst>
              <a:ext uri="{FF2B5EF4-FFF2-40B4-BE49-F238E27FC236}">
                <a16:creationId xmlns:a16="http://schemas.microsoft.com/office/drawing/2014/main" id="{386EBCA9-7239-43E2-AFBE-5B5E04A28487}"/>
              </a:ext>
            </a:extLst>
          </p:cNvPr>
          <p:cNvSpPr txBox="1"/>
          <p:nvPr/>
        </p:nvSpPr>
        <p:spPr>
          <a:xfrm>
            <a:off x="4056507" y="2931215"/>
            <a:ext cx="1250444" cy="209288"/>
          </a:xfrm>
          <a:prstGeom prst="rect">
            <a:avLst/>
          </a:prstGeom>
        </p:spPr>
        <p:txBody>
          <a:bodyPr wrap="square" lIns="0" tIns="0" rIns="0" bIns="0" rtlCol="0" anchor="t">
            <a:spAutoFit/>
          </a:bodyPr>
          <a:lstStyle/>
          <a:p>
            <a:pPr defTabSz="914354">
              <a:lnSpc>
                <a:spcPct val="85000"/>
              </a:lnSpc>
              <a:defRPr/>
            </a:pPr>
            <a:r>
              <a:rPr lang="en-US" sz="1600" b="1" dirty="0">
                <a:solidFill>
                  <a:srgbClr val="F7F8FA"/>
                </a:solidFill>
                <a:latin typeface="Microsoft Sans Serif"/>
                <a:ea typeface="Microsoft Sans Serif"/>
                <a:cs typeface="Microsoft Sans Serif"/>
              </a:rPr>
              <a:t>France</a:t>
            </a:r>
          </a:p>
        </p:txBody>
      </p:sp>
      <p:sp>
        <p:nvSpPr>
          <p:cNvPr id="380" name="TextBox 379">
            <a:extLst>
              <a:ext uri="{FF2B5EF4-FFF2-40B4-BE49-F238E27FC236}">
                <a16:creationId xmlns:a16="http://schemas.microsoft.com/office/drawing/2014/main" id="{A27F29F4-DE50-440D-B71B-CDBB9F2B674E}"/>
              </a:ext>
            </a:extLst>
          </p:cNvPr>
          <p:cNvSpPr txBox="1"/>
          <p:nvPr/>
        </p:nvSpPr>
        <p:spPr>
          <a:xfrm>
            <a:off x="4056509" y="3219136"/>
            <a:ext cx="1951767" cy="356636"/>
          </a:xfrm>
          <a:prstGeom prst="rect">
            <a:avLst/>
          </a:prstGeom>
        </p:spPr>
        <p:txBody>
          <a:bodyPr wrap="square" lIns="0" tIns="45720" rIns="0" bIns="0" rtlCol="0" anchor="t">
            <a:spAutoFit/>
          </a:bodyPr>
          <a:lstStyle/>
          <a:p>
            <a:pPr defTabSz="914354" fontAlgn="b">
              <a:lnSpc>
                <a:spcPct val="96000"/>
              </a:lnSpc>
              <a:defRPr/>
            </a:pPr>
            <a:r>
              <a:rPr lang="en-US" sz="1051" b="1">
                <a:solidFill>
                  <a:srgbClr val="F7F8FA"/>
                </a:solidFill>
                <a:latin typeface="Microsoft Sans Serif"/>
                <a:ea typeface="Microsoft Sans Serif"/>
                <a:cs typeface="Microsoft Sans Serif"/>
              </a:rPr>
              <a:t>2018-2022: </a:t>
            </a:r>
            <a:r>
              <a:rPr lang="en-US" sz="1051">
                <a:solidFill>
                  <a:srgbClr val="F7F8FA"/>
                </a:solidFill>
                <a:latin typeface="Microsoft Sans Serif"/>
                <a:ea typeface="Microsoft Sans Serif"/>
                <a:cs typeface="Microsoft Sans Serif"/>
              </a:rPr>
              <a:t>Live testing of 5G BC in Paris</a:t>
            </a:r>
          </a:p>
        </p:txBody>
      </p:sp>
      <p:sp>
        <p:nvSpPr>
          <p:cNvPr id="381" name="Freeform: Shape 72">
            <a:extLst>
              <a:ext uri="{FF2B5EF4-FFF2-40B4-BE49-F238E27FC236}">
                <a16:creationId xmlns:a16="http://schemas.microsoft.com/office/drawing/2014/main" id="{7A1677CF-BC99-436C-A6E2-698A6EED5D0D}"/>
              </a:ext>
            </a:extLst>
          </p:cNvPr>
          <p:cNvSpPr/>
          <p:nvPr/>
        </p:nvSpPr>
        <p:spPr>
          <a:xfrm>
            <a:off x="4104469" y="2193569"/>
            <a:ext cx="1812939" cy="939123"/>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82" name="TextBox 381">
            <a:extLst>
              <a:ext uri="{FF2B5EF4-FFF2-40B4-BE49-F238E27FC236}">
                <a16:creationId xmlns:a16="http://schemas.microsoft.com/office/drawing/2014/main" id="{A0BA6276-F0B1-49B0-ADAB-04B97A10625F}"/>
              </a:ext>
            </a:extLst>
          </p:cNvPr>
          <p:cNvSpPr txBox="1"/>
          <p:nvPr/>
        </p:nvSpPr>
        <p:spPr>
          <a:xfrm>
            <a:off x="4077051" y="1897871"/>
            <a:ext cx="1250444"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Belgium</a:t>
            </a:r>
          </a:p>
        </p:txBody>
      </p:sp>
      <p:sp>
        <p:nvSpPr>
          <p:cNvPr id="383" name="TextBox 382">
            <a:extLst>
              <a:ext uri="{FF2B5EF4-FFF2-40B4-BE49-F238E27FC236}">
                <a16:creationId xmlns:a16="http://schemas.microsoft.com/office/drawing/2014/main" id="{2FC3EF4A-E044-4543-8773-05C09F218812}"/>
              </a:ext>
            </a:extLst>
          </p:cNvPr>
          <p:cNvSpPr txBox="1"/>
          <p:nvPr/>
        </p:nvSpPr>
        <p:spPr>
          <a:xfrm>
            <a:off x="4098622" y="2193569"/>
            <a:ext cx="1951767" cy="356636"/>
          </a:xfrm>
          <a:prstGeom prst="rect">
            <a:avLst/>
          </a:prstGeom>
        </p:spPr>
        <p:txBody>
          <a:bodyPr wrap="square" lIns="0" tIns="45720" rIns="0" bIns="0" rtlCol="0" anchor="t">
            <a:spAutoFit/>
          </a:bodyPr>
          <a:lstStyle/>
          <a:p>
            <a:pPr defTabSz="914354" fontAlgn="b">
              <a:lnSpc>
                <a:spcPct val="96000"/>
              </a:lnSpc>
              <a:defRPr/>
            </a:pPr>
            <a:r>
              <a:rPr lang="en-US" sz="1051" b="1">
                <a:solidFill>
                  <a:srgbClr val="F7F8FA"/>
                </a:solidFill>
                <a:latin typeface="Microsoft Sans Serif"/>
                <a:ea typeface="Microsoft Sans Serif"/>
                <a:cs typeface="Microsoft Sans Serif"/>
              </a:rPr>
              <a:t>2022-24: </a:t>
            </a:r>
            <a:r>
              <a:rPr lang="en-US" sz="1051">
                <a:solidFill>
                  <a:srgbClr val="F7F8FA"/>
                </a:solidFill>
                <a:latin typeface="Microsoft Sans Serif"/>
                <a:ea typeface="Microsoft Sans Serif"/>
                <a:cs typeface="Microsoft Sans Serif"/>
              </a:rPr>
              <a:t>5G BC </a:t>
            </a:r>
            <a:r>
              <a:rPr lang="en-US" sz="1051" err="1">
                <a:solidFill>
                  <a:srgbClr val="F7F8FA"/>
                </a:solidFill>
                <a:latin typeface="Microsoft Sans Serif"/>
                <a:ea typeface="Microsoft Sans Serif"/>
                <a:cs typeface="Microsoft Sans Serif"/>
              </a:rPr>
              <a:t>imec.icon</a:t>
            </a:r>
            <a:r>
              <a:rPr lang="en-US" sz="1051">
                <a:solidFill>
                  <a:srgbClr val="F7F8FA"/>
                </a:solidFill>
                <a:latin typeface="Microsoft Sans Serif"/>
                <a:ea typeface="Microsoft Sans Serif"/>
                <a:cs typeface="Microsoft Sans Serif"/>
              </a:rPr>
              <a:t> project with 2 HPHT sites</a:t>
            </a:r>
          </a:p>
        </p:txBody>
      </p:sp>
      <p:sp>
        <p:nvSpPr>
          <p:cNvPr id="384" name="Freeform: Shape 83">
            <a:extLst>
              <a:ext uri="{FF2B5EF4-FFF2-40B4-BE49-F238E27FC236}">
                <a16:creationId xmlns:a16="http://schemas.microsoft.com/office/drawing/2014/main" id="{2BE1FA36-4342-4FFE-8969-7BC428A3D879}"/>
              </a:ext>
            </a:extLst>
          </p:cNvPr>
          <p:cNvSpPr/>
          <p:nvPr/>
        </p:nvSpPr>
        <p:spPr>
          <a:xfrm flipH="1">
            <a:off x="6555838" y="1808893"/>
            <a:ext cx="2125175" cy="750351"/>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defRPr/>
            </a:pPr>
            <a:endParaRPr lang="en-US">
              <a:ln>
                <a:solidFill>
                  <a:srgbClr val="F7F8FA"/>
                </a:solidFill>
              </a:ln>
              <a:solidFill>
                <a:srgbClr val="F7F8FA"/>
              </a:solidFill>
              <a:latin typeface="Microsoft Sans Serif"/>
            </a:endParaRPr>
          </a:p>
        </p:txBody>
      </p:sp>
      <p:sp>
        <p:nvSpPr>
          <p:cNvPr id="385" name="TextBox 384">
            <a:extLst>
              <a:ext uri="{FF2B5EF4-FFF2-40B4-BE49-F238E27FC236}">
                <a16:creationId xmlns:a16="http://schemas.microsoft.com/office/drawing/2014/main" id="{D9AA8F80-260B-4420-8157-DF35C872922C}"/>
              </a:ext>
            </a:extLst>
          </p:cNvPr>
          <p:cNvSpPr txBox="1"/>
          <p:nvPr/>
        </p:nvSpPr>
        <p:spPr>
          <a:xfrm>
            <a:off x="7511549" y="1553426"/>
            <a:ext cx="1156543"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Finland</a:t>
            </a:r>
          </a:p>
        </p:txBody>
      </p:sp>
      <p:sp>
        <p:nvSpPr>
          <p:cNvPr id="386" name="TextBox 385">
            <a:extLst>
              <a:ext uri="{FF2B5EF4-FFF2-40B4-BE49-F238E27FC236}">
                <a16:creationId xmlns:a16="http://schemas.microsoft.com/office/drawing/2014/main" id="{6808C349-FC80-47F5-9471-B1DFDA46BF32}"/>
              </a:ext>
            </a:extLst>
          </p:cNvPr>
          <p:cNvSpPr txBox="1"/>
          <p:nvPr/>
        </p:nvSpPr>
        <p:spPr>
          <a:xfrm>
            <a:off x="6683324" y="1829122"/>
            <a:ext cx="2194661" cy="341632"/>
          </a:xfrm>
          <a:prstGeom prst="rect">
            <a:avLst/>
          </a:prstGeom>
        </p:spPr>
        <p:txBody>
          <a:bodyPr wrap="square" lIns="0" tIns="45720" rIns="0" bIns="0" rtlCol="0">
            <a:spAutoFit/>
          </a:bodyPr>
          <a:lstStyle/>
          <a:p>
            <a:pPr defTabSz="914354" fontAlgn="b">
              <a:lnSpc>
                <a:spcPct val="96000"/>
              </a:lnSpc>
              <a:spcAft>
                <a:spcPts val="600"/>
              </a:spcAft>
              <a:defRPr/>
            </a:pP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19-22: TV delivery with Rel-14/16 </a:t>
            </a:r>
            <a:b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HPHT in 3 sites</a:t>
            </a:r>
          </a:p>
        </p:txBody>
      </p:sp>
      <p:sp>
        <p:nvSpPr>
          <p:cNvPr id="393" name="Freeform: Shape 36">
            <a:extLst>
              <a:ext uri="{FF2B5EF4-FFF2-40B4-BE49-F238E27FC236}">
                <a16:creationId xmlns:a16="http://schemas.microsoft.com/office/drawing/2014/main" id="{97F340FA-3BCB-4921-9478-D23A61918B75}"/>
              </a:ext>
            </a:extLst>
          </p:cNvPr>
          <p:cNvSpPr/>
          <p:nvPr/>
        </p:nvSpPr>
        <p:spPr>
          <a:xfrm flipH="1">
            <a:off x="6270323" y="2296119"/>
            <a:ext cx="2798612" cy="875948"/>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95" name="TextBox 394">
            <a:extLst>
              <a:ext uri="{FF2B5EF4-FFF2-40B4-BE49-F238E27FC236}">
                <a16:creationId xmlns:a16="http://schemas.microsoft.com/office/drawing/2014/main" id="{E9867AD8-F91A-45F0-9392-DA377E89CA39}"/>
              </a:ext>
            </a:extLst>
          </p:cNvPr>
          <p:cNvSpPr txBox="1"/>
          <p:nvPr/>
        </p:nvSpPr>
        <p:spPr>
          <a:xfrm>
            <a:off x="8537541" y="2039792"/>
            <a:ext cx="487615"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CZ</a:t>
            </a:r>
          </a:p>
        </p:txBody>
      </p:sp>
      <p:sp>
        <p:nvSpPr>
          <p:cNvPr id="396" name="TextBox 395">
            <a:extLst>
              <a:ext uri="{FF2B5EF4-FFF2-40B4-BE49-F238E27FC236}">
                <a16:creationId xmlns:a16="http://schemas.microsoft.com/office/drawing/2014/main" id="{BE71CEFF-66FE-44BB-A377-0DDFFECC7C07}"/>
              </a:ext>
            </a:extLst>
          </p:cNvPr>
          <p:cNvSpPr txBox="1"/>
          <p:nvPr/>
        </p:nvSpPr>
        <p:spPr>
          <a:xfrm>
            <a:off x="6627625" y="2286236"/>
            <a:ext cx="2455297" cy="193899"/>
          </a:xfrm>
          <a:prstGeom prst="rect">
            <a:avLst/>
          </a:prstGeom>
        </p:spPr>
        <p:txBody>
          <a:bodyPr wrap="square" lIns="0" tIns="45720" rIns="0" bIns="0" rtlCol="0">
            <a:spAutoFit/>
          </a:bodyPr>
          <a:lstStyle/>
          <a:p>
            <a:pPr defTabSz="914354" fontAlgn="b">
              <a:lnSpc>
                <a:spcPct val="96000"/>
              </a:lnSpc>
              <a:defRPr/>
            </a:pPr>
            <a:r>
              <a:rPr lang="en-US" sz="1000" b="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0-23: </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Distribution of TV/Radio in Prague</a:t>
            </a:r>
          </a:p>
        </p:txBody>
      </p:sp>
      <p:sp>
        <p:nvSpPr>
          <p:cNvPr id="331" name="TextBox 330">
            <a:extLst>
              <a:ext uri="{FF2B5EF4-FFF2-40B4-BE49-F238E27FC236}">
                <a16:creationId xmlns:a16="http://schemas.microsoft.com/office/drawing/2014/main" id="{E53F69ED-6B60-4D5C-A1BC-CE8BC5AF5FCB}"/>
              </a:ext>
            </a:extLst>
          </p:cNvPr>
          <p:cNvSpPr txBox="1"/>
          <p:nvPr/>
        </p:nvSpPr>
        <p:spPr>
          <a:xfrm>
            <a:off x="9272793" y="5276751"/>
            <a:ext cx="2375959" cy="861774"/>
          </a:xfrm>
          <a:prstGeom prst="rect">
            <a:avLst/>
          </a:prstGeom>
        </p:spPr>
        <p:txBody>
          <a:bodyPr wrap="square" lIns="0" tIns="45720" rIns="0" bIns="0" rtlCol="0">
            <a:spAutoFit/>
          </a:bodyPr>
          <a:lstStyle/>
          <a:p>
            <a:pPr defTabSz="914354">
              <a:lnSpc>
                <a:spcPct val="96000"/>
              </a:lnSpc>
              <a:spcAft>
                <a:spcPts val="600"/>
              </a:spcAft>
              <a:defRPr/>
            </a:pPr>
            <a:r>
              <a:rPr lang="en-US" sz="1000" b="1"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19-24:  AIB project based on 5G Broadcast under the administration of </a:t>
            </a:r>
            <a:r>
              <a:rPr lang="en-US" sz="1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NRTA</a:t>
            </a:r>
            <a:r>
              <a:rPr lang="en-US" sz="1000" baseline="30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1</a:t>
            </a:r>
            <a:r>
              <a:rPr lang="en-US" sz="1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 and ABS</a:t>
            </a:r>
            <a:r>
              <a:rPr lang="en-US" sz="1000" baseline="30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a:t>
            </a:r>
            <a:endParaRPr lang="en-US" sz="1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endParaRPr>
          </a:p>
          <a:p>
            <a:pPr defTabSz="914354">
              <a:lnSpc>
                <a:spcPct val="96000"/>
              </a:lnSpc>
              <a:spcAft>
                <a:spcPts val="600"/>
              </a:spcAft>
              <a:defRPr/>
            </a:pPr>
            <a:r>
              <a:rPr lang="en-US" sz="1000" b="1" dirty="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2023</a:t>
            </a:r>
            <a:r>
              <a:rPr lang="en-US" sz="1000" dirty="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 5G Broadcast Chengdu pilot project formally kicked off on July 20th</a:t>
            </a:r>
          </a:p>
        </p:txBody>
      </p:sp>
      <p:sp>
        <p:nvSpPr>
          <p:cNvPr id="394" name="Freeform 13">
            <a:extLst>
              <a:ext uri="{FF2B5EF4-FFF2-40B4-BE49-F238E27FC236}">
                <a16:creationId xmlns:a16="http://schemas.microsoft.com/office/drawing/2014/main" id="{0AB81221-B671-40C8-A4DD-30F9180B16D5}"/>
              </a:ext>
            </a:extLst>
          </p:cNvPr>
          <p:cNvSpPr>
            <a:spLocks noChangeArrowheads="1"/>
          </p:cNvSpPr>
          <p:nvPr/>
        </p:nvSpPr>
        <p:spPr bwMode="auto">
          <a:xfrm>
            <a:off x="5502567" y="3664918"/>
            <a:ext cx="629996" cy="597652"/>
          </a:xfrm>
          <a:custGeom>
            <a:avLst/>
            <a:gdLst>
              <a:gd name="T0" fmla="*/ 675 w 1976"/>
              <a:gd name="T1" fmla="*/ 375 h 1875"/>
              <a:gd name="T2" fmla="*/ 675 w 1976"/>
              <a:gd name="T3" fmla="*/ 375 h 1875"/>
              <a:gd name="T4" fmla="*/ 700 w 1976"/>
              <a:gd name="T5" fmla="*/ 450 h 1875"/>
              <a:gd name="T6" fmla="*/ 725 w 1976"/>
              <a:gd name="T7" fmla="*/ 525 h 1875"/>
              <a:gd name="T8" fmla="*/ 700 w 1976"/>
              <a:gd name="T9" fmla="*/ 550 h 1875"/>
              <a:gd name="T10" fmla="*/ 575 w 1976"/>
              <a:gd name="T11" fmla="*/ 550 h 1875"/>
              <a:gd name="T12" fmla="*/ 525 w 1976"/>
              <a:gd name="T13" fmla="*/ 600 h 1875"/>
              <a:gd name="T14" fmla="*/ 475 w 1976"/>
              <a:gd name="T15" fmla="*/ 625 h 1875"/>
              <a:gd name="T16" fmla="*/ 475 w 1976"/>
              <a:gd name="T17" fmla="*/ 675 h 1875"/>
              <a:gd name="T18" fmla="*/ 425 w 1976"/>
              <a:gd name="T19" fmla="*/ 701 h 1875"/>
              <a:gd name="T20" fmla="*/ 350 w 1976"/>
              <a:gd name="T21" fmla="*/ 725 h 1875"/>
              <a:gd name="T22" fmla="*/ 300 w 1976"/>
              <a:gd name="T23" fmla="*/ 775 h 1875"/>
              <a:gd name="T24" fmla="*/ 225 w 1976"/>
              <a:gd name="T25" fmla="*/ 801 h 1875"/>
              <a:gd name="T26" fmla="*/ 175 w 1976"/>
              <a:gd name="T27" fmla="*/ 825 h 1875"/>
              <a:gd name="T28" fmla="*/ 25 w 1976"/>
              <a:gd name="T29" fmla="*/ 925 h 1875"/>
              <a:gd name="T30" fmla="*/ 25 w 1976"/>
              <a:gd name="T31" fmla="*/ 1050 h 1875"/>
              <a:gd name="T32" fmla="*/ 25 w 1976"/>
              <a:gd name="T33" fmla="*/ 1050 h 1875"/>
              <a:gd name="T34" fmla="*/ 951 w 1976"/>
              <a:gd name="T35" fmla="*/ 1674 h 1875"/>
              <a:gd name="T36" fmla="*/ 1000 w 1976"/>
              <a:gd name="T37" fmla="*/ 1749 h 1875"/>
              <a:gd name="T38" fmla="*/ 1100 w 1976"/>
              <a:gd name="T39" fmla="*/ 1774 h 1875"/>
              <a:gd name="T40" fmla="*/ 1151 w 1976"/>
              <a:gd name="T41" fmla="*/ 1874 h 1875"/>
              <a:gd name="T42" fmla="*/ 1251 w 1976"/>
              <a:gd name="T43" fmla="*/ 1874 h 1875"/>
              <a:gd name="T44" fmla="*/ 1400 w 1976"/>
              <a:gd name="T45" fmla="*/ 1824 h 1875"/>
              <a:gd name="T46" fmla="*/ 1576 w 1976"/>
              <a:gd name="T47" fmla="*/ 1674 h 1875"/>
              <a:gd name="T48" fmla="*/ 1975 w 1976"/>
              <a:gd name="T49" fmla="*/ 1424 h 1875"/>
              <a:gd name="T50" fmla="*/ 1975 w 1976"/>
              <a:gd name="T51" fmla="*/ 1424 h 1875"/>
              <a:gd name="T52" fmla="*/ 1924 w 1976"/>
              <a:gd name="T53" fmla="*/ 1349 h 1875"/>
              <a:gd name="T54" fmla="*/ 1851 w 1976"/>
              <a:gd name="T55" fmla="*/ 1324 h 1875"/>
              <a:gd name="T56" fmla="*/ 1800 w 1976"/>
              <a:gd name="T57" fmla="*/ 1299 h 1875"/>
              <a:gd name="T58" fmla="*/ 1776 w 1976"/>
              <a:gd name="T59" fmla="*/ 1225 h 1875"/>
              <a:gd name="T60" fmla="*/ 1725 w 1976"/>
              <a:gd name="T61" fmla="*/ 1150 h 1875"/>
              <a:gd name="T62" fmla="*/ 1776 w 1976"/>
              <a:gd name="T63" fmla="*/ 1125 h 1875"/>
              <a:gd name="T64" fmla="*/ 1776 w 1976"/>
              <a:gd name="T65" fmla="*/ 1075 h 1875"/>
              <a:gd name="T66" fmla="*/ 1776 w 1976"/>
              <a:gd name="T67" fmla="*/ 1001 h 1875"/>
              <a:gd name="T68" fmla="*/ 1776 w 1976"/>
              <a:gd name="T69" fmla="*/ 950 h 1875"/>
              <a:gd name="T70" fmla="*/ 1776 w 1976"/>
              <a:gd name="T71" fmla="*/ 850 h 1875"/>
              <a:gd name="T72" fmla="*/ 1725 w 1976"/>
              <a:gd name="T73" fmla="*/ 775 h 1875"/>
              <a:gd name="T74" fmla="*/ 1751 w 1976"/>
              <a:gd name="T75" fmla="*/ 750 h 1875"/>
              <a:gd name="T76" fmla="*/ 1751 w 1976"/>
              <a:gd name="T77" fmla="*/ 725 h 1875"/>
              <a:gd name="T78" fmla="*/ 1700 w 1976"/>
              <a:gd name="T79" fmla="*/ 550 h 1875"/>
              <a:gd name="T80" fmla="*/ 1625 w 1976"/>
              <a:gd name="T81" fmla="*/ 500 h 1875"/>
              <a:gd name="T82" fmla="*/ 1576 w 1976"/>
              <a:gd name="T83" fmla="*/ 425 h 1875"/>
              <a:gd name="T84" fmla="*/ 1551 w 1976"/>
              <a:gd name="T85" fmla="*/ 325 h 1875"/>
              <a:gd name="T86" fmla="*/ 1600 w 1976"/>
              <a:gd name="T87" fmla="*/ 275 h 1875"/>
              <a:gd name="T88" fmla="*/ 1625 w 1976"/>
              <a:gd name="T89" fmla="*/ 175 h 1875"/>
              <a:gd name="T90" fmla="*/ 1651 w 1976"/>
              <a:gd name="T91" fmla="*/ 25 h 1875"/>
              <a:gd name="T92" fmla="*/ 1551 w 1976"/>
              <a:gd name="T93" fmla="*/ 0 h 1875"/>
              <a:gd name="T94" fmla="*/ 1451 w 1976"/>
              <a:gd name="T95" fmla="*/ 25 h 1875"/>
              <a:gd name="T96" fmla="*/ 1325 w 1976"/>
              <a:gd name="T97" fmla="*/ 50 h 1875"/>
              <a:gd name="T98" fmla="*/ 975 w 1976"/>
              <a:gd name="T99" fmla="*/ 75 h 1875"/>
              <a:gd name="T100" fmla="*/ 825 w 1976"/>
              <a:gd name="T101" fmla="*/ 150 h 1875"/>
              <a:gd name="T102" fmla="*/ 675 w 1976"/>
              <a:gd name="T103" fmla="*/ 225 h 1875"/>
              <a:gd name="T104" fmla="*/ 650 w 1976"/>
              <a:gd name="T105" fmla="*/ 225 h 1875"/>
              <a:gd name="T106" fmla="*/ 650 w 1976"/>
              <a:gd name="T107" fmla="*/ 275 h 1875"/>
              <a:gd name="T108" fmla="*/ 675 w 1976"/>
              <a:gd name="T109" fmla="*/ 375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6" h="1875">
                <a:moveTo>
                  <a:pt x="675" y="375"/>
                </a:moveTo>
                <a:lnTo>
                  <a:pt x="675" y="375"/>
                </a:lnTo>
                <a:cubicBezTo>
                  <a:pt x="675" y="400"/>
                  <a:pt x="675" y="450"/>
                  <a:pt x="700" y="450"/>
                </a:cubicBezTo>
                <a:cubicBezTo>
                  <a:pt x="700" y="450"/>
                  <a:pt x="725" y="500"/>
                  <a:pt x="725" y="525"/>
                </a:cubicBezTo>
                <a:cubicBezTo>
                  <a:pt x="725" y="525"/>
                  <a:pt x="725" y="550"/>
                  <a:pt x="700" y="550"/>
                </a:cubicBezTo>
                <a:lnTo>
                  <a:pt x="575" y="550"/>
                </a:lnTo>
                <a:cubicBezTo>
                  <a:pt x="575" y="575"/>
                  <a:pt x="551" y="600"/>
                  <a:pt x="525" y="600"/>
                </a:cubicBezTo>
                <a:cubicBezTo>
                  <a:pt x="475" y="600"/>
                  <a:pt x="475" y="575"/>
                  <a:pt x="475" y="625"/>
                </a:cubicBezTo>
                <a:cubicBezTo>
                  <a:pt x="475" y="650"/>
                  <a:pt x="500" y="675"/>
                  <a:pt x="475" y="675"/>
                </a:cubicBezTo>
                <a:cubicBezTo>
                  <a:pt x="450" y="675"/>
                  <a:pt x="450" y="701"/>
                  <a:pt x="425" y="701"/>
                </a:cubicBezTo>
                <a:cubicBezTo>
                  <a:pt x="400" y="701"/>
                  <a:pt x="350" y="701"/>
                  <a:pt x="350" y="725"/>
                </a:cubicBezTo>
                <a:cubicBezTo>
                  <a:pt x="350" y="750"/>
                  <a:pt x="350" y="775"/>
                  <a:pt x="300" y="775"/>
                </a:cubicBezTo>
                <a:cubicBezTo>
                  <a:pt x="275" y="775"/>
                  <a:pt x="225" y="775"/>
                  <a:pt x="225" y="801"/>
                </a:cubicBezTo>
                <a:cubicBezTo>
                  <a:pt x="225" y="825"/>
                  <a:pt x="175" y="801"/>
                  <a:pt x="175" y="825"/>
                </a:cubicBezTo>
                <a:cubicBezTo>
                  <a:pt x="150" y="825"/>
                  <a:pt x="25" y="901"/>
                  <a:pt x="25" y="925"/>
                </a:cubicBezTo>
                <a:cubicBezTo>
                  <a:pt x="0" y="925"/>
                  <a:pt x="25" y="975"/>
                  <a:pt x="25" y="1050"/>
                </a:cubicBezTo>
                <a:lnTo>
                  <a:pt x="25" y="1050"/>
                </a:lnTo>
                <a:cubicBezTo>
                  <a:pt x="75" y="1075"/>
                  <a:pt x="925" y="1649"/>
                  <a:pt x="951" y="1674"/>
                </a:cubicBezTo>
                <a:cubicBezTo>
                  <a:pt x="975" y="1700"/>
                  <a:pt x="1000" y="1749"/>
                  <a:pt x="1000" y="1749"/>
                </a:cubicBezTo>
                <a:cubicBezTo>
                  <a:pt x="1000" y="1749"/>
                  <a:pt x="1075" y="1749"/>
                  <a:pt x="1100" y="1774"/>
                </a:cubicBezTo>
                <a:cubicBezTo>
                  <a:pt x="1151" y="1824"/>
                  <a:pt x="1151" y="1874"/>
                  <a:pt x="1151" y="1874"/>
                </a:cubicBezTo>
                <a:cubicBezTo>
                  <a:pt x="1151" y="1874"/>
                  <a:pt x="1225" y="1874"/>
                  <a:pt x="1251" y="1874"/>
                </a:cubicBezTo>
                <a:cubicBezTo>
                  <a:pt x="1275" y="1849"/>
                  <a:pt x="1400" y="1824"/>
                  <a:pt x="1400" y="1824"/>
                </a:cubicBezTo>
                <a:cubicBezTo>
                  <a:pt x="1576" y="1674"/>
                  <a:pt x="1576" y="1674"/>
                  <a:pt x="1576" y="1674"/>
                </a:cubicBezTo>
                <a:cubicBezTo>
                  <a:pt x="1975" y="1424"/>
                  <a:pt x="1975" y="1424"/>
                  <a:pt x="1975" y="1424"/>
                </a:cubicBezTo>
                <a:lnTo>
                  <a:pt x="1975" y="1424"/>
                </a:lnTo>
                <a:cubicBezTo>
                  <a:pt x="1950" y="1374"/>
                  <a:pt x="1950" y="1349"/>
                  <a:pt x="1924" y="1349"/>
                </a:cubicBezTo>
                <a:cubicBezTo>
                  <a:pt x="1899" y="1349"/>
                  <a:pt x="1876" y="1324"/>
                  <a:pt x="1851" y="1324"/>
                </a:cubicBezTo>
                <a:cubicBezTo>
                  <a:pt x="1825" y="1324"/>
                  <a:pt x="1800" y="1324"/>
                  <a:pt x="1800" y="1299"/>
                </a:cubicBezTo>
                <a:cubicBezTo>
                  <a:pt x="1776" y="1274"/>
                  <a:pt x="1800" y="1250"/>
                  <a:pt x="1776" y="1225"/>
                </a:cubicBezTo>
                <a:cubicBezTo>
                  <a:pt x="1751" y="1175"/>
                  <a:pt x="1725" y="1175"/>
                  <a:pt x="1725" y="1150"/>
                </a:cubicBezTo>
                <a:lnTo>
                  <a:pt x="1776" y="1125"/>
                </a:lnTo>
                <a:cubicBezTo>
                  <a:pt x="1776" y="1101"/>
                  <a:pt x="1776" y="1075"/>
                  <a:pt x="1776" y="1075"/>
                </a:cubicBezTo>
                <a:cubicBezTo>
                  <a:pt x="1776" y="1050"/>
                  <a:pt x="1751" y="1025"/>
                  <a:pt x="1776" y="1001"/>
                </a:cubicBezTo>
                <a:cubicBezTo>
                  <a:pt x="1776" y="1001"/>
                  <a:pt x="1776" y="975"/>
                  <a:pt x="1776" y="950"/>
                </a:cubicBezTo>
                <a:cubicBezTo>
                  <a:pt x="1751" y="925"/>
                  <a:pt x="1800" y="901"/>
                  <a:pt x="1776" y="850"/>
                </a:cubicBezTo>
                <a:cubicBezTo>
                  <a:pt x="1751" y="801"/>
                  <a:pt x="1725" y="775"/>
                  <a:pt x="1725" y="775"/>
                </a:cubicBezTo>
                <a:cubicBezTo>
                  <a:pt x="1725" y="750"/>
                  <a:pt x="1751" y="750"/>
                  <a:pt x="1751" y="750"/>
                </a:cubicBezTo>
                <a:cubicBezTo>
                  <a:pt x="1751" y="725"/>
                  <a:pt x="1751" y="725"/>
                  <a:pt x="1751" y="725"/>
                </a:cubicBezTo>
                <a:cubicBezTo>
                  <a:pt x="1751" y="675"/>
                  <a:pt x="1725" y="575"/>
                  <a:pt x="1700" y="550"/>
                </a:cubicBezTo>
                <a:cubicBezTo>
                  <a:pt x="1676" y="525"/>
                  <a:pt x="1625" y="525"/>
                  <a:pt x="1625" y="500"/>
                </a:cubicBezTo>
                <a:cubicBezTo>
                  <a:pt x="1625" y="475"/>
                  <a:pt x="1625" y="450"/>
                  <a:pt x="1576" y="425"/>
                </a:cubicBezTo>
                <a:cubicBezTo>
                  <a:pt x="1551" y="425"/>
                  <a:pt x="1525" y="325"/>
                  <a:pt x="1551" y="325"/>
                </a:cubicBezTo>
                <a:cubicBezTo>
                  <a:pt x="1576" y="325"/>
                  <a:pt x="1576" y="275"/>
                  <a:pt x="1600" y="275"/>
                </a:cubicBezTo>
                <a:cubicBezTo>
                  <a:pt x="1625" y="275"/>
                  <a:pt x="1651" y="200"/>
                  <a:pt x="1625" y="175"/>
                </a:cubicBezTo>
                <a:cubicBezTo>
                  <a:pt x="1625" y="150"/>
                  <a:pt x="1625" y="75"/>
                  <a:pt x="1651" y="25"/>
                </a:cubicBezTo>
                <a:cubicBezTo>
                  <a:pt x="1600" y="25"/>
                  <a:pt x="1551" y="25"/>
                  <a:pt x="1551" y="0"/>
                </a:cubicBezTo>
                <a:cubicBezTo>
                  <a:pt x="1525" y="0"/>
                  <a:pt x="1476" y="25"/>
                  <a:pt x="1451" y="25"/>
                </a:cubicBezTo>
                <a:cubicBezTo>
                  <a:pt x="1425" y="25"/>
                  <a:pt x="1351" y="75"/>
                  <a:pt x="1325" y="50"/>
                </a:cubicBezTo>
                <a:cubicBezTo>
                  <a:pt x="1300" y="25"/>
                  <a:pt x="1051" y="75"/>
                  <a:pt x="975" y="75"/>
                </a:cubicBezTo>
                <a:cubicBezTo>
                  <a:pt x="900" y="75"/>
                  <a:pt x="875" y="150"/>
                  <a:pt x="825" y="150"/>
                </a:cubicBezTo>
                <a:cubicBezTo>
                  <a:pt x="775" y="150"/>
                  <a:pt x="725" y="175"/>
                  <a:pt x="675" y="225"/>
                </a:cubicBezTo>
                <a:lnTo>
                  <a:pt x="650" y="225"/>
                </a:lnTo>
                <a:cubicBezTo>
                  <a:pt x="650" y="250"/>
                  <a:pt x="650" y="250"/>
                  <a:pt x="650" y="275"/>
                </a:cubicBezTo>
                <a:cubicBezTo>
                  <a:pt x="675" y="300"/>
                  <a:pt x="675" y="325"/>
                  <a:pt x="675" y="375"/>
                </a:cubicBezTo>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65" name="Freeform 13">
            <a:extLst>
              <a:ext uri="{FF2B5EF4-FFF2-40B4-BE49-F238E27FC236}">
                <a16:creationId xmlns:a16="http://schemas.microsoft.com/office/drawing/2014/main" id="{1DD323AF-DB2E-0040-AA65-D0FDC17F354F}"/>
              </a:ext>
            </a:extLst>
          </p:cNvPr>
          <p:cNvSpPr>
            <a:spLocks noChangeArrowheads="1"/>
          </p:cNvSpPr>
          <p:nvPr/>
        </p:nvSpPr>
        <p:spPr bwMode="auto">
          <a:xfrm>
            <a:off x="5502567" y="3656478"/>
            <a:ext cx="629996" cy="597652"/>
          </a:xfrm>
          <a:custGeom>
            <a:avLst/>
            <a:gdLst>
              <a:gd name="T0" fmla="*/ 675 w 1976"/>
              <a:gd name="T1" fmla="*/ 375 h 1875"/>
              <a:gd name="T2" fmla="*/ 675 w 1976"/>
              <a:gd name="T3" fmla="*/ 375 h 1875"/>
              <a:gd name="T4" fmla="*/ 700 w 1976"/>
              <a:gd name="T5" fmla="*/ 450 h 1875"/>
              <a:gd name="T6" fmla="*/ 725 w 1976"/>
              <a:gd name="T7" fmla="*/ 525 h 1875"/>
              <a:gd name="T8" fmla="*/ 700 w 1976"/>
              <a:gd name="T9" fmla="*/ 550 h 1875"/>
              <a:gd name="T10" fmla="*/ 575 w 1976"/>
              <a:gd name="T11" fmla="*/ 550 h 1875"/>
              <a:gd name="T12" fmla="*/ 525 w 1976"/>
              <a:gd name="T13" fmla="*/ 600 h 1875"/>
              <a:gd name="T14" fmla="*/ 475 w 1976"/>
              <a:gd name="T15" fmla="*/ 625 h 1875"/>
              <a:gd name="T16" fmla="*/ 475 w 1976"/>
              <a:gd name="T17" fmla="*/ 675 h 1875"/>
              <a:gd name="T18" fmla="*/ 425 w 1976"/>
              <a:gd name="T19" fmla="*/ 701 h 1875"/>
              <a:gd name="T20" fmla="*/ 350 w 1976"/>
              <a:gd name="T21" fmla="*/ 725 h 1875"/>
              <a:gd name="T22" fmla="*/ 300 w 1976"/>
              <a:gd name="T23" fmla="*/ 775 h 1875"/>
              <a:gd name="T24" fmla="*/ 225 w 1976"/>
              <a:gd name="T25" fmla="*/ 801 h 1875"/>
              <a:gd name="T26" fmla="*/ 175 w 1976"/>
              <a:gd name="T27" fmla="*/ 825 h 1875"/>
              <a:gd name="T28" fmla="*/ 25 w 1976"/>
              <a:gd name="T29" fmla="*/ 925 h 1875"/>
              <a:gd name="T30" fmla="*/ 25 w 1976"/>
              <a:gd name="T31" fmla="*/ 1050 h 1875"/>
              <a:gd name="T32" fmla="*/ 25 w 1976"/>
              <a:gd name="T33" fmla="*/ 1050 h 1875"/>
              <a:gd name="T34" fmla="*/ 951 w 1976"/>
              <a:gd name="T35" fmla="*/ 1674 h 1875"/>
              <a:gd name="T36" fmla="*/ 1000 w 1976"/>
              <a:gd name="T37" fmla="*/ 1749 h 1875"/>
              <a:gd name="T38" fmla="*/ 1100 w 1976"/>
              <a:gd name="T39" fmla="*/ 1774 h 1875"/>
              <a:gd name="T40" fmla="*/ 1151 w 1976"/>
              <a:gd name="T41" fmla="*/ 1874 h 1875"/>
              <a:gd name="T42" fmla="*/ 1251 w 1976"/>
              <a:gd name="T43" fmla="*/ 1874 h 1875"/>
              <a:gd name="T44" fmla="*/ 1400 w 1976"/>
              <a:gd name="T45" fmla="*/ 1824 h 1875"/>
              <a:gd name="T46" fmla="*/ 1576 w 1976"/>
              <a:gd name="T47" fmla="*/ 1674 h 1875"/>
              <a:gd name="T48" fmla="*/ 1975 w 1976"/>
              <a:gd name="T49" fmla="*/ 1424 h 1875"/>
              <a:gd name="T50" fmla="*/ 1975 w 1976"/>
              <a:gd name="T51" fmla="*/ 1424 h 1875"/>
              <a:gd name="T52" fmla="*/ 1924 w 1976"/>
              <a:gd name="T53" fmla="*/ 1349 h 1875"/>
              <a:gd name="T54" fmla="*/ 1851 w 1976"/>
              <a:gd name="T55" fmla="*/ 1324 h 1875"/>
              <a:gd name="T56" fmla="*/ 1800 w 1976"/>
              <a:gd name="T57" fmla="*/ 1299 h 1875"/>
              <a:gd name="T58" fmla="*/ 1776 w 1976"/>
              <a:gd name="T59" fmla="*/ 1225 h 1875"/>
              <a:gd name="T60" fmla="*/ 1725 w 1976"/>
              <a:gd name="T61" fmla="*/ 1150 h 1875"/>
              <a:gd name="T62" fmla="*/ 1776 w 1976"/>
              <a:gd name="T63" fmla="*/ 1125 h 1875"/>
              <a:gd name="T64" fmla="*/ 1776 w 1976"/>
              <a:gd name="T65" fmla="*/ 1075 h 1875"/>
              <a:gd name="T66" fmla="*/ 1776 w 1976"/>
              <a:gd name="T67" fmla="*/ 1001 h 1875"/>
              <a:gd name="T68" fmla="*/ 1776 w 1976"/>
              <a:gd name="T69" fmla="*/ 950 h 1875"/>
              <a:gd name="T70" fmla="*/ 1776 w 1976"/>
              <a:gd name="T71" fmla="*/ 850 h 1875"/>
              <a:gd name="T72" fmla="*/ 1725 w 1976"/>
              <a:gd name="T73" fmla="*/ 775 h 1875"/>
              <a:gd name="T74" fmla="*/ 1751 w 1976"/>
              <a:gd name="T75" fmla="*/ 750 h 1875"/>
              <a:gd name="T76" fmla="*/ 1751 w 1976"/>
              <a:gd name="T77" fmla="*/ 725 h 1875"/>
              <a:gd name="T78" fmla="*/ 1700 w 1976"/>
              <a:gd name="T79" fmla="*/ 550 h 1875"/>
              <a:gd name="T80" fmla="*/ 1625 w 1976"/>
              <a:gd name="T81" fmla="*/ 500 h 1875"/>
              <a:gd name="T82" fmla="*/ 1576 w 1976"/>
              <a:gd name="T83" fmla="*/ 425 h 1875"/>
              <a:gd name="T84" fmla="*/ 1551 w 1976"/>
              <a:gd name="T85" fmla="*/ 325 h 1875"/>
              <a:gd name="T86" fmla="*/ 1600 w 1976"/>
              <a:gd name="T87" fmla="*/ 275 h 1875"/>
              <a:gd name="T88" fmla="*/ 1625 w 1976"/>
              <a:gd name="T89" fmla="*/ 175 h 1875"/>
              <a:gd name="T90" fmla="*/ 1651 w 1976"/>
              <a:gd name="T91" fmla="*/ 25 h 1875"/>
              <a:gd name="T92" fmla="*/ 1551 w 1976"/>
              <a:gd name="T93" fmla="*/ 0 h 1875"/>
              <a:gd name="T94" fmla="*/ 1451 w 1976"/>
              <a:gd name="T95" fmla="*/ 25 h 1875"/>
              <a:gd name="T96" fmla="*/ 1325 w 1976"/>
              <a:gd name="T97" fmla="*/ 50 h 1875"/>
              <a:gd name="T98" fmla="*/ 975 w 1976"/>
              <a:gd name="T99" fmla="*/ 75 h 1875"/>
              <a:gd name="T100" fmla="*/ 825 w 1976"/>
              <a:gd name="T101" fmla="*/ 150 h 1875"/>
              <a:gd name="T102" fmla="*/ 675 w 1976"/>
              <a:gd name="T103" fmla="*/ 225 h 1875"/>
              <a:gd name="T104" fmla="*/ 650 w 1976"/>
              <a:gd name="T105" fmla="*/ 225 h 1875"/>
              <a:gd name="T106" fmla="*/ 650 w 1976"/>
              <a:gd name="T107" fmla="*/ 275 h 1875"/>
              <a:gd name="T108" fmla="*/ 675 w 1976"/>
              <a:gd name="T109" fmla="*/ 375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6" h="1875">
                <a:moveTo>
                  <a:pt x="675" y="375"/>
                </a:moveTo>
                <a:lnTo>
                  <a:pt x="675" y="375"/>
                </a:lnTo>
                <a:cubicBezTo>
                  <a:pt x="675" y="400"/>
                  <a:pt x="675" y="450"/>
                  <a:pt x="700" y="450"/>
                </a:cubicBezTo>
                <a:cubicBezTo>
                  <a:pt x="700" y="450"/>
                  <a:pt x="725" y="500"/>
                  <a:pt x="725" y="525"/>
                </a:cubicBezTo>
                <a:cubicBezTo>
                  <a:pt x="725" y="525"/>
                  <a:pt x="725" y="550"/>
                  <a:pt x="700" y="550"/>
                </a:cubicBezTo>
                <a:lnTo>
                  <a:pt x="575" y="550"/>
                </a:lnTo>
                <a:cubicBezTo>
                  <a:pt x="575" y="575"/>
                  <a:pt x="551" y="600"/>
                  <a:pt x="525" y="600"/>
                </a:cubicBezTo>
                <a:cubicBezTo>
                  <a:pt x="475" y="600"/>
                  <a:pt x="475" y="575"/>
                  <a:pt x="475" y="625"/>
                </a:cubicBezTo>
                <a:cubicBezTo>
                  <a:pt x="475" y="650"/>
                  <a:pt x="500" y="675"/>
                  <a:pt x="475" y="675"/>
                </a:cubicBezTo>
                <a:cubicBezTo>
                  <a:pt x="450" y="675"/>
                  <a:pt x="450" y="701"/>
                  <a:pt x="425" y="701"/>
                </a:cubicBezTo>
                <a:cubicBezTo>
                  <a:pt x="400" y="701"/>
                  <a:pt x="350" y="701"/>
                  <a:pt x="350" y="725"/>
                </a:cubicBezTo>
                <a:cubicBezTo>
                  <a:pt x="350" y="750"/>
                  <a:pt x="350" y="775"/>
                  <a:pt x="300" y="775"/>
                </a:cubicBezTo>
                <a:cubicBezTo>
                  <a:pt x="275" y="775"/>
                  <a:pt x="225" y="775"/>
                  <a:pt x="225" y="801"/>
                </a:cubicBezTo>
                <a:cubicBezTo>
                  <a:pt x="225" y="825"/>
                  <a:pt x="175" y="801"/>
                  <a:pt x="175" y="825"/>
                </a:cubicBezTo>
                <a:cubicBezTo>
                  <a:pt x="150" y="825"/>
                  <a:pt x="25" y="901"/>
                  <a:pt x="25" y="925"/>
                </a:cubicBezTo>
                <a:cubicBezTo>
                  <a:pt x="0" y="925"/>
                  <a:pt x="25" y="975"/>
                  <a:pt x="25" y="1050"/>
                </a:cubicBezTo>
                <a:lnTo>
                  <a:pt x="25" y="1050"/>
                </a:lnTo>
                <a:cubicBezTo>
                  <a:pt x="75" y="1075"/>
                  <a:pt x="925" y="1649"/>
                  <a:pt x="951" y="1674"/>
                </a:cubicBezTo>
                <a:cubicBezTo>
                  <a:pt x="975" y="1700"/>
                  <a:pt x="1000" y="1749"/>
                  <a:pt x="1000" y="1749"/>
                </a:cubicBezTo>
                <a:cubicBezTo>
                  <a:pt x="1000" y="1749"/>
                  <a:pt x="1075" y="1749"/>
                  <a:pt x="1100" y="1774"/>
                </a:cubicBezTo>
                <a:cubicBezTo>
                  <a:pt x="1151" y="1824"/>
                  <a:pt x="1151" y="1874"/>
                  <a:pt x="1151" y="1874"/>
                </a:cubicBezTo>
                <a:cubicBezTo>
                  <a:pt x="1151" y="1874"/>
                  <a:pt x="1225" y="1874"/>
                  <a:pt x="1251" y="1874"/>
                </a:cubicBezTo>
                <a:cubicBezTo>
                  <a:pt x="1275" y="1849"/>
                  <a:pt x="1400" y="1824"/>
                  <a:pt x="1400" y="1824"/>
                </a:cubicBezTo>
                <a:cubicBezTo>
                  <a:pt x="1576" y="1674"/>
                  <a:pt x="1576" y="1674"/>
                  <a:pt x="1576" y="1674"/>
                </a:cubicBezTo>
                <a:cubicBezTo>
                  <a:pt x="1975" y="1424"/>
                  <a:pt x="1975" y="1424"/>
                  <a:pt x="1975" y="1424"/>
                </a:cubicBezTo>
                <a:lnTo>
                  <a:pt x="1975" y="1424"/>
                </a:lnTo>
                <a:cubicBezTo>
                  <a:pt x="1950" y="1374"/>
                  <a:pt x="1950" y="1349"/>
                  <a:pt x="1924" y="1349"/>
                </a:cubicBezTo>
                <a:cubicBezTo>
                  <a:pt x="1899" y="1349"/>
                  <a:pt x="1876" y="1324"/>
                  <a:pt x="1851" y="1324"/>
                </a:cubicBezTo>
                <a:cubicBezTo>
                  <a:pt x="1825" y="1324"/>
                  <a:pt x="1800" y="1324"/>
                  <a:pt x="1800" y="1299"/>
                </a:cubicBezTo>
                <a:cubicBezTo>
                  <a:pt x="1776" y="1274"/>
                  <a:pt x="1800" y="1250"/>
                  <a:pt x="1776" y="1225"/>
                </a:cubicBezTo>
                <a:cubicBezTo>
                  <a:pt x="1751" y="1175"/>
                  <a:pt x="1725" y="1175"/>
                  <a:pt x="1725" y="1150"/>
                </a:cubicBezTo>
                <a:lnTo>
                  <a:pt x="1776" y="1125"/>
                </a:lnTo>
                <a:cubicBezTo>
                  <a:pt x="1776" y="1101"/>
                  <a:pt x="1776" y="1075"/>
                  <a:pt x="1776" y="1075"/>
                </a:cubicBezTo>
                <a:cubicBezTo>
                  <a:pt x="1776" y="1050"/>
                  <a:pt x="1751" y="1025"/>
                  <a:pt x="1776" y="1001"/>
                </a:cubicBezTo>
                <a:cubicBezTo>
                  <a:pt x="1776" y="1001"/>
                  <a:pt x="1776" y="975"/>
                  <a:pt x="1776" y="950"/>
                </a:cubicBezTo>
                <a:cubicBezTo>
                  <a:pt x="1751" y="925"/>
                  <a:pt x="1800" y="901"/>
                  <a:pt x="1776" y="850"/>
                </a:cubicBezTo>
                <a:cubicBezTo>
                  <a:pt x="1751" y="801"/>
                  <a:pt x="1725" y="775"/>
                  <a:pt x="1725" y="775"/>
                </a:cubicBezTo>
                <a:cubicBezTo>
                  <a:pt x="1725" y="750"/>
                  <a:pt x="1751" y="750"/>
                  <a:pt x="1751" y="750"/>
                </a:cubicBezTo>
                <a:cubicBezTo>
                  <a:pt x="1751" y="725"/>
                  <a:pt x="1751" y="725"/>
                  <a:pt x="1751" y="725"/>
                </a:cubicBezTo>
                <a:cubicBezTo>
                  <a:pt x="1751" y="675"/>
                  <a:pt x="1725" y="575"/>
                  <a:pt x="1700" y="550"/>
                </a:cubicBezTo>
                <a:cubicBezTo>
                  <a:pt x="1676" y="525"/>
                  <a:pt x="1625" y="525"/>
                  <a:pt x="1625" y="500"/>
                </a:cubicBezTo>
                <a:cubicBezTo>
                  <a:pt x="1625" y="475"/>
                  <a:pt x="1625" y="450"/>
                  <a:pt x="1576" y="425"/>
                </a:cubicBezTo>
                <a:cubicBezTo>
                  <a:pt x="1551" y="425"/>
                  <a:pt x="1525" y="325"/>
                  <a:pt x="1551" y="325"/>
                </a:cubicBezTo>
                <a:cubicBezTo>
                  <a:pt x="1576" y="325"/>
                  <a:pt x="1576" y="275"/>
                  <a:pt x="1600" y="275"/>
                </a:cubicBezTo>
                <a:cubicBezTo>
                  <a:pt x="1625" y="275"/>
                  <a:pt x="1651" y="200"/>
                  <a:pt x="1625" y="175"/>
                </a:cubicBezTo>
                <a:cubicBezTo>
                  <a:pt x="1625" y="150"/>
                  <a:pt x="1625" y="75"/>
                  <a:pt x="1651" y="25"/>
                </a:cubicBezTo>
                <a:cubicBezTo>
                  <a:pt x="1600" y="25"/>
                  <a:pt x="1551" y="25"/>
                  <a:pt x="1551" y="0"/>
                </a:cubicBezTo>
                <a:cubicBezTo>
                  <a:pt x="1525" y="0"/>
                  <a:pt x="1476" y="25"/>
                  <a:pt x="1451" y="25"/>
                </a:cubicBezTo>
                <a:cubicBezTo>
                  <a:pt x="1425" y="25"/>
                  <a:pt x="1351" y="75"/>
                  <a:pt x="1325" y="50"/>
                </a:cubicBezTo>
                <a:cubicBezTo>
                  <a:pt x="1300" y="25"/>
                  <a:pt x="1051" y="75"/>
                  <a:pt x="975" y="75"/>
                </a:cubicBezTo>
                <a:cubicBezTo>
                  <a:pt x="900" y="75"/>
                  <a:pt x="875" y="150"/>
                  <a:pt x="825" y="150"/>
                </a:cubicBezTo>
                <a:cubicBezTo>
                  <a:pt x="775" y="150"/>
                  <a:pt x="725" y="175"/>
                  <a:pt x="675" y="225"/>
                </a:cubicBezTo>
                <a:lnTo>
                  <a:pt x="650" y="225"/>
                </a:lnTo>
                <a:cubicBezTo>
                  <a:pt x="650" y="250"/>
                  <a:pt x="650" y="250"/>
                  <a:pt x="650" y="275"/>
                </a:cubicBezTo>
                <a:cubicBezTo>
                  <a:pt x="675" y="300"/>
                  <a:pt x="675" y="325"/>
                  <a:pt x="675" y="375"/>
                </a:cubicBezTo>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76" name="Freeform: Shape 72">
            <a:extLst>
              <a:ext uri="{FF2B5EF4-FFF2-40B4-BE49-F238E27FC236}">
                <a16:creationId xmlns:a16="http://schemas.microsoft.com/office/drawing/2014/main" id="{53BF9172-7640-4DB4-B301-73B21938A349}"/>
              </a:ext>
            </a:extLst>
          </p:cNvPr>
          <p:cNvSpPr/>
          <p:nvPr/>
        </p:nvSpPr>
        <p:spPr>
          <a:xfrm flipH="1" flipV="1">
            <a:off x="5941316" y="3768977"/>
            <a:ext cx="2093953" cy="1082665"/>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34" name="Freeform: Shape 72">
            <a:extLst>
              <a:ext uri="{FF2B5EF4-FFF2-40B4-BE49-F238E27FC236}">
                <a16:creationId xmlns:a16="http://schemas.microsoft.com/office/drawing/2014/main" id="{C6E510D8-C837-B94A-92A4-0E3DB74FCC38}"/>
              </a:ext>
            </a:extLst>
          </p:cNvPr>
          <p:cNvSpPr/>
          <p:nvPr/>
        </p:nvSpPr>
        <p:spPr>
          <a:xfrm flipV="1">
            <a:off x="749472" y="3588350"/>
            <a:ext cx="4899888" cy="1152340"/>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97" name="Freeform 174">
            <a:extLst>
              <a:ext uri="{FF2B5EF4-FFF2-40B4-BE49-F238E27FC236}">
                <a16:creationId xmlns:a16="http://schemas.microsoft.com/office/drawing/2014/main" id="{F34971F4-AA89-4935-A411-957076BD8176}"/>
              </a:ext>
            </a:extLst>
          </p:cNvPr>
          <p:cNvSpPr>
            <a:spLocks noChangeArrowheads="1"/>
          </p:cNvSpPr>
          <p:nvPr/>
        </p:nvSpPr>
        <p:spPr bwMode="auto">
          <a:xfrm>
            <a:off x="5966181" y="3295305"/>
            <a:ext cx="350155" cy="375467"/>
          </a:xfrm>
          <a:custGeom>
            <a:avLst/>
            <a:gdLst>
              <a:gd name="T0" fmla="*/ 748 w 1100"/>
              <a:gd name="T1" fmla="*/ 1025 h 1176"/>
              <a:gd name="T2" fmla="*/ 573 w 1100"/>
              <a:gd name="T3" fmla="*/ 1050 h 1176"/>
              <a:gd name="T4" fmla="*/ 773 w 1100"/>
              <a:gd name="T5" fmla="*/ 1175 h 1176"/>
              <a:gd name="T6" fmla="*/ 824 w 1100"/>
              <a:gd name="T7" fmla="*/ 1025 h 1176"/>
              <a:gd name="T8" fmla="*/ 225 w 1100"/>
              <a:gd name="T9" fmla="*/ 700 h 1176"/>
              <a:gd name="T10" fmla="*/ 149 w 1100"/>
              <a:gd name="T11" fmla="*/ 725 h 1176"/>
              <a:gd name="T12" fmla="*/ 225 w 1100"/>
              <a:gd name="T13" fmla="*/ 925 h 1176"/>
              <a:gd name="T14" fmla="*/ 300 w 1100"/>
              <a:gd name="T15" fmla="*/ 750 h 1176"/>
              <a:gd name="T16" fmla="*/ 899 w 1100"/>
              <a:gd name="T17" fmla="*/ 650 h 1176"/>
              <a:gd name="T18" fmla="*/ 824 w 1100"/>
              <a:gd name="T19" fmla="*/ 600 h 1176"/>
              <a:gd name="T20" fmla="*/ 548 w 1100"/>
              <a:gd name="T21" fmla="*/ 325 h 1176"/>
              <a:gd name="T22" fmla="*/ 599 w 1100"/>
              <a:gd name="T23" fmla="*/ 175 h 1176"/>
              <a:gd name="T24" fmla="*/ 548 w 1100"/>
              <a:gd name="T25" fmla="*/ 50 h 1176"/>
              <a:gd name="T26" fmla="*/ 473 w 1100"/>
              <a:gd name="T27" fmla="*/ 0 h 1176"/>
              <a:gd name="T28" fmla="*/ 400 w 1100"/>
              <a:gd name="T29" fmla="*/ 25 h 1176"/>
              <a:gd name="T30" fmla="*/ 349 w 1100"/>
              <a:gd name="T31" fmla="*/ 50 h 1176"/>
              <a:gd name="T32" fmla="*/ 300 w 1100"/>
              <a:gd name="T33" fmla="*/ 75 h 1176"/>
              <a:gd name="T34" fmla="*/ 225 w 1100"/>
              <a:gd name="T35" fmla="*/ 125 h 1176"/>
              <a:gd name="T36" fmla="*/ 125 w 1100"/>
              <a:gd name="T37" fmla="*/ 150 h 1176"/>
              <a:gd name="T38" fmla="*/ 49 w 1100"/>
              <a:gd name="T39" fmla="*/ 200 h 1176"/>
              <a:gd name="T40" fmla="*/ 25 w 1100"/>
              <a:gd name="T41" fmla="*/ 250 h 1176"/>
              <a:gd name="T42" fmla="*/ 74 w 1100"/>
              <a:gd name="T43" fmla="*/ 350 h 1176"/>
              <a:gd name="T44" fmla="*/ 100 w 1100"/>
              <a:gd name="T45" fmla="*/ 400 h 1176"/>
              <a:gd name="T46" fmla="*/ 225 w 1100"/>
              <a:gd name="T47" fmla="*/ 325 h 1176"/>
              <a:gd name="T48" fmla="*/ 374 w 1100"/>
              <a:gd name="T49" fmla="*/ 425 h 1176"/>
              <a:gd name="T50" fmla="*/ 599 w 1100"/>
              <a:gd name="T51" fmla="*/ 650 h 1176"/>
              <a:gd name="T52" fmla="*/ 773 w 1100"/>
              <a:gd name="T53" fmla="*/ 750 h 1176"/>
              <a:gd name="T54" fmla="*/ 873 w 1100"/>
              <a:gd name="T55" fmla="*/ 850 h 1176"/>
              <a:gd name="T56" fmla="*/ 873 w 1100"/>
              <a:gd name="T57" fmla="*/ 1025 h 1176"/>
              <a:gd name="T58" fmla="*/ 973 w 1100"/>
              <a:gd name="T59" fmla="*/ 900 h 1176"/>
              <a:gd name="T60" fmla="*/ 1024 w 1100"/>
              <a:gd name="T61" fmla="*/ 800 h 1176"/>
              <a:gd name="T62" fmla="*/ 899 w 1100"/>
              <a:gd name="T63" fmla="*/ 65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76">
                <a:moveTo>
                  <a:pt x="748" y="1025"/>
                </a:moveTo>
                <a:lnTo>
                  <a:pt x="748" y="1025"/>
                </a:lnTo>
                <a:cubicBezTo>
                  <a:pt x="698" y="1025"/>
                  <a:pt x="673" y="1025"/>
                  <a:pt x="648" y="1025"/>
                </a:cubicBezTo>
                <a:cubicBezTo>
                  <a:pt x="624" y="1000"/>
                  <a:pt x="548" y="1025"/>
                  <a:pt x="573" y="1050"/>
                </a:cubicBezTo>
                <a:cubicBezTo>
                  <a:pt x="573" y="1075"/>
                  <a:pt x="599" y="1100"/>
                  <a:pt x="673" y="1100"/>
                </a:cubicBezTo>
                <a:cubicBezTo>
                  <a:pt x="724" y="1125"/>
                  <a:pt x="748" y="1175"/>
                  <a:pt x="773" y="1175"/>
                </a:cubicBezTo>
                <a:cubicBezTo>
                  <a:pt x="799" y="1175"/>
                  <a:pt x="799" y="1150"/>
                  <a:pt x="799" y="1125"/>
                </a:cubicBezTo>
                <a:cubicBezTo>
                  <a:pt x="799" y="1075"/>
                  <a:pt x="824" y="1025"/>
                  <a:pt x="824" y="1025"/>
                </a:cubicBezTo>
                <a:cubicBezTo>
                  <a:pt x="848" y="1025"/>
                  <a:pt x="824" y="1000"/>
                  <a:pt x="748" y="1025"/>
                </a:cubicBezTo>
                <a:close/>
                <a:moveTo>
                  <a:pt x="225" y="700"/>
                </a:moveTo>
                <a:lnTo>
                  <a:pt x="225" y="700"/>
                </a:lnTo>
                <a:cubicBezTo>
                  <a:pt x="200" y="725"/>
                  <a:pt x="174" y="700"/>
                  <a:pt x="149" y="725"/>
                </a:cubicBezTo>
                <a:cubicBezTo>
                  <a:pt x="149" y="750"/>
                  <a:pt x="200" y="800"/>
                  <a:pt x="200" y="850"/>
                </a:cubicBezTo>
                <a:cubicBezTo>
                  <a:pt x="174" y="900"/>
                  <a:pt x="200" y="975"/>
                  <a:pt x="225" y="925"/>
                </a:cubicBezTo>
                <a:cubicBezTo>
                  <a:pt x="249" y="900"/>
                  <a:pt x="274" y="925"/>
                  <a:pt x="300" y="900"/>
                </a:cubicBezTo>
                <a:cubicBezTo>
                  <a:pt x="325" y="875"/>
                  <a:pt x="300" y="775"/>
                  <a:pt x="300" y="750"/>
                </a:cubicBezTo>
                <a:cubicBezTo>
                  <a:pt x="325" y="700"/>
                  <a:pt x="249" y="675"/>
                  <a:pt x="225" y="700"/>
                </a:cubicBezTo>
                <a:close/>
                <a:moveTo>
                  <a:pt x="899" y="650"/>
                </a:moveTo>
                <a:lnTo>
                  <a:pt x="899" y="650"/>
                </a:lnTo>
                <a:cubicBezTo>
                  <a:pt x="873" y="650"/>
                  <a:pt x="899" y="600"/>
                  <a:pt x="824" y="600"/>
                </a:cubicBezTo>
                <a:cubicBezTo>
                  <a:pt x="773" y="600"/>
                  <a:pt x="698" y="525"/>
                  <a:pt x="698" y="450"/>
                </a:cubicBezTo>
                <a:cubicBezTo>
                  <a:pt x="673" y="375"/>
                  <a:pt x="573" y="375"/>
                  <a:pt x="548" y="325"/>
                </a:cubicBezTo>
                <a:cubicBezTo>
                  <a:pt x="524" y="275"/>
                  <a:pt x="573" y="275"/>
                  <a:pt x="548" y="225"/>
                </a:cubicBezTo>
                <a:cubicBezTo>
                  <a:pt x="548" y="200"/>
                  <a:pt x="573" y="175"/>
                  <a:pt x="599" y="175"/>
                </a:cubicBezTo>
                <a:cubicBezTo>
                  <a:pt x="599" y="125"/>
                  <a:pt x="599" y="75"/>
                  <a:pt x="599" y="50"/>
                </a:cubicBezTo>
                <a:cubicBezTo>
                  <a:pt x="573" y="50"/>
                  <a:pt x="573" y="50"/>
                  <a:pt x="548" y="50"/>
                </a:cubicBezTo>
                <a:cubicBezTo>
                  <a:pt x="548" y="25"/>
                  <a:pt x="548" y="0"/>
                  <a:pt x="548" y="0"/>
                </a:cubicBezTo>
                <a:cubicBezTo>
                  <a:pt x="524" y="0"/>
                  <a:pt x="473" y="0"/>
                  <a:pt x="473" y="0"/>
                </a:cubicBezTo>
                <a:cubicBezTo>
                  <a:pt x="448" y="25"/>
                  <a:pt x="425" y="50"/>
                  <a:pt x="400" y="25"/>
                </a:cubicBezTo>
                <a:lnTo>
                  <a:pt x="400" y="25"/>
                </a:lnTo>
                <a:cubicBezTo>
                  <a:pt x="374" y="50"/>
                  <a:pt x="374" y="50"/>
                  <a:pt x="374" y="50"/>
                </a:cubicBezTo>
                <a:cubicBezTo>
                  <a:pt x="374" y="50"/>
                  <a:pt x="374" y="50"/>
                  <a:pt x="349" y="50"/>
                </a:cubicBezTo>
                <a:cubicBezTo>
                  <a:pt x="349" y="50"/>
                  <a:pt x="325" y="50"/>
                  <a:pt x="325" y="75"/>
                </a:cubicBezTo>
                <a:cubicBezTo>
                  <a:pt x="325" y="100"/>
                  <a:pt x="300" y="75"/>
                  <a:pt x="300" y="75"/>
                </a:cubicBezTo>
                <a:cubicBezTo>
                  <a:pt x="274" y="75"/>
                  <a:pt x="249" y="75"/>
                  <a:pt x="249" y="100"/>
                </a:cubicBezTo>
                <a:cubicBezTo>
                  <a:pt x="249" y="125"/>
                  <a:pt x="249" y="150"/>
                  <a:pt x="225" y="125"/>
                </a:cubicBezTo>
                <a:cubicBezTo>
                  <a:pt x="200" y="125"/>
                  <a:pt x="174" y="75"/>
                  <a:pt x="174" y="75"/>
                </a:cubicBezTo>
                <a:cubicBezTo>
                  <a:pt x="174" y="75"/>
                  <a:pt x="149" y="150"/>
                  <a:pt x="125" y="150"/>
                </a:cubicBezTo>
                <a:cubicBezTo>
                  <a:pt x="125" y="150"/>
                  <a:pt x="74" y="150"/>
                  <a:pt x="49" y="150"/>
                </a:cubicBezTo>
                <a:cubicBezTo>
                  <a:pt x="49" y="175"/>
                  <a:pt x="49" y="175"/>
                  <a:pt x="49" y="200"/>
                </a:cubicBezTo>
                <a:cubicBezTo>
                  <a:pt x="74" y="200"/>
                  <a:pt x="49" y="225"/>
                  <a:pt x="49" y="225"/>
                </a:cubicBezTo>
                <a:cubicBezTo>
                  <a:pt x="25" y="225"/>
                  <a:pt x="0" y="225"/>
                  <a:pt x="25" y="250"/>
                </a:cubicBezTo>
                <a:cubicBezTo>
                  <a:pt x="49" y="275"/>
                  <a:pt x="74" y="275"/>
                  <a:pt x="49" y="300"/>
                </a:cubicBezTo>
                <a:cubicBezTo>
                  <a:pt x="25" y="325"/>
                  <a:pt x="49" y="350"/>
                  <a:pt x="74" y="350"/>
                </a:cubicBezTo>
                <a:cubicBezTo>
                  <a:pt x="100" y="350"/>
                  <a:pt x="125" y="350"/>
                  <a:pt x="125" y="350"/>
                </a:cubicBezTo>
                <a:cubicBezTo>
                  <a:pt x="100" y="375"/>
                  <a:pt x="100" y="375"/>
                  <a:pt x="100" y="400"/>
                </a:cubicBezTo>
                <a:cubicBezTo>
                  <a:pt x="125" y="375"/>
                  <a:pt x="125" y="375"/>
                  <a:pt x="149" y="375"/>
                </a:cubicBezTo>
                <a:cubicBezTo>
                  <a:pt x="174" y="350"/>
                  <a:pt x="174" y="325"/>
                  <a:pt x="225" y="325"/>
                </a:cubicBezTo>
                <a:cubicBezTo>
                  <a:pt x="274" y="300"/>
                  <a:pt x="325" y="350"/>
                  <a:pt x="349" y="375"/>
                </a:cubicBezTo>
                <a:cubicBezTo>
                  <a:pt x="374" y="400"/>
                  <a:pt x="374" y="400"/>
                  <a:pt x="374" y="425"/>
                </a:cubicBezTo>
                <a:cubicBezTo>
                  <a:pt x="374" y="450"/>
                  <a:pt x="400" y="500"/>
                  <a:pt x="473" y="550"/>
                </a:cubicBezTo>
                <a:cubicBezTo>
                  <a:pt x="524" y="600"/>
                  <a:pt x="548" y="625"/>
                  <a:pt x="599" y="650"/>
                </a:cubicBezTo>
                <a:cubicBezTo>
                  <a:pt x="624" y="675"/>
                  <a:pt x="673" y="675"/>
                  <a:pt x="673" y="700"/>
                </a:cubicBezTo>
                <a:cubicBezTo>
                  <a:pt x="698" y="725"/>
                  <a:pt x="724" y="725"/>
                  <a:pt x="773" y="750"/>
                </a:cubicBezTo>
                <a:cubicBezTo>
                  <a:pt x="799" y="775"/>
                  <a:pt x="799" y="800"/>
                  <a:pt x="824" y="800"/>
                </a:cubicBezTo>
                <a:cubicBezTo>
                  <a:pt x="873" y="800"/>
                  <a:pt x="848" y="825"/>
                  <a:pt x="873" y="850"/>
                </a:cubicBezTo>
                <a:cubicBezTo>
                  <a:pt x="873" y="875"/>
                  <a:pt x="899" y="925"/>
                  <a:pt x="873" y="950"/>
                </a:cubicBezTo>
                <a:cubicBezTo>
                  <a:pt x="848" y="1000"/>
                  <a:pt x="848" y="1025"/>
                  <a:pt x="873" y="1025"/>
                </a:cubicBezTo>
                <a:cubicBezTo>
                  <a:pt x="873" y="1025"/>
                  <a:pt x="924" y="975"/>
                  <a:pt x="924" y="950"/>
                </a:cubicBezTo>
                <a:cubicBezTo>
                  <a:pt x="924" y="925"/>
                  <a:pt x="949" y="925"/>
                  <a:pt x="973" y="900"/>
                </a:cubicBezTo>
                <a:cubicBezTo>
                  <a:pt x="999" y="875"/>
                  <a:pt x="949" y="875"/>
                  <a:pt x="924" y="825"/>
                </a:cubicBezTo>
                <a:cubicBezTo>
                  <a:pt x="924" y="800"/>
                  <a:pt x="973" y="750"/>
                  <a:pt x="1024" y="800"/>
                </a:cubicBezTo>
                <a:cubicBezTo>
                  <a:pt x="1073" y="825"/>
                  <a:pt x="1099" y="850"/>
                  <a:pt x="1099" y="800"/>
                </a:cubicBezTo>
                <a:cubicBezTo>
                  <a:pt x="1099" y="750"/>
                  <a:pt x="949" y="675"/>
                  <a:pt x="899" y="650"/>
                </a:cubicBezTo>
                <a:close/>
              </a:path>
            </a:pathLst>
          </a:custGeom>
          <a:solidFill>
            <a:schemeClr val="accent3">
              <a:lumMod val="75000"/>
            </a:schemeClr>
          </a:solidFill>
          <a:ln w="317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327" name="Freeform 174">
            <a:extLst>
              <a:ext uri="{FF2B5EF4-FFF2-40B4-BE49-F238E27FC236}">
                <a16:creationId xmlns:a16="http://schemas.microsoft.com/office/drawing/2014/main" id="{85A1242E-9E18-3A4B-8576-7705F17A5E4B}"/>
              </a:ext>
            </a:extLst>
          </p:cNvPr>
          <p:cNvSpPr>
            <a:spLocks noChangeArrowheads="1"/>
          </p:cNvSpPr>
          <p:nvPr/>
        </p:nvSpPr>
        <p:spPr bwMode="auto">
          <a:xfrm>
            <a:off x="5965220" y="3297888"/>
            <a:ext cx="350155" cy="375467"/>
          </a:xfrm>
          <a:custGeom>
            <a:avLst/>
            <a:gdLst>
              <a:gd name="T0" fmla="*/ 748 w 1100"/>
              <a:gd name="T1" fmla="*/ 1025 h 1176"/>
              <a:gd name="T2" fmla="*/ 573 w 1100"/>
              <a:gd name="T3" fmla="*/ 1050 h 1176"/>
              <a:gd name="T4" fmla="*/ 773 w 1100"/>
              <a:gd name="T5" fmla="*/ 1175 h 1176"/>
              <a:gd name="T6" fmla="*/ 824 w 1100"/>
              <a:gd name="T7" fmla="*/ 1025 h 1176"/>
              <a:gd name="T8" fmla="*/ 225 w 1100"/>
              <a:gd name="T9" fmla="*/ 700 h 1176"/>
              <a:gd name="T10" fmla="*/ 149 w 1100"/>
              <a:gd name="T11" fmla="*/ 725 h 1176"/>
              <a:gd name="T12" fmla="*/ 225 w 1100"/>
              <a:gd name="T13" fmla="*/ 925 h 1176"/>
              <a:gd name="T14" fmla="*/ 300 w 1100"/>
              <a:gd name="T15" fmla="*/ 750 h 1176"/>
              <a:gd name="T16" fmla="*/ 899 w 1100"/>
              <a:gd name="T17" fmla="*/ 650 h 1176"/>
              <a:gd name="T18" fmla="*/ 824 w 1100"/>
              <a:gd name="T19" fmla="*/ 600 h 1176"/>
              <a:gd name="T20" fmla="*/ 548 w 1100"/>
              <a:gd name="T21" fmla="*/ 325 h 1176"/>
              <a:gd name="T22" fmla="*/ 599 w 1100"/>
              <a:gd name="T23" fmla="*/ 175 h 1176"/>
              <a:gd name="T24" fmla="*/ 548 w 1100"/>
              <a:gd name="T25" fmla="*/ 50 h 1176"/>
              <a:gd name="T26" fmla="*/ 473 w 1100"/>
              <a:gd name="T27" fmla="*/ 0 h 1176"/>
              <a:gd name="T28" fmla="*/ 400 w 1100"/>
              <a:gd name="T29" fmla="*/ 25 h 1176"/>
              <a:gd name="T30" fmla="*/ 349 w 1100"/>
              <a:gd name="T31" fmla="*/ 50 h 1176"/>
              <a:gd name="T32" fmla="*/ 300 w 1100"/>
              <a:gd name="T33" fmla="*/ 75 h 1176"/>
              <a:gd name="T34" fmla="*/ 225 w 1100"/>
              <a:gd name="T35" fmla="*/ 125 h 1176"/>
              <a:gd name="T36" fmla="*/ 125 w 1100"/>
              <a:gd name="T37" fmla="*/ 150 h 1176"/>
              <a:gd name="T38" fmla="*/ 49 w 1100"/>
              <a:gd name="T39" fmla="*/ 200 h 1176"/>
              <a:gd name="T40" fmla="*/ 25 w 1100"/>
              <a:gd name="T41" fmla="*/ 250 h 1176"/>
              <a:gd name="T42" fmla="*/ 74 w 1100"/>
              <a:gd name="T43" fmla="*/ 350 h 1176"/>
              <a:gd name="T44" fmla="*/ 100 w 1100"/>
              <a:gd name="T45" fmla="*/ 400 h 1176"/>
              <a:gd name="T46" fmla="*/ 225 w 1100"/>
              <a:gd name="T47" fmla="*/ 325 h 1176"/>
              <a:gd name="T48" fmla="*/ 374 w 1100"/>
              <a:gd name="T49" fmla="*/ 425 h 1176"/>
              <a:gd name="T50" fmla="*/ 599 w 1100"/>
              <a:gd name="T51" fmla="*/ 650 h 1176"/>
              <a:gd name="T52" fmla="*/ 773 w 1100"/>
              <a:gd name="T53" fmla="*/ 750 h 1176"/>
              <a:gd name="T54" fmla="*/ 873 w 1100"/>
              <a:gd name="T55" fmla="*/ 850 h 1176"/>
              <a:gd name="T56" fmla="*/ 873 w 1100"/>
              <a:gd name="T57" fmla="*/ 1025 h 1176"/>
              <a:gd name="T58" fmla="*/ 973 w 1100"/>
              <a:gd name="T59" fmla="*/ 900 h 1176"/>
              <a:gd name="T60" fmla="*/ 1024 w 1100"/>
              <a:gd name="T61" fmla="*/ 800 h 1176"/>
              <a:gd name="T62" fmla="*/ 899 w 1100"/>
              <a:gd name="T63" fmla="*/ 65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76">
                <a:moveTo>
                  <a:pt x="748" y="1025"/>
                </a:moveTo>
                <a:lnTo>
                  <a:pt x="748" y="1025"/>
                </a:lnTo>
                <a:cubicBezTo>
                  <a:pt x="698" y="1025"/>
                  <a:pt x="673" y="1025"/>
                  <a:pt x="648" y="1025"/>
                </a:cubicBezTo>
                <a:cubicBezTo>
                  <a:pt x="624" y="1000"/>
                  <a:pt x="548" y="1025"/>
                  <a:pt x="573" y="1050"/>
                </a:cubicBezTo>
                <a:cubicBezTo>
                  <a:pt x="573" y="1075"/>
                  <a:pt x="599" y="1100"/>
                  <a:pt x="673" y="1100"/>
                </a:cubicBezTo>
                <a:cubicBezTo>
                  <a:pt x="724" y="1125"/>
                  <a:pt x="748" y="1175"/>
                  <a:pt x="773" y="1175"/>
                </a:cubicBezTo>
                <a:cubicBezTo>
                  <a:pt x="799" y="1175"/>
                  <a:pt x="799" y="1150"/>
                  <a:pt x="799" y="1125"/>
                </a:cubicBezTo>
                <a:cubicBezTo>
                  <a:pt x="799" y="1075"/>
                  <a:pt x="824" y="1025"/>
                  <a:pt x="824" y="1025"/>
                </a:cubicBezTo>
                <a:cubicBezTo>
                  <a:pt x="848" y="1025"/>
                  <a:pt x="824" y="1000"/>
                  <a:pt x="748" y="1025"/>
                </a:cubicBezTo>
                <a:close/>
                <a:moveTo>
                  <a:pt x="225" y="700"/>
                </a:moveTo>
                <a:lnTo>
                  <a:pt x="225" y="700"/>
                </a:lnTo>
                <a:cubicBezTo>
                  <a:pt x="200" y="725"/>
                  <a:pt x="174" y="700"/>
                  <a:pt x="149" y="725"/>
                </a:cubicBezTo>
                <a:cubicBezTo>
                  <a:pt x="149" y="750"/>
                  <a:pt x="200" y="800"/>
                  <a:pt x="200" y="850"/>
                </a:cubicBezTo>
                <a:cubicBezTo>
                  <a:pt x="174" y="900"/>
                  <a:pt x="200" y="975"/>
                  <a:pt x="225" y="925"/>
                </a:cubicBezTo>
                <a:cubicBezTo>
                  <a:pt x="249" y="900"/>
                  <a:pt x="274" y="925"/>
                  <a:pt x="300" y="900"/>
                </a:cubicBezTo>
                <a:cubicBezTo>
                  <a:pt x="325" y="875"/>
                  <a:pt x="300" y="775"/>
                  <a:pt x="300" y="750"/>
                </a:cubicBezTo>
                <a:cubicBezTo>
                  <a:pt x="325" y="700"/>
                  <a:pt x="249" y="675"/>
                  <a:pt x="225" y="700"/>
                </a:cubicBezTo>
                <a:close/>
                <a:moveTo>
                  <a:pt x="899" y="650"/>
                </a:moveTo>
                <a:lnTo>
                  <a:pt x="899" y="650"/>
                </a:lnTo>
                <a:cubicBezTo>
                  <a:pt x="873" y="650"/>
                  <a:pt x="899" y="600"/>
                  <a:pt x="824" y="600"/>
                </a:cubicBezTo>
                <a:cubicBezTo>
                  <a:pt x="773" y="600"/>
                  <a:pt x="698" y="525"/>
                  <a:pt x="698" y="450"/>
                </a:cubicBezTo>
                <a:cubicBezTo>
                  <a:pt x="673" y="375"/>
                  <a:pt x="573" y="375"/>
                  <a:pt x="548" y="325"/>
                </a:cubicBezTo>
                <a:cubicBezTo>
                  <a:pt x="524" y="275"/>
                  <a:pt x="573" y="275"/>
                  <a:pt x="548" y="225"/>
                </a:cubicBezTo>
                <a:cubicBezTo>
                  <a:pt x="548" y="200"/>
                  <a:pt x="573" y="175"/>
                  <a:pt x="599" y="175"/>
                </a:cubicBezTo>
                <a:cubicBezTo>
                  <a:pt x="599" y="125"/>
                  <a:pt x="599" y="75"/>
                  <a:pt x="599" y="50"/>
                </a:cubicBezTo>
                <a:cubicBezTo>
                  <a:pt x="573" y="50"/>
                  <a:pt x="573" y="50"/>
                  <a:pt x="548" y="50"/>
                </a:cubicBezTo>
                <a:cubicBezTo>
                  <a:pt x="548" y="25"/>
                  <a:pt x="548" y="0"/>
                  <a:pt x="548" y="0"/>
                </a:cubicBezTo>
                <a:cubicBezTo>
                  <a:pt x="524" y="0"/>
                  <a:pt x="473" y="0"/>
                  <a:pt x="473" y="0"/>
                </a:cubicBezTo>
                <a:cubicBezTo>
                  <a:pt x="448" y="25"/>
                  <a:pt x="425" y="50"/>
                  <a:pt x="400" y="25"/>
                </a:cubicBezTo>
                <a:lnTo>
                  <a:pt x="400" y="25"/>
                </a:lnTo>
                <a:cubicBezTo>
                  <a:pt x="374" y="50"/>
                  <a:pt x="374" y="50"/>
                  <a:pt x="374" y="50"/>
                </a:cubicBezTo>
                <a:cubicBezTo>
                  <a:pt x="374" y="50"/>
                  <a:pt x="374" y="50"/>
                  <a:pt x="349" y="50"/>
                </a:cubicBezTo>
                <a:cubicBezTo>
                  <a:pt x="349" y="50"/>
                  <a:pt x="325" y="50"/>
                  <a:pt x="325" y="75"/>
                </a:cubicBezTo>
                <a:cubicBezTo>
                  <a:pt x="325" y="100"/>
                  <a:pt x="300" y="75"/>
                  <a:pt x="300" y="75"/>
                </a:cubicBezTo>
                <a:cubicBezTo>
                  <a:pt x="274" y="75"/>
                  <a:pt x="249" y="75"/>
                  <a:pt x="249" y="100"/>
                </a:cubicBezTo>
                <a:cubicBezTo>
                  <a:pt x="249" y="125"/>
                  <a:pt x="249" y="150"/>
                  <a:pt x="225" y="125"/>
                </a:cubicBezTo>
                <a:cubicBezTo>
                  <a:pt x="200" y="125"/>
                  <a:pt x="174" y="75"/>
                  <a:pt x="174" y="75"/>
                </a:cubicBezTo>
                <a:cubicBezTo>
                  <a:pt x="174" y="75"/>
                  <a:pt x="149" y="150"/>
                  <a:pt x="125" y="150"/>
                </a:cubicBezTo>
                <a:cubicBezTo>
                  <a:pt x="125" y="150"/>
                  <a:pt x="74" y="150"/>
                  <a:pt x="49" y="150"/>
                </a:cubicBezTo>
                <a:cubicBezTo>
                  <a:pt x="49" y="175"/>
                  <a:pt x="49" y="175"/>
                  <a:pt x="49" y="200"/>
                </a:cubicBezTo>
                <a:cubicBezTo>
                  <a:pt x="74" y="200"/>
                  <a:pt x="49" y="225"/>
                  <a:pt x="49" y="225"/>
                </a:cubicBezTo>
                <a:cubicBezTo>
                  <a:pt x="25" y="225"/>
                  <a:pt x="0" y="225"/>
                  <a:pt x="25" y="250"/>
                </a:cubicBezTo>
                <a:cubicBezTo>
                  <a:pt x="49" y="275"/>
                  <a:pt x="74" y="275"/>
                  <a:pt x="49" y="300"/>
                </a:cubicBezTo>
                <a:cubicBezTo>
                  <a:pt x="25" y="325"/>
                  <a:pt x="49" y="350"/>
                  <a:pt x="74" y="350"/>
                </a:cubicBezTo>
                <a:cubicBezTo>
                  <a:pt x="100" y="350"/>
                  <a:pt x="125" y="350"/>
                  <a:pt x="125" y="350"/>
                </a:cubicBezTo>
                <a:cubicBezTo>
                  <a:pt x="100" y="375"/>
                  <a:pt x="100" y="375"/>
                  <a:pt x="100" y="400"/>
                </a:cubicBezTo>
                <a:cubicBezTo>
                  <a:pt x="125" y="375"/>
                  <a:pt x="125" y="375"/>
                  <a:pt x="149" y="375"/>
                </a:cubicBezTo>
                <a:cubicBezTo>
                  <a:pt x="174" y="350"/>
                  <a:pt x="174" y="325"/>
                  <a:pt x="225" y="325"/>
                </a:cubicBezTo>
                <a:cubicBezTo>
                  <a:pt x="274" y="300"/>
                  <a:pt x="325" y="350"/>
                  <a:pt x="349" y="375"/>
                </a:cubicBezTo>
                <a:cubicBezTo>
                  <a:pt x="374" y="400"/>
                  <a:pt x="374" y="400"/>
                  <a:pt x="374" y="425"/>
                </a:cubicBezTo>
                <a:cubicBezTo>
                  <a:pt x="374" y="450"/>
                  <a:pt x="400" y="500"/>
                  <a:pt x="473" y="550"/>
                </a:cubicBezTo>
                <a:cubicBezTo>
                  <a:pt x="524" y="600"/>
                  <a:pt x="548" y="625"/>
                  <a:pt x="599" y="650"/>
                </a:cubicBezTo>
                <a:cubicBezTo>
                  <a:pt x="624" y="675"/>
                  <a:pt x="673" y="675"/>
                  <a:pt x="673" y="700"/>
                </a:cubicBezTo>
                <a:cubicBezTo>
                  <a:pt x="698" y="725"/>
                  <a:pt x="724" y="725"/>
                  <a:pt x="773" y="750"/>
                </a:cubicBezTo>
                <a:cubicBezTo>
                  <a:pt x="799" y="775"/>
                  <a:pt x="799" y="800"/>
                  <a:pt x="824" y="800"/>
                </a:cubicBezTo>
                <a:cubicBezTo>
                  <a:pt x="873" y="800"/>
                  <a:pt x="848" y="825"/>
                  <a:pt x="873" y="850"/>
                </a:cubicBezTo>
                <a:cubicBezTo>
                  <a:pt x="873" y="875"/>
                  <a:pt x="899" y="925"/>
                  <a:pt x="873" y="950"/>
                </a:cubicBezTo>
                <a:cubicBezTo>
                  <a:pt x="848" y="1000"/>
                  <a:pt x="848" y="1025"/>
                  <a:pt x="873" y="1025"/>
                </a:cubicBezTo>
                <a:cubicBezTo>
                  <a:pt x="873" y="1025"/>
                  <a:pt x="924" y="975"/>
                  <a:pt x="924" y="950"/>
                </a:cubicBezTo>
                <a:cubicBezTo>
                  <a:pt x="924" y="925"/>
                  <a:pt x="949" y="925"/>
                  <a:pt x="973" y="900"/>
                </a:cubicBezTo>
                <a:cubicBezTo>
                  <a:pt x="999" y="875"/>
                  <a:pt x="949" y="875"/>
                  <a:pt x="924" y="825"/>
                </a:cubicBezTo>
                <a:cubicBezTo>
                  <a:pt x="924" y="800"/>
                  <a:pt x="973" y="750"/>
                  <a:pt x="1024" y="800"/>
                </a:cubicBezTo>
                <a:cubicBezTo>
                  <a:pt x="1073" y="825"/>
                  <a:pt x="1099" y="850"/>
                  <a:pt x="1099" y="800"/>
                </a:cubicBezTo>
                <a:cubicBezTo>
                  <a:pt x="1099" y="750"/>
                  <a:pt x="949" y="675"/>
                  <a:pt x="899" y="650"/>
                </a:cubicBezTo>
                <a:close/>
              </a:path>
            </a:pathLst>
          </a:custGeom>
          <a:solidFill>
            <a:schemeClr val="accent4"/>
          </a:solidFill>
          <a:ln w="317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47" name="Freeform: Shape 83">
            <a:extLst>
              <a:ext uri="{FF2B5EF4-FFF2-40B4-BE49-F238E27FC236}">
                <a16:creationId xmlns:a16="http://schemas.microsoft.com/office/drawing/2014/main" id="{08A12FDE-73F5-A54A-9C05-AC611658D762}"/>
              </a:ext>
            </a:extLst>
          </p:cNvPr>
          <p:cNvSpPr/>
          <p:nvPr/>
        </p:nvSpPr>
        <p:spPr>
          <a:xfrm flipH="1">
            <a:off x="6156313" y="1171796"/>
            <a:ext cx="2406719" cy="2274905"/>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defRPr/>
            </a:pPr>
            <a:endParaRPr lang="en-US">
              <a:ln>
                <a:solidFill>
                  <a:srgbClr val="F7F8FA"/>
                </a:solidFill>
              </a:ln>
              <a:solidFill>
                <a:srgbClr val="F7F8FA"/>
              </a:solidFill>
              <a:latin typeface="Microsoft Sans Serif"/>
            </a:endParaRPr>
          </a:p>
        </p:txBody>
      </p:sp>
      <p:sp>
        <p:nvSpPr>
          <p:cNvPr id="398" name="Freeform 6">
            <a:extLst>
              <a:ext uri="{FF2B5EF4-FFF2-40B4-BE49-F238E27FC236}">
                <a16:creationId xmlns:a16="http://schemas.microsoft.com/office/drawing/2014/main" id="{8537E637-FE19-4CF3-8A01-A3F2739F95AA}"/>
              </a:ext>
            </a:extLst>
          </p:cNvPr>
          <p:cNvSpPr>
            <a:spLocks noChangeArrowheads="1"/>
          </p:cNvSpPr>
          <p:nvPr/>
        </p:nvSpPr>
        <p:spPr bwMode="auto">
          <a:xfrm>
            <a:off x="6256414" y="5505686"/>
            <a:ext cx="478121" cy="423279"/>
          </a:xfrm>
          <a:custGeom>
            <a:avLst/>
            <a:gdLst>
              <a:gd name="T0" fmla="*/ 1425 w 1501"/>
              <a:gd name="T1" fmla="*/ 500 h 1326"/>
              <a:gd name="T2" fmla="*/ 1425 w 1501"/>
              <a:gd name="T3" fmla="*/ 500 h 1326"/>
              <a:gd name="T4" fmla="*/ 1425 w 1501"/>
              <a:gd name="T5" fmla="*/ 500 h 1326"/>
              <a:gd name="T6" fmla="*/ 1400 w 1501"/>
              <a:gd name="T7" fmla="*/ 525 h 1326"/>
              <a:gd name="T8" fmla="*/ 1350 w 1501"/>
              <a:gd name="T9" fmla="*/ 550 h 1326"/>
              <a:gd name="T10" fmla="*/ 1299 w 1501"/>
              <a:gd name="T11" fmla="*/ 450 h 1326"/>
              <a:gd name="T12" fmla="*/ 1375 w 1501"/>
              <a:gd name="T13" fmla="*/ 375 h 1326"/>
              <a:gd name="T14" fmla="*/ 1425 w 1501"/>
              <a:gd name="T15" fmla="*/ 400 h 1326"/>
              <a:gd name="T16" fmla="*/ 1425 w 1501"/>
              <a:gd name="T17" fmla="*/ 400 h 1326"/>
              <a:gd name="T18" fmla="*/ 1400 w 1501"/>
              <a:gd name="T19" fmla="*/ 225 h 1326"/>
              <a:gd name="T20" fmla="*/ 1350 w 1501"/>
              <a:gd name="T21" fmla="*/ 50 h 1326"/>
              <a:gd name="T22" fmla="*/ 1250 w 1501"/>
              <a:gd name="T23" fmla="*/ 25 h 1326"/>
              <a:gd name="T24" fmla="*/ 1150 w 1501"/>
              <a:gd name="T25" fmla="*/ 0 h 1326"/>
              <a:gd name="T26" fmla="*/ 1125 w 1501"/>
              <a:gd name="T27" fmla="*/ 50 h 1326"/>
              <a:gd name="T28" fmla="*/ 1050 w 1501"/>
              <a:gd name="T29" fmla="*/ 100 h 1326"/>
              <a:gd name="T30" fmla="*/ 975 w 1501"/>
              <a:gd name="T31" fmla="*/ 150 h 1326"/>
              <a:gd name="T32" fmla="*/ 950 w 1501"/>
              <a:gd name="T33" fmla="*/ 200 h 1326"/>
              <a:gd name="T34" fmla="*/ 875 w 1501"/>
              <a:gd name="T35" fmla="*/ 275 h 1326"/>
              <a:gd name="T36" fmla="*/ 825 w 1501"/>
              <a:gd name="T37" fmla="*/ 325 h 1326"/>
              <a:gd name="T38" fmla="*/ 750 w 1501"/>
              <a:gd name="T39" fmla="*/ 375 h 1326"/>
              <a:gd name="T40" fmla="*/ 625 w 1501"/>
              <a:gd name="T41" fmla="*/ 350 h 1326"/>
              <a:gd name="T42" fmla="*/ 574 w 1501"/>
              <a:gd name="T43" fmla="*/ 400 h 1326"/>
              <a:gd name="T44" fmla="*/ 474 w 1501"/>
              <a:gd name="T45" fmla="*/ 500 h 1326"/>
              <a:gd name="T46" fmla="*/ 374 w 1501"/>
              <a:gd name="T47" fmla="*/ 500 h 1326"/>
              <a:gd name="T48" fmla="*/ 374 w 1501"/>
              <a:gd name="T49" fmla="*/ 450 h 1326"/>
              <a:gd name="T50" fmla="*/ 374 w 1501"/>
              <a:gd name="T51" fmla="*/ 425 h 1326"/>
              <a:gd name="T52" fmla="*/ 350 w 1501"/>
              <a:gd name="T53" fmla="*/ 325 h 1326"/>
              <a:gd name="T54" fmla="*/ 300 w 1501"/>
              <a:gd name="T55" fmla="*/ 300 h 1326"/>
              <a:gd name="T56" fmla="*/ 300 w 1501"/>
              <a:gd name="T57" fmla="*/ 650 h 1326"/>
              <a:gd name="T58" fmla="*/ 250 w 1501"/>
              <a:gd name="T59" fmla="*/ 700 h 1326"/>
              <a:gd name="T60" fmla="*/ 125 w 1501"/>
              <a:gd name="T61" fmla="*/ 700 h 1326"/>
              <a:gd name="T62" fmla="*/ 74 w 1501"/>
              <a:gd name="T63" fmla="*/ 625 h 1326"/>
              <a:gd name="T64" fmla="*/ 25 w 1501"/>
              <a:gd name="T65" fmla="*/ 675 h 1326"/>
              <a:gd name="T66" fmla="*/ 0 w 1501"/>
              <a:gd name="T67" fmla="*/ 675 h 1326"/>
              <a:gd name="T68" fmla="*/ 50 w 1501"/>
              <a:gd name="T69" fmla="*/ 825 h 1326"/>
              <a:gd name="T70" fmla="*/ 150 w 1501"/>
              <a:gd name="T71" fmla="*/ 1001 h 1326"/>
              <a:gd name="T72" fmla="*/ 150 w 1501"/>
              <a:gd name="T73" fmla="*/ 1101 h 1326"/>
              <a:gd name="T74" fmla="*/ 150 w 1501"/>
              <a:gd name="T75" fmla="*/ 1175 h 1326"/>
              <a:gd name="T76" fmla="*/ 174 w 1501"/>
              <a:gd name="T77" fmla="*/ 1250 h 1326"/>
              <a:gd name="T78" fmla="*/ 225 w 1501"/>
              <a:gd name="T79" fmla="*/ 1275 h 1326"/>
              <a:gd name="T80" fmla="*/ 274 w 1501"/>
              <a:gd name="T81" fmla="*/ 1325 h 1326"/>
              <a:gd name="T82" fmla="*/ 325 w 1501"/>
              <a:gd name="T83" fmla="*/ 1325 h 1326"/>
              <a:gd name="T84" fmla="*/ 450 w 1501"/>
              <a:gd name="T85" fmla="*/ 1275 h 1326"/>
              <a:gd name="T86" fmla="*/ 525 w 1501"/>
              <a:gd name="T87" fmla="*/ 1250 h 1326"/>
              <a:gd name="T88" fmla="*/ 674 w 1501"/>
              <a:gd name="T89" fmla="*/ 1250 h 1326"/>
              <a:gd name="T90" fmla="*/ 774 w 1501"/>
              <a:gd name="T91" fmla="*/ 1225 h 1326"/>
              <a:gd name="T92" fmla="*/ 825 w 1501"/>
              <a:gd name="T93" fmla="*/ 1225 h 1326"/>
              <a:gd name="T94" fmla="*/ 900 w 1501"/>
              <a:gd name="T95" fmla="*/ 1201 h 1326"/>
              <a:gd name="T96" fmla="*/ 1099 w 1501"/>
              <a:gd name="T97" fmla="*/ 1075 h 1326"/>
              <a:gd name="T98" fmla="*/ 1325 w 1501"/>
              <a:gd name="T99" fmla="*/ 800 h 1326"/>
              <a:gd name="T100" fmla="*/ 1450 w 1501"/>
              <a:gd name="T101" fmla="*/ 650 h 1326"/>
              <a:gd name="T102" fmla="*/ 1500 w 1501"/>
              <a:gd name="T103" fmla="*/ 500 h 1326"/>
              <a:gd name="T104" fmla="*/ 1425 w 1501"/>
              <a:gd name="T105" fmla="*/ 500 h 1326"/>
              <a:gd name="T106" fmla="*/ 1125 w 1501"/>
              <a:gd name="T107" fmla="*/ 825 h 1326"/>
              <a:gd name="T108" fmla="*/ 1125 w 1501"/>
              <a:gd name="T109" fmla="*/ 825 h 1326"/>
              <a:gd name="T110" fmla="*/ 1075 w 1501"/>
              <a:gd name="T111" fmla="*/ 825 h 1326"/>
              <a:gd name="T112" fmla="*/ 1050 w 1501"/>
              <a:gd name="T113" fmla="*/ 875 h 1326"/>
              <a:gd name="T114" fmla="*/ 1025 w 1501"/>
              <a:gd name="T115" fmla="*/ 875 h 1326"/>
              <a:gd name="T116" fmla="*/ 950 w 1501"/>
              <a:gd name="T117" fmla="*/ 800 h 1326"/>
              <a:gd name="T118" fmla="*/ 1025 w 1501"/>
              <a:gd name="T119" fmla="*/ 725 h 1326"/>
              <a:gd name="T120" fmla="*/ 1099 w 1501"/>
              <a:gd name="T121" fmla="*/ 675 h 1326"/>
              <a:gd name="T122" fmla="*/ 1175 w 1501"/>
              <a:gd name="T123" fmla="*/ 750 h 1326"/>
              <a:gd name="T124" fmla="*/ 1125 w 1501"/>
              <a:gd name="T125" fmla="*/ 825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1" h="1326">
                <a:moveTo>
                  <a:pt x="1425" y="500"/>
                </a:moveTo>
                <a:lnTo>
                  <a:pt x="1425" y="500"/>
                </a:lnTo>
                <a:lnTo>
                  <a:pt x="1425" y="500"/>
                </a:lnTo>
                <a:cubicBezTo>
                  <a:pt x="1425" y="500"/>
                  <a:pt x="1400" y="500"/>
                  <a:pt x="1400" y="525"/>
                </a:cubicBezTo>
                <a:cubicBezTo>
                  <a:pt x="1400" y="550"/>
                  <a:pt x="1375" y="550"/>
                  <a:pt x="1350" y="550"/>
                </a:cubicBezTo>
                <a:cubicBezTo>
                  <a:pt x="1325" y="525"/>
                  <a:pt x="1299" y="475"/>
                  <a:pt x="1299" y="450"/>
                </a:cubicBezTo>
                <a:cubicBezTo>
                  <a:pt x="1299" y="450"/>
                  <a:pt x="1350" y="375"/>
                  <a:pt x="1375" y="375"/>
                </a:cubicBezTo>
                <a:cubicBezTo>
                  <a:pt x="1375" y="375"/>
                  <a:pt x="1400" y="400"/>
                  <a:pt x="1425" y="400"/>
                </a:cubicBezTo>
                <a:lnTo>
                  <a:pt x="1425" y="400"/>
                </a:lnTo>
                <a:cubicBezTo>
                  <a:pt x="1425" y="375"/>
                  <a:pt x="1425" y="250"/>
                  <a:pt x="1400" y="225"/>
                </a:cubicBezTo>
                <a:cubicBezTo>
                  <a:pt x="1375" y="200"/>
                  <a:pt x="1350" y="75"/>
                  <a:pt x="1350" y="50"/>
                </a:cubicBezTo>
                <a:cubicBezTo>
                  <a:pt x="1350" y="25"/>
                  <a:pt x="1250" y="50"/>
                  <a:pt x="1250" y="25"/>
                </a:cubicBezTo>
                <a:cubicBezTo>
                  <a:pt x="1225" y="0"/>
                  <a:pt x="1150" y="25"/>
                  <a:pt x="1150" y="0"/>
                </a:cubicBezTo>
                <a:cubicBezTo>
                  <a:pt x="1125" y="25"/>
                  <a:pt x="1125" y="50"/>
                  <a:pt x="1125" y="50"/>
                </a:cubicBezTo>
                <a:cubicBezTo>
                  <a:pt x="1099" y="75"/>
                  <a:pt x="1075" y="50"/>
                  <a:pt x="1050" y="100"/>
                </a:cubicBezTo>
                <a:cubicBezTo>
                  <a:pt x="1050" y="125"/>
                  <a:pt x="1000" y="150"/>
                  <a:pt x="975" y="150"/>
                </a:cubicBezTo>
                <a:cubicBezTo>
                  <a:pt x="950" y="150"/>
                  <a:pt x="950" y="175"/>
                  <a:pt x="950" y="200"/>
                </a:cubicBezTo>
                <a:cubicBezTo>
                  <a:pt x="950" y="225"/>
                  <a:pt x="900" y="275"/>
                  <a:pt x="875" y="275"/>
                </a:cubicBezTo>
                <a:cubicBezTo>
                  <a:pt x="825" y="275"/>
                  <a:pt x="850" y="300"/>
                  <a:pt x="825" y="325"/>
                </a:cubicBezTo>
                <a:cubicBezTo>
                  <a:pt x="825" y="375"/>
                  <a:pt x="800" y="375"/>
                  <a:pt x="750" y="375"/>
                </a:cubicBezTo>
                <a:cubicBezTo>
                  <a:pt x="674" y="375"/>
                  <a:pt x="674" y="375"/>
                  <a:pt x="625" y="350"/>
                </a:cubicBezTo>
                <a:cubicBezTo>
                  <a:pt x="574" y="300"/>
                  <a:pt x="574" y="375"/>
                  <a:pt x="574" y="400"/>
                </a:cubicBezTo>
                <a:cubicBezTo>
                  <a:pt x="550" y="425"/>
                  <a:pt x="500" y="475"/>
                  <a:pt x="474" y="500"/>
                </a:cubicBezTo>
                <a:cubicBezTo>
                  <a:pt x="450" y="500"/>
                  <a:pt x="400" y="500"/>
                  <a:pt x="374" y="500"/>
                </a:cubicBezTo>
                <a:cubicBezTo>
                  <a:pt x="350" y="500"/>
                  <a:pt x="374" y="475"/>
                  <a:pt x="374" y="450"/>
                </a:cubicBezTo>
                <a:cubicBezTo>
                  <a:pt x="374" y="425"/>
                  <a:pt x="374" y="450"/>
                  <a:pt x="374" y="425"/>
                </a:cubicBezTo>
                <a:cubicBezTo>
                  <a:pt x="400" y="425"/>
                  <a:pt x="374" y="350"/>
                  <a:pt x="350" y="325"/>
                </a:cubicBezTo>
                <a:cubicBezTo>
                  <a:pt x="350" y="300"/>
                  <a:pt x="325" y="300"/>
                  <a:pt x="300" y="300"/>
                </a:cubicBezTo>
                <a:cubicBezTo>
                  <a:pt x="300" y="450"/>
                  <a:pt x="300" y="625"/>
                  <a:pt x="300" y="650"/>
                </a:cubicBezTo>
                <a:cubicBezTo>
                  <a:pt x="300" y="675"/>
                  <a:pt x="250" y="675"/>
                  <a:pt x="250" y="700"/>
                </a:cubicBezTo>
                <a:cubicBezTo>
                  <a:pt x="250" y="725"/>
                  <a:pt x="174" y="700"/>
                  <a:pt x="125" y="700"/>
                </a:cubicBezTo>
                <a:cubicBezTo>
                  <a:pt x="100" y="700"/>
                  <a:pt x="100" y="675"/>
                  <a:pt x="74" y="625"/>
                </a:cubicBezTo>
                <a:cubicBezTo>
                  <a:pt x="50" y="600"/>
                  <a:pt x="25" y="650"/>
                  <a:pt x="25" y="675"/>
                </a:cubicBezTo>
                <a:lnTo>
                  <a:pt x="0" y="675"/>
                </a:lnTo>
                <a:cubicBezTo>
                  <a:pt x="25" y="725"/>
                  <a:pt x="50" y="775"/>
                  <a:pt x="50" y="825"/>
                </a:cubicBezTo>
                <a:cubicBezTo>
                  <a:pt x="74" y="901"/>
                  <a:pt x="125" y="975"/>
                  <a:pt x="150" y="1001"/>
                </a:cubicBezTo>
                <a:cubicBezTo>
                  <a:pt x="174" y="1050"/>
                  <a:pt x="174" y="1101"/>
                  <a:pt x="150" y="1101"/>
                </a:cubicBezTo>
                <a:cubicBezTo>
                  <a:pt x="125" y="1101"/>
                  <a:pt x="125" y="1125"/>
                  <a:pt x="150" y="1175"/>
                </a:cubicBezTo>
                <a:cubicBezTo>
                  <a:pt x="174" y="1225"/>
                  <a:pt x="150" y="1250"/>
                  <a:pt x="174" y="1250"/>
                </a:cubicBezTo>
                <a:cubicBezTo>
                  <a:pt x="200" y="1250"/>
                  <a:pt x="200" y="1275"/>
                  <a:pt x="225" y="1275"/>
                </a:cubicBezTo>
                <a:cubicBezTo>
                  <a:pt x="250" y="1275"/>
                  <a:pt x="250" y="1301"/>
                  <a:pt x="274" y="1325"/>
                </a:cubicBezTo>
                <a:lnTo>
                  <a:pt x="325" y="1325"/>
                </a:lnTo>
                <a:cubicBezTo>
                  <a:pt x="350" y="1301"/>
                  <a:pt x="400" y="1275"/>
                  <a:pt x="450" y="1275"/>
                </a:cubicBezTo>
                <a:cubicBezTo>
                  <a:pt x="500" y="1275"/>
                  <a:pt x="474" y="1275"/>
                  <a:pt x="525" y="1250"/>
                </a:cubicBezTo>
                <a:cubicBezTo>
                  <a:pt x="574" y="1225"/>
                  <a:pt x="625" y="1225"/>
                  <a:pt x="674" y="1250"/>
                </a:cubicBezTo>
                <a:cubicBezTo>
                  <a:pt x="725" y="1250"/>
                  <a:pt x="750" y="1250"/>
                  <a:pt x="774" y="1225"/>
                </a:cubicBezTo>
                <a:cubicBezTo>
                  <a:pt x="774" y="1225"/>
                  <a:pt x="825" y="1250"/>
                  <a:pt x="825" y="1225"/>
                </a:cubicBezTo>
                <a:cubicBezTo>
                  <a:pt x="825" y="1201"/>
                  <a:pt x="875" y="1201"/>
                  <a:pt x="900" y="1201"/>
                </a:cubicBezTo>
                <a:cubicBezTo>
                  <a:pt x="925" y="1201"/>
                  <a:pt x="1025" y="1150"/>
                  <a:pt x="1099" y="1075"/>
                </a:cubicBezTo>
                <a:cubicBezTo>
                  <a:pt x="1175" y="1001"/>
                  <a:pt x="1275" y="875"/>
                  <a:pt x="1325" y="800"/>
                </a:cubicBezTo>
                <a:cubicBezTo>
                  <a:pt x="1350" y="725"/>
                  <a:pt x="1425" y="675"/>
                  <a:pt x="1450" y="650"/>
                </a:cubicBezTo>
                <a:cubicBezTo>
                  <a:pt x="1475" y="625"/>
                  <a:pt x="1500" y="550"/>
                  <a:pt x="1500" y="500"/>
                </a:cubicBezTo>
                <a:cubicBezTo>
                  <a:pt x="1475" y="500"/>
                  <a:pt x="1425" y="500"/>
                  <a:pt x="1425" y="500"/>
                </a:cubicBezTo>
                <a:close/>
                <a:moveTo>
                  <a:pt x="1125" y="825"/>
                </a:moveTo>
                <a:lnTo>
                  <a:pt x="1125" y="825"/>
                </a:lnTo>
                <a:cubicBezTo>
                  <a:pt x="1125" y="825"/>
                  <a:pt x="1075" y="800"/>
                  <a:pt x="1075" y="825"/>
                </a:cubicBezTo>
                <a:cubicBezTo>
                  <a:pt x="1075" y="850"/>
                  <a:pt x="1050" y="875"/>
                  <a:pt x="1050" y="875"/>
                </a:cubicBezTo>
                <a:cubicBezTo>
                  <a:pt x="1025" y="875"/>
                  <a:pt x="1025" y="875"/>
                  <a:pt x="1025" y="875"/>
                </a:cubicBezTo>
                <a:cubicBezTo>
                  <a:pt x="950" y="800"/>
                  <a:pt x="950" y="800"/>
                  <a:pt x="950" y="800"/>
                </a:cubicBezTo>
                <a:cubicBezTo>
                  <a:pt x="950" y="800"/>
                  <a:pt x="1000" y="725"/>
                  <a:pt x="1025" y="725"/>
                </a:cubicBezTo>
                <a:cubicBezTo>
                  <a:pt x="1025" y="700"/>
                  <a:pt x="1099" y="650"/>
                  <a:pt x="1099" y="675"/>
                </a:cubicBezTo>
                <a:cubicBezTo>
                  <a:pt x="1125" y="700"/>
                  <a:pt x="1175" y="725"/>
                  <a:pt x="1175" y="750"/>
                </a:cubicBezTo>
                <a:cubicBezTo>
                  <a:pt x="1175" y="775"/>
                  <a:pt x="1125" y="800"/>
                  <a:pt x="1125" y="825"/>
                </a:cubicBezTo>
                <a:close/>
              </a:path>
            </a:pathLst>
          </a:custGeom>
          <a:solidFill>
            <a:schemeClr val="accent3">
              <a:lumMod val="7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58" name="Freeform 6">
            <a:extLst>
              <a:ext uri="{FF2B5EF4-FFF2-40B4-BE49-F238E27FC236}">
                <a16:creationId xmlns:a16="http://schemas.microsoft.com/office/drawing/2014/main" id="{776C01CF-D22D-A348-8B02-F4B785934598}"/>
              </a:ext>
            </a:extLst>
          </p:cNvPr>
          <p:cNvSpPr>
            <a:spLocks noChangeArrowheads="1"/>
          </p:cNvSpPr>
          <p:nvPr/>
        </p:nvSpPr>
        <p:spPr bwMode="auto">
          <a:xfrm>
            <a:off x="6252096" y="5505686"/>
            <a:ext cx="478121" cy="423279"/>
          </a:xfrm>
          <a:custGeom>
            <a:avLst/>
            <a:gdLst>
              <a:gd name="T0" fmla="*/ 1425 w 1501"/>
              <a:gd name="T1" fmla="*/ 500 h 1326"/>
              <a:gd name="T2" fmla="*/ 1425 w 1501"/>
              <a:gd name="T3" fmla="*/ 500 h 1326"/>
              <a:gd name="T4" fmla="*/ 1425 w 1501"/>
              <a:gd name="T5" fmla="*/ 500 h 1326"/>
              <a:gd name="T6" fmla="*/ 1400 w 1501"/>
              <a:gd name="T7" fmla="*/ 525 h 1326"/>
              <a:gd name="T8" fmla="*/ 1350 w 1501"/>
              <a:gd name="T9" fmla="*/ 550 h 1326"/>
              <a:gd name="T10" fmla="*/ 1299 w 1501"/>
              <a:gd name="T11" fmla="*/ 450 h 1326"/>
              <a:gd name="T12" fmla="*/ 1375 w 1501"/>
              <a:gd name="T13" fmla="*/ 375 h 1326"/>
              <a:gd name="T14" fmla="*/ 1425 w 1501"/>
              <a:gd name="T15" fmla="*/ 400 h 1326"/>
              <a:gd name="T16" fmla="*/ 1425 w 1501"/>
              <a:gd name="T17" fmla="*/ 400 h 1326"/>
              <a:gd name="T18" fmla="*/ 1400 w 1501"/>
              <a:gd name="T19" fmla="*/ 225 h 1326"/>
              <a:gd name="T20" fmla="*/ 1350 w 1501"/>
              <a:gd name="T21" fmla="*/ 50 h 1326"/>
              <a:gd name="T22" fmla="*/ 1250 w 1501"/>
              <a:gd name="T23" fmla="*/ 25 h 1326"/>
              <a:gd name="T24" fmla="*/ 1150 w 1501"/>
              <a:gd name="T25" fmla="*/ 0 h 1326"/>
              <a:gd name="T26" fmla="*/ 1125 w 1501"/>
              <a:gd name="T27" fmla="*/ 50 h 1326"/>
              <a:gd name="T28" fmla="*/ 1050 w 1501"/>
              <a:gd name="T29" fmla="*/ 100 h 1326"/>
              <a:gd name="T30" fmla="*/ 975 w 1501"/>
              <a:gd name="T31" fmla="*/ 150 h 1326"/>
              <a:gd name="T32" fmla="*/ 950 w 1501"/>
              <a:gd name="T33" fmla="*/ 200 h 1326"/>
              <a:gd name="T34" fmla="*/ 875 w 1501"/>
              <a:gd name="T35" fmla="*/ 275 h 1326"/>
              <a:gd name="T36" fmla="*/ 825 w 1501"/>
              <a:gd name="T37" fmla="*/ 325 h 1326"/>
              <a:gd name="T38" fmla="*/ 750 w 1501"/>
              <a:gd name="T39" fmla="*/ 375 h 1326"/>
              <a:gd name="T40" fmla="*/ 625 w 1501"/>
              <a:gd name="T41" fmla="*/ 350 h 1326"/>
              <a:gd name="T42" fmla="*/ 574 w 1501"/>
              <a:gd name="T43" fmla="*/ 400 h 1326"/>
              <a:gd name="T44" fmla="*/ 474 w 1501"/>
              <a:gd name="T45" fmla="*/ 500 h 1326"/>
              <a:gd name="T46" fmla="*/ 374 w 1501"/>
              <a:gd name="T47" fmla="*/ 500 h 1326"/>
              <a:gd name="T48" fmla="*/ 374 w 1501"/>
              <a:gd name="T49" fmla="*/ 450 h 1326"/>
              <a:gd name="T50" fmla="*/ 374 w 1501"/>
              <a:gd name="T51" fmla="*/ 425 h 1326"/>
              <a:gd name="T52" fmla="*/ 350 w 1501"/>
              <a:gd name="T53" fmla="*/ 325 h 1326"/>
              <a:gd name="T54" fmla="*/ 300 w 1501"/>
              <a:gd name="T55" fmla="*/ 300 h 1326"/>
              <a:gd name="T56" fmla="*/ 300 w 1501"/>
              <a:gd name="T57" fmla="*/ 650 h 1326"/>
              <a:gd name="T58" fmla="*/ 250 w 1501"/>
              <a:gd name="T59" fmla="*/ 700 h 1326"/>
              <a:gd name="T60" fmla="*/ 125 w 1501"/>
              <a:gd name="T61" fmla="*/ 700 h 1326"/>
              <a:gd name="T62" fmla="*/ 74 w 1501"/>
              <a:gd name="T63" fmla="*/ 625 h 1326"/>
              <a:gd name="T64" fmla="*/ 25 w 1501"/>
              <a:gd name="T65" fmla="*/ 675 h 1326"/>
              <a:gd name="T66" fmla="*/ 0 w 1501"/>
              <a:gd name="T67" fmla="*/ 675 h 1326"/>
              <a:gd name="T68" fmla="*/ 50 w 1501"/>
              <a:gd name="T69" fmla="*/ 825 h 1326"/>
              <a:gd name="T70" fmla="*/ 150 w 1501"/>
              <a:gd name="T71" fmla="*/ 1001 h 1326"/>
              <a:gd name="T72" fmla="*/ 150 w 1501"/>
              <a:gd name="T73" fmla="*/ 1101 h 1326"/>
              <a:gd name="T74" fmla="*/ 150 w 1501"/>
              <a:gd name="T75" fmla="*/ 1175 h 1326"/>
              <a:gd name="T76" fmla="*/ 174 w 1501"/>
              <a:gd name="T77" fmla="*/ 1250 h 1326"/>
              <a:gd name="T78" fmla="*/ 225 w 1501"/>
              <a:gd name="T79" fmla="*/ 1275 h 1326"/>
              <a:gd name="T80" fmla="*/ 274 w 1501"/>
              <a:gd name="T81" fmla="*/ 1325 h 1326"/>
              <a:gd name="T82" fmla="*/ 325 w 1501"/>
              <a:gd name="T83" fmla="*/ 1325 h 1326"/>
              <a:gd name="T84" fmla="*/ 450 w 1501"/>
              <a:gd name="T85" fmla="*/ 1275 h 1326"/>
              <a:gd name="T86" fmla="*/ 525 w 1501"/>
              <a:gd name="T87" fmla="*/ 1250 h 1326"/>
              <a:gd name="T88" fmla="*/ 674 w 1501"/>
              <a:gd name="T89" fmla="*/ 1250 h 1326"/>
              <a:gd name="T90" fmla="*/ 774 w 1501"/>
              <a:gd name="T91" fmla="*/ 1225 h 1326"/>
              <a:gd name="T92" fmla="*/ 825 w 1501"/>
              <a:gd name="T93" fmla="*/ 1225 h 1326"/>
              <a:gd name="T94" fmla="*/ 900 w 1501"/>
              <a:gd name="T95" fmla="*/ 1201 h 1326"/>
              <a:gd name="T96" fmla="*/ 1099 w 1501"/>
              <a:gd name="T97" fmla="*/ 1075 h 1326"/>
              <a:gd name="T98" fmla="*/ 1325 w 1501"/>
              <a:gd name="T99" fmla="*/ 800 h 1326"/>
              <a:gd name="T100" fmla="*/ 1450 w 1501"/>
              <a:gd name="T101" fmla="*/ 650 h 1326"/>
              <a:gd name="T102" fmla="*/ 1500 w 1501"/>
              <a:gd name="T103" fmla="*/ 500 h 1326"/>
              <a:gd name="T104" fmla="*/ 1425 w 1501"/>
              <a:gd name="T105" fmla="*/ 500 h 1326"/>
              <a:gd name="T106" fmla="*/ 1125 w 1501"/>
              <a:gd name="T107" fmla="*/ 825 h 1326"/>
              <a:gd name="T108" fmla="*/ 1125 w 1501"/>
              <a:gd name="T109" fmla="*/ 825 h 1326"/>
              <a:gd name="T110" fmla="*/ 1075 w 1501"/>
              <a:gd name="T111" fmla="*/ 825 h 1326"/>
              <a:gd name="T112" fmla="*/ 1050 w 1501"/>
              <a:gd name="T113" fmla="*/ 875 h 1326"/>
              <a:gd name="T114" fmla="*/ 1025 w 1501"/>
              <a:gd name="T115" fmla="*/ 875 h 1326"/>
              <a:gd name="T116" fmla="*/ 950 w 1501"/>
              <a:gd name="T117" fmla="*/ 800 h 1326"/>
              <a:gd name="T118" fmla="*/ 1025 w 1501"/>
              <a:gd name="T119" fmla="*/ 725 h 1326"/>
              <a:gd name="T120" fmla="*/ 1099 w 1501"/>
              <a:gd name="T121" fmla="*/ 675 h 1326"/>
              <a:gd name="T122" fmla="*/ 1175 w 1501"/>
              <a:gd name="T123" fmla="*/ 750 h 1326"/>
              <a:gd name="T124" fmla="*/ 1125 w 1501"/>
              <a:gd name="T125" fmla="*/ 825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1" h="1326">
                <a:moveTo>
                  <a:pt x="1425" y="500"/>
                </a:moveTo>
                <a:lnTo>
                  <a:pt x="1425" y="500"/>
                </a:lnTo>
                <a:lnTo>
                  <a:pt x="1425" y="500"/>
                </a:lnTo>
                <a:cubicBezTo>
                  <a:pt x="1425" y="500"/>
                  <a:pt x="1400" y="500"/>
                  <a:pt x="1400" y="525"/>
                </a:cubicBezTo>
                <a:cubicBezTo>
                  <a:pt x="1400" y="550"/>
                  <a:pt x="1375" y="550"/>
                  <a:pt x="1350" y="550"/>
                </a:cubicBezTo>
                <a:cubicBezTo>
                  <a:pt x="1325" y="525"/>
                  <a:pt x="1299" y="475"/>
                  <a:pt x="1299" y="450"/>
                </a:cubicBezTo>
                <a:cubicBezTo>
                  <a:pt x="1299" y="450"/>
                  <a:pt x="1350" y="375"/>
                  <a:pt x="1375" y="375"/>
                </a:cubicBezTo>
                <a:cubicBezTo>
                  <a:pt x="1375" y="375"/>
                  <a:pt x="1400" y="400"/>
                  <a:pt x="1425" y="400"/>
                </a:cubicBezTo>
                <a:lnTo>
                  <a:pt x="1425" y="400"/>
                </a:lnTo>
                <a:cubicBezTo>
                  <a:pt x="1425" y="375"/>
                  <a:pt x="1425" y="250"/>
                  <a:pt x="1400" y="225"/>
                </a:cubicBezTo>
                <a:cubicBezTo>
                  <a:pt x="1375" y="200"/>
                  <a:pt x="1350" y="75"/>
                  <a:pt x="1350" y="50"/>
                </a:cubicBezTo>
                <a:cubicBezTo>
                  <a:pt x="1350" y="25"/>
                  <a:pt x="1250" y="50"/>
                  <a:pt x="1250" y="25"/>
                </a:cubicBezTo>
                <a:cubicBezTo>
                  <a:pt x="1225" y="0"/>
                  <a:pt x="1150" y="25"/>
                  <a:pt x="1150" y="0"/>
                </a:cubicBezTo>
                <a:cubicBezTo>
                  <a:pt x="1125" y="25"/>
                  <a:pt x="1125" y="50"/>
                  <a:pt x="1125" y="50"/>
                </a:cubicBezTo>
                <a:cubicBezTo>
                  <a:pt x="1099" y="75"/>
                  <a:pt x="1075" y="50"/>
                  <a:pt x="1050" y="100"/>
                </a:cubicBezTo>
                <a:cubicBezTo>
                  <a:pt x="1050" y="125"/>
                  <a:pt x="1000" y="150"/>
                  <a:pt x="975" y="150"/>
                </a:cubicBezTo>
                <a:cubicBezTo>
                  <a:pt x="950" y="150"/>
                  <a:pt x="950" y="175"/>
                  <a:pt x="950" y="200"/>
                </a:cubicBezTo>
                <a:cubicBezTo>
                  <a:pt x="950" y="225"/>
                  <a:pt x="900" y="275"/>
                  <a:pt x="875" y="275"/>
                </a:cubicBezTo>
                <a:cubicBezTo>
                  <a:pt x="825" y="275"/>
                  <a:pt x="850" y="300"/>
                  <a:pt x="825" y="325"/>
                </a:cubicBezTo>
                <a:cubicBezTo>
                  <a:pt x="825" y="375"/>
                  <a:pt x="800" y="375"/>
                  <a:pt x="750" y="375"/>
                </a:cubicBezTo>
                <a:cubicBezTo>
                  <a:pt x="674" y="375"/>
                  <a:pt x="674" y="375"/>
                  <a:pt x="625" y="350"/>
                </a:cubicBezTo>
                <a:cubicBezTo>
                  <a:pt x="574" y="300"/>
                  <a:pt x="574" y="375"/>
                  <a:pt x="574" y="400"/>
                </a:cubicBezTo>
                <a:cubicBezTo>
                  <a:pt x="550" y="425"/>
                  <a:pt x="500" y="475"/>
                  <a:pt x="474" y="500"/>
                </a:cubicBezTo>
                <a:cubicBezTo>
                  <a:pt x="450" y="500"/>
                  <a:pt x="400" y="500"/>
                  <a:pt x="374" y="500"/>
                </a:cubicBezTo>
                <a:cubicBezTo>
                  <a:pt x="350" y="500"/>
                  <a:pt x="374" y="475"/>
                  <a:pt x="374" y="450"/>
                </a:cubicBezTo>
                <a:cubicBezTo>
                  <a:pt x="374" y="425"/>
                  <a:pt x="374" y="450"/>
                  <a:pt x="374" y="425"/>
                </a:cubicBezTo>
                <a:cubicBezTo>
                  <a:pt x="400" y="425"/>
                  <a:pt x="374" y="350"/>
                  <a:pt x="350" y="325"/>
                </a:cubicBezTo>
                <a:cubicBezTo>
                  <a:pt x="350" y="300"/>
                  <a:pt x="325" y="300"/>
                  <a:pt x="300" y="300"/>
                </a:cubicBezTo>
                <a:cubicBezTo>
                  <a:pt x="300" y="450"/>
                  <a:pt x="300" y="625"/>
                  <a:pt x="300" y="650"/>
                </a:cubicBezTo>
                <a:cubicBezTo>
                  <a:pt x="300" y="675"/>
                  <a:pt x="250" y="675"/>
                  <a:pt x="250" y="700"/>
                </a:cubicBezTo>
                <a:cubicBezTo>
                  <a:pt x="250" y="725"/>
                  <a:pt x="174" y="700"/>
                  <a:pt x="125" y="700"/>
                </a:cubicBezTo>
                <a:cubicBezTo>
                  <a:pt x="100" y="700"/>
                  <a:pt x="100" y="675"/>
                  <a:pt x="74" y="625"/>
                </a:cubicBezTo>
                <a:cubicBezTo>
                  <a:pt x="50" y="600"/>
                  <a:pt x="25" y="650"/>
                  <a:pt x="25" y="675"/>
                </a:cubicBezTo>
                <a:lnTo>
                  <a:pt x="0" y="675"/>
                </a:lnTo>
                <a:cubicBezTo>
                  <a:pt x="25" y="725"/>
                  <a:pt x="50" y="775"/>
                  <a:pt x="50" y="825"/>
                </a:cubicBezTo>
                <a:cubicBezTo>
                  <a:pt x="74" y="901"/>
                  <a:pt x="125" y="975"/>
                  <a:pt x="150" y="1001"/>
                </a:cubicBezTo>
                <a:cubicBezTo>
                  <a:pt x="174" y="1050"/>
                  <a:pt x="174" y="1101"/>
                  <a:pt x="150" y="1101"/>
                </a:cubicBezTo>
                <a:cubicBezTo>
                  <a:pt x="125" y="1101"/>
                  <a:pt x="125" y="1125"/>
                  <a:pt x="150" y="1175"/>
                </a:cubicBezTo>
                <a:cubicBezTo>
                  <a:pt x="174" y="1225"/>
                  <a:pt x="150" y="1250"/>
                  <a:pt x="174" y="1250"/>
                </a:cubicBezTo>
                <a:cubicBezTo>
                  <a:pt x="200" y="1250"/>
                  <a:pt x="200" y="1275"/>
                  <a:pt x="225" y="1275"/>
                </a:cubicBezTo>
                <a:cubicBezTo>
                  <a:pt x="250" y="1275"/>
                  <a:pt x="250" y="1301"/>
                  <a:pt x="274" y="1325"/>
                </a:cubicBezTo>
                <a:lnTo>
                  <a:pt x="325" y="1325"/>
                </a:lnTo>
                <a:cubicBezTo>
                  <a:pt x="350" y="1301"/>
                  <a:pt x="400" y="1275"/>
                  <a:pt x="450" y="1275"/>
                </a:cubicBezTo>
                <a:cubicBezTo>
                  <a:pt x="500" y="1275"/>
                  <a:pt x="474" y="1275"/>
                  <a:pt x="525" y="1250"/>
                </a:cubicBezTo>
                <a:cubicBezTo>
                  <a:pt x="574" y="1225"/>
                  <a:pt x="625" y="1225"/>
                  <a:pt x="674" y="1250"/>
                </a:cubicBezTo>
                <a:cubicBezTo>
                  <a:pt x="725" y="1250"/>
                  <a:pt x="750" y="1250"/>
                  <a:pt x="774" y="1225"/>
                </a:cubicBezTo>
                <a:cubicBezTo>
                  <a:pt x="774" y="1225"/>
                  <a:pt x="825" y="1250"/>
                  <a:pt x="825" y="1225"/>
                </a:cubicBezTo>
                <a:cubicBezTo>
                  <a:pt x="825" y="1201"/>
                  <a:pt x="875" y="1201"/>
                  <a:pt x="900" y="1201"/>
                </a:cubicBezTo>
                <a:cubicBezTo>
                  <a:pt x="925" y="1201"/>
                  <a:pt x="1025" y="1150"/>
                  <a:pt x="1099" y="1075"/>
                </a:cubicBezTo>
                <a:cubicBezTo>
                  <a:pt x="1175" y="1001"/>
                  <a:pt x="1275" y="875"/>
                  <a:pt x="1325" y="800"/>
                </a:cubicBezTo>
                <a:cubicBezTo>
                  <a:pt x="1350" y="725"/>
                  <a:pt x="1425" y="675"/>
                  <a:pt x="1450" y="650"/>
                </a:cubicBezTo>
                <a:cubicBezTo>
                  <a:pt x="1475" y="625"/>
                  <a:pt x="1500" y="550"/>
                  <a:pt x="1500" y="500"/>
                </a:cubicBezTo>
                <a:cubicBezTo>
                  <a:pt x="1475" y="500"/>
                  <a:pt x="1425" y="500"/>
                  <a:pt x="1425" y="500"/>
                </a:cubicBezTo>
                <a:close/>
                <a:moveTo>
                  <a:pt x="1125" y="825"/>
                </a:moveTo>
                <a:lnTo>
                  <a:pt x="1125" y="825"/>
                </a:lnTo>
                <a:cubicBezTo>
                  <a:pt x="1125" y="825"/>
                  <a:pt x="1075" y="800"/>
                  <a:pt x="1075" y="825"/>
                </a:cubicBezTo>
                <a:cubicBezTo>
                  <a:pt x="1075" y="850"/>
                  <a:pt x="1050" y="875"/>
                  <a:pt x="1050" y="875"/>
                </a:cubicBezTo>
                <a:cubicBezTo>
                  <a:pt x="1025" y="875"/>
                  <a:pt x="1025" y="875"/>
                  <a:pt x="1025" y="875"/>
                </a:cubicBezTo>
                <a:cubicBezTo>
                  <a:pt x="950" y="800"/>
                  <a:pt x="950" y="800"/>
                  <a:pt x="950" y="800"/>
                </a:cubicBezTo>
                <a:cubicBezTo>
                  <a:pt x="950" y="800"/>
                  <a:pt x="1000" y="725"/>
                  <a:pt x="1025" y="725"/>
                </a:cubicBezTo>
                <a:cubicBezTo>
                  <a:pt x="1025" y="700"/>
                  <a:pt x="1099" y="650"/>
                  <a:pt x="1099" y="675"/>
                </a:cubicBezTo>
                <a:cubicBezTo>
                  <a:pt x="1125" y="700"/>
                  <a:pt x="1175" y="725"/>
                  <a:pt x="1175" y="750"/>
                </a:cubicBezTo>
                <a:cubicBezTo>
                  <a:pt x="1175" y="775"/>
                  <a:pt x="1125" y="800"/>
                  <a:pt x="1125" y="825"/>
                </a:cubicBezTo>
                <a:close/>
              </a:path>
            </a:pathLst>
          </a:custGeom>
          <a:solidFill>
            <a:schemeClr val="bg1">
              <a:lumMod val="75000"/>
            </a:schemeClr>
          </a:solidFill>
          <a:ln w="9525" cap="flat">
            <a:solidFill>
              <a:schemeClr val="accent3">
                <a:lumMod val="75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54">
              <a:defRPr/>
            </a:pPr>
            <a:endParaRPr lang="en-US">
              <a:solidFill>
                <a:srgbClr val="13171F"/>
              </a:solidFill>
              <a:latin typeface="Microsoft Sans Serif"/>
            </a:endParaRPr>
          </a:p>
        </p:txBody>
      </p:sp>
      <p:sp>
        <p:nvSpPr>
          <p:cNvPr id="361" name="Freeform: Shape 76">
            <a:extLst>
              <a:ext uri="{FF2B5EF4-FFF2-40B4-BE49-F238E27FC236}">
                <a16:creationId xmlns:a16="http://schemas.microsoft.com/office/drawing/2014/main" id="{616A3643-0BA4-4665-85B6-C8A4F0A959B2}"/>
              </a:ext>
            </a:extLst>
          </p:cNvPr>
          <p:cNvSpPr/>
          <p:nvPr/>
        </p:nvSpPr>
        <p:spPr>
          <a:xfrm flipV="1">
            <a:off x="4449293" y="5750760"/>
            <a:ext cx="2022971" cy="423277"/>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355" name="TextBox 354">
            <a:extLst>
              <a:ext uri="{FF2B5EF4-FFF2-40B4-BE49-F238E27FC236}">
                <a16:creationId xmlns:a16="http://schemas.microsoft.com/office/drawing/2014/main" id="{8948D92F-C5BA-4B43-83E2-DFA2B71B582E}"/>
              </a:ext>
            </a:extLst>
          </p:cNvPr>
          <p:cNvSpPr txBox="1"/>
          <p:nvPr/>
        </p:nvSpPr>
        <p:spPr>
          <a:xfrm>
            <a:off x="6647803" y="5560576"/>
            <a:ext cx="1250444"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India</a:t>
            </a:r>
          </a:p>
        </p:txBody>
      </p:sp>
      <p:sp>
        <p:nvSpPr>
          <p:cNvPr id="400" name="Freeform 205">
            <a:extLst>
              <a:ext uri="{FF2B5EF4-FFF2-40B4-BE49-F238E27FC236}">
                <a16:creationId xmlns:a16="http://schemas.microsoft.com/office/drawing/2014/main" id="{FD441F8E-1AA8-4B92-AB61-398B3D4F04D8}"/>
              </a:ext>
            </a:extLst>
          </p:cNvPr>
          <p:cNvSpPr>
            <a:spLocks noChangeArrowheads="1"/>
          </p:cNvSpPr>
          <p:nvPr/>
        </p:nvSpPr>
        <p:spPr bwMode="auto">
          <a:xfrm>
            <a:off x="6010959" y="2855940"/>
            <a:ext cx="143436" cy="136405"/>
          </a:xfrm>
          <a:custGeom>
            <a:avLst/>
            <a:gdLst>
              <a:gd name="T0" fmla="*/ 225 w 451"/>
              <a:gd name="T1" fmla="*/ 174 h 426"/>
              <a:gd name="T2" fmla="*/ 225 w 451"/>
              <a:gd name="T3" fmla="*/ 174 h 426"/>
              <a:gd name="T4" fmla="*/ 225 w 451"/>
              <a:gd name="T5" fmla="*/ 100 h 426"/>
              <a:gd name="T6" fmla="*/ 225 w 451"/>
              <a:gd name="T7" fmla="*/ 25 h 426"/>
              <a:gd name="T8" fmla="*/ 151 w 451"/>
              <a:gd name="T9" fmla="*/ 50 h 426"/>
              <a:gd name="T10" fmla="*/ 100 w 451"/>
              <a:gd name="T11" fmla="*/ 74 h 426"/>
              <a:gd name="T12" fmla="*/ 100 w 451"/>
              <a:gd name="T13" fmla="*/ 125 h 426"/>
              <a:gd name="T14" fmla="*/ 51 w 451"/>
              <a:gd name="T15" fmla="*/ 100 h 426"/>
              <a:gd name="T16" fmla="*/ 0 w 451"/>
              <a:gd name="T17" fmla="*/ 174 h 426"/>
              <a:gd name="T18" fmla="*/ 0 w 451"/>
              <a:gd name="T19" fmla="*/ 274 h 426"/>
              <a:gd name="T20" fmla="*/ 51 w 451"/>
              <a:gd name="T21" fmla="*/ 350 h 426"/>
              <a:gd name="T22" fmla="*/ 51 w 451"/>
              <a:gd name="T23" fmla="*/ 400 h 426"/>
              <a:gd name="T24" fmla="*/ 151 w 451"/>
              <a:gd name="T25" fmla="*/ 400 h 426"/>
              <a:gd name="T26" fmla="*/ 176 w 451"/>
              <a:gd name="T27" fmla="*/ 400 h 426"/>
              <a:gd name="T28" fmla="*/ 151 w 451"/>
              <a:gd name="T29" fmla="*/ 350 h 426"/>
              <a:gd name="T30" fmla="*/ 200 w 451"/>
              <a:gd name="T31" fmla="*/ 374 h 426"/>
              <a:gd name="T32" fmla="*/ 251 w 451"/>
              <a:gd name="T33" fmla="*/ 350 h 426"/>
              <a:gd name="T34" fmla="*/ 225 w 451"/>
              <a:gd name="T35" fmla="*/ 300 h 426"/>
              <a:gd name="T36" fmla="*/ 176 w 451"/>
              <a:gd name="T37" fmla="*/ 300 h 426"/>
              <a:gd name="T38" fmla="*/ 200 w 451"/>
              <a:gd name="T39" fmla="*/ 250 h 426"/>
              <a:gd name="T40" fmla="*/ 276 w 451"/>
              <a:gd name="T41" fmla="*/ 200 h 426"/>
              <a:gd name="T42" fmla="*/ 225 w 451"/>
              <a:gd name="T43" fmla="*/ 174 h 426"/>
              <a:gd name="T44" fmla="*/ 424 w 451"/>
              <a:gd name="T45" fmla="*/ 250 h 426"/>
              <a:gd name="T46" fmla="*/ 424 w 451"/>
              <a:gd name="T47" fmla="*/ 250 h 426"/>
              <a:gd name="T48" fmla="*/ 399 w 451"/>
              <a:gd name="T49" fmla="*/ 274 h 426"/>
              <a:gd name="T50" fmla="*/ 375 w 451"/>
              <a:gd name="T51" fmla="*/ 250 h 426"/>
              <a:gd name="T52" fmla="*/ 299 w 451"/>
              <a:gd name="T53" fmla="*/ 274 h 426"/>
              <a:gd name="T54" fmla="*/ 350 w 451"/>
              <a:gd name="T55" fmla="*/ 350 h 426"/>
              <a:gd name="T56" fmla="*/ 324 w 451"/>
              <a:gd name="T57" fmla="*/ 374 h 426"/>
              <a:gd name="T58" fmla="*/ 350 w 451"/>
              <a:gd name="T59" fmla="*/ 425 h 426"/>
              <a:gd name="T60" fmla="*/ 399 w 451"/>
              <a:gd name="T61" fmla="*/ 350 h 426"/>
              <a:gd name="T62" fmla="*/ 424 w 451"/>
              <a:gd name="T63" fmla="*/ 2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1" h="426">
                <a:moveTo>
                  <a:pt x="225" y="174"/>
                </a:moveTo>
                <a:lnTo>
                  <a:pt x="225" y="174"/>
                </a:lnTo>
                <a:cubicBezTo>
                  <a:pt x="200" y="150"/>
                  <a:pt x="200" y="100"/>
                  <a:pt x="225" y="100"/>
                </a:cubicBezTo>
                <a:cubicBezTo>
                  <a:pt x="225" y="74"/>
                  <a:pt x="251" y="25"/>
                  <a:pt x="225" y="25"/>
                </a:cubicBezTo>
                <a:cubicBezTo>
                  <a:pt x="225" y="0"/>
                  <a:pt x="176" y="25"/>
                  <a:pt x="151" y="50"/>
                </a:cubicBezTo>
                <a:cubicBezTo>
                  <a:pt x="151" y="100"/>
                  <a:pt x="125" y="74"/>
                  <a:pt x="100" y="74"/>
                </a:cubicBezTo>
                <a:cubicBezTo>
                  <a:pt x="100" y="100"/>
                  <a:pt x="125" y="100"/>
                  <a:pt x="100" y="125"/>
                </a:cubicBezTo>
                <a:cubicBezTo>
                  <a:pt x="100" y="150"/>
                  <a:pt x="76" y="100"/>
                  <a:pt x="51" y="100"/>
                </a:cubicBezTo>
                <a:cubicBezTo>
                  <a:pt x="25" y="100"/>
                  <a:pt x="25" y="150"/>
                  <a:pt x="0" y="174"/>
                </a:cubicBezTo>
                <a:cubicBezTo>
                  <a:pt x="0" y="200"/>
                  <a:pt x="0" y="250"/>
                  <a:pt x="0" y="274"/>
                </a:cubicBezTo>
                <a:cubicBezTo>
                  <a:pt x="0" y="300"/>
                  <a:pt x="51" y="325"/>
                  <a:pt x="51" y="350"/>
                </a:cubicBezTo>
                <a:cubicBezTo>
                  <a:pt x="51" y="374"/>
                  <a:pt x="51" y="374"/>
                  <a:pt x="51" y="400"/>
                </a:cubicBezTo>
                <a:cubicBezTo>
                  <a:pt x="100" y="400"/>
                  <a:pt x="125" y="400"/>
                  <a:pt x="151" y="400"/>
                </a:cubicBezTo>
                <a:cubicBezTo>
                  <a:pt x="151" y="400"/>
                  <a:pt x="151" y="400"/>
                  <a:pt x="176" y="400"/>
                </a:cubicBezTo>
                <a:cubicBezTo>
                  <a:pt x="176" y="374"/>
                  <a:pt x="125" y="374"/>
                  <a:pt x="151" y="350"/>
                </a:cubicBezTo>
                <a:cubicBezTo>
                  <a:pt x="151" y="325"/>
                  <a:pt x="176" y="350"/>
                  <a:pt x="200" y="374"/>
                </a:cubicBezTo>
                <a:cubicBezTo>
                  <a:pt x="200" y="374"/>
                  <a:pt x="251" y="374"/>
                  <a:pt x="251" y="350"/>
                </a:cubicBezTo>
                <a:cubicBezTo>
                  <a:pt x="251" y="350"/>
                  <a:pt x="251" y="300"/>
                  <a:pt x="225" y="300"/>
                </a:cubicBezTo>
                <a:cubicBezTo>
                  <a:pt x="200" y="325"/>
                  <a:pt x="200" y="300"/>
                  <a:pt x="176" y="300"/>
                </a:cubicBezTo>
                <a:cubicBezTo>
                  <a:pt x="176" y="274"/>
                  <a:pt x="200" y="250"/>
                  <a:pt x="200" y="250"/>
                </a:cubicBezTo>
                <a:cubicBezTo>
                  <a:pt x="200" y="225"/>
                  <a:pt x="251" y="225"/>
                  <a:pt x="276" y="200"/>
                </a:cubicBezTo>
                <a:lnTo>
                  <a:pt x="225" y="174"/>
                </a:lnTo>
                <a:close/>
                <a:moveTo>
                  <a:pt x="424" y="250"/>
                </a:moveTo>
                <a:lnTo>
                  <a:pt x="424" y="250"/>
                </a:lnTo>
                <a:lnTo>
                  <a:pt x="399" y="274"/>
                </a:lnTo>
                <a:cubicBezTo>
                  <a:pt x="375" y="274"/>
                  <a:pt x="375" y="225"/>
                  <a:pt x="375" y="250"/>
                </a:cubicBezTo>
                <a:cubicBezTo>
                  <a:pt x="350" y="274"/>
                  <a:pt x="324" y="225"/>
                  <a:pt x="299" y="274"/>
                </a:cubicBezTo>
                <a:cubicBezTo>
                  <a:pt x="276" y="325"/>
                  <a:pt x="324" y="350"/>
                  <a:pt x="350" y="350"/>
                </a:cubicBezTo>
                <a:cubicBezTo>
                  <a:pt x="350" y="374"/>
                  <a:pt x="350" y="400"/>
                  <a:pt x="324" y="374"/>
                </a:cubicBezTo>
                <a:cubicBezTo>
                  <a:pt x="299" y="374"/>
                  <a:pt x="299" y="425"/>
                  <a:pt x="350" y="425"/>
                </a:cubicBezTo>
                <a:cubicBezTo>
                  <a:pt x="375" y="425"/>
                  <a:pt x="399" y="374"/>
                  <a:pt x="399" y="350"/>
                </a:cubicBezTo>
                <a:cubicBezTo>
                  <a:pt x="399" y="325"/>
                  <a:pt x="450" y="250"/>
                  <a:pt x="424" y="250"/>
                </a:cubicBezTo>
                <a:close/>
              </a:path>
            </a:pathLst>
          </a:custGeom>
          <a:solidFill>
            <a:schemeClr val="bg1">
              <a:lumMod val="85000"/>
            </a:schemeClr>
          </a:solidFill>
          <a:ln w="952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401" name="Freeform: Shape 1">
            <a:extLst>
              <a:ext uri="{FF2B5EF4-FFF2-40B4-BE49-F238E27FC236}">
                <a16:creationId xmlns:a16="http://schemas.microsoft.com/office/drawing/2014/main" id="{E3FE3BA1-C9D1-4771-90A0-90461E3A6D1E}"/>
              </a:ext>
            </a:extLst>
          </p:cNvPr>
          <p:cNvSpPr/>
          <p:nvPr/>
        </p:nvSpPr>
        <p:spPr>
          <a:xfrm>
            <a:off x="941167" y="902392"/>
            <a:ext cx="5065575" cy="2023563"/>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402" name="TextBox 401">
            <a:extLst>
              <a:ext uri="{FF2B5EF4-FFF2-40B4-BE49-F238E27FC236}">
                <a16:creationId xmlns:a16="http://schemas.microsoft.com/office/drawing/2014/main" id="{1DB5C056-1ECE-4A2C-9DF2-EFF6AE520C41}"/>
              </a:ext>
            </a:extLst>
          </p:cNvPr>
          <p:cNvSpPr txBox="1"/>
          <p:nvPr/>
        </p:nvSpPr>
        <p:spPr>
          <a:xfrm>
            <a:off x="995272" y="647419"/>
            <a:ext cx="1610547" cy="209288"/>
          </a:xfrm>
          <a:prstGeom prst="rect">
            <a:avLst/>
          </a:prstGeom>
        </p:spPr>
        <p:txBody>
          <a:bodyPr wrap="square" lIns="0" tIns="0" rIns="0" bIns="0" rtlCol="0" anchor="t">
            <a:spAutoFit/>
          </a:bodyPr>
          <a:lstStyle/>
          <a:p>
            <a:pPr defTabSz="914354">
              <a:lnSpc>
                <a:spcPct val="85000"/>
              </a:lnSpc>
              <a:defRPr/>
            </a:pPr>
            <a:r>
              <a:rPr lang="en-US" sz="1600" b="1" dirty="0">
                <a:solidFill>
                  <a:srgbClr val="F7F8FA"/>
                </a:solidFill>
                <a:latin typeface="Microsoft Sans Serif"/>
                <a:ea typeface="Microsoft Sans Serif"/>
                <a:cs typeface="Microsoft Sans Serif"/>
              </a:rPr>
              <a:t>Denmark</a:t>
            </a:r>
          </a:p>
        </p:txBody>
      </p:sp>
      <p:sp>
        <p:nvSpPr>
          <p:cNvPr id="403" name="TextBox 402">
            <a:extLst>
              <a:ext uri="{FF2B5EF4-FFF2-40B4-BE49-F238E27FC236}">
                <a16:creationId xmlns:a16="http://schemas.microsoft.com/office/drawing/2014/main" id="{12683FA6-18FF-475D-A89E-202661BFF66C}"/>
              </a:ext>
            </a:extLst>
          </p:cNvPr>
          <p:cNvSpPr txBox="1"/>
          <p:nvPr/>
        </p:nvSpPr>
        <p:spPr>
          <a:xfrm>
            <a:off x="975128" y="913297"/>
            <a:ext cx="3352003" cy="193899"/>
          </a:xfrm>
          <a:prstGeom prst="rect">
            <a:avLst/>
          </a:prstGeom>
        </p:spPr>
        <p:txBody>
          <a:bodyPr wrap="square" lIns="0" tIns="45720" rIns="0" bIns="0" rtlCol="0">
            <a:spAutoFit/>
          </a:bodyPr>
          <a:lstStyle/>
          <a:p>
            <a:pPr defTabSz="914354" fontAlgn="b">
              <a:lnSpc>
                <a:spcPct val="96000"/>
              </a:lnSpc>
              <a:spcAft>
                <a:spcPts val="600"/>
              </a:spcAft>
              <a:defRPr/>
            </a:pPr>
            <a:r>
              <a:rPr lang="en-US" sz="1000" b="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Tour de France 22 powered by 5GB</a:t>
            </a:r>
            <a:endPar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77" name="TextBox 376">
            <a:extLst>
              <a:ext uri="{FF2B5EF4-FFF2-40B4-BE49-F238E27FC236}">
                <a16:creationId xmlns:a16="http://schemas.microsoft.com/office/drawing/2014/main" id="{7914EC9E-466B-4B7B-ABC2-7E21E77839FC}"/>
              </a:ext>
            </a:extLst>
          </p:cNvPr>
          <p:cNvSpPr txBox="1"/>
          <p:nvPr/>
        </p:nvSpPr>
        <p:spPr>
          <a:xfrm>
            <a:off x="7314531" y="4549599"/>
            <a:ext cx="1250444"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Algeria</a:t>
            </a:r>
          </a:p>
        </p:txBody>
      </p:sp>
      <p:sp>
        <p:nvSpPr>
          <p:cNvPr id="406" name="Freeform 53">
            <a:extLst>
              <a:ext uri="{FF2B5EF4-FFF2-40B4-BE49-F238E27FC236}">
                <a16:creationId xmlns:a16="http://schemas.microsoft.com/office/drawing/2014/main" id="{6A5E891B-C265-B6FF-CF51-A286AC5822B1}"/>
              </a:ext>
            </a:extLst>
          </p:cNvPr>
          <p:cNvSpPr>
            <a:spLocks noChangeArrowheads="1"/>
          </p:cNvSpPr>
          <p:nvPr/>
        </p:nvSpPr>
        <p:spPr bwMode="auto">
          <a:xfrm rot="825878">
            <a:off x="7956391" y="3695809"/>
            <a:ext cx="151008" cy="7676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407" name="Freeform 53">
            <a:extLst>
              <a:ext uri="{FF2B5EF4-FFF2-40B4-BE49-F238E27FC236}">
                <a16:creationId xmlns:a16="http://schemas.microsoft.com/office/drawing/2014/main" id="{D9FAB85E-345C-EFA0-0C81-2FD7B901E7CD}"/>
              </a:ext>
            </a:extLst>
          </p:cNvPr>
          <p:cNvSpPr>
            <a:spLocks noChangeArrowheads="1"/>
          </p:cNvSpPr>
          <p:nvPr/>
        </p:nvSpPr>
        <p:spPr bwMode="auto">
          <a:xfrm rot="1353389">
            <a:off x="8006691" y="3711323"/>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414" name="Freeform 53">
            <a:extLst>
              <a:ext uri="{FF2B5EF4-FFF2-40B4-BE49-F238E27FC236}">
                <a16:creationId xmlns:a16="http://schemas.microsoft.com/office/drawing/2014/main" id="{B6A80F58-F06A-D3E4-E70C-9AA11CB38DEE}"/>
              </a:ext>
            </a:extLst>
          </p:cNvPr>
          <p:cNvSpPr>
            <a:spLocks noChangeArrowheads="1"/>
          </p:cNvSpPr>
          <p:nvPr/>
        </p:nvSpPr>
        <p:spPr bwMode="auto">
          <a:xfrm>
            <a:off x="7989547" y="3695851"/>
            <a:ext cx="64687" cy="64687"/>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grpSp>
        <p:nvGrpSpPr>
          <p:cNvPr id="3" name="Group 2">
            <a:extLst>
              <a:ext uri="{FF2B5EF4-FFF2-40B4-BE49-F238E27FC236}">
                <a16:creationId xmlns:a16="http://schemas.microsoft.com/office/drawing/2014/main" id="{621D5F0D-39AC-E584-59E0-1980C09929EF}"/>
              </a:ext>
            </a:extLst>
          </p:cNvPr>
          <p:cNvGrpSpPr/>
          <p:nvPr/>
        </p:nvGrpSpPr>
        <p:grpSpPr>
          <a:xfrm>
            <a:off x="7813911" y="3691654"/>
            <a:ext cx="838120" cy="902745"/>
            <a:chOff x="5860433" y="2768739"/>
            <a:chExt cx="628590" cy="677059"/>
          </a:xfrm>
        </p:grpSpPr>
        <p:sp>
          <p:nvSpPr>
            <p:cNvPr id="405" name="Freeform 45">
              <a:extLst>
                <a:ext uri="{FF2B5EF4-FFF2-40B4-BE49-F238E27FC236}">
                  <a16:creationId xmlns:a16="http://schemas.microsoft.com/office/drawing/2014/main" id="{D8413D7E-7ABD-D8DE-7094-C852C895B615}"/>
                </a:ext>
              </a:extLst>
            </p:cNvPr>
            <p:cNvSpPr>
              <a:spLocks noChangeArrowheads="1"/>
            </p:cNvSpPr>
            <p:nvPr/>
          </p:nvSpPr>
          <p:spPr bwMode="auto">
            <a:xfrm>
              <a:off x="5860433" y="2787677"/>
              <a:ext cx="628590" cy="658121"/>
            </a:xfrm>
            <a:custGeom>
              <a:avLst/>
              <a:gdLst>
                <a:gd name="T0" fmla="*/ 1875 w 2626"/>
                <a:gd name="T1" fmla="*/ 1249 h 2750"/>
                <a:gd name="T2" fmla="*/ 1900 w 2626"/>
                <a:gd name="T3" fmla="*/ 1050 h 2750"/>
                <a:gd name="T4" fmla="*/ 1900 w 2626"/>
                <a:gd name="T5" fmla="*/ 975 h 2750"/>
                <a:gd name="T6" fmla="*/ 2025 w 2626"/>
                <a:gd name="T7" fmla="*/ 1074 h 2750"/>
                <a:gd name="T8" fmla="*/ 2200 w 2626"/>
                <a:gd name="T9" fmla="*/ 1099 h 2750"/>
                <a:gd name="T10" fmla="*/ 2100 w 2626"/>
                <a:gd name="T11" fmla="*/ 1300 h 2750"/>
                <a:gd name="T12" fmla="*/ 2225 w 2626"/>
                <a:gd name="T13" fmla="*/ 1400 h 2750"/>
                <a:gd name="T14" fmla="*/ 2250 w 2626"/>
                <a:gd name="T15" fmla="*/ 1300 h 2750"/>
                <a:gd name="T16" fmla="*/ 2350 w 2626"/>
                <a:gd name="T17" fmla="*/ 1200 h 2750"/>
                <a:gd name="T18" fmla="*/ 2401 w 2626"/>
                <a:gd name="T19" fmla="*/ 975 h 2750"/>
                <a:gd name="T20" fmla="*/ 2550 w 2626"/>
                <a:gd name="T21" fmla="*/ 875 h 2750"/>
                <a:gd name="T22" fmla="*/ 2575 w 2626"/>
                <a:gd name="T23" fmla="*/ 801 h 2750"/>
                <a:gd name="T24" fmla="*/ 2550 w 2626"/>
                <a:gd name="T25" fmla="*/ 725 h 2750"/>
                <a:gd name="T26" fmla="*/ 2475 w 2626"/>
                <a:gd name="T27" fmla="*/ 675 h 2750"/>
                <a:gd name="T28" fmla="*/ 2275 w 2626"/>
                <a:gd name="T29" fmla="*/ 725 h 2750"/>
                <a:gd name="T30" fmla="*/ 2200 w 2626"/>
                <a:gd name="T31" fmla="*/ 801 h 2750"/>
                <a:gd name="T32" fmla="*/ 2150 w 2626"/>
                <a:gd name="T33" fmla="*/ 901 h 2750"/>
                <a:gd name="T34" fmla="*/ 1975 w 2626"/>
                <a:gd name="T35" fmla="*/ 901 h 2750"/>
                <a:gd name="T36" fmla="*/ 1875 w 2626"/>
                <a:gd name="T37" fmla="*/ 825 h 2750"/>
                <a:gd name="T38" fmla="*/ 1800 w 2626"/>
                <a:gd name="T39" fmla="*/ 825 h 2750"/>
                <a:gd name="T40" fmla="*/ 1650 w 2626"/>
                <a:gd name="T41" fmla="*/ 925 h 2750"/>
                <a:gd name="T42" fmla="*/ 1475 w 2626"/>
                <a:gd name="T43" fmla="*/ 825 h 2750"/>
                <a:gd name="T44" fmla="*/ 1300 w 2626"/>
                <a:gd name="T45" fmla="*/ 801 h 2750"/>
                <a:gd name="T46" fmla="*/ 1150 w 2626"/>
                <a:gd name="T47" fmla="*/ 725 h 2750"/>
                <a:gd name="T48" fmla="*/ 1125 w 2626"/>
                <a:gd name="T49" fmla="*/ 625 h 2750"/>
                <a:gd name="T50" fmla="*/ 1125 w 2626"/>
                <a:gd name="T51" fmla="*/ 525 h 2750"/>
                <a:gd name="T52" fmla="*/ 1000 w 2626"/>
                <a:gd name="T53" fmla="*/ 425 h 2750"/>
                <a:gd name="T54" fmla="*/ 975 w 2626"/>
                <a:gd name="T55" fmla="*/ 300 h 2750"/>
                <a:gd name="T56" fmla="*/ 1000 w 2626"/>
                <a:gd name="T57" fmla="*/ 200 h 2750"/>
                <a:gd name="T58" fmla="*/ 925 w 2626"/>
                <a:gd name="T59" fmla="*/ 50 h 2750"/>
                <a:gd name="T60" fmla="*/ 850 w 2626"/>
                <a:gd name="T61" fmla="*/ 0 h 2750"/>
                <a:gd name="T62" fmla="*/ 725 w 2626"/>
                <a:gd name="T63" fmla="*/ 100 h 2750"/>
                <a:gd name="T64" fmla="*/ 525 w 2626"/>
                <a:gd name="T65" fmla="*/ 125 h 2750"/>
                <a:gd name="T66" fmla="*/ 600 w 2626"/>
                <a:gd name="T67" fmla="*/ 300 h 2750"/>
                <a:gd name="T68" fmla="*/ 600 w 2626"/>
                <a:gd name="T69" fmla="*/ 425 h 2750"/>
                <a:gd name="T70" fmla="*/ 550 w 2626"/>
                <a:gd name="T71" fmla="*/ 550 h 2750"/>
                <a:gd name="T72" fmla="*/ 450 w 2626"/>
                <a:gd name="T73" fmla="*/ 675 h 2750"/>
                <a:gd name="T74" fmla="*/ 325 w 2626"/>
                <a:gd name="T75" fmla="*/ 801 h 2750"/>
                <a:gd name="T76" fmla="*/ 174 w 2626"/>
                <a:gd name="T77" fmla="*/ 801 h 2750"/>
                <a:gd name="T78" fmla="*/ 174 w 2626"/>
                <a:gd name="T79" fmla="*/ 950 h 2750"/>
                <a:gd name="T80" fmla="*/ 250 w 2626"/>
                <a:gd name="T81" fmla="*/ 1149 h 2750"/>
                <a:gd name="T82" fmla="*/ 74 w 2626"/>
                <a:gd name="T83" fmla="*/ 1149 h 2750"/>
                <a:gd name="T84" fmla="*/ 0 w 2626"/>
                <a:gd name="T85" fmla="*/ 1224 h 2750"/>
                <a:gd name="T86" fmla="*/ 174 w 2626"/>
                <a:gd name="T87" fmla="*/ 1300 h 2750"/>
                <a:gd name="T88" fmla="*/ 250 w 2626"/>
                <a:gd name="T89" fmla="*/ 1524 h 2750"/>
                <a:gd name="T90" fmla="*/ 374 w 2626"/>
                <a:gd name="T91" fmla="*/ 1374 h 2750"/>
                <a:gd name="T92" fmla="*/ 400 w 2626"/>
                <a:gd name="T93" fmla="*/ 1549 h 2750"/>
                <a:gd name="T94" fmla="*/ 475 w 2626"/>
                <a:gd name="T95" fmla="*/ 1874 h 2750"/>
                <a:gd name="T96" fmla="*/ 650 w 2626"/>
                <a:gd name="T97" fmla="*/ 2374 h 2750"/>
                <a:gd name="T98" fmla="*/ 825 w 2626"/>
                <a:gd name="T99" fmla="*/ 2749 h 2750"/>
                <a:gd name="T100" fmla="*/ 1000 w 2626"/>
                <a:gd name="T101" fmla="*/ 2600 h 2750"/>
                <a:gd name="T102" fmla="*/ 1075 w 2626"/>
                <a:gd name="T103" fmla="*/ 2474 h 2750"/>
                <a:gd name="T104" fmla="*/ 1100 w 2626"/>
                <a:gd name="T105" fmla="*/ 2200 h 2750"/>
                <a:gd name="T106" fmla="*/ 1150 w 2626"/>
                <a:gd name="T107" fmla="*/ 2000 h 2750"/>
                <a:gd name="T108" fmla="*/ 1375 w 2626"/>
                <a:gd name="T109" fmla="*/ 1825 h 2750"/>
                <a:gd name="T110" fmla="*/ 1675 w 2626"/>
                <a:gd name="T111" fmla="*/ 1574 h 2750"/>
                <a:gd name="T112" fmla="*/ 1875 w 2626"/>
                <a:gd name="T113" fmla="*/ 1424 h 2750"/>
                <a:gd name="T114" fmla="*/ 1875 w 2626"/>
                <a:gd name="T115" fmla="*/ 1249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26" h="2750">
                  <a:moveTo>
                    <a:pt x="1875" y="1249"/>
                  </a:moveTo>
                  <a:lnTo>
                    <a:pt x="1875" y="1249"/>
                  </a:lnTo>
                  <a:cubicBezTo>
                    <a:pt x="1850" y="1200"/>
                    <a:pt x="1825" y="1124"/>
                    <a:pt x="1850" y="1099"/>
                  </a:cubicBezTo>
                  <a:cubicBezTo>
                    <a:pt x="1850" y="1074"/>
                    <a:pt x="1875" y="1099"/>
                    <a:pt x="1900" y="1050"/>
                  </a:cubicBezTo>
                  <a:cubicBezTo>
                    <a:pt x="1900" y="1025"/>
                    <a:pt x="1800" y="1025"/>
                    <a:pt x="1825" y="975"/>
                  </a:cubicBezTo>
                  <a:cubicBezTo>
                    <a:pt x="1875" y="925"/>
                    <a:pt x="1875" y="975"/>
                    <a:pt x="1900" y="975"/>
                  </a:cubicBezTo>
                  <a:cubicBezTo>
                    <a:pt x="1950" y="975"/>
                    <a:pt x="1975" y="1001"/>
                    <a:pt x="1975" y="1025"/>
                  </a:cubicBezTo>
                  <a:cubicBezTo>
                    <a:pt x="1975" y="1050"/>
                    <a:pt x="2025" y="1074"/>
                    <a:pt x="2025" y="1074"/>
                  </a:cubicBezTo>
                  <a:cubicBezTo>
                    <a:pt x="2025" y="1074"/>
                    <a:pt x="2100" y="1074"/>
                    <a:pt x="2125" y="1074"/>
                  </a:cubicBezTo>
                  <a:cubicBezTo>
                    <a:pt x="2150" y="1074"/>
                    <a:pt x="2200" y="1074"/>
                    <a:pt x="2200" y="1099"/>
                  </a:cubicBezTo>
                  <a:cubicBezTo>
                    <a:pt x="2200" y="1124"/>
                    <a:pt x="2150" y="1200"/>
                    <a:pt x="2125" y="1200"/>
                  </a:cubicBezTo>
                  <a:cubicBezTo>
                    <a:pt x="2075" y="1200"/>
                    <a:pt x="2075" y="1274"/>
                    <a:pt x="2100" y="1300"/>
                  </a:cubicBezTo>
                  <a:cubicBezTo>
                    <a:pt x="2150" y="1300"/>
                    <a:pt x="2175" y="1224"/>
                    <a:pt x="2175" y="1224"/>
                  </a:cubicBezTo>
                  <a:cubicBezTo>
                    <a:pt x="2200" y="1224"/>
                    <a:pt x="2200" y="1300"/>
                    <a:pt x="2225" y="1400"/>
                  </a:cubicBezTo>
                  <a:lnTo>
                    <a:pt x="2225" y="1400"/>
                  </a:lnTo>
                  <a:cubicBezTo>
                    <a:pt x="2250" y="1400"/>
                    <a:pt x="2250" y="1300"/>
                    <a:pt x="2250" y="1300"/>
                  </a:cubicBezTo>
                  <a:cubicBezTo>
                    <a:pt x="2275" y="1274"/>
                    <a:pt x="2275" y="1200"/>
                    <a:pt x="2275" y="1200"/>
                  </a:cubicBezTo>
                  <a:cubicBezTo>
                    <a:pt x="2275" y="1200"/>
                    <a:pt x="2350" y="1224"/>
                    <a:pt x="2350" y="1200"/>
                  </a:cubicBezTo>
                  <a:cubicBezTo>
                    <a:pt x="2350" y="1174"/>
                    <a:pt x="2401" y="1124"/>
                    <a:pt x="2375" y="1074"/>
                  </a:cubicBezTo>
                  <a:cubicBezTo>
                    <a:pt x="2375" y="1050"/>
                    <a:pt x="2401" y="1001"/>
                    <a:pt x="2401" y="975"/>
                  </a:cubicBezTo>
                  <a:cubicBezTo>
                    <a:pt x="2401" y="925"/>
                    <a:pt x="2450" y="925"/>
                    <a:pt x="2475" y="901"/>
                  </a:cubicBezTo>
                  <a:cubicBezTo>
                    <a:pt x="2501" y="875"/>
                    <a:pt x="2550" y="850"/>
                    <a:pt x="2550" y="875"/>
                  </a:cubicBezTo>
                  <a:cubicBezTo>
                    <a:pt x="2550" y="875"/>
                    <a:pt x="2625" y="901"/>
                    <a:pt x="2601" y="875"/>
                  </a:cubicBezTo>
                  <a:cubicBezTo>
                    <a:pt x="2575" y="825"/>
                    <a:pt x="2575" y="801"/>
                    <a:pt x="2575" y="801"/>
                  </a:cubicBezTo>
                  <a:cubicBezTo>
                    <a:pt x="2601" y="801"/>
                    <a:pt x="2601" y="750"/>
                    <a:pt x="2601" y="750"/>
                  </a:cubicBezTo>
                  <a:cubicBezTo>
                    <a:pt x="2601" y="750"/>
                    <a:pt x="2550" y="750"/>
                    <a:pt x="2550" y="725"/>
                  </a:cubicBezTo>
                  <a:cubicBezTo>
                    <a:pt x="2550" y="701"/>
                    <a:pt x="2525" y="675"/>
                    <a:pt x="2525" y="675"/>
                  </a:cubicBezTo>
                  <a:cubicBezTo>
                    <a:pt x="2525" y="650"/>
                    <a:pt x="2475" y="650"/>
                    <a:pt x="2475" y="675"/>
                  </a:cubicBezTo>
                  <a:cubicBezTo>
                    <a:pt x="2450" y="701"/>
                    <a:pt x="2401" y="650"/>
                    <a:pt x="2350" y="675"/>
                  </a:cubicBezTo>
                  <a:cubicBezTo>
                    <a:pt x="2301" y="701"/>
                    <a:pt x="2301" y="725"/>
                    <a:pt x="2275" y="725"/>
                  </a:cubicBezTo>
                  <a:cubicBezTo>
                    <a:pt x="2250" y="725"/>
                    <a:pt x="2250" y="750"/>
                    <a:pt x="2225" y="775"/>
                  </a:cubicBezTo>
                  <a:lnTo>
                    <a:pt x="2200" y="801"/>
                  </a:lnTo>
                  <a:cubicBezTo>
                    <a:pt x="2175" y="801"/>
                    <a:pt x="2150" y="825"/>
                    <a:pt x="2150" y="825"/>
                  </a:cubicBezTo>
                  <a:cubicBezTo>
                    <a:pt x="2150" y="825"/>
                    <a:pt x="2175" y="875"/>
                    <a:pt x="2150" y="901"/>
                  </a:cubicBezTo>
                  <a:cubicBezTo>
                    <a:pt x="2150" y="925"/>
                    <a:pt x="2100" y="901"/>
                    <a:pt x="2050" y="925"/>
                  </a:cubicBezTo>
                  <a:cubicBezTo>
                    <a:pt x="2025" y="925"/>
                    <a:pt x="2000" y="901"/>
                    <a:pt x="1975" y="901"/>
                  </a:cubicBezTo>
                  <a:cubicBezTo>
                    <a:pt x="1950" y="925"/>
                    <a:pt x="1925" y="901"/>
                    <a:pt x="1900" y="901"/>
                  </a:cubicBezTo>
                  <a:cubicBezTo>
                    <a:pt x="1900" y="901"/>
                    <a:pt x="1875" y="850"/>
                    <a:pt x="1875" y="825"/>
                  </a:cubicBezTo>
                  <a:cubicBezTo>
                    <a:pt x="1875" y="801"/>
                    <a:pt x="1875" y="750"/>
                    <a:pt x="1850" y="775"/>
                  </a:cubicBezTo>
                  <a:cubicBezTo>
                    <a:pt x="1825" y="801"/>
                    <a:pt x="1800" y="801"/>
                    <a:pt x="1800" y="825"/>
                  </a:cubicBezTo>
                  <a:cubicBezTo>
                    <a:pt x="1800" y="850"/>
                    <a:pt x="1825" y="901"/>
                    <a:pt x="1800" y="925"/>
                  </a:cubicBezTo>
                  <a:cubicBezTo>
                    <a:pt x="1775" y="950"/>
                    <a:pt x="1675" y="950"/>
                    <a:pt x="1650" y="925"/>
                  </a:cubicBezTo>
                  <a:cubicBezTo>
                    <a:pt x="1625" y="925"/>
                    <a:pt x="1525" y="901"/>
                    <a:pt x="1525" y="901"/>
                  </a:cubicBezTo>
                  <a:cubicBezTo>
                    <a:pt x="1525" y="875"/>
                    <a:pt x="1500" y="825"/>
                    <a:pt x="1475" y="825"/>
                  </a:cubicBezTo>
                  <a:cubicBezTo>
                    <a:pt x="1450" y="825"/>
                    <a:pt x="1400" y="875"/>
                    <a:pt x="1375" y="850"/>
                  </a:cubicBezTo>
                  <a:cubicBezTo>
                    <a:pt x="1375" y="850"/>
                    <a:pt x="1325" y="801"/>
                    <a:pt x="1300" y="801"/>
                  </a:cubicBezTo>
                  <a:cubicBezTo>
                    <a:pt x="1275" y="801"/>
                    <a:pt x="1225" y="775"/>
                    <a:pt x="1225" y="775"/>
                  </a:cubicBezTo>
                  <a:cubicBezTo>
                    <a:pt x="1225" y="750"/>
                    <a:pt x="1175" y="750"/>
                    <a:pt x="1150" y="725"/>
                  </a:cubicBezTo>
                  <a:cubicBezTo>
                    <a:pt x="1150" y="725"/>
                    <a:pt x="1100" y="725"/>
                    <a:pt x="1100" y="701"/>
                  </a:cubicBezTo>
                  <a:cubicBezTo>
                    <a:pt x="1100" y="675"/>
                    <a:pt x="1125" y="650"/>
                    <a:pt x="1125" y="625"/>
                  </a:cubicBezTo>
                  <a:cubicBezTo>
                    <a:pt x="1125" y="601"/>
                    <a:pt x="1175" y="575"/>
                    <a:pt x="1175" y="575"/>
                  </a:cubicBezTo>
                  <a:cubicBezTo>
                    <a:pt x="1175" y="550"/>
                    <a:pt x="1125" y="525"/>
                    <a:pt x="1125" y="525"/>
                  </a:cubicBezTo>
                  <a:cubicBezTo>
                    <a:pt x="1125" y="525"/>
                    <a:pt x="1100" y="475"/>
                    <a:pt x="1075" y="475"/>
                  </a:cubicBezTo>
                  <a:cubicBezTo>
                    <a:pt x="1050" y="475"/>
                    <a:pt x="1025" y="425"/>
                    <a:pt x="1000" y="425"/>
                  </a:cubicBezTo>
                  <a:cubicBezTo>
                    <a:pt x="975" y="425"/>
                    <a:pt x="975" y="375"/>
                    <a:pt x="975" y="350"/>
                  </a:cubicBezTo>
                  <a:cubicBezTo>
                    <a:pt x="950" y="325"/>
                    <a:pt x="950" y="275"/>
                    <a:pt x="975" y="300"/>
                  </a:cubicBezTo>
                  <a:cubicBezTo>
                    <a:pt x="1000" y="325"/>
                    <a:pt x="1050" y="300"/>
                    <a:pt x="1050" y="275"/>
                  </a:cubicBezTo>
                  <a:cubicBezTo>
                    <a:pt x="1025" y="250"/>
                    <a:pt x="1000" y="200"/>
                    <a:pt x="1000" y="200"/>
                  </a:cubicBezTo>
                  <a:cubicBezTo>
                    <a:pt x="1000" y="175"/>
                    <a:pt x="1000" y="125"/>
                    <a:pt x="975" y="100"/>
                  </a:cubicBezTo>
                  <a:cubicBezTo>
                    <a:pt x="950" y="100"/>
                    <a:pt x="925" y="75"/>
                    <a:pt x="925" y="50"/>
                  </a:cubicBezTo>
                  <a:cubicBezTo>
                    <a:pt x="925" y="25"/>
                    <a:pt x="900" y="0"/>
                    <a:pt x="900" y="0"/>
                  </a:cubicBezTo>
                  <a:cubicBezTo>
                    <a:pt x="850" y="0"/>
                    <a:pt x="850" y="0"/>
                    <a:pt x="850" y="0"/>
                  </a:cubicBezTo>
                  <a:cubicBezTo>
                    <a:pt x="850" y="0"/>
                    <a:pt x="825" y="50"/>
                    <a:pt x="825" y="75"/>
                  </a:cubicBezTo>
                  <a:cubicBezTo>
                    <a:pt x="800" y="75"/>
                    <a:pt x="750" y="75"/>
                    <a:pt x="725" y="100"/>
                  </a:cubicBezTo>
                  <a:cubicBezTo>
                    <a:pt x="699" y="125"/>
                    <a:pt x="625" y="75"/>
                    <a:pt x="575" y="75"/>
                  </a:cubicBezTo>
                  <a:cubicBezTo>
                    <a:pt x="550" y="75"/>
                    <a:pt x="525" y="125"/>
                    <a:pt x="525" y="125"/>
                  </a:cubicBezTo>
                  <a:cubicBezTo>
                    <a:pt x="550" y="150"/>
                    <a:pt x="550" y="225"/>
                    <a:pt x="550" y="225"/>
                  </a:cubicBezTo>
                  <a:cubicBezTo>
                    <a:pt x="550" y="225"/>
                    <a:pt x="575" y="325"/>
                    <a:pt x="600" y="300"/>
                  </a:cubicBezTo>
                  <a:cubicBezTo>
                    <a:pt x="650" y="300"/>
                    <a:pt x="675" y="350"/>
                    <a:pt x="650" y="350"/>
                  </a:cubicBezTo>
                  <a:cubicBezTo>
                    <a:pt x="625" y="350"/>
                    <a:pt x="600" y="400"/>
                    <a:pt x="600" y="425"/>
                  </a:cubicBezTo>
                  <a:cubicBezTo>
                    <a:pt x="600" y="450"/>
                    <a:pt x="600" y="475"/>
                    <a:pt x="575" y="501"/>
                  </a:cubicBezTo>
                  <a:cubicBezTo>
                    <a:pt x="550" y="501"/>
                    <a:pt x="550" y="501"/>
                    <a:pt x="550" y="550"/>
                  </a:cubicBezTo>
                  <a:cubicBezTo>
                    <a:pt x="550" y="575"/>
                    <a:pt x="499" y="575"/>
                    <a:pt x="475" y="575"/>
                  </a:cubicBezTo>
                  <a:cubicBezTo>
                    <a:pt x="475" y="601"/>
                    <a:pt x="450" y="675"/>
                    <a:pt x="450" y="675"/>
                  </a:cubicBezTo>
                  <a:cubicBezTo>
                    <a:pt x="425" y="701"/>
                    <a:pt x="374" y="701"/>
                    <a:pt x="374" y="725"/>
                  </a:cubicBezTo>
                  <a:cubicBezTo>
                    <a:pt x="374" y="775"/>
                    <a:pt x="325" y="801"/>
                    <a:pt x="325" y="801"/>
                  </a:cubicBezTo>
                  <a:cubicBezTo>
                    <a:pt x="300" y="801"/>
                    <a:pt x="274" y="775"/>
                    <a:pt x="250" y="801"/>
                  </a:cubicBezTo>
                  <a:cubicBezTo>
                    <a:pt x="250" y="825"/>
                    <a:pt x="200" y="801"/>
                    <a:pt x="174" y="801"/>
                  </a:cubicBezTo>
                  <a:cubicBezTo>
                    <a:pt x="174" y="801"/>
                    <a:pt x="125" y="850"/>
                    <a:pt x="125" y="901"/>
                  </a:cubicBezTo>
                  <a:cubicBezTo>
                    <a:pt x="125" y="925"/>
                    <a:pt x="174" y="925"/>
                    <a:pt x="174" y="950"/>
                  </a:cubicBezTo>
                  <a:cubicBezTo>
                    <a:pt x="174" y="1001"/>
                    <a:pt x="200" y="1025"/>
                    <a:pt x="225" y="1050"/>
                  </a:cubicBezTo>
                  <a:cubicBezTo>
                    <a:pt x="225" y="1074"/>
                    <a:pt x="250" y="1124"/>
                    <a:pt x="250" y="1149"/>
                  </a:cubicBezTo>
                  <a:cubicBezTo>
                    <a:pt x="225" y="1149"/>
                    <a:pt x="200" y="1174"/>
                    <a:pt x="174" y="1149"/>
                  </a:cubicBezTo>
                  <a:cubicBezTo>
                    <a:pt x="150" y="1149"/>
                    <a:pt x="150" y="1174"/>
                    <a:pt x="74" y="1149"/>
                  </a:cubicBezTo>
                  <a:cubicBezTo>
                    <a:pt x="25" y="1149"/>
                    <a:pt x="25" y="1200"/>
                    <a:pt x="0" y="1224"/>
                  </a:cubicBezTo>
                  <a:lnTo>
                    <a:pt x="0" y="1224"/>
                  </a:lnTo>
                  <a:cubicBezTo>
                    <a:pt x="25" y="1249"/>
                    <a:pt x="25" y="1300"/>
                    <a:pt x="74" y="1300"/>
                  </a:cubicBezTo>
                  <a:cubicBezTo>
                    <a:pt x="125" y="1324"/>
                    <a:pt x="174" y="1274"/>
                    <a:pt x="174" y="1300"/>
                  </a:cubicBezTo>
                  <a:cubicBezTo>
                    <a:pt x="174" y="1349"/>
                    <a:pt x="50" y="1349"/>
                    <a:pt x="50" y="1349"/>
                  </a:cubicBezTo>
                  <a:cubicBezTo>
                    <a:pt x="50" y="1374"/>
                    <a:pt x="174" y="1524"/>
                    <a:pt x="250" y="1524"/>
                  </a:cubicBezTo>
                  <a:cubicBezTo>
                    <a:pt x="325" y="1500"/>
                    <a:pt x="374" y="1424"/>
                    <a:pt x="350" y="1424"/>
                  </a:cubicBezTo>
                  <a:cubicBezTo>
                    <a:pt x="325" y="1400"/>
                    <a:pt x="374" y="1374"/>
                    <a:pt x="374" y="1374"/>
                  </a:cubicBezTo>
                  <a:cubicBezTo>
                    <a:pt x="400" y="1374"/>
                    <a:pt x="374" y="1449"/>
                    <a:pt x="400" y="1474"/>
                  </a:cubicBezTo>
                  <a:cubicBezTo>
                    <a:pt x="425" y="1474"/>
                    <a:pt x="425" y="1524"/>
                    <a:pt x="400" y="1549"/>
                  </a:cubicBezTo>
                  <a:cubicBezTo>
                    <a:pt x="400" y="1600"/>
                    <a:pt x="425" y="1674"/>
                    <a:pt x="425" y="1725"/>
                  </a:cubicBezTo>
                  <a:cubicBezTo>
                    <a:pt x="425" y="1749"/>
                    <a:pt x="450" y="1825"/>
                    <a:pt x="475" y="1874"/>
                  </a:cubicBezTo>
                  <a:cubicBezTo>
                    <a:pt x="475" y="1949"/>
                    <a:pt x="525" y="2074"/>
                    <a:pt x="550" y="2125"/>
                  </a:cubicBezTo>
                  <a:cubicBezTo>
                    <a:pt x="600" y="2200"/>
                    <a:pt x="625" y="2349"/>
                    <a:pt x="650" y="2374"/>
                  </a:cubicBezTo>
                  <a:cubicBezTo>
                    <a:pt x="675" y="2399"/>
                    <a:pt x="725" y="2525"/>
                    <a:pt x="725" y="2574"/>
                  </a:cubicBezTo>
                  <a:cubicBezTo>
                    <a:pt x="725" y="2649"/>
                    <a:pt x="800" y="2725"/>
                    <a:pt x="825" y="2749"/>
                  </a:cubicBezTo>
                  <a:cubicBezTo>
                    <a:pt x="850" y="2749"/>
                    <a:pt x="900" y="2725"/>
                    <a:pt x="925" y="2674"/>
                  </a:cubicBezTo>
                  <a:cubicBezTo>
                    <a:pt x="925" y="2649"/>
                    <a:pt x="1000" y="2625"/>
                    <a:pt x="1000" y="2600"/>
                  </a:cubicBezTo>
                  <a:cubicBezTo>
                    <a:pt x="1000" y="2574"/>
                    <a:pt x="1025" y="2525"/>
                    <a:pt x="1050" y="2525"/>
                  </a:cubicBezTo>
                  <a:cubicBezTo>
                    <a:pt x="1075" y="2525"/>
                    <a:pt x="1075" y="2499"/>
                    <a:pt x="1075" y="2474"/>
                  </a:cubicBezTo>
                  <a:cubicBezTo>
                    <a:pt x="1075" y="2425"/>
                    <a:pt x="1075" y="2374"/>
                    <a:pt x="1100" y="2349"/>
                  </a:cubicBezTo>
                  <a:cubicBezTo>
                    <a:pt x="1125" y="2325"/>
                    <a:pt x="1125" y="2225"/>
                    <a:pt x="1100" y="2200"/>
                  </a:cubicBezTo>
                  <a:cubicBezTo>
                    <a:pt x="1100" y="2149"/>
                    <a:pt x="1100" y="2100"/>
                    <a:pt x="1100" y="2074"/>
                  </a:cubicBezTo>
                  <a:cubicBezTo>
                    <a:pt x="1125" y="2049"/>
                    <a:pt x="1125" y="2000"/>
                    <a:pt x="1150" y="2000"/>
                  </a:cubicBezTo>
                  <a:cubicBezTo>
                    <a:pt x="1175" y="2000"/>
                    <a:pt x="1200" y="1974"/>
                    <a:pt x="1250" y="1925"/>
                  </a:cubicBezTo>
                  <a:cubicBezTo>
                    <a:pt x="1275" y="1900"/>
                    <a:pt x="1350" y="1849"/>
                    <a:pt x="1375" y="1825"/>
                  </a:cubicBezTo>
                  <a:cubicBezTo>
                    <a:pt x="1425" y="1800"/>
                    <a:pt x="1500" y="1725"/>
                    <a:pt x="1525" y="1674"/>
                  </a:cubicBezTo>
                  <a:cubicBezTo>
                    <a:pt x="1550" y="1624"/>
                    <a:pt x="1650" y="1600"/>
                    <a:pt x="1675" y="1574"/>
                  </a:cubicBezTo>
                  <a:cubicBezTo>
                    <a:pt x="1725" y="1524"/>
                    <a:pt x="1700" y="1500"/>
                    <a:pt x="1700" y="1474"/>
                  </a:cubicBezTo>
                  <a:cubicBezTo>
                    <a:pt x="1725" y="1424"/>
                    <a:pt x="1825" y="1424"/>
                    <a:pt x="1875" y="1424"/>
                  </a:cubicBezTo>
                  <a:cubicBezTo>
                    <a:pt x="1875" y="1424"/>
                    <a:pt x="1900" y="1424"/>
                    <a:pt x="1900" y="1400"/>
                  </a:cubicBezTo>
                  <a:cubicBezTo>
                    <a:pt x="1900" y="1349"/>
                    <a:pt x="1875" y="1274"/>
                    <a:pt x="1875" y="1249"/>
                  </a:cubicBezTo>
                </a:path>
              </a:pathLst>
            </a:custGeom>
            <a:solidFill>
              <a:srgbClr val="BFC3C6"/>
            </a:solidFill>
            <a:ln w="3175" cap="flat">
              <a:solidFill>
                <a:schemeClr val="accent3">
                  <a:lumMod val="75000"/>
                </a:schemeClr>
              </a:solidFill>
              <a:bevel/>
              <a:headEnd/>
              <a:tailEnd/>
            </a:ln>
            <a:effectLst/>
          </p:spPr>
          <p:txBody>
            <a:bodyPr wrap="none" anchor="ctr"/>
            <a:lstStyle/>
            <a:p>
              <a:pPr defTabSz="914354">
                <a:defRPr/>
              </a:pPr>
              <a:endParaRPr lang="en-US">
                <a:solidFill>
                  <a:srgbClr val="13171F"/>
                </a:solidFill>
                <a:latin typeface="Microsoft Sans Serif"/>
              </a:endParaRPr>
            </a:p>
          </p:txBody>
        </p:sp>
        <p:sp>
          <p:nvSpPr>
            <p:cNvPr id="408" name="Freeform 53">
              <a:extLst>
                <a:ext uri="{FF2B5EF4-FFF2-40B4-BE49-F238E27FC236}">
                  <a16:creationId xmlns:a16="http://schemas.microsoft.com/office/drawing/2014/main" id="{F5F4B330-E8B0-A348-4725-D0B538845CDA}"/>
                </a:ext>
              </a:extLst>
            </p:cNvPr>
            <p:cNvSpPr>
              <a:spLocks noChangeArrowheads="1"/>
            </p:cNvSpPr>
            <p:nvPr/>
          </p:nvSpPr>
          <p:spPr bwMode="auto">
            <a:xfrm>
              <a:off x="6080239" y="2781261"/>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409" name="Freeform 53">
              <a:extLst>
                <a:ext uri="{FF2B5EF4-FFF2-40B4-BE49-F238E27FC236}">
                  <a16:creationId xmlns:a16="http://schemas.microsoft.com/office/drawing/2014/main" id="{977A3F1C-7385-888D-EB6B-54603C047EA0}"/>
                </a:ext>
              </a:extLst>
            </p:cNvPr>
            <p:cNvSpPr>
              <a:spLocks noChangeArrowheads="1"/>
            </p:cNvSpPr>
            <p:nvPr/>
          </p:nvSpPr>
          <p:spPr bwMode="auto">
            <a:xfrm>
              <a:off x="6019825" y="2781005"/>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sp>
          <p:nvSpPr>
            <p:cNvPr id="415" name="Freeform 53">
              <a:extLst>
                <a:ext uri="{FF2B5EF4-FFF2-40B4-BE49-F238E27FC236}">
                  <a16:creationId xmlns:a16="http://schemas.microsoft.com/office/drawing/2014/main" id="{30FFE395-6C91-BFD4-4B55-6FF132ADE885}"/>
                </a:ext>
              </a:extLst>
            </p:cNvPr>
            <p:cNvSpPr>
              <a:spLocks noChangeArrowheads="1"/>
            </p:cNvSpPr>
            <p:nvPr/>
          </p:nvSpPr>
          <p:spPr bwMode="auto">
            <a:xfrm>
              <a:off x="5994034" y="2768739"/>
              <a:ext cx="48515" cy="48515"/>
            </a:xfrm>
            <a:custGeom>
              <a:avLst/>
              <a:gdLst>
                <a:gd name="T0" fmla="*/ 100 w 201"/>
                <a:gd name="T1" fmla="*/ 0 h 201"/>
                <a:gd name="T2" fmla="*/ 100 w 201"/>
                <a:gd name="T3" fmla="*/ 0 h 201"/>
                <a:gd name="T4" fmla="*/ 0 w 201"/>
                <a:gd name="T5" fmla="*/ 75 h 201"/>
                <a:gd name="T6" fmla="*/ 0 w 201"/>
                <a:gd name="T7" fmla="*/ 100 h 201"/>
                <a:gd name="T8" fmla="*/ 50 w 201"/>
                <a:gd name="T9" fmla="*/ 150 h 201"/>
                <a:gd name="T10" fmla="*/ 75 w 201"/>
                <a:gd name="T11" fmla="*/ 200 h 201"/>
                <a:gd name="T12" fmla="*/ 100 w 201"/>
                <a:gd name="T13" fmla="*/ 200 h 201"/>
                <a:gd name="T14" fmla="*/ 200 w 201"/>
                <a:gd name="T15" fmla="*/ 100 h 201"/>
                <a:gd name="T16" fmla="*/ 100 w 201"/>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00" y="0"/>
                  </a:moveTo>
                  <a:lnTo>
                    <a:pt x="100" y="0"/>
                  </a:lnTo>
                  <a:cubicBezTo>
                    <a:pt x="50" y="0"/>
                    <a:pt x="0" y="25"/>
                    <a:pt x="0" y="75"/>
                  </a:cubicBezTo>
                  <a:cubicBezTo>
                    <a:pt x="0" y="75"/>
                    <a:pt x="0" y="75"/>
                    <a:pt x="0" y="100"/>
                  </a:cubicBezTo>
                  <a:cubicBezTo>
                    <a:pt x="0" y="125"/>
                    <a:pt x="25" y="150"/>
                    <a:pt x="50" y="150"/>
                  </a:cubicBezTo>
                  <a:cubicBezTo>
                    <a:pt x="75" y="150"/>
                    <a:pt x="75" y="175"/>
                    <a:pt x="75" y="200"/>
                  </a:cubicBezTo>
                  <a:lnTo>
                    <a:pt x="100" y="200"/>
                  </a:lnTo>
                  <a:cubicBezTo>
                    <a:pt x="125" y="200"/>
                    <a:pt x="200" y="125"/>
                    <a:pt x="200" y="100"/>
                  </a:cubicBezTo>
                  <a:cubicBezTo>
                    <a:pt x="200" y="75"/>
                    <a:pt x="125" y="0"/>
                    <a:pt x="100" y="0"/>
                  </a:cubicBezTo>
                </a:path>
              </a:pathLst>
            </a:custGeom>
            <a:solidFill>
              <a:srgbClr val="BFC3C6"/>
            </a:solidFill>
            <a:ln w="9525" cap="flat">
              <a:noFill/>
              <a:bevel/>
              <a:headEnd/>
              <a:tailEnd/>
            </a:ln>
            <a:effectLst/>
          </p:spPr>
          <p:txBody>
            <a:bodyPr wrap="none" anchor="ctr"/>
            <a:lstStyle/>
            <a:p>
              <a:pPr defTabSz="914354">
                <a:defRPr/>
              </a:pPr>
              <a:endParaRPr lang="en-US">
                <a:solidFill>
                  <a:srgbClr val="13171F"/>
                </a:solidFill>
                <a:latin typeface="Microsoft Sans Serif"/>
              </a:endParaRPr>
            </a:p>
          </p:txBody>
        </p:sp>
      </p:grpSp>
      <p:sp>
        <p:nvSpPr>
          <p:cNvPr id="416" name="TextBox 415">
            <a:extLst>
              <a:ext uri="{FF2B5EF4-FFF2-40B4-BE49-F238E27FC236}">
                <a16:creationId xmlns:a16="http://schemas.microsoft.com/office/drawing/2014/main" id="{390B3140-0F03-50A2-85A7-A1364122F8FC}"/>
              </a:ext>
            </a:extLst>
          </p:cNvPr>
          <p:cNvSpPr txBox="1"/>
          <p:nvPr/>
        </p:nvSpPr>
        <p:spPr>
          <a:xfrm>
            <a:off x="7821860" y="3198891"/>
            <a:ext cx="817797" cy="209288"/>
          </a:xfrm>
          <a:prstGeom prst="rect">
            <a:avLst/>
          </a:prstGeom>
        </p:spPr>
        <p:txBody>
          <a:bodyPr wrap="square" lIns="0" tIns="0" rIns="0" bIns="0" rtlCol="0" anchor="t">
            <a:spAutoFit/>
          </a:bodyPr>
          <a:lstStyle/>
          <a:p>
            <a:pPr defTabSz="914354">
              <a:lnSpc>
                <a:spcPct val="85000"/>
              </a:lnSpc>
              <a:defRPr/>
            </a:pPr>
            <a:r>
              <a:rPr lang="en-US" sz="1600" b="1">
                <a:solidFill>
                  <a:srgbClr val="F7F8FA"/>
                </a:solidFill>
                <a:latin typeface="Microsoft Sans Serif"/>
                <a:ea typeface="Microsoft Sans Serif"/>
                <a:cs typeface="Microsoft Sans Serif"/>
              </a:rPr>
              <a:t>Greece</a:t>
            </a:r>
          </a:p>
        </p:txBody>
      </p:sp>
      <p:sp>
        <p:nvSpPr>
          <p:cNvPr id="423" name="TextBox 422">
            <a:extLst>
              <a:ext uri="{FF2B5EF4-FFF2-40B4-BE49-F238E27FC236}">
                <a16:creationId xmlns:a16="http://schemas.microsoft.com/office/drawing/2014/main" id="{5021BD7E-2AE7-5127-6998-713C51C2E073}"/>
              </a:ext>
            </a:extLst>
          </p:cNvPr>
          <p:cNvSpPr txBox="1"/>
          <p:nvPr/>
        </p:nvSpPr>
        <p:spPr>
          <a:xfrm>
            <a:off x="7817619" y="3809916"/>
            <a:ext cx="817797" cy="209288"/>
          </a:xfrm>
          <a:prstGeom prst="rect">
            <a:avLst/>
          </a:prstGeom>
        </p:spPr>
        <p:txBody>
          <a:bodyPr wrap="square" lIns="0" tIns="0" rIns="0" bIns="0" rtlCol="0" anchor="t">
            <a:spAutoFit/>
          </a:bodyPr>
          <a:lstStyle/>
          <a:p>
            <a:pPr defTabSz="914354">
              <a:lnSpc>
                <a:spcPct val="85000"/>
              </a:lnSpc>
              <a:defRPr/>
            </a:pPr>
            <a:r>
              <a:rPr lang="en-US" sz="1600" b="1" dirty="0">
                <a:solidFill>
                  <a:srgbClr val="F7F8FA"/>
                </a:solidFill>
                <a:latin typeface="Microsoft Sans Serif"/>
                <a:ea typeface="Microsoft Sans Serif"/>
                <a:cs typeface="Microsoft Sans Serif"/>
              </a:rPr>
              <a:t>Croatia</a:t>
            </a:r>
          </a:p>
        </p:txBody>
      </p:sp>
      <p:sp>
        <p:nvSpPr>
          <p:cNvPr id="424" name="TextBox 423">
            <a:extLst>
              <a:ext uri="{FF2B5EF4-FFF2-40B4-BE49-F238E27FC236}">
                <a16:creationId xmlns:a16="http://schemas.microsoft.com/office/drawing/2014/main" id="{DEC55BA8-6D8C-A34B-7A5D-4B66BA1E6ED6}"/>
              </a:ext>
            </a:extLst>
          </p:cNvPr>
          <p:cNvSpPr txBox="1"/>
          <p:nvPr/>
        </p:nvSpPr>
        <p:spPr>
          <a:xfrm>
            <a:off x="6519753" y="3449794"/>
            <a:ext cx="2330009" cy="341632"/>
          </a:xfrm>
          <a:prstGeom prst="rect">
            <a:avLst/>
          </a:prstGeom>
        </p:spPr>
        <p:txBody>
          <a:bodyPr wrap="square" lIns="0" tIns="45720" rIns="0" bIns="0" rtlCol="0">
            <a:spAutoFit/>
          </a:bodyPr>
          <a:lstStyle/>
          <a:p>
            <a:pPr defTabSz="914354" fontAlgn="b">
              <a:lnSpc>
                <a:spcPct val="96000"/>
              </a:lnSpc>
              <a:defRPr/>
            </a:pPr>
            <a:r>
              <a:rPr lang="en-US" sz="1000" b="1">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1-23: </a:t>
            </a:r>
            <a:r>
              <a:rPr lang="en-US" sz="100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Live TV/Radio with 5G BC Rel-14/16 , with 3MHz in Athens</a:t>
            </a:r>
          </a:p>
        </p:txBody>
      </p:sp>
      <p:sp>
        <p:nvSpPr>
          <p:cNvPr id="425" name="TextBox 424">
            <a:extLst>
              <a:ext uri="{FF2B5EF4-FFF2-40B4-BE49-F238E27FC236}">
                <a16:creationId xmlns:a16="http://schemas.microsoft.com/office/drawing/2014/main" id="{DC5EB81F-7CC7-6FC5-4829-2B86131C92D3}"/>
              </a:ext>
            </a:extLst>
          </p:cNvPr>
          <p:cNvSpPr txBox="1"/>
          <p:nvPr/>
        </p:nvSpPr>
        <p:spPr>
          <a:xfrm>
            <a:off x="6804354" y="4041872"/>
            <a:ext cx="2330009" cy="193899"/>
          </a:xfrm>
          <a:prstGeom prst="rect">
            <a:avLst/>
          </a:prstGeom>
        </p:spPr>
        <p:txBody>
          <a:bodyPr wrap="square" lIns="0" tIns="45720" rIns="0" bIns="0" rtlCol="0">
            <a:spAutoFit/>
          </a:bodyPr>
          <a:lstStyle/>
          <a:p>
            <a:pPr defTabSz="914354" fontAlgn="b">
              <a:lnSpc>
                <a:spcPct val="96000"/>
              </a:lnSpc>
              <a:defRPr/>
            </a:pPr>
            <a:r>
              <a:rPr lang="en-US" sz="1000" b="1"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2022-24: </a:t>
            </a:r>
            <a:r>
              <a:rPr lang="en-US" sz="1000" dirty="0">
                <a:solidFill>
                  <a:srgbClr val="F7F8FA"/>
                </a:solidFill>
                <a:latin typeface="Microsoft Sans Serif" panose="020B0604020202020204" pitchFamily="34" charset="0"/>
                <a:ea typeface="Microsoft Sans Serif" panose="020B0604020202020204" pitchFamily="34" charset="0"/>
                <a:cs typeface="Microsoft Sans Serif" panose="020B0604020202020204" pitchFamily="34" charset="0"/>
              </a:rPr>
              <a:t>Live 5G BC Rel-14/16</a:t>
            </a:r>
          </a:p>
        </p:txBody>
      </p:sp>
      <p:sp>
        <p:nvSpPr>
          <p:cNvPr id="426" name="Freeform: Shape 72">
            <a:extLst>
              <a:ext uri="{FF2B5EF4-FFF2-40B4-BE49-F238E27FC236}">
                <a16:creationId xmlns:a16="http://schemas.microsoft.com/office/drawing/2014/main" id="{C152B0B0-B2E4-FBBE-AEAA-DA5377D6178D}"/>
              </a:ext>
            </a:extLst>
          </p:cNvPr>
          <p:cNvSpPr/>
          <p:nvPr/>
        </p:nvSpPr>
        <p:spPr>
          <a:xfrm flipH="1" flipV="1">
            <a:off x="6260529" y="3393509"/>
            <a:ext cx="2313819" cy="638435"/>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427" name="Freeform: Shape 72">
            <a:extLst>
              <a:ext uri="{FF2B5EF4-FFF2-40B4-BE49-F238E27FC236}">
                <a16:creationId xmlns:a16="http://schemas.microsoft.com/office/drawing/2014/main" id="{7B62694E-E79B-B8F6-4ADC-EB71B84CBA47}"/>
              </a:ext>
            </a:extLst>
          </p:cNvPr>
          <p:cNvSpPr/>
          <p:nvPr/>
        </p:nvSpPr>
        <p:spPr>
          <a:xfrm flipH="1">
            <a:off x="6431159" y="3438561"/>
            <a:ext cx="2128880" cy="139369"/>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2" name="Footer Placeholder 1">
            <a:extLst>
              <a:ext uri="{FF2B5EF4-FFF2-40B4-BE49-F238E27FC236}">
                <a16:creationId xmlns:a16="http://schemas.microsoft.com/office/drawing/2014/main" id="{DBE951B3-865E-33ED-C1BF-B9058B0DA95F}"/>
              </a:ext>
            </a:extLst>
          </p:cNvPr>
          <p:cNvSpPr>
            <a:spLocks noGrp="1"/>
          </p:cNvSpPr>
          <p:nvPr>
            <p:ph type="ftr" sz="quarter" idx="3"/>
          </p:nvPr>
        </p:nvSpPr>
        <p:spPr/>
        <p:txBody>
          <a:bodyPr/>
          <a:lstStyle/>
          <a:p>
            <a:pPr>
              <a:spcAft>
                <a:spcPts val="0"/>
              </a:spcAft>
              <a:defRPr/>
            </a:pPr>
            <a:r>
              <a:rPr lang="en-US">
                <a:solidFill>
                  <a:schemeClr val="accent3">
                    <a:lumMod val="60000"/>
                    <a:lumOff val="40000"/>
                  </a:schemeClr>
                </a:solidFill>
              </a:rPr>
              <a:t>IBC 2023</a:t>
            </a:r>
          </a:p>
        </p:txBody>
      </p:sp>
      <p:sp>
        <p:nvSpPr>
          <p:cNvPr id="6" name="Freeform: Shape 103">
            <a:extLst>
              <a:ext uri="{FF2B5EF4-FFF2-40B4-BE49-F238E27FC236}">
                <a16:creationId xmlns:a16="http://schemas.microsoft.com/office/drawing/2014/main" id="{70781214-8863-2DFD-2675-0B645F0EB821}"/>
              </a:ext>
            </a:extLst>
          </p:cNvPr>
          <p:cNvSpPr/>
          <p:nvPr/>
        </p:nvSpPr>
        <p:spPr>
          <a:xfrm flipH="1" flipV="1">
            <a:off x="9185022" y="4687289"/>
            <a:ext cx="2375959" cy="1456991"/>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7" name="Freeform: Shape 103">
            <a:extLst>
              <a:ext uri="{FF2B5EF4-FFF2-40B4-BE49-F238E27FC236}">
                <a16:creationId xmlns:a16="http://schemas.microsoft.com/office/drawing/2014/main" id="{AA3E730A-5A2C-CE53-9928-3168A5CCCCEB}"/>
              </a:ext>
            </a:extLst>
          </p:cNvPr>
          <p:cNvSpPr/>
          <p:nvPr/>
        </p:nvSpPr>
        <p:spPr>
          <a:xfrm flipH="1" flipV="1">
            <a:off x="8787544" y="4692878"/>
            <a:ext cx="3020933" cy="201542"/>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
        <p:nvSpPr>
          <p:cNvPr id="8" name="TextBox 7">
            <a:extLst>
              <a:ext uri="{FF2B5EF4-FFF2-40B4-BE49-F238E27FC236}">
                <a16:creationId xmlns:a16="http://schemas.microsoft.com/office/drawing/2014/main" id="{F08BA720-9B11-C4C6-E3FD-268BCBFAA385}"/>
              </a:ext>
            </a:extLst>
          </p:cNvPr>
          <p:cNvSpPr txBox="1"/>
          <p:nvPr/>
        </p:nvSpPr>
        <p:spPr>
          <a:xfrm>
            <a:off x="9836165" y="6162009"/>
            <a:ext cx="1812587" cy="221599"/>
          </a:xfrm>
          <a:prstGeom prst="rect">
            <a:avLst/>
          </a:prstGeom>
        </p:spPr>
        <p:txBody>
          <a:bodyPr wrap="square" lIns="0" tIns="0" rIns="0" bIns="0" rtlCol="0" anchor="t">
            <a:spAutoFit/>
          </a:bodyPr>
          <a:lstStyle/>
          <a:p>
            <a:pPr algn="r" defTabSz="299703" hangingPunct="0">
              <a:lnSpc>
                <a:spcPct val="90000"/>
              </a:lnSpc>
              <a:spcAft>
                <a:spcPts val="300"/>
              </a:spcAft>
              <a:defRPr sz="4200">
                <a:solidFill>
                  <a:srgbClr val="262626"/>
                </a:solidFill>
              </a:defRPr>
            </a:pPr>
            <a:r>
              <a:rPr lang="en-US" sz="1600" kern="0" dirty="0">
                <a:solidFill>
                  <a:srgbClr val="F7F8FA"/>
                </a:solidFill>
                <a:latin typeface="Microsoft Sans Serif"/>
                <a:ea typeface="Microsoft Sans Serif" panose="020B0604020202020204" pitchFamily="34" charset="0"/>
                <a:cs typeface="Microsoft Sans Serif" panose="020B0604020202020204" pitchFamily="34" charset="0"/>
                <a:sym typeface="Microsoft Sans Serif"/>
              </a:rPr>
              <a:t>China</a:t>
            </a:r>
          </a:p>
        </p:txBody>
      </p:sp>
      <p:sp>
        <p:nvSpPr>
          <p:cNvPr id="9" name="TextBox 8">
            <a:extLst>
              <a:ext uri="{FF2B5EF4-FFF2-40B4-BE49-F238E27FC236}">
                <a16:creationId xmlns:a16="http://schemas.microsoft.com/office/drawing/2014/main" id="{8F920689-2D69-B894-4E1D-749215A696C4}"/>
              </a:ext>
            </a:extLst>
          </p:cNvPr>
          <p:cNvSpPr txBox="1"/>
          <p:nvPr/>
        </p:nvSpPr>
        <p:spPr>
          <a:xfrm>
            <a:off x="9592125" y="4854488"/>
            <a:ext cx="2375959" cy="193899"/>
          </a:xfrm>
          <a:prstGeom prst="rect">
            <a:avLst/>
          </a:prstGeom>
        </p:spPr>
        <p:txBody>
          <a:bodyPr wrap="square" lIns="0" tIns="45720" rIns="0" bIns="0" rtlCol="0">
            <a:spAutoFit/>
          </a:bodyPr>
          <a:lstStyle/>
          <a:p>
            <a:pPr defTabSz="914354">
              <a:lnSpc>
                <a:spcPct val="96000"/>
              </a:lnSpc>
              <a:spcAft>
                <a:spcPts val="600"/>
              </a:spcAft>
              <a:defRPr/>
            </a:pPr>
            <a:r>
              <a:rPr lang="en-US" sz="1000" b="1" dirty="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2023</a:t>
            </a:r>
            <a:r>
              <a:rPr lang="en-US" sz="1000" dirty="0">
                <a:solidFill>
                  <a:srgbClr val="FFFF00"/>
                </a:solidFill>
                <a:latin typeface="Microsoft Sans Serif" panose="020B0604020202020204" pitchFamily="34" charset="0"/>
                <a:ea typeface="Microsoft Sans Serif" panose="020B0604020202020204" pitchFamily="34" charset="0"/>
                <a:cs typeface="Microsoft Sans Serif" panose="020B0604020202020204" pitchFamily="34" charset="0"/>
              </a:rPr>
              <a:t>: Workshop on future of Broadcast </a:t>
            </a:r>
          </a:p>
        </p:txBody>
      </p:sp>
      <p:sp>
        <p:nvSpPr>
          <p:cNvPr id="14" name="TextBox 13">
            <a:extLst>
              <a:ext uri="{FF2B5EF4-FFF2-40B4-BE49-F238E27FC236}">
                <a16:creationId xmlns:a16="http://schemas.microsoft.com/office/drawing/2014/main" id="{86B5AA6A-545C-ECEF-84D8-D18D3C44BE9E}"/>
              </a:ext>
            </a:extLst>
          </p:cNvPr>
          <p:cNvSpPr txBox="1"/>
          <p:nvPr/>
        </p:nvSpPr>
        <p:spPr>
          <a:xfrm>
            <a:off x="827186" y="2990893"/>
            <a:ext cx="1250444" cy="209288"/>
          </a:xfrm>
          <a:prstGeom prst="rect">
            <a:avLst/>
          </a:prstGeom>
        </p:spPr>
        <p:txBody>
          <a:bodyPr wrap="square" lIns="0" tIns="0" rIns="0" bIns="0" rtlCol="0" anchor="t">
            <a:spAutoFit/>
          </a:bodyPr>
          <a:lstStyle/>
          <a:p>
            <a:pPr defTabSz="914354">
              <a:lnSpc>
                <a:spcPct val="85000"/>
              </a:lnSpc>
              <a:defRPr/>
            </a:pPr>
            <a:r>
              <a:rPr lang="en-US" sz="1600" b="1" dirty="0">
                <a:solidFill>
                  <a:srgbClr val="F7F8FA"/>
                </a:solidFill>
                <a:latin typeface="Microsoft Sans Serif"/>
                <a:ea typeface="Microsoft Sans Serif"/>
                <a:cs typeface="Microsoft Sans Serif"/>
              </a:rPr>
              <a:t>Europe</a:t>
            </a:r>
          </a:p>
        </p:txBody>
      </p:sp>
      <p:sp>
        <p:nvSpPr>
          <p:cNvPr id="15" name="TextBox 14">
            <a:extLst>
              <a:ext uri="{FF2B5EF4-FFF2-40B4-BE49-F238E27FC236}">
                <a16:creationId xmlns:a16="http://schemas.microsoft.com/office/drawing/2014/main" id="{485083FE-303C-83D0-2C70-10087573A9E8}"/>
              </a:ext>
            </a:extLst>
          </p:cNvPr>
          <p:cNvSpPr txBox="1"/>
          <p:nvPr/>
        </p:nvSpPr>
        <p:spPr>
          <a:xfrm>
            <a:off x="836424" y="3195690"/>
            <a:ext cx="3262198" cy="201402"/>
          </a:xfrm>
          <a:prstGeom prst="rect">
            <a:avLst/>
          </a:prstGeom>
        </p:spPr>
        <p:txBody>
          <a:bodyPr wrap="square" lIns="0" tIns="45720" rIns="0" bIns="0" rtlCol="0" anchor="t">
            <a:spAutoFit/>
          </a:bodyPr>
          <a:lstStyle/>
          <a:p>
            <a:pPr defTabSz="914354" fontAlgn="b">
              <a:lnSpc>
                <a:spcPct val="96000"/>
              </a:lnSpc>
              <a:defRPr/>
            </a:pPr>
            <a:r>
              <a:rPr lang="en-US" sz="1051" b="1" dirty="0">
                <a:solidFill>
                  <a:srgbClr val="FFFF00"/>
                </a:solidFill>
                <a:ea typeface="Microsoft Sans Serif"/>
                <a:cs typeface="Microsoft Sans Serif"/>
              </a:rPr>
              <a:t>2023</a:t>
            </a:r>
            <a:r>
              <a:rPr lang="en-US" sz="1051" dirty="0">
                <a:solidFill>
                  <a:srgbClr val="FFFF00"/>
                </a:solidFill>
                <a:ea typeface="Microsoft Sans Serif"/>
                <a:cs typeface="Microsoft Sans Serif"/>
              </a:rPr>
              <a:t>: European broadcasters ink 5G Broadcast MoU </a:t>
            </a:r>
            <a:endParaRPr lang="en-US" sz="1051" dirty="0">
              <a:solidFill>
                <a:srgbClr val="FFFF00"/>
              </a:solidFill>
              <a:latin typeface="Microsoft Sans Serif"/>
              <a:ea typeface="Microsoft Sans Serif"/>
              <a:cs typeface="Microsoft Sans Serif"/>
            </a:endParaRPr>
          </a:p>
        </p:txBody>
      </p:sp>
      <p:sp>
        <p:nvSpPr>
          <p:cNvPr id="16" name="Freeform: Shape 72">
            <a:extLst>
              <a:ext uri="{FF2B5EF4-FFF2-40B4-BE49-F238E27FC236}">
                <a16:creationId xmlns:a16="http://schemas.microsoft.com/office/drawing/2014/main" id="{46676723-5F83-B55C-3CF2-B735B6B791B3}"/>
              </a:ext>
            </a:extLst>
          </p:cNvPr>
          <p:cNvSpPr/>
          <p:nvPr/>
        </p:nvSpPr>
        <p:spPr>
          <a:xfrm flipV="1">
            <a:off x="836422" y="3158199"/>
            <a:ext cx="5155659" cy="58124"/>
          </a:xfrm>
          <a:custGeom>
            <a:avLst/>
            <a:gdLst>
              <a:gd name="connsiteX0" fmla="*/ 0 w 3404796"/>
              <a:gd name="connsiteY0" fmla="*/ 0 h 1775012"/>
              <a:gd name="connsiteX1" fmla="*/ 3404796 w 3404796"/>
              <a:gd name="connsiteY1" fmla="*/ 0 h 1775012"/>
              <a:gd name="connsiteX2" fmla="*/ 3404796 w 3404796"/>
              <a:gd name="connsiteY2" fmla="*/ 1775012 h 1775012"/>
            </a:gdLst>
            <a:ahLst/>
            <a:cxnLst>
              <a:cxn ang="0">
                <a:pos x="connsiteX0" y="connsiteY0"/>
              </a:cxn>
              <a:cxn ang="0">
                <a:pos x="connsiteX1" y="connsiteY1"/>
              </a:cxn>
              <a:cxn ang="0">
                <a:pos x="connsiteX2" y="connsiteY2"/>
              </a:cxn>
            </a:cxnLst>
            <a:rect l="l" t="t" r="r" b="b"/>
            <a:pathLst>
              <a:path w="3404796" h="1775012">
                <a:moveTo>
                  <a:pt x="0" y="0"/>
                </a:moveTo>
                <a:lnTo>
                  <a:pt x="3404796" y="0"/>
                </a:lnTo>
                <a:lnTo>
                  <a:pt x="3404796" y="1775012"/>
                </a:lnTo>
              </a:path>
            </a:pathLst>
          </a:custGeom>
          <a:noFill/>
          <a:ln>
            <a:solidFill>
              <a:schemeClr val="accent4">
                <a:lumMod val="40000"/>
                <a:lumOff val="60000"/>
              </a:schemeClr>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ln>
                <a:solidFill>
                  <a:srgbClr val="F7F8FA"/>
                </a:solidFill>
              </a:ln>
              <a:solidFill>
                <a:srgbClr val="F7F8FA"/>
              </a:solidFill>
              <a:latin typeface="Microsoft Sans Serif"/>
            </a:endParaRPr>
          </a:p>
        </p:txBody>
      </p:sp>
    </p:spTree>
    <p:custDataLst>
      <p:tags r:id="rId1"/>
    </p:custDataLst>
    <p:extLst>
      <p:ext uri="{BB962C8B-B14F-4D97-AF65-F5344CB8AC3E}">
        <p14:creationId xmlns:p14="http://schemas.microsoft.com/office/powerpoint/2010/main" val="160799270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8" presetClass="emph" presetSubtype="0" fill="hold" nodeType="clickEffect">
                                  <p:stCondLst>
                                    <p:cond delay="0"/>
                                  </p:stCondLst>
                                  <p:iterate type="lt">
                                    <p:tmPct val="50000"/>
                                  </p:iterate>
                                  <p:childTnLst>
                                    <p:animClr clrSpc="rgb" dir="cw">
                                      <p:cBhvr override="childStyle">
                                        <p:cTn id="6" dur="250" fill="hold"/>
                                        <p:tgtEl>
                                          <p:spTgt spid="331">
                                            <p:txEl>
                                              <p:pRg st="1" end="1"/>
                                            </p:txEl>
                                          </p:spTgt>
                                        </p:tgtEl>
                                        <p:attrNameLst>
                                          <p:attrName>style.color</p:attrName>
                                        </p:attrNameLst>
                                      </p:cBhvr>
                                      <p:to>
                                        <a:srgbClr val="F816D8"/>
                                      </p:to>
                                    </p:animClr>
                                    <p:animClr clrSpc="rgb" dir="cw">
                                      <p:cBhvr>
                                        <p:cTn id="7" dur="250" fill="hold"/>
                                        <p:tgtEl>
                                          <p:spTgt spid="331">
                                            <p:txEl>
                                              <p:pRg st="1" end="1"/>
                                            </p:txEl>
                                          </p:spTgt>
                                        </p:tgtEl>
                                        <p:attrNameLst>
                                          <p:attrName>fillcolor</p:attrName>
                                        </p:attrNameLst>
                                      </p:cBhvr>
                                      <p:to>
                                        <a:srgbClr val="F816D8"/>
                                      </p:to>
                                    </p:animClr>
                                    <p:set>
                                      <p:cBhvr>
                                        <p:cTn id="8" dur="250" fill="hold"/>
                                        <p:tgtEl>
                                          <p:spTgt spid="331">
                                            <p:txEl>
                                              <p:pRg st="1" end="1"/>
                                            </p:txEl>
                                          </p:spTgt>
                                        </p:tgtEl>
                                        <p:attrNameLst>
                                          <p:attrName>fill.type</p:attrName>
                                        </p:attrNameLst>
                                      </p:cBhvr>
                                      <p:to>
                                        <p:strVal val="solid"/>
                                      </p:to>
                                    </p:set>
                                    <p:anim to="1.5" calcmode="lin" valueType="num">
                                      <p:cBhvr override="childStyle">
                                        <p:cTn id="9" dur="250" fill="hold"/>
                                        <p:tgtEl>
                                          <p:spTgt spid="331">
                                            <p:txEl>
                                              <p:pRg st="1" end="1"/>
                                            </p:txEl>
                                          </p:spTgt>
                                        </p:tgtEl>
                                        <p:attrNameLst>
                                          <p:attrName>style.fontSize</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177821-9599-7908-E12A-3F42DF564926}"/>
              </a:ext>
            </a:extLst>
          </p:cNvPr>
          <p:cNvSpPr>
            <a:spLocks noGrp="1"/>
          </p:cNvSpPr>
          <p:nvPr>
            <p:ph type="ftr" sz="quarter" idx="10"/>
          </p:nvPr>
        </p:nvSpPr>
        <p:spPr/>
        <p:txBody>
          <a:bodyPr/>
          <a:lstStyle/>
          <a:p>
            <a:pPr>
              <a:spcAft>
                <a:spcPts val="0"/>
              </a:spcAft>
              <a:defRPr/>
            </a:pPr>
            <a:r>
              <a:rPr lang="en-US">
                <a:solidFill>
                  <a:schemeClr val="accent3">
                    <a:lumMod val="60000"/>
                    <a:lumOff val="40000"/>
                  </a:schemeClr>
                </a:solidFill>
              </a:rPr>
              <a:t>IBC 2023</a:t>
            </a:r>
          </a:p>
        </p:txBody>
      </p:sp>
      <p:sp>
        <p:nvSpPr>
          <p:cNvPr id="3" name="Title 2">
            <a:extLst>
              <a:ext uri="{FF2B5EF4-FFF2-40B4-BE49-F238E27FC236}">
                <a16:creationId xmlns:a16="http://schemas.microsoft.com/office/drawing/2014/main" id="{12CE3278-E2E2-FB0E-FD50-AD2E5C0D2A83}"/>
              </a:ext>
            </a:extLst>
          </p:cNvPr>
          <p:cNvSpPr>
            <a:spLocks noGrp="1"/>
          </p:cNvSpPr>
          <p:nvPr>
            <p:ph type="title"/>
          </p:nvPr>
        </p:nvSpPr>
        <p:spPr>
          <a:xfrm>
            <a:off x="495300" y="565125"/>
            <a:ext cx="11187112" cy="439479"/>
          </a:xfrm>
        </p:spPr>
        <p:txBody>
          <a:bodyPr/>
          <a:lstStyle/>
          <a:p>
            <a:r>
              <a:rPr lang="de-DE" dirty="0"/>
              <a:t>5G Broadcast at IBC 2023</a:t>
            </a:r>
            <a:endParaRPr lang="en-US" dirty="0"/>
          </a:p>
        </p:txBody>
      </p:sp>
      <p:sp>
        <p:nvSpPr>
          <p:cNvPr id="5" name="Content Placeholder 4">
            <a:extLst>
              <a:ext uri="{FF2B5EF4-FFF2-40B4-BE49-F238E27FC236}">
                <a16:creationId xmlns:a16="http://schemas.microsoft.com/office/drawing/2014/main" id="{175672AA-8F96-29AF-9EC8-A28C6AB3AF6B}"/>
              </a:ext>
            </a:extLst>
          </p:cNvPr>
          <p:cNvSpPr>
            <a:spLocks noGrp="1"/>
          </p:cNvSpPr>
          <p:nvPr>
            <p:ph sz="quarter" idx="14"/>
          </p:nvPr>
        </p:nvSpPr>
        <p:spPr/>
        <p:txBody>
          <a:bodyPr/>
          <a:lstStyle/>
          <a:p>
            <a:pPr marL="342900" indent="-342900"/>
            <a:r>
              <a:rPr lang="en-US" b="0" i="0" dirty="0">
                <a:solidFill>
                  <a:srgbClr val="232425"/>
                </a:solidFill>
                <a:effectLst/>
                <a:latin typeface="Linotype Univers Condensed"/>
                <a:hlinkClick r:id="rId2"/>
              </a:rPr>
              <a:t>Rohde &amp; Schwarz and Qualcomm to demonstrate 5G Broadcast ecosystem readiness at IBC2023</a:t>
            </a:r>
            <a:endParaRPr lang="en-US" b="0" i="0" dirty="0">
              <a:solidFill>
                <a:srgbClr val="232425"/>
              </a:solidFill>
              <a:effectLst/>
              <a:latin typeface="Linotype Univers Condensed"/>
            </a:endParaRPr>
          </a:p>
          <a:p>
            <a:pPr marL="562356" lvl="1" indent="-342900"/>
            <a:r>
              <a:rPr lang="en-US" dirty="0">
                <a:latin typeface="-apple-system"/>
              </a:rPr>
              <a:t>At IBC2023 Rohde &amp; Schwarz will demonstrate the latest innovative features, including seamless service continuity between broadcast and broadband, and low latency content distribution. Thanks to the software architecture of the TH1 transmitter family, all these and future enhancements can be readily added in the field on-demand.</a:t>
            </a:r>
            <a:endParaRPr lang="en-US" dirty="0">
              <a:latin typeface="-apple-system"/>
              <a:hlinkClick r:id="rId3"/>
            </a:endParaRPr>
          </a:p>
          <a:p>
            <a:pPr marL="342900" indent="-342900"/>
            <a:r>
              <a:rPr lang="en-US" dirty="0">
                <a:hlinkClick r:id="rId3"/>
              </a:rPr>
              <a:t>https://www.nakolos.com/ibc2023/</a:t>
            </a:r>
            <a:endParaRPr lang="en-US" dirty="0">
              <a:latin typeface="-apple-system"/>
            </a:endParaRPr>
          </a:p>
          <a:p>
            <a:pPr marL="562356" lvl="1" indent="-342900"/>
            <a:r>
              <a:rPr lang="en-US" b="0" i="0" dirty="0" err="1">
                <a:effectLst/>
                <a:latin typeface="-apple-system"/>
              </a:rPr>
              <a:t>XGen</a:t>
            </a:r>
            <a:r>
              <a:rPr lang="en-US" b="0" i="0" dirty="0">
                <a:effectLst/>
                <a:latin typeface="-apple-system"/>
              </a:rPr>
              <a:t> Networks (Hall 1.D90)</a:t>
            </a:r>
          </a:p>
          <a:p>
            <a:pPr marL="562356" lvl="1" indent="-342900"/>
            <a:r>
              <a:rPr lang="en-US" i="0" dirty="0">
                <a:effectLst/>
                <a:latin typeface="-apple-system"/>
                <a:hlinkClick r:id="rId4"/>
              </a:rPr>
              <a:t>5G-MAG (5G MEDIA ACTION GROUP)</a:t>
            </a:r>
            <a:r>
              <a:rPr lang="en-US" b="0" i="0" dirty="0">
                <a:effectLst/>
                <a:latin typeface="-apple-system"/>
              </a:rPr>
              <a:t> @ EBU (Hall 10.D21)</a:t>
            </a:r>
          </a:p>
          <a:p>
            <a:pPr marL="562356" lvl="1" indent="-342900"/>
            <a:r>
              <a:rPr lang="en-US" i="0" dirty="0">
                <a:effectLst/>
                <a:latin typeface="-apple-system"/>
                <a:hlinkClick r:id="rId5"/>
              </a:rPr>
              <a:t>SYES - System Engineering Solutions</a:t>
            </a:r>
            <a:r>
              <a:rPr lang="en-US" b="0" i="0" dirty="0">
                <a:effectLst/>
                <a:latin typeface="-apple-system"/>
              </a:rPr>
              <a:t> (Hall 8.F46)</a:t>
            </a:r>
          </a:p>
          <a:p>
            <a:pPr marL="562356" lvl="1" indent="-342900"/>
            <a:r>
              <a:rPr lang="en-US" b="0" i="0" dirty="0">
                <a:effectLst/>
                <a:latin typeface="-apple-system"/>
              </a:rPr>
              <a:t>Media Coding Industry Forum (Hall 8.B45)</a:t>
            </a:r>
          </a:p>
          <a:p>
            <a:pPr marL="562356" lvl="1" indent="-342900"/>
            <a:r>
              <a:rPr lang="en-US" b="0" i="0" dirty="0" err="1">
                <a:effectLst/>
                <a:latin typeface="-apple-system"/>
              </a:rPr>
              <a:t>Plisch</a:t>
            </a:r>
            <a:r>
              <a:rPr lang="en-US" b="0" i="0" dirty="0">
                <a:effectLst/>
                <a:latin typeface="-apple-system"/>
              </a:rPr>
              <a:t>/</a:t>
            </a:r>
            <a:r>
              <a:rPr lang="en-US" b="0" i="0" dirty="0" err="1">
                <a:effectLst/>
                <a:latin typeface="-apple-system"/>
              </a:rPr>
              <a:t>RFMondial</a:t>
            </a:r>
            <a:r>
              <a:rPr lang="en-US" b="0" i="0" dirty="0">
                <a:effectLst/>
                <a:latin typeface="-apple-system"/>
              </a:rPr>
              <a:t> (Hall 8.C61)</a:t>
            </a:r>
          </a:p>
          <a:p>
            <a:pPr marL="342900" indent="-342900"/>
            <a:r>
              <a:rPr lang="en-US" b="0" i="0" dirty="0">
                <a:effectLst/>
                <a:latin typeface="-apple-system"/>
              </a:rPr>
              <a:t>5G-MAG Meetu</a:t>
            </a:r>
            <a:r>
              <a:rPr lang="en-US" dirty="0">
                <a:latin typeface="-apple-system"/>
              </a:rPr>
              <a:t>p</a:t>
            </a:r>
          </a:p>
          <a:p>
            <a:pPr marL="342900" indent="-342900"/>
            <a:r>
              <a:rPr lang="en-US" b="0" i="0" dirty="0">
                <a:effectLst/>
                <a:latin typeface="-apple-system"/>
              </a:rPr>
              <a:t>I</a:t>
            </a:r>
            <a:r>
              <a:rPr lang="en-US" dirty="0">
                <a:latin typeface="-apple-system"/>
              </a:rPr>
              <a:t>BC Conference</a:t>
            </a:r>
            <a:endParaRPr lang="en-US" b="0" i="0" dirty="0">
              <a:effectLst/>
              <a:latin typeface="-apple-system"/>
            </a:endParaRPr>
          </a:p>
        </p:txBody>
      </p:sp>
      <p:sp>
        <p:nvSpPr>
          <p:cNvPr id="4" name="Subtitle 3">
            <a:extLst>
              <a:ext uri="{FF2B5EF4-FFF2-40B4-BE49-F238E27FC236}">
                <a16:creationId xmlns:a16="http://schemas.microsoft.com/office/drawing/2014/main" id="{10B79038-BE12-F047-2012-03BAA014074D}"/>
              </a:ext>
            </a:extLst>
          </p:cNvPr>
          <p:cNvSpPr>
            <a:spLocks noGrp="1"/>
          </p:cNvSpPr>
          <p:nvPr>
            <p:ph type="subTitle" idx="1"/>
          </p:nvPr>
        </p:nvSpPr>
        <p:spPr/>
        <p:txBody>
          <a:bodyPr/>
          <a:lstStyle/>
          <a:p>
            <a:r>
              <a:rPr lang="de-DE" dirty="0"/>
              <a:t>To our best knowledge</a:t>
            </a:r>
            <a:endParaRPr lang="en-US" dirty="0"/>
          </a:p>
        </p:txBody>
      </p:sp>
      <p:pic>
        <p:nvPicPr>
          <p:cNvPr id="2050" name="Picture 2" descr="Image preview">
            <a:extLst>
              <a:ext uri="{FF2B5EF4-FFF2-40B4-BE49-F238E27FC236}">
                <a16:creationId xmlns:a16="http://schemas.microsoft.com/office/drawing/2014/main" id="{147FD4DC-7CC4-EDCE-7FEC-336074AFF5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30348" y="4825238"/>
            <a:ext cx="3645895" cy="190498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No alt text provided for this image">
            <a:extLst>
              <a:ext uri="{FF2B5EF4-FFF2-40B4-BE49-F238E27FC236}">
                <a16:creationId xmlns:a16="http://schemas.microsoft.com/office/drawing/2014/main" id="{6EA3C750-FCFB-207B-7CF2-17D5A3CBBE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78352" y="3107444"/>
            <a:ext cx="3371643" cy="190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45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3194277"/>
            <a:ext cx="8829675" cy="736355"/>
          </a:xfrm>
        </p:spPr>
        <p:txBody>
          <a:bodyPr/>
          <a:lstStyle/>
          <a:p>
            <a:r>
              <a:rPr lang="en-US" dirty="0"/>
              <a:t>Standardization</a:t>
            </a:r>
          </a:p>
        </p:txBody>
      </p:sp>
    </p:spTree>
    <p:extLst>
      <p:ext uri="{BB962C8B-B14F-4D97-AF65-F5344CB8AC3E}">
        <p14:creationId xmlns:p14="http://schemas.microsoft.com/office/powerpoint/2010/main" val="231551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50B4BC70-324D-47B5-80DA-FEF485E2D0CA}"/>
              </a:ext>
            </a:extLst>
          </p:cNvPr>
          <p:cNvSpPr/>
          <p:nvPr/>
        </p:nvSpPr>
        <p:spPr>
          <a:xfrm>
            <a:off x="7968259" y="1046548"/>
            <a:ext cx="3719558" cy="3721280"/>
          </a:xfrm>
          <a:prstGeom prst="rect">
            <a:avLst/>
          </a:prstGeom>
          <a:solidFill>
            <a:srgbClr val="FFFFFF"/>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35" name="Rectangle 34">
            <a:extLst>
              <a:ext uri="{FF2B5EF4-FFF2-40B4-BE49-F238E27FC236}">
                <a16:creationId xmlns:a16="http://schemas.microsoft.com/office/drawing/2014/main" id="{103434E1-D9D5-4038-A681-684F69521AD4}"/>
              </a:ext>
            </a:extLst>
          </p:cNvPr>
          <p:cNvSpPr/>
          <p:nvPr/>
        </p:nvSpPr>
        <p:spPr>
          <a:xfrm>
            <a:off x="3962436" y="1046548"/>
            <a:ext cx="3719558" cy="3721280"/>
          </a:xfrm>
          <a:prstGeom prst="rect">
            <a:avLst/>
          </a:prstGeom>
          <a:solidFill>
            <a:srgbClr val="FFFFFF"/>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
        <p:nvSpPr>
          <p:cNvPr id="2" name="Footer Placeholder 1">
            <a:extLst>
              <a:ext uri="{FF2B5EF4-FFF2-40B4-BE49-F238E27FC236}">
                <a16:creationId xmlns:a16="http://schemas.microsoft.com/office/drawing/2014/main" id="{E3581ED6-C296-4647-BAA2-DFD1E942CDFC}"/>
              </a:ext>
            </a:extLst>
          </p:cNvPr>
          <p:cNvSpPr>
            <a:spLocks noGrp="1"/>
          </p:cNvSpPr>
          <p:nvPr>
            <p:ph type="ftr" sz="quarter" idx="16"/>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40000"/>
                    <a:lumOff val="60000"/>
                  </a:srgbClr>
                </a:solidFill>
                <a:effectLst/>
                <a:uLnTx/>
                <a:uFillTx/>
                <a:latin typeface="Microsoft Sans Serif"/>
                <a:ea typeface="+mn-ea"/>
                <a:cs typeface="+mn-cs"/>
              </a:rPr>
              <a:t>IBC 2023</a:t>
            </a:r>
          </a:p>
        </p:txBody>
      </p:sp>
      <p:sp>
        <p:nvSpPr>
          <p:cNvPr id="6" name="Title 2">
            <a:extLst>
              <a:ext uri="{FF2B5EF4-FFF2-40B4-BE49-F238E27FC236}">
                <a16:creationId xmlns:a16="http://schemas.microsoft.com/office/drawing/2014/main" id="{AD929008-6EE1-4C48-BA44-9345E4A7BF6E}"/>
              </a:ext>
            </a:extLst>
          </p:cNvPr>
          <p:cNvSpPr txBox="1">
            <a:spLocks/>
          </p:cNvSpPr>
          <p:nvPr/>
        </p:nvSpPr>
        <p:spPr bwMode="gray">
          <a:xfrm>
            <a:off x="495300" y="2090172"/>
            <a:ext cx="3211513" cy="2677656"/>
          </a:xfrm>
          <a:prstGeom prst="rect">
            <a:avLst/>
          </a:prstGeom>
        </p:spPr>
        <p:txBody>
          <a:bodyPr vert="horz" wrap="square" lIns="0" tIns="0" rIns="0" bIns="0" rtlCol="0" anchor="ctr" anchorCtr="0">
            <a:spAutoFit/>
          </a:bodyPr>
          <a:lstStyle>
            <a:lvl1pPr algn="l" defTabSz="914400" rtl="0" eaLnBrk="1" latinLnBrk="0" hangingPunct="1">
              <a:lnSpc>
                <a:spcPct val="87000"/>
              </a:lnSpc>
              <a:spcBef>
                <a:spcPct val="0"/>
              </a:spcBef>
              <a:buNone/>
              <a:defRPr sz="5400" kern="1200" baseline="0">
                <a:solidFill>
                  <a:schemeClr val="bg1"/>
                </a:solidFill>
                <a:latin typeface="+mj-lt"/>
                <a:ea typeface="+mj-ea"/>
                <a:cs typeface="+mj-cs"/>
              </a:defRPr>
            </a:lvl1pPr>
          </a:lstStyle>
          <a:p>
            <a:pPr marL="0" marR="0" lvl="0" indent="0" algn="l" defTabSz="914400" rtl="0" eaLnBrk="1" fontAlgn="auto" latinLnBrk="0" hangingPunct="1">
              <a:lnSpc>
                <a:spcPct val="87000"/>
              </a:lnSpc>
              <a:spcBef>
                <a:spcPct val="0"/>
              </a:spcBef>
              <a:spcAft>
                <a:spcPts val="0"/>
              </a:spcAft>
              <a:buClrTx/>
              <a:buSzTx/>
              <a:buFontTx/>
              <a:buNone/>
              <a:tabLst/>
              <a:defRPr/>
            </a:pPr>
            <a:r>
              <a:rPr kumimoji="0" lang="en-US" sz="4000" b="0" i="0" u="none" strike="noStrike" kern="1200" cap="none" spc="0" normalizeH="0" baseline="0" noProof="0">
                <a:ln>
                  <a:noFill/>
                </a:ln>
                <a:solidFill>
                  <a:srgbClr val="F7F8FA"/>
                </a:solidFill>
                <a:effectLst/>
                <a:uLnTx/>
                <a:uFillTx/>
                <a:latin typeface="Microsoft Sans Serif"/>
                <a:ea typeface="+mj-ea"/>
                <a:cs typeface="+mj-cs"/>
              </a:rPr>
              <a:t>For more information on 5G broadcast standards…</a:t>
            </a:r>
          </a:p>
        </p:txBody>
      </p:sp>
      <p:pic>
        <p:nvPicPr>
          <p:cNvPr id="23" name="Picture 22">
            <a:extLst>
              <a:ext uri="{FF2B5EF4-FFF2-40B4-BE49-F238E27FC236}">
                <a16:creationId xmlns:a16="http://schemas.microsoft.com/office/drawing/2014/main" id="{DF420765-B205-4C85-BBC7-1DD4CC4EE40C}"/>
              </a:ext>
            </a:extLst>
          </p:cNvPr>
          <p:cNvPicPr>
            <a:picLocks noChangeAspect="1"/>
          </p:cNvPicPr>
          <p:nvPr/>
        </p:nvPicPr>
        <p:blipFill>
          <a:blip r:embed="rId2"/>
          <a:stretch>
            <a:fillRect/>
          </a:stretch>
        </p:blipFill>
        <p:spPr>
          <a:xfrm>
            <a:off x="4361023" y="1117880"/>
            <a:ext cx="2922384" cy="3578616"/>
          </a:xfrm>
          <a:prstGeom prst="rect">
            <a:avLst/>
          </a:prstGeom>
          <a:ln>
            <a:noFill/>
          </a:ln>
        </p:spPr>
      </p:pic>
      <p:pic>
        <p:nvPicPr>
          <p:cNvPr id="24" name="Picture 23">
            <a:extLst>
              <a:ext uri="{FF2B5EF4-FFF2-40B4-BE49-F238E27FC236}">
                <a16:creationId xmlns:a16="http://schemas.microsoft.com/office/drawing/2014/main" id="{8CA72CF6-D5FA-48BB-A458-5F9447AAF7C0}"/>
              </a:ext>
            </a:extLst>
          </p:cNvPr>
          <p:cNvPicPr>
            <a:picLocks noChangeAspect="1"/>
          </p:cNvPicPr>
          <p:nvPr/>
        </p:nvPicPr>
        <p:blipFill rotWithShape="1">
          <a:blip r:embed="rId3"/>
          <a:stretch/>
        </p:blipFill>
        <p:spPr>
          <a:xfrm>
            <a:off x="8074069" y="1296470"/>
            <a:ext cx="3507938" cy="2883644"/>
          </a:xfrm>
          <a:prstGeom prst="rect">
            <a:avLst/>
          </a:prstGeom>
        </p:spPr>
      </p:pic>
      <p:sp>
        <p:nvSpPr>
          <p:cNvPr id="26" name="Rectangle 25">
            <a:extLst>
              <a:ext uri="{FF2B5EF4-FFF2-40B4-BE49-F238E27FC236}">
                <a16:creationId xmlns:a16="http://schemas.microsoft.com/office/drawing/2014/main" id="{680C8D74-EE82-4074-9860-C07E13E48D68}"/>
              </a:ext>
            </a:extLst>
          </p:cNvPr>
          <p:cNvSpPr/>
          <p:nvPr/>
        </p:nvSpPr>
        <p:spPr>
          <a:xfrm>
            <a:off x="3962436" y="372517"/>
            <a:ext cx="3210187" cy="5816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4"/>
              </a:rPr>
              <a:t>ETSI TS 103 720</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Profile of 3GPP specification containing the necessary parts to deploy 5G broadcast</a:t>
            </a:r>
          </a:p>
        </p:txBody>
      </p:sp>
      <p:sp>
        <p:nvSpPr>
          <p:cNvPr id="27" name="Rectangle 26">
            <a:extLst>
              <a:ext uri="{FF2B5EF4-FFF2-40B4-BE49-F238E27FC236}">
                <a16:creationId xmlns:a16="http://schemas.microsoft.com/office/drawing/2014/main" id="{7ACBC03C-E4FF-4544-95BE-FFF73FA37121}"/>
              </a:ext>
            </a:extLst>
          </p:cNvPr>
          <p:cNvSpPr/>
          <p:nvPr/>
        </p:nvSpPr>
        <p:spPr>
          <a:xfrm>
            <a:off x="7968259" y="372517"/>
            <a:ext cx="3210187" cy="581698"/>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5"/>
              </a:rPr>
              <a:t>TR 36.976</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Overall description</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of enhanced TV (</a:t>
            </a:r>
            <a:r>
              <a:rPr kumimoji="0" lang="en-US" sz="1400" b="0" i="0" u="none" strike="noStrike" kern="1200" cap="none" spc="0" normalizeH="0" baseline="0" noProof="0" err="1">
                <a:ln>
                  <a:noFill/>
                </a:ln>
                <a:solidFill>
                  <a:srgbClr val="13171F"/>
                </a:solidFill>
                <a:effectLst/>
                <a:uLnTx/>
                <a:uFillTx/>
                <a:latin typeface="Microsoft Sans Serif"/>
                <a:ea typeface="+mn-ea"/>
                <a:cs typeface="+mn-cs"/>
              </a:rPr>
              <a:t>enTV</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for</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5G broadcast</a:t>
            </a:r>
          </a:p>
        </p:txBody>
      </p:sp>
      <p:grpSp>
        <p:nvGrpSpPr>
          <p:cNvPr id="33" name="Group 32">
            <a:extLst>
              <a:ext uri="{FF2B5EF4-FFF2-40B4-BE49-F238E27FC236}">
                <a16:creationId xmlns:a16="http://schemas.microsoft.com/office/drawing/2014/main" id="{22FE16A2-8BB2-4296-B46E-64063994CD01}"/>
              </a:ext>
            </a:extLst>
          </p:cNvPr>
          <p:cNvGrpSpPr/>
          <p:nvPr/>
        </p:nvGrpSpPr>
        <p:grpSpPr>
          <a:xfrm>
            <a:off x="5784112" y="5094747"/>
            <a:ext cx="5912588" cy="1265879"/>
            <a:chOff x="3962436" y="4767828"/>
            <a:chExt cx="5973161" cy="1278847"/>
          </a:xfrm>
        </p:grpSpPr>
        <p:pic>
          <p:nvPicPr>
            <p:cNvPr id="28" name="Picture 27">
              <a:extLst>
                <a:ext uri="{FF2B5EF4-FFF2-40B4-BE49-F238E27FC236}">
                  <a16:creationId xmlns:a16="http://schemas.microsoft.com/office/drawing/2014/main" id="{AD3F8D7A-7F2D-402D-934A-E94914BBBB31}"/>
                </a:ext>
              </a:extLst>
            </p:cNvPr>
            <p:cNvPicPr>
              <a:picLocks noChangeAspect="1"/>
            </p:cNvPicPr>
            <p:nvPr/>
          </p:nvPicPr>
          <p:blipFill>
            <a:blip r:embed="rId6"/>
            <a:stretch>
              <a:fillRect/>
            </a:stretch>
          </p:blipFill>
          <p:spPr>
            <a:xfrm>
              <a:off x="3962436" y="4767828"/>
              <a:ext cx="1876891" cy="1278847"/>
            </a:xfrm>
            <a:prstGeom prst="rect">
              <a:avLst/>
            </a:prstGeom>
            <a:ln>
              <a:solidFill>
                <a:schemeClr val="tx1"/>
              </a:solidFill>
            </a:ln>
          </p:spPr>
        </p:pic>
        <p:pic>
          <p:nvPicPr>
            <p:cNvPr id="29" name="Picture 28">
              <a:extLst>
                <a:ext uri="{FF2B5EF4-FFF2-40B4-BE49-F238E27FC236}">
                  <a16:creationId xmlns:a16="http://schemas.microsoft.com/office/drawing/2014/main" id="{1F529411-AC2E-4CB6-80AE-5F5EA303B34F}"/>
                </a:ext>
              </a:extLst>
            </p:cNvPr>
            <p:cNvPicPr>
              <a:picLocks noChangeAspect="1"/>
            </p:cNvPicPr>
            <p:nvPr/>
          </p:nvPicPr>
          <p:blipFill>
            <a:blip r:embed="rId7"/>
            <a:stretch>
              <a:fillRect/>
            </a:stretch>
          </p:blipFill>
          <p:spPr>
            <a:xfrm>
              <a:off x="5961357" y="4767828"/>
              <a:ext cx="1926105" cy="1278846"/>
            </a:xfrm>
            <a:prstGeom prst="rect">
              <a:avLst/>
            </a:prstGeom>
            <a:ln>
              <a:solidFill>
                <a:schemeClr val="tx1"/>
              </a:solidFill>
            </a:ln>
          </p:spPr>
        </p:pic>
        <p:pic>
          <p:nvPicPr>
            <p:cNvPr id="30" name="Picture 29">
              <a:extLst>
                <a:ext uri="{FF2B5EF4-FFF2-40B4-BE49-F238E27FC236}">
                  <a16:creationId xmlns:a16="http://schemas.microsoft.com/office/drawing/2014/main" id="{9776D318-7483-4FCB-814E-75944B1AA8C6}"/>
                </a:ext>
              </a:extLst>
            </p:cNvPr>
            <p:cNvPicPr>
              <a:picLocks noChangeAspect="1"/>
            </p:cNvPicPr>
            <p:nvPr/>
          </p:nvPicPr>
          <p:blipFill>
            <a:blip r:embed="rId8"/>
            <a:stretch>
              <a:fillRect/>
            </a:stretch>
          </p:blipFill>
          <p:spPr>
            <a:xfrm>
              <a:off x="8009492" y="4767828"/>
              <a:ext cx="1926105" cy="1276696"/>
            </a:xfrm>
            <a:prstGeom prst="rect">
              <a:avLst/>
            </a:prstGeom>
            <a:ln>
              <a:solidFill>
                <a:schemeClr val="tx1"/>
              </a:solidFill>
            </a:ln>
          </p:spPr>
        </p:pic>
      </p:grpSp>
      <p:sp>
        <p:nvSpPr>
          <p:cNvPr id="32" name="Rectangle 31">
            <a:extLst>
              <a:ext uri="{FF2B5EF4-FFF2-40B4-BE49-F238E27FC236}">
                <a16:creationId xmlns:a16="http://schemas.microsoft.com/office/drawing/2014/main" id="{1E3EE012-DA92-4E2E-87D2-08CCB88FF50E}"/>
              </a:ext>
            </a:extLst>
          </p:cNvPr>
          <p:cNvSpPr/>
          <p:nvPr/>
        </p:nvSpPr>
        <p:spPr>
          <a:xfrm>
            <a:off x="3976807" y="5145989"/>
            <a:ext cx="2014972" cy="1163395"/>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3171F"/>
                </a:solidFill>
                <a:effectLst/>
                <a:uLnTx/>
                <a:uFillTx/>
                <a:latin typeface="Microsoft Sans Serif"/>
                <a:ea typeface="+mn-ea"/>
                <a:cs typeface="+mn-cs"/>
              </a:rPr>
              <a:t>Various specifications</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of 5G PHY supporting broadcast together</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rPr>
              <a:t>with unicast in TS </a:t>
            </a: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9"/>
              </a:rPr>
              <a:t>36.211</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 </a:t>
            </a: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10"/>
              </a:rPr>
              <a:t>36.212</a:t>
            </a:r>
            <a:r>
              <a:rPr kumimoji="0" lang="en-US" sz="1400" b="0" i="0" u="none" strike="noStrike" kern="1200" cap="none" spc="0" normalizeH="0" baseline="0" noProof="0">
                <a:ln>
                  <a:noFill/>
                </a:ln>
                <a:solidFill>
                  <a:srgbClr val="13171F"/>
                </a:solidFill>
                <a:effectLst/>
                <a:uLnTx/>
                <a:uFillTx/>
                <a:latin typeface="Microsoft Sans Serif"/>
                <a:ea typeface="+mn-ea"/>
                <a:cs typeface="+mn-cs"/>
              </a:rPr>
              <a:t>,</a:t>
            </a:r>
            <a:br>
              <a:rPr kumimoji="0" lang="en-US" sz="1400" b="0" i="0" u="none" strike="noStrike" kern="1200" cap="none" spc="0" normalizeH="0" baseline="0" noProof="0">
                <a:ln>
                  <a:noFill/>
                </a:ln>
                <a:solidFill>
                  <a:srgbClr val="13171F"/>
                </a:solidFill>
                <a:effectLst/>
                <a:uLnTx/>
                <a:uFillTx/>
                <a:latin typeface="Microsoft Sans Serif"/>
                <a:ea typeface="+mn-ea"/>
                <a:cs typeface="+mn-cs"/>
              </a:rPr>
            </a:br>
            <a:r>
              <a:rPr kumimoji="0" lang="en-US" sz="1400" b="0" i="0" u="none" strike="noStrike" kern="1200" cap="none" spc="0" normalizeH="0" baseline="0" noProof="0">
                <a:ln>
                  <a:noFill/>
                </a:ln>
                <a:solidFill>
                  <a:srgbClr val="13171F"/>
                </a:solidFill>
                <a:effectLst/>
                <a:uLnTx/>
                <a:uFillTx/>
                <a:latin typeface="Microsoft Sans Serif"/>
                <a:ea typeface="+mn-ea"/>
                <a:cs typeface="+mn-cs"/>
                <a:hlinkClick r:id="rId11"/>
              </a:rPr>
              <a:t>36.213</a:t>
            </a:r>
            <a:endParaRPr kumimoji="0" lang="en-US" sz="1400" b="0" i="0" u="none" strike="noStrike" kern="1200" cap="none" spc="0" normalizeH="0" baseline="0" noProof="0">
              <a:ln>
                <a:noFill/>
              </a:ln>
              <a:solidFill>
                <a:srgbClr val="13171F"/>
              </a:solidFill>
              <a:effectLst/>
              <a:uLnTx/>
              <a:uFillTx/>
              <a:latin typeface="Microsoft Sans Serif"/>
              <a:ea typeface="+mn-ea"/>
              <a:cs typeface="+mn-cs"/>
            </a:endParaRPr>
          </a:p>
        </p:txBody>
      </p:sp>
      <p:grpSp>
        <p:nvGrpSpPr>
          <p:cNvPr id="42" name="Group 41">
            <a:extLst>
              <a:ext uri="{FF2B5EF4-FFF2-40B4-BE49-F238E27FC236}">
                <a16:creationId xmlns:a16="http://schemas.microsoft.com/office/drawing/2014/main" id="{59453DEB-BA72-4675-B942-241AEA7BAC07}"/>
              </a:ext>
            </a:extLst>
          </p:cNvPr>
          <p:cNvGrpSpPr>
            <a:grpSpLocks noChangeAspect="1"/>
          </p:cNvGrpSpPr>
          <p:nvPr/>
        </p:nvGrpSpPr>
        <p:grpSpPr>
          <a:xfrm>
            <a:off x="504183" y="571500"/>
            <a:ext cx="772259" cy="914400"/>
            <a:chOff x="1339675" y="3217863"/>
            <a:chExt cx="930450" cy="1101707"/>
          </a:xfrm>
        </p:grpSpPr>
        <p:grpSp>
          <p:nvGrpSpPr>
            <p:cNvPr id="43" name="Group 42">
              <a:extLst>
                <a:ext uri="{FF2B5EF4-FFF2-40B4-BE49-F238E27FC236}">
                  <a16:creationId xmlns:a16="http://schemas.microsoft.com/office/drawing/2014/main" id="{9565FB26-D933-4A76-9BBC-F06963611B3B}"/>
                </a:ext>
              </a:extLst>
            </p:cNvPr>
            <p:cNvGrpSpPr/>
            <p:nvPr/>
          </p:nvGrpSpPr>
          <p:grpSpPr>
            <a:xfrm>
              <a:off x="1339701" y="3217863"/>
              <a:ext cx="930424" cy="1101706"/>
              <a:chOff x="1339701" y="3217863"/>
              <a:chExt cx="930424" cy="1101706"/>
            </a:xfrm>
          </p:grpSpPr>
          <p:sp>
            <p:nvSpPr>
              <p:cNvPr id="45" name="Rectangle: Rounded Corners 44">
                <a:extLst>
                  <a:ext uri="{FF2B5EF4-FFF2-40B4-BE49-F238E27FC236}">
                    <a16:creationId xmlns:a16="http://schemas.microsoft.com/office/drawing/2014/main" id="{939DDFF1-7403-4FB3-859F-C33E50ED6DCF}"/>
                  </a:ext>
                </a:extLst>
              </p:cNvPr>
              <p:cNvSpPr/>
              <p:nvPr/>
            </p:nvSpPr>
            <p:spPr>
              <a:xfrm>
                <a:off x="1339701" y="4132675"/>
                <a:ext cx="919521" cy="186894"/>
              </a:xfrm>
              <a:prstGeom prst="roundRect">
                <a:avLst>
                  <a:gd name="adj" fmla="val 9743"/>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6" name="Freeform 5">
                <a:extLst>
                  <a:ext uri="{FF2B5EF4-FFF2-40B4-BE49-F238E27FC236}">
                    <a16:creationId xmlns:a16="http://schemas.microsoft.com/office/drawing/2014/main" id="{B9BF5A01-CBD2-489B-A4F6-7FDDB4EB729C}"/>
                  </a:ext>
                </a:extLst>
              </p:cNvPr>
              <p:cNvSpPr>
                <a:spLocks noEditPoints="1"/>
              </p:cNvSpPr>
              <p:nvPr/>
            </p:nvSpPr>
            <p:spPr bwMode="auto">
              <a:xfrm>
                <a:off x="1341438" y="3217863"/>
                <a:ext cx="928687" cy="881062"/>
              </a:xfrm>
              <a:custGeom>
                <a:avLst/>
                <a:gdLst>
                  <a:gd name="T0" fmla="*/ 4047 w 4086"/>
                  <a:gd name="T1" fmla="*/ 3736 h 3892"/>
                  <a:gd name="T2" fmla="*/ 187 w 4086"/>
                  <a:gd name="T3" fmla="*/ 43 h 3892"/>
                  <a:gd name="T4" fmla="*/ 47 w 4086"/>
                  <a:gd name="T5" fmla="*/ 35 h 3892"/>
                  <a:gd name="T6" fmla="*/ 0 w 4086"/>
                  <a:gd name="T7" fmla="*/ 124 h 3892"/>
                  <a:gd name="T8" fmla="*/ 0 w 4086"/>
                  <a:gd name="T9" fmla="*/ 3783 h 3892"/>
                  <a:gd name="T10" fmla="*/ 109 w 4086"/>
                  <a:gd name="T11" fmla="*/ 3892 h 3892"/>
                  <a:gd name="T12" fmla="*/ 3980 w 4086"/>
                  <a:gd name="T13" fmla="*/ 3892 h 3892"/>
                  <a:gd name="T14" fmla="*/ 4059 w 4086"/>
                  <a:gd name="T15" fmla="*/ 3853 h 3892"/>
                  <a:gd name="T16" fmla="*/ 4047 w 4086"/>
                  <a:gd name="T17" fmla="*/ 3736 h 3892"/>
                  <a:gd name="T18" fmla="*/ 2328 w 4086"/>
                  <a:gd name="T19" fmla="*/ 3132 h 3892"/>
                  <a:gd name="T20" fmla="*/ 807 w 4086"/>
                  <a:gd name="T21" fmla="*/ 3132 h 3892"/>
                  <a:gd name="T22" fmla="*/ 721 w 4086"/>
                  <a:gd name="T23" fmla="*/ 3050 h 3892"/>
                  <a:gd name="T24" fmla="*/ 721 w 4086"/>
                  <a:gd name="T25" fmla="*/ 1552 h 3892"/>
                  <a:gd name="T26" fmla="*/ 753 w 4086"/>
                  <a:gd name="T27" fmla="*/ 1538 h 3892"/>
                  <a:gd name="T28" fmla="*/ 2341 w 4086"/>
                  <a:gd name="T29" fmla="*/ 3099 h 3892"/>
                  <a:gd name="T30" fmla="*/ 2328 w 4086"/>
                  <a:gd name="T31" fmla="*/ 3132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6" h="3892">
                    <a:moveTo>
                      <a:pt x="4047" y="3736"/>
                    </a:moveTo>
                    <a:cubicBezTo>
                      <a:pt x="187" y="43"/>
                      <a:pt x="187" y="43"/>
                      <a:pt x="187" y="43"/>
                    </a:cubicBezTo>
                    <a:cubicBezTo>
                      <a:pt x="148" y="7"/>
                      <a:pt x="90" y="0"/>
                      <a:pt x="47" y="35"/>
                    </a:cubicBezTo>
                    <a:cubicBezTo>
                      <a:pt x="15" y="54"/>
                      <a:pt x="0" y="89"/>
                      <a:pt x="0" y="124"/>
                    </a:cubicBezTo>
                    <a:cubicBezTo>
                      <a:pt x="0" y="3783"/>
                      <a:pt x="0" y="3783"/>
                      <a:pt x="0" y="3783"/>
                    </a:cubicBezTo>
                    <a:cubicBezTo>
                      <a:pt x="0" y="3841"/>
                      <a:pt x="51" y="3892"/>
                      <a:pt x="109" y="3892"/>
                    </a:cubicBezTo>
                    <a:cubicBezTo>
                      <a:pt x="3980" y="3892"/>
                      <a:pt x="3980" y="3892"/>
                      <a:pt x="3980" y="3892"/>
                    </a:cubicBezTo>
                    <a:cubicBezTo>
                      <a:pt x="4012" y="3892"/>
                      <a:pt x="4039" y="3876"/>
                      <a:pt x="4059" y="3853"/>
                    </a:cubicBezTo>
                    <a:cubicBezTo>
                      <a:pt x="4086" y="3814"/>
                      <a:pt x="4078" y="3763"/>
                      <a:pt x="4047" y="3736"/>
                    </a:cubicBezTo>
                    <a:close/>
                    <a:moveTo>
                      <a:pt x="2328" y="3132"/>
                    </a:moveTo>
                    <a:cubicBezTo>
                      <a:pt x="807" y="3132"/>
                      <a:pt x="807" y="3132"/>
                      <a:pt x="807" y="3132"/>
                    </a:cubicBezTo>
                    <a:cubicBezTo>
                      <a:pt x="760" y="3132"/>
                      <a:pt x="721" y="3093"/>
                      <a:pt x="721" y="3050"/>
                    </a:cubicBezTo>
                    <a:cubicBezTo>
                      <a:pt x="721" y="1552"/>
                      <a:pt x="721" y="1552"/>
                      <a:pt x="721" y="1552"/>
                    </a:cubicBezTo>
                    <a:cubicBezTo>
                      <a:pt x="721" y="1535"/>
                      <a:pt x="741" y="1526"/>
                      <a:pt x="753" y="1538"/>
                    </a:cubicBezTo>
                    <a:cubicBezTo>
                      <a:pt x="2341" y="3099"/>
                      <a:pt x="2341" y="3099"/>
                      <a:pt x="2341" y="3099"/>
                    </a:cubicBezTo>
                    <a:cubicBezTo>
                      <a:pt x="2353" y="3111"/>
                      <a:pt x="2345" y="3132"/>
                      <a:pt x="2328" y="3132"/>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sp>
          <p:nvSpPr>
            <p:cNvPr id="44" name="Freeform: Shape 43">
              <a:extLst>
                <a:ext uri="{FF2B5EF4-FFF2-40B4-BE49-F238E27FC236}">
                  <a16:creationId xmlns:a16="http://schemas.microsoft.com/office/drawing/2014/main" id="{48A717FD-1B00-4C2C-9066-73A4D73E69B9}"/>
                </a:ext>
              </a:extLst>
            </p:cNvPr>
            <p:cNvSpPr/>
            <p:nvPr/>
          </p:nvSpPr>
          <p:spPr>
            <a:xfrm>
              <a:off x="1339675" y="4132676"/>
              <a:ext cx="919547" cy="186894"/>
            </a:xfrm>
            <a:custGeom>
              <a:avLst/>
              <a:gdLst>
                <a:gd name="connsiteX0" fmla="*/ 2207645 w 2249488"/>
                <a:gd name="connsiteY0" fmla="*/ 456054 h 457200"/>
                <a:gd name="connsiteX1" fmla="*/ 2204879 w 2249488"/>
                <a:gd name="connsiteY1" fmla="*/ 457200 h 457200"/>
                <a:gd name="connsiteX2" fmla="*/ 2202085 w 2249488"/>
                <a:gd name="connsiteY2" fmla="*/ 457200 h 457200"/>
                <a:gd name="connsiteX3" fmla="*/ 41716 w 2249488"/>
                <a:gd name="connsiteY3" fmla="*/ 456028 h 457200"/>
                <a:gd name="connsiteX4" fmla="*/ 47403 w 2249488"/>
                <a:gd name="connsiteY4" fmla="*/ 457200 h 457200"/>
                <a:gd name="connsiteX5" fmla="*/ 44545 w 2249488"/>
                <a:gd name="connsiteY5" fmla="*/ 457200 h 457200"/>
                <a:gd name="connsiteX6" fmla="*/ 19170 w 2249488"/>
                <a:gd name="connsiteY6" fmla="*/ 446690 h 457200"/>
                <a:gd name="connsiteX7" fmla="*/ 41716 w 2249488"/>
                <a:gd name="connsiteY7" fmla="*/ 456028 h 457200"/>
                <a:gd name="connsiteX8" fmla="*/ 29089 w 2249488"/>
                <a:gd name="connsiteY8" fmla="*/ 453426 h 457200"/>
                <a:gd name="connsiteX9" fmla="*/ 2230419 w 2249488"/>
                <a:gd name="connsiteY9" fmla="*/ 446622 h 457200"/>
                <a:gd name="connsiteX10" fmla="*/ 2220400 w 2249488"/>
                <a:gd name="connsiteY10" fmla="*/ 453426 h 457200"/>
                <a:gd name="connsiteX11" fmla="*/ 2207645 w 2249488"/>
                <a:gd name="connsiteY11" fmla="*/ 456054 h 457200"/>
                <a:gd name="connsiteX12" fmla="*/ 2249424 w 2249488"/>
                <a:gd name="connsiteY12" fmla="*/ 409907 h 457200"/>
                <a:gd name="connsiteX13" fmla="*/ 2249424 w 2249488"/>
                <a:gd name="connsiteY13" fmla="*/ 412655 h 457200"/>
                <a:gd name="connsiteX14" fmla="*/ 2236378 w 2249488"/>
                <a:gd name="connsiteY14" fmla="*/ 444153 h 457200"/>
                <a:gd name="connsiteX15" fmla="*/ 2230419 w 2249488"/>
                <a:gd name="connsiteY15" fmla="*/ 446622 h 457200"/>
                <a:gd name="connsiteX16" fmla="*/ 2235483 w 2249488"/>
                <a:gd name="connsiteY16" fmla="*/ 443182 h 457200"/>
                <a:gd name="connsiteX17" fmla="*/ 0 w 2249488"/>
                <a:gd name="connsiteY17" fmla="*/ 409755 h 457200"/>
                <a:gd name="connsiteX18" fmla="*/ 14006 w 2249488"/>
                <a:gd name="connsiteY18" fmla="*/ 443182 h 457200"/>
                <a:gd name="connsiteX19" fmla="*/ 19170 w 2249488"/>
                <a:gd name="connsiteY19" fmla="*/ 446690 h 457200"/>
                <a:gd name="connsiteX20" fmla="*/ 13047 w 2249488"/>
                <a:gd name="connsiteY20" fmla="*/ 444153 h 457200"/>
                <a:gd name="connsiteX21" fmla="*/ 0 w 2249488"/>
                <a:gd name="connsiteY21" fmla="*/ 412655 h 457200"/>
                <a:gd name="connsiteX22" fmla="*/ 1956451 w 2249488"/>
                <a:gd name="connsiteY22" fmla="*/ 342900 h 457200"/>
                <a:gd name="connsiteX23" fmla="*/ 1986617 w 2249488"/>
                <a:gd name="connsiteY23" fmla="*/ 368779 h 457200"/>
                <a:gd name="connsiteX24" fmla="*/ 1986617 w 2249488"/>
                <a:gd name="connsiteY24" fmla="*/ 457200 h 457200"/>
                <a:gd name="connsiteX25" fmla="*/ 1937059 w 2249488"/>
                <a:gd name="connsiteY25" fmla="*/ 457200 h 457200"/>
                <a:gd name="connsiteX26" fmla="*/ 1937059 w 2249488"/>
                <a:gd name="connsiteY26" fmla="*/ 368779 h 457200"/>
                <a:gd name="connsiteX27" fmla="*/ 1956451 w 2249488"/>
                <a:gd name="connsiteY27" fmla="*/ 342900 h 457200"/>
                <a:gd name="connsiteX28" fmla="*/ 1391925 w 2249488"/>
                <a:gd name="connsiteY28" fmla="*/ 342900 h 457200"/>
                <a:gd name="connsiteX29" fmla="*/ 1422090 w 2249488"/>
                <a:gd name="connsiteY29" fmla="*/ 368779 h 457200"/>
                <a:gd name="connsiteX30" fmla="*/ 1422090 w 2249488"/>
                <a:gd name="connsiteY30" fmla="*/ 457200 h 457200"/>
                <a:gd name="connsiteX31" fmla="*/ 1370378 w 2249488"/>
                <a:gd name="connsiteY31" fmla="*/ 457200 h 457200"/>
                <a:gd name="connsiteX32" fmla="*/ 1370378 w 2249488"/>
                <a:gd name="connsiteY32" fmla="*/ 368779 h 457200"/>
                <a:gd name="connsiteX33" fmla="*/ 1391925 w 2249488"/>
                <a:gd name="connsiteY33" fmla="*/ 342900 h 457200"/>
                <a:gd name="connsiteX34" fmla="*/ 825243 w 2249488"/>
                <a:gd name="connsiteY34" fmla="*/ 342900 h 457200"/>
                <a:gd name="connsiteX35" fmla="*/ 855409 w 2249488"/>
                <a:gd name="connsiteY35" fmla="*/ 368779 h 457200"/>
                <a:gd name="connsiteX36" fmla="*/ 855409 w 2249488"/>
                <a:gd name="connsiteY36" fmla="*/ 457200 h 457200"/>
                <a:gd name="connsiteX37" fmla="*/ 805851 w 2249488"/>
                <a:gd name="connsiteY37" fmla="*/ 457200 h 457200"/>
                <a:gd name="connsiteX38" fmla="*/ 805851 w 2249488"/>
                <a:gd name="connsiteY38" fmla="*/ 368779 h 457200"/>
                <a:gd name="connsiteX39" fmla="*/ 825243 w 2249488"/>
                <a:gd name="connsiteY39" fmla="*/ 342900 h 457200"/>
                <a:gd name="connsiteX40" fmla="*/ 258562 w 2249488"/>
                <a:gd name="connsiteY40" fmla="*/ 342900 h 457200"/>
                <a:gd name="connsiteX41" fmla="*/ 288728 w 2249488"/>
                <a:gd name="connsiteY41" fmla="*/ 368779 h 457200"/>
                <a:gd name="connsiteX42" fmla="*/ 288728 w 2249488"/>
                <a:gd name="connsiteY42" fmla="*/ 457200 h 457200"/>
                <a:gd name="connsiteX43" fmla="*/ 239170 w 2249488"/>
                <a:gd name="connsiteY43" fmla="*/ 457200 h 457200"/>
                <a:gd name="connsiteX44" fmla="*/ 239170 w 2249488"/>
                <a:gd name="connsiteY44" fmla="*/ 368779 h 457200"/>
                <a:gd name="connsiteX45" fmla="*/ 258562 w 2249488"/>
                <a:gd name="connsiteY45" fmla="*/ 342900 h 457200"/>
                <a:gd name="connsiteX46" fmla="*/ 1674188 w 2249488"/>
                <a:gd name="connsiteY46" fmla="*/ 228600 h 457200"/>
                <a:gd name="connsiteX47" fmla="*/ 1704354 w 2249488"/>
                <a:gd name="connsiteY47" fmla="*/ 254479 h 457200"/>
                <a:gd name="connsiteX48" fmla="*/ 1704354 w 2249488"/>
                <a:gd name="connsiteY48" fmla="*/ 457200 h 457200"/>
                <a:gd name="connsiteX49" fmla="*/ 1654796 w 2249488"/>
                <a:gd name="connsiteY49" fmla="*/ 457200 h 457200"/>
                <a:gd name="connsiteX50" fmla="*/ 1654796 w 2249488"/>
                <a:gd name="connsiteY50" fmla="*/ 254479 h 457200"/>
                <a:gd name="connsiteX51" fmla="*/ 1674188 w 2249488"/>
                <a:gd name="connsiteY51" fmla="*/ 228600 h 457200"/>
                <a:gd name="connsiteX52" fmla="*/ 1107507 w 2249488"/>
                <a:gd name="connsiteY52" fmla="*/ 228600 h 457200"/>
                <a:gd name="connsiteX53" fmla="*/ 1137672 w 2249488"/>
                <a:gd name="connsiteY53" fmla="*/ 254479 h 457200"/>
                <a:gd name="connsiteX54" fmla="*/ 1137672 w 2249488"/>
                <a:gd name="connsiteY54" fmla="*/ 457200 h 457200"/>
                <a:gd name="connsiteX55" fmla="*/ 1088115 w 2249488"/>
                <a:gd name="connsiteY55" fmla="*/ 457200 h 457200"/>
                <a:gd name="connsiteX56" fmla="*/ 1088115 w 2249488"/>
                <a:gd name="connsiteY56" fmla="*/ 254479 h 457200"/>
                <a:gd name="connsiteX57" fmla="*/ 1107507 w 2249488"/>
                <a:gd name="connsiteY57" fmla="*/ 228600 h 457200"/>
                <a:gd name="connsiteX58" fmla="*/ 542980 w 2249488"/>
                <a:gd name="connsiteY58" fmla="*/ 228600 h 457200"/>
                <a:gd name="connsiteX59" fmla="*/ 573146 w 2249488"/>
                <a:gd name="connsiteY59" fmla="*/ 254479 h 457200"/>
                <a:gd name="connsiteX60" fmla="*/ 573146 w 2249488"/>
                <a:gd name="connsiteY60" fmla="*/ 457200 h 457200"/>
                <a:gd name="connsiteX61" fmla="*/ 521433 w 2249488"/>
                <a:gd name="connsiteY61" fmla="*/ 457200 h 457200"/>
                <a:gd name="connsiteX62" fmla="*/ 521433 w 2249488"/>
                <a:gd name="connsiteY62" fmla="*/ 254479 h 457200"/>
                <a:gd name="connsiteX63" fmla="*/ 542980 w 2249488"/>
                <a:gd name="connsiteY63" fmla="*/ 228600 h 457200"/>
                <a:gd name="connsiteX64" fmla="*/ 2249424 w 2249488"/>
                <a:gd name="connsiteY64" fmla="*/ 47293 h 457200"/>
                <a:gd name="connsiteX65" fmla="*/ 2249488 w 2249488"/>
                <a:gd name="connsiteY65" fmla="*/ 47446 h 457200"/>
                <a:gd name="connsiteX66" fmla="*/ 2249488 w 2249488"/>
                <a:gd name="connsiteY66" fmla="*/ 409755 h 457200"/>
                <a:gd name="connsiteX67" fmla="*/ 2249424 w 2249488"/>
                <a:gd name="connsiteY67" fmla="*/ 409907 h 457200"/>
                <a:gd name="connsiteX68" fmla="*/ 2230419 w 2249488"/>
                <a:gd name="connsiteY68" fmla="*/ 10579 h 457200"/>
                <a:gd name="connsiteX69" fmla="*/ 2236378 w 2249488"/>
                <a:gd name="connsiteY69" fmla="*/ 13047 h 457200"/>
                <a:gd name="connsiteX70" fmla="*/ 2249424 w 2249488"/>
                <a:gd name="connsiteY70" fmla="*/ 44545 h 457200"/>
                <a:gd name="connsiteX71" fmla="*/ 2249424 w 2249488"/>
                <a:gd name="connsiteY71" fmla="*/ 47293 h 457200"/>
                <a:gd name="connsiteX72" fmla="*/ 2235483 w 2249488"/>
                <a:gd name="connsiteY72" fmla="*/ 14018 h 457200"/>
                <a:gd name="connsiteX73" fmla="*/ 19170 w 2249488"/>
                <a:gd name="connsiteY73" fmla="*/ 10511 h 457200"/>
                <a:gd name="connsiteX74" fmla="*/ 14006 w 2249488"/>
                <a:gd name="connsiteY74" fmla="*/ 14018 h 457200"/>
                <a:gd name="connsiteX75" fmla="*/ 0 w 2249488"/>
                <a:gd name="connsiteY75" fmla="*/ 47446 h 457200"/>
                <a:gd name="connsiteX76" fmla="*/ 0 w 2249488"/>
                <a:gd name="connsiteY76" fmla="*/ 44545 h 457200"/>
                <a:gd name="connsiteX77" fmla="*/ 13047 w 2249488"/>
                <a:gd name="connsiteY77" fmla="*/ 13047 h 457200"/>
                <a:gd name="connsiteX78" fmla="*/ 41716 w 2249488"/>
                <a:gd name="connsiteY78" fmla="*/ 1172 h 457200"/>
                <a:gd name="connsiteX79" fmla="*/ 19170 w 2249488"/>
                <a:gd name="connsiteY79" fmla="*/ 10511 h 457200"/>
                <a:gd name="connsiteX80" fmla="*/ 29089 w 2249488"/>
                <a:gd name="connsiteY80" fmla="*/ 3774 h 457200"/>
                <a:gd name="connsiteX81" fmla="*/ 2207645 w 2249488"/>
                <a:gd name="connsiteY81" fmla="*/ 1146 h 457200"/>
                <a:gd name="connsiteX82" fmla="*/ 2220400 w 2249488"/>
                <a:gd name="connsiteY82" fmla="*/ 3774 h 457200"/>
                <a:gd name="connsiteX83" fmla="*/ 2230419 w 2249488"/>
                <a:gd name="connsiteY83" fmla="*/ 10579 h 457200"/>
                <a:gd name="connsiteX84" fmla="*/ 2202085 w 2249488"/>
                <a:gd name="connsiteY84" fmla="*/ 0 h 457200"/>
                <a:gd name="connsiteX85" fmla="*/ 2204879 w 2249488"/>
                <a:gd name="connsiteY85" fmla="*/ 0 h 457200"/>
                <a:gd name="connsiteX86" fmla="*/ 2207645 w 2249488"/>
                <a:gd name="connsiteY86" fmla="*/ 1146 h 457200"/>
                <a:gd name="connsiteX87" fmla="*/ 44545 w 2249488"/>
                <a:gd name="connsiteY87" fmla="*/ 0 h 457200"/>
                <a:gd name="connsiteX88" fmla="*/ 47403 w 2249488"/>
                <a:gd name="connsiteY88" fmla="*/ 0 h 457200"/>
                <a:gd name="connsiteX89" fmla="*/ 41716 w 2249488"/>
                <a:gd name="connsiteY89" fmla="*/ 1172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249488" h="457200">
                  <a:moveTo>
                    <a:pt x="2207645" y="456054"/>
                  </a:moveTo>
                  <a:lnTo>
                    <a:pt x="2204879" y="457200"/>
                  </a:lnTo>
                  <a:lnTo>
                    <a:pt x="2202085" y="457200"/>
                  </a:lnTo>
                  <a:close/>
                  <a:moveTo>
                    <a:pt x="41716" y="456028"/>
                  </a:moveTo>
                  <a:lnTo>
                    <a:pt x="47403" y="457200"/>
                  </a:lnTo>
                  <a:lnTo>
                    <a:pt x="44545" y="457200"/>
                  </a:lnTo>
                  <a:close/>
                  <a:moveTo>
                    <a:pt x="19170" y="446690"/>
                  </a:moveTo>
                  <a:lnTo>
                    <a:pt x="41716" y="456028"/>
                  </a:lnTo>
                  <a:lnTo>
                    <a:pt x="29089" y="453426"/>
                  </a:lnTo>
                  <a:close/>
                  <a:moveTo>
                    <a:pt x="2230419" y="446622"/>
                  </a:moveTo>
                  <a:lnTo>
                    <a:pt x="2220400" y="453426"/>
                  </a:lnTo>
                  <a:lnTo>
                    <a:pt x="2207645" y="456054"/>
                  </a:lnTo>
                  <a:close/>
                  <a:moveTo>
                    <a:pt x="2249424" y="409907"/>
                  </a:moveTo>
                  <a:lnTo>
                    <a:pt x="2249424" y="412655"/>
                  </a:lnTo>
                  <a:cubicBezTo>
                    <a:pt x="2249424" y="424956"/>
                    <a:pt x="2244438" y="436092"/>
                    <a:pt x="2236378" y="444153"/>
                  </a:cubicBezTo>
                  <a:lnTo>
                    <a:pt x="2230419" y="446622"/>
                  </a:lnTo>
                  <a:lnTo>
                    <a:pt x="2235483" y="443182"/>
                  </a:lnTo>
                  <a:close/>
                  <a:moveTo>
                    <a:pt x="0" y="409755"/>
                  </a:moveTo>
                  <a:cubicBezTo>
                    <a:pt x="0" y="422694"/>
                    <a:pt x="5387" y="434556"/>
                    <a:pt x="14006" y="443182"/>
                  </a:cubicBezTo>
                  <a:lnTo>
                    <a:pt x="19170" y="446690"/>
                  </a:lnTo>
                  <a:lnTo>
                    <a:pt x="13047" y="444153"/>
                  </a:lnTo>
                  <a:cubicBezTo>
                    <a:pt x="4986" y="436092"/>
                    <a:pt x="0" y="424956"/>
                    <a:pt x="0" y="412655"/>
                  </a:cubicBezTo>
                  <a:close/>
                  <a:moveTo>
                    <a:pt x="1956451" y="342900"/>
                  </a:moveTo>
                  <a:cubicBezTo>
                    <a:pt x="1973689" y="340744"/>
                    <a:pt x="1986617" y="351527"/>
                    <a:pt x="1986617" y="368779"/>
                  </a:cubicBezTo>
                  <a:cubicBezTo>
                    <a:pt x="1986617" y="457200"/>
                    <a:pt x="1986617" y="457200"/>
                    <a:pt x="1986617" y="457200"/>
                  </a:cubicBezTo>
                  <a:lnTo>
                    <a:pt x="1937059" y="457200"/>
                  </a:lnTo>
                  <a:cubicBezTo>
                    <a:pt x="1937059" y="368779"/>
                    <a:pt x="1937059" y="368779"/>
                    <a:pt x="1937059" y="368779"/>
                  </a:cubicBezTo>
                  <a:cubicBezTo>
                    <a:pt x="1937059" y="355840"/>
                    <a:pt x="1945678" y="345057"/>
                    <a:pt x="1956451" y="342900"/>
                  </a:cubicBezTo>
                  <a:close/>
                  <a:moveTo>
                    <a:pt x="1391925" y="342900"/>
                  </a:moveTo>
                  <a:cubicBezTo>
                    <a:pt x="1407008" y="340744"/>
                    <a:pt x="1422090" y="351527"/>
                    <a:pt x="1422090" y="368779"/>
                  </a:cubicBezTo>
                  <a:cubicBezTo>
                    <a:pt x="1422090" y="457200"/>
                    <a:pt x="1422090" y="457200"/>
                    <a:pt x="1422090" y="457200"/>
                  </a:cubicBezTo>
                  <a:lnTo>
                    <a:pt x="1370378" y="457200"/>
                  </a:lnTo>
                  <a:cubicBezTo>
                    <a:pt x="1370378" y="368779"/>
                    <a:pt x="1370378" y="368779"/>
                    <a:pt x="1370378" y="368779"/>
                  </a:cubicBezTo>
                  <a:cubicBezTo>
                    <a:pt x="1370378" y="355840"/>
                    <a:pt x="1378997" y="345057"/>
                    <a:pt x="1391925" y="342900"/>
                  </a:cubicBezTo>
                  <a:close/>
                  <a:moveTo>
                    <a:pt x="825243" y="342900"/>
                  </a:moveTo>
                  <a:cubicBezTo>
                    <a:pt x="840326" y="340744"/>
                    <a:pt x="855409" y="351527"/>
                    <a:pt x="855409" y="368779"/>
                  </a:cubicBezTo>
                  <a:cubicBezTo>
                    <a:pt x="855409" y="457200"/>
                    <a:pt x="855409" y="457200"/>
                    <a:pt x="855409" y="457200"/>
                  </a:cubicBezTo>
                  <a:lnTo>
                    <a:pt x="805851" y="457200"/>
                  </a:lnTo>
                  <a:cubicBezTo>
                    <a:pt x="805851" y="368779"/>
                    <a:pt x="805851" y="368779"/>
                    <a:pt x="805851" y="368779"/>
                  </a:cubicBezTo>
                  <a:cubicBezTo>
                    <a:pt x="805851" y="355840"/>
                    <a:pt x="812315" y="345057"/>
                    <a:pt x="825243" y="342900"/>
                  </a:cubicBezTo>
                  <a:close/>
                  <a:moveTo>
                    <a:pt x="258562" y="342900"/>
                  </a:moveTo>
                  <a:cubicBezTo>
                    <a:pt x="275800" y="340744"/>
                    <a:pt x="288728" y="351527"/>
                    <a:pt x="288728" y="368779"/>
                  </a:cubicBezTo>
                  <a:cubicBezTo>
                    <a:pt x="288728" y="457200"/>
                    <a:pt x="288728" y="457200"/>
                    <a:pt x="288728" y="457200"/>
                  </a:cubicBezTo>
                  <a:lnTo>
                    <a:pt x="239170" y="457200"/>
                  </a:lnTo>
                  <a:cubicBezTo>
                    <a:pt x="239170" y="368779"/>
                    <a:pt x="239170" y="368779"/>
                    <a:pt x="239170" y="368779"/>
                  </a:cubicBezTo>
                  <a:cubicBezTo>
                    <a:pt x="239170" y="355840"/>
                    <a:pt x="247789" y="345057"/>
                    <a:pt x="258562" y="342900"/>
                  </a:cubicBezTo>
                  <a:close/>
                  <a:moveTo>
                    <a:pt x="1674188" y="228600"/>
                  </a:moveTo>
                  <a:cubicBezTo>
                    <a:pt x="1691426" y="226444"/>
                    <a:pt x="1704354" y="237227"/>
                    <a:pt x="1704354" y="254479"/>
                  </a:cubicBezTo>
                  <a:cubicBezTo>
                    <a:pt x="1704354" y="457200"/>
                    <a:pt x="1704354" y="457200"/>
                    <a:pt x="1704354" y="457200"/>
                  </a:cubicBezTo>
                  <a:lnTo>
                    <a:pt x="1654796" y="457200"/>
                  </a:lnTo>
                  <a:cubicBezTo>
                    <a:pt x="1654796" y="254479"/>
                    <a:pt x="1654796" y="254479"/>
                    <a:pt x="1654796" y="254479"/>
                  </a:cubicBezTo>
                  <a:cubicBezTo>
                    <a:pt x="1654796" y="241540"/>
                    <a:pt x="1663415" y="230757"/>
                    <a:pt x="1674188" y="228600"/>
                  </a:cubicBezTo>
                  <a:close/>
                  <a:moveTo>
                    <a:pt x="1107507" y="228600"/>
                  </a:moveTo>
                  <a:cubicBezTo>
                    <a:pt x="1124744" y="226444"/>
                    <a:pt x="1137672" y="237227"/>
                    <a:pt x="1137672" y="254479"/>
                  </a:cubicBezTo>
                  <a:cubicBezTo>
                    <a:pt x="1137672" y="457200"/>
                    <a:pt x="1137672" y="457200"/>
                    <a:pt x="1137672" y="457200"/>
                  </a:cubicBezTo>
                  <a:lnTo>
                    <a:pt x="1088115" y="457200"/>
                  </a:lnTo>
                  <a:cubicBezTo>
                    <a:pt x="1088115" y="254479"/>
                    <a:pt x="1088115" y="254479"/>
                    <a:pt x="1088115" y="254479"/>
                  </a:cubicBezTo>
                  <a:cubicBezTo>
                    <a:pt x="1088115" y="241540"/>
                    <a:pt x="1096733" y="230757"/>
                    <a:pt x="1107507" y="228600"/>
                  </a:cubicBezTo>
                  <a:close/>
                  <a:moveTo>
                    <a:pt x="542980" y="228600"/>
                  </a:moveTo>
                  <a:cubicBezTo>
                    <a:pt x="558063" y="226444"/>
                    <a:pt x="573146" y="237227"/>
                    <a:pt x="573146" y="254479"/>
                  </a:cubicBezTo>
                  <a:cubicBezTo>
                    <a:pt x="573146" y="457200"/>
                    <a:pt x="573146" y="457200"/>
                    <a:pt x="573146" y="457200"/>
                  </a:cubicBezTo>
                  <a:lnTo>
                    <a:pt x="521433" y="457200"/>
                  </a:lnTo>
                  <a:cubicBezTo>
                    <a:pt x="521433" y="254479"/>
                    <a:pt x="521433" y="254479"/>
                    <a:pt x="521433" y="254479"/>
                  </a:cubicBezTo>
                  <a:cubicBezTo>
                    <a:pt x="521433" y="241540"/>
                    <a:pt x="530052" y="230757"/>
                    <a:pt x="542980" y="228600"/>
                  </a:cubicBezTo>
                  <a:close/>
                  <a:moveTo>
                    <a:pt x="2249424" y="47293"/>
                  </a:moveTo>
                  <a:lnTo>
                    <a:pt x="2249488" y="47446"/>
                  </a:lnTo>
                  <a:cubicBezTo>
                    <a:pt x="2249488" y="47446"/>
                    <a:pt x="2249488" y="47446"/>
                    <a:pt x="2249488" y="409755"/>
                  </a:cubicBezTo>
                  <a:lnTo>
                    <a:pt x="2249424" y="409907"/>
                  </a:lnTo>
                  <a:close/>
                  <a:moveTo>
                    <a:pt x="2230419" y="10579"/>
                  </a:moveTo>
                  <a:lnTo>
                    <a:pt x="2236378" y="13047"/>
                  </a:lnTo>
                  <a:cubicBezTo>
                    <a:pt x="2244438" y="21108"/>
                    <a:pt x="2249424" y="32244"/>
                    <a:pt x="2249424" y="44545"/>
                  </a:cubicBezTo>
                  <a:lnTo>
                    <a:pt x="2249424" y="47293"/>
                  </a:lnTo>
                  <a:lnTo>
                    <a:pt x="2235483" y="14018"/>
                  </a:lnTo>
                  <a:close/>
                  <a:moveTo>
                    <a:pt x="19170" y="10511"/>
                  </a:moveTo>
                  <a:lnTo>
                    <a:pt x="14006" y="14018"/>
                  </a:lnTo>
                  <a:cubicBezTo>
                    <a:pt x="5387" y="22645"/>
                    <a:pt x="0" y="34506"/>
                    <a:pt x="0" y="47446"/>
                  </a:cubicBezTo>
                  <a:lnTo>
                    <a:pt x="0" y="44545"/>
                  </a:lnTo>
                  <a:cubicBezTo>
                    <a:pt x="0" y="32244"/>
                    <a:pt x="4986" y="21108"/>
                    <a:pt x="13047" y="13047"/>
                  </a:cubicBezTo>
                  <a:close/>
                  <a:moveTo>
                    <a:pt x="41716" y="1172"/>
                  </a:moveTo>
                  <a:lnTo>
                    <a:pt x="19170" y="10511"/>
                  </a:lnTo>
                  <a:lnTo>
                    <a:pt x="29089" y="3774"/>
                  </a:lnTo>
                  <a:close/>
                  <a:moveTo>
                    <a:pt x="2207645" y="1146"/>
                  </a:moveTo>
                  <a:lnTo>
                    <a:pt x="2220400" y="3774"/>
                  </a:lnTo>
                  <a:lnTo>
                    <a:pt x="2230419" y="10579"/>
                  </a:lnTo>
                  <a:close/>
                  <a:moveTo>
                    <a:pt x="2202085" y="0"/>
                  </a:moveTo>
                  <a:lnTo>
                    <a:pt x="2204879" y="0"/>
                  </a:lnTo>
                  <a:lnTo>
                    <a:pt x="2207645" y="1146"/>
                  </a:lnTo>
                  <a:close/>
                  <a:moveTo>
                    <a:pt x="44545" y="0"/>
                  </a:moveTo>
                  <a:lnTo>
                    <a:pt x="47403" y="0"/>
                  </a:lnTo>
                  <a:lnTo>
                    <a:pt x="41716" y="1172"/>
                  </a:lnTo>
                  <a:close/>
                </a:path>
              </a:pathLst>
            </a:custGeom>
            <a:solidFill>
              <a:schemeClr val="accent6">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spTree>
    <p:extLst>
      <p:ext uri="{BB962C8B-B14F-4D97-AF65-F5344CB8AC3E}">
        <p14:creationId xmlns:p14="http://schemas.microsoft.com/office/powerpoint/2010/main" val="42111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1B9FD98-5994-6DAE-2D9D-3BAB7FFF79D3}"/>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32B242CC-D8FC-3FFB-A79D-8493D1EBEE1F}"/>
              </a:ext>
            </a:extLst>
          </p:cNvPr>
          <p:cNvSpPr>
            <a:spLocks noGrp="1"/>
          </p:cNvSpPr>
          <p:nvPr>
            <p:ph type="title"/>
          </p:nvPr>
        </p:nvSpPr>
        <p:spPr>
          <a:xfrm>
            <a:off x="495300" y="565125"/>
            <a:ext cx="11187112" cy="439479"/>
          </a:xfrm>
        </p:spPr>
        <p:txBody>
          <a:bodyPr/>
          <a:lstStyle/>
          <a:p>
            <a:r>
              <a:rPr lang="de-DE" dirty="0"/>
              <a:t>5G Broadcast Standards Evolution</a:t>
            </a:r>
            <a:endParaRPr lang="en-US" dirty="0"/>
          </a:p>
        </p:txBody>
      </p:sp>
      <p:graphicFrame>
        <p:nvGraphicFramePr>
          <p:cNvPr id="6" name="Content Placeholder 5">
            <a:extLst>
              <a:ext uri="{FF2B5EF4-FFF2-40B4-BE49-F238E27FC236}">
                <a16:creationId xmlns:a16="http://schemas.microsoft.com/office/drawing/2014/main" id="{CA0A395A-0287-16CA-38C5-B73939A7E4EB}"/>
              </a:ext>
            </a:extLst>
          </p:cNvPr>
          <p:cNvGraphicFramePr>
            <a:graphicFrameLocks noGrp="1"/>
          </p:cNvGraphicFramePr>
          <p:nvPr>
            <p:ph sz="quarter" idx="14"/>
          </p:nvPr>
        </p:nvGraphicFramePr>
        <p:xfrm>
          <a:off x="0" y="657225"/>
          <a:ext cx="12192000" cy="47053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ubtitle 4">
            <a:extLst>
              <a:ext uri="{FF2B5EF4-FFF2-40B4-BE49-F238E27FC236}">
                <a16:creationId xmlns:a16="http://schemas.microsoft.com/office/drawing/2014/main" id="{5D3B3373-A461-E27B-F573-82BB1C357A8F}"/>
              </a:ext>
            </a:extLst>
          </p:cNvPr>
          <p:cNvSpPr>
            <a:spLocks noGrp="1"/>
          </p:cNvSpPr>
          <p:nvPr>
            <p:ph type="subTitle" idx="1"/>
          </p:nvPr>
        </p:nvSpPr>
        <p:spPr/>
        <p:txBody>
          <a:bodyPr/>
          <a:lstStyle/>
          <a:p>
            <a:r>
              <a:rPr lang="de-DE" dirty="0"/>
              <a:t>Roadmap towards WRC23</a:t>
            </a:r>
            <a:endParaRPr lang="en-US" dirty="0"/>
          </a:p>
        </p:txBody>
      </p:sp>
      <p:sp>
        <p:nvSpPr>
          <p:cNvPr id="7" name="TextBox 6">
            <a:extLst>
              <a:ext uri="{FF2B5EF4-FFF2-40B4-BE49-F238E27FC236}">
                <a16:creationId xmlns:a16="http://schemas.microsoft.com/office/drawing/2014/main" id="{ABD5253C-9E6A-0772-17A1-216DCD0178A8}"/>
              </a:ext>
            </a:extLst>
          </p:cNvPr>
          <p:cNvSpPr txBox="1"/>
          <p:nvPr/>
        </p:nvSpPr>
        <p:spPr>
          <a:xfrm>
            <a:off x="445504"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a:rPr>
              <a:t>3GPP</a:t>
            </a:r>
          </a:p>
        </p:txBody>
      </p:sp>
      <p:sp>
        <p:nvSpPr>
          <p:cNvPr id="8" name="TextBox 7">
            <a:extLst>
              <a:ext uri="{FF2B5EF4-FFF2-40B4-BE49-F238E27FC236}">
                <a16:creationId xmlns:a16="http://schemas.microsoft.com/office/drawing/2014/main" id="{D208ADCD-8B7F-03B0-8D84-2AD41DD6715A}"/>
              </a:ext>
            </a:extLst>
          </p:cNvPr>
          <p:cNvSpPr txBox="1"/>
          <p:nvPr/>
        </p:nvSpPr>
        <p:spPr>
          <a:xfrm>
            <a:off x="3305562"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rPr>
              <a:t>3GPP </a:t>
            </a:r>
          </a:p>
        </p:txBody>
      </p:sp>
      <p:sp>
        <p:nvSpPr>
          <p:cNvPr id="9" name="TextBox 8">
            <a:extLst>
              <a:ext uri="{FF2B5EF4-FFF2-40B4-BE49-F238E27FC236}">
                <a16:creationId xmlns:a16="http://schemas.microsoft.com/office/drawing/2014/main" id="{8E075129-03B1-6E77-6072-42A980E1FDC3}"/>
              </a:ext>
            </a:extLst>
          </p:cNvPr>
          <p:cNvSpPr txBox="1"/>
          <p:nvPr/>
        </p:nvSpPr>
        <p:spPr>
          <a:xfrm>
            <a:off x="2007012" y="1626302"/>
            <a:ext cx="1104615"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rPr>
              <a:t>ITU</a:t>
            </a:r>
          </a:p>
        </p:txBody>
      </p:sp>
      <p:sp>
        <p:nvSpPr>
          <p:cNvPr id="10" name="TextBox 9">
            <a:extLst>
              <a:ext uri="{FF2B5EF4-FFF2-40B4-BE49-F238E27FC236}">
                <a16:creationId xmlns:a16="http://schemas.microsoft.com/office/drawing/2014/main" id="{E1827850-40BC-7222-7353-3B6C57CE5B0D}"/>
              </a:ext>
            </a:extLst>
          </p:cNvPr>
          <p:cNvSpPr txBox="1"/>
          <p:nvPr/>
        </p:nvSpPr>
        <p:spPr>
          <a:xfrm>
            <a:off x="4867070" y="1626302"/>
            <a:ext cx="1229761"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rPr>
              <a:t>ETSI</a:t>
            </a:r>
          </a:p>
        </p:txBody>
      </p:sp>
      <p:sp>
        <p:nvSpPr>
          <p:cNvPr id="11" name="TextBox 10">
            <a:extLst>
              <a:ext uri="{FF2B5EF4-FFF2-40B4-BE49-F238E27FC236}">
                <a16:creationId xmlns:a16="http://schemas.microsoft.com/office/drawing/2014/main" id="{A41A901B-3785-B441-7B99-07023EC7E567}"/>
              </a:ext>
            </a:extLst>
          </p:cNvPr>
          <p:cNvSpPr txBox="1"/>
          <p:nvPr/>
        </p:nvSpPr>
        <p:spPr>
          <a:xfrm>
            <a:off x="6290766"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a:rPr>
              <a:t>3GPP </a:t>
            </a:r>
          </a:p>
        </p:txBody>
      </p:sp>
      <p:sp>
        <p:nvSpPr>
          <p:cNvPr id="12" name="TextBox 11">
            <a:extLst>
              <a:ext uri="{FF2B5EF4-FFF2-40B4-BE49-F238E27FC236}">
                <a16:creationId xmlns:a16="http://schemas.microsoft.com/office/drawing/2014/main" id="{F64F9FCA-3CD3-3B6F-CFD3-A925EDF7A57F}"/>
              </a:ext>
            </a:extLst>
          </p:cNvPr>
          <p:cNvSpPr txBox="1"/>
          <p:nvPr/>
        </p:nvSpPr>
        <p:spPr>
          <a:xfrm>
            <a:off x="7852274" y="1472414"/>
            <a:ext cx="1229761" cy="70788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a:rPr>
              <a:t>ETSI</a:t>
            </a:r>
            <a:br>
              <a:rPr kumimoji="0" lang="en-US" sz="2000" b="0" i="0" u="none" strike="noStrike" kern="1200" cap="none" spc="0" normalizeH="0" baseline="0" noProof="0" dirty="0">
                <a:ln>
                  <a:noFill/>
                </a:ln>
                <a:solidFill>
                  <a:schemeClr val="accent1"/>
                </a:solidFill>
                <a:effectLst/>
                <a:uLnTx/>
                <a:uFillTx/>
                <a:latin typeface="Arial"/>
              </a:rPr>
            </a:br>
            <a:r>
              <a:rPr kumimoji="0" lang="en-US" sz="2000" b="0" i="0" u="none" strike="noStrike" kern="1200" cap="none" spc="0" normalizeH="0" baseline="0" noProof="0" dirty="0">
                <a:ln>
                  <a:noFill/>
                </a:ln>
                <a:solidFill>
                  <a:schemeClr val="accent1"/>
                </a:solidFill>
                <a:effectLst/>
                <a:uLnTx/>
                <a:uFillTx/>
                <a:latin typeface="Arial"/>
              </a:rPr>
              <a:t>5G-MAG</a:t>
            </a:r>
          </a:p>
        </p:txBody>
      </p:sp>
      <p:sp>
        <p:nvSpPr>
          <p:cNvPr id="13" name="TextBox 12">
            <a:extLst>
              <a:ext uri="{FF2B5EF4-FFF2-40B4-BE49-F238E27FC236}">
                <a16:creationId xmlns:a16="http://schemas.microsoft.com/office/drawing/2014/main" id="{7190D5B7-1C37-9E41-AA4D-BB8C19AD1382}"/>
              </a:ext>
            </a:extLst>
          </p:cNvPr>
          <p:cNvSpPr txBox="1"/>
          <p:nvPr/>
        </p:nvSpPr>
        <p:spPr>
          <a:xfrm>
            <a:off x="10837475" y="1626302"/>
            <a:ext cx="1104615"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a:rPr>
              <a:t>ITU</a:t>
            </a:r>
          </a:p>
        </p:txBody>
      </p:sp>
      <p:sp>
        <p:nvSpPr>
          <p:cNvPr id="14" name="TextBox 13">
            <a:extLst>
              <a:ext uri="{FF2B5EF4-FFF2-40B4-BE49-F238E27FC236}">
                <a16:creationId xmlns:a16="http://schemas.microsoft.com/office/drawing/2014/main" id="{F0E29BC8-0125-54F5-F5DB-532E248A32A1}"/>
              </a:ext>
            </a:extLst>
          </p:cNvPr>
          <p:cNvSpPr txBox="1"/>
          <p:nvPr/>
        </p:nvSpPr>
        <p:spPr>
          <a:xfrm>
            <a:off x="9275970" y="1626302"/>
            <a:ext cx="1367573"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Arial"/>
              </a:rPr>
              <a:t>3GPP </a:t>
            </a:r>
          </a:p>
        </p:txBody>
      </p:sp>
      <p:sp>
        <p:nvSpPr>
          <p:cNvPr id="16" name="TextBox 15">
            <a:extLst>
              <a:ext uri="{FF2B5EF4-FFF2-40B4-BE49-F238E27FC236}">
                <a16:creationId xmlns:a16="http://schemas.microsoft.com/office/drawing/2014/main" id="{40AD1F3C-951F-4A52-5FC8-DB64258BD29F}"/>
              </a:ext>
            </a:extLst>
          </p:cNvPr>
          <p:cNvSpPr txBox="1"/>
          <p:nvPr/>
        </p:nvSpPr>
        <p:spPr>
          <a:xfrm>
            <a:off x="426454" y="39144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2017</a:t>
            </a:r>
          </a:p>
        </p:txBody>
      </p:sp>
      <p:sp>
        <p:nvSpPr>
          <p:cNvPr id="17" name="TextBox 16">
            <a:extLst>
              <a:ext uri="{FF2B5EF4-FFF2-40B4-BE49-F238E27FC236}">
                <a16:creationId xmlns:a16="http://schemas.microsoft.com/office/drawing/2014/main" id="{8AD6908D-576B-AFFD-A8DE-53D88F6D4292}"/>
              </a:ext>
            </a:extLst>
          </p:cNvPr>
          <p:cNvSpPr txBox="1"/>
          <p:nvPr/>
        </p:nvSpPr>
        <p:spPr>
          <a:xfrm>
            <a:off x="3286512" y="39108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2020 </a:t>
            </a:r>
          </a:p>
        </p:txBody>
      </p:sp>
      <p:sp>
        <p:nvSpPr>
          <p:cNvPr id="18" name="TextBox 17">
            <a:extLst>
              <a:ext uri="{FF2B5EF4-FFF2-40B4-BE49-F238E27FC236}">
                <a16:creationId xmlns:a16="http://schemas.microsoft.com/office/drawing/2014/main" id="{87B7C911-FE53-29DE-0CDD-BCFBEB906A53}"/>
              </a:ext>
            </a:extLst>
          </p:cNvPr>
          <p:cNvSpPr txBox="1"/>
          <p:nvPr/>
        </p:nvSpPr>
        <p:spPr>
          <a:xfrm>
            <a:off x="1987962" y="3912259"/>
            <a:ext cx="11046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2019</a:t>
            </a:r>
          </a:p>
        </p:txBody>
      </p:sp>
      <p:sp>
        <p:nvSpPr>
          <p:cNvPr id="19" name="TextBox 18">
            <a:extLst>
              <a:ext uri="{FF2B5EF4-FFF2-40B4-BE49-F238E27FC236}">
                <a16:creationId xmlns:a16="http://schemas.microsoft.com/office/drawing/2014/main" id="{FA12F521-1224-AFB9-11FE-6761BC886A31}"/>
              </a:ext>
            </a:extLst>
          </p:cNvPr>
          <p:cNvSpPr txBox="1"/>
          <p:nvPr/>
        </p:nvSpPr>
        <p:spPr>
          <a:xfrm>
            <a:off x="4848020" y="3912259"/>
            <a:ext cx="1229761"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2020</a:t>
            </a:r>
          </a:p>
        </p:txBody>
      </p:sp>
      <p:sp>
        <p:nvSpPr>
          <p:cNvPr id="20" name="TextBox 19">
            <a:extLst>
              <a:ext uri="{FF2B5EF4-FFF2-40B4-BE49-F238E27FC236}">
                <a16:creationId xmlns:a16="http://schemas.microsoft.com/office/drawing/2014/main" id="{6169FDDA-86CD-415C-FA5D-5805B2FFEBE9}"/>
              </a:ext>
            </a:extLst>
          </p:cNvPr>
          <p:cNvSpPr txBox="1"/>
          <p:nvPr/>
        </p:nvSpPr>
        <p:spPr>
          <a:xfrm>
            <a:off x="6271716" y="3914411"/>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dirty="0">
                <a:solidFill>
                  <a:schemeClr val="accent1"/>
                </a:solidFill>
                <a:latin typeface="Arial"/>
              </a:rPr>
              <a:t>06/</a:t>
            </a:r>
            <a:r>
              <a:rPr kumimoji="0" lang="en-US" sz="2400" b="0" i="0" u="none" strike="noStrike" kern="1200" cap="none" spc="0" normalizeH="0" baseline="0" noProof="0" dirty="0">
                <a:ln>
                  <a:noFill/>
                </a:ln>
                <a:solidFill>
                  <a:schemeClr val="accent1"/>
                </a:solidFill>
                <a:effectLst/>
                <a:uLnTx/>
                <a:uFillTx/>
                <a:latin typeface="Arial"/>
              </a:rPr>
              <a:t>22 </a:t>
            </a:r>
          </a:p>
        </p:txBody>
      </p:sp>
      <p:sp>
        <p:nvSpPr>
          <p:cNvPr id="21" name="TextBox 20">
            <a:extLst>
              <a:ext uri="{FF2B5EF4-FFF2-40B4-BE49-F238E27FC236}">
                <a16:creationId xmlns:a16="http://schemas.microsoft.com/office/drawing/2014/main" id="{51854E7D-C0C0-31A9-4337-FB60F2196FA7}"/>
              </a:ext>
            </a:extLst>
          </p:cNvPr>
          <p:cNvSpPr txBox="1"/>
          <p:nvPr/>
        </p:nvSpPr>
        <p:spPr>
          <a:xfrm>
            <a:off x="7833224" y="3910814"/>
            <a:ext cx="1229761"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2400" dirty="0">
                <a:solidFill>
                  <a:schemeClr val="accent1"/>
                </a:solidFill>
                <a:latin typeface="Arial"/>
              </a:rPr>
              <a:t>06/23</a:t>
            </a:r>
            <a:endParaRPr kumimoji="0" lang="en-US" sz="2400" b="0" i="0" u="none" strike="noStrike" kern="1200" cap="none" spc="0" normalizeH="0" baseline="0" noProof="0" dirty="0">
              <a:ln>
                <a:noFill/>
              </a:ln>
              <a:solidFill>
                <a:schemeClr val="accent1"/>
              </a:solidFill>
              <a:effectLst/>
              <a:uLnTx/>
              <a:uFillTx/>
              <a:latin typeface="Arial"/>
            </a:endParaRPr>
          </a:p>
        </p:txBody>
      </p:sp>
      <p:sp>
        <p:nvSpPr>
          <p:cNvPr id="22" name="TextBox 21">
            <a:extLst>
              <a:ext uri="{FF2B5EF4-FFF2-40B4-BE49-F238E27FC236}">
                <a16:creationId xmlns:a16="http://schemas.microsoft.com/office/drawing/2014/main" id="{196FF986-E8DB-1E27-EEF1-06E05B63A076}"/>
              </a:ext>
            </a:extLst>
          </p:cNvPr>
          <p:cNvSpPr txBox="1"/>
          <p:nvPr/>
        </p:nvSpPr>
        <p:spPr>
          <a:xfrm>
            <a:off x="10818425" y="3910814"/>
            <a:ext cx="1104615"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2023</a:t>
            </a:r>
          </a:p>
        </p:txBody>
      </p:sp>
      <p:sp>
        <p:nvSpPr>
          <p:cNvPr id="23" name="TextBox 22">
            <a:extLst>
              <a:ext uri="{FF2B5EF4-FFF2-40B4-BE49-F238E27FC236}">
                <a16:creationId xmlns:a16="http://schemas.microsoft.com/office/drawing/2014/main" id="{A47B43D3-3CD1-749D-BBB6-72973AE8E524}"/>
              </a:ext>
            </a:extLst>
          </p:cNvPr>
          <p:cNvSpPr txBox="1"/>
          <p:nvPr/>
        </p:nvSpPr>
        <p:spPr>
          <a:xfrm>
            <a:off x="9256920" y="3910814"/>
            <a:ext cx="1367573" cy="46166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Arial"/>
              </a:rPr>
              <a:t>09/23 </a:t>
            </a:r>
          </a:p>
        </p:txBody>
      </p:sp>
      <p:sp>
        <p:nvSpPr>
          <p:cNvPr id="24" name="Speech Bubble: Rectangle with Corners Rounded 23">
            <a:extLst>
              <a:ext uri="{FF2B5EF4-FFF2-40B4-BE49-F238E27FC236}">
                <a16:creationId xmlns:a16="http://schemas.microsoft.com/office/drawing/2014/main" id="{D82E08D6-03AF-0578-AE02-6B55631D58FA}"/>
              </a:ext>
            </a:extLst>
          </p:cNvPr>
          <p:cNvSpPr/>
          <p:nvPr/>
        </p:nvSpPr>
        <p:spPr>
          <a:xfrm>
            <a:off x="2410895" y="4677558"/>
            <a:ext cx="6638925" cy="1732917"/>
          </a:xfrm>
          <a:prstGeom prst="wedgeRoundRectCallout">
            <a:avLst>
              <a:gd name="adj1" fmla="val 36463"/>
              <a:gd name="adj2" fmla="val -112425"/>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96000"/>
              </a:lnSpc>
              <a:buFont typeface="Arial" panose="020B0604020202020204" pitchFamily="34" charset="0"/>
              <a:buChar char="•"/>
            </a:pPr>
            <a:r>
              <a:rPr lang="en-US" dirty="0">
                <a:solidFill>
                  <a:schemeClr val="bg1"/>
                </a:solidFill>
                <a:latin typeface="Microsoft Sans Serif"/>
                <a:cs typeface="Microsoft Sans Serif" panose="020B0604020202020204" pitchFamily="34" charset="0"/>
              </a:rPr>
              <a:t>Bug fixes and clarifications from trials &amp; Rel-17</a:t>
            </a:r>
          </a:p>
          <a:p>
            <a:pPr marL="285750" indent="-285750">
              <a:lnSpc>
                <a:spcPct val="96000"/>
              </a:lnSpc>
              <a:buFont typeface="Arial" panose="020B0604020202020204" pitchFamily="34" charset="0"/>
              <a:buChar char="•"/>
            </a:pPr>
            <a:r>
              <a:rPr lang="en-US" dirty="0">
                <a:solidFill>
                  <a:schemeClr val="bg1"/>
                </a:solidFill>
                <a:latin typeface="Microsoft Sans Serif"/>
                <a:cs typeface="Microsoft Sans Serif" panose="020B0604020202020204" pitchFamily="34" charset="0"/>
              </a:rPr>
              <a:t>Adding bandwidth information, including 6/7/8 MHz</a:t>
            </a:r>
          </a:p>
          <a:p>
            <a:pPr marL="285750" indent="-285750">
              <a:lnSpc>
                <a:spcPct val="96000"/>
              </a:lnSpc>
              <a:buFont typeface="Arial" panose="020B0604020202020204" pitchFamily="34" charset="0"/>
              <a:buChar char="•"/>
            </a:pPr>
            <a:r>
              <a:rPr lang="en-US" dirty="0">
                <a:solidFill>
                  <a:schemeClr val="bg1"/>
                </a:solidFill>
                <a:latin typeface="Microsoft Sans Serif"/>
                <a:cs typeface="Microsoft Sans Serif" panose="020B0604020202020204" pitchFamily="34" charset="0"/>
              </a:rPr>
              <a:t>5G Media Streaming: integrated unicast &amp; broadcast</a:t>
            </a:r>
          </a:p>
          <a:p>
            <a:pPr marL="285750" indent="-285750">
              <a:lnSpc>
                <a:spcPct val="96000"/>
              </a:lnSpc>
              <a:buFont typeface="Arial" panose="020B0604020202020204" pitchFamily="34" charset="0"/>
              <a:buChar char="•"/>
            </a:pPr>
            <a:r>
              <a:rPr lang="en-US" dirty="0">
                <a:solidFill>
                  <a:schemeClr val="bg1"/>
                </a:solidFill>
                <a:latin typeface="Microsoft Sans Serif"/>
                <a:cs typeface="Microsoft Sans Serif" panose="020B0604020202020204" pitchFamily="34" charset="0"/>
              </a:rPr>
              <a:t>Consistent codecs and formats</a:t>
            </a:r>
          </a:p>
          <a:p>
            <a:pPr marL="285750" indent="-285750">
              <a:lnSpc>
                <a:spcPct val="96000"/>
              </a:lnSpc>
              <a:buFont typeface="Arial" panose="020B0604020202020204" pitchFamily="34" charset="0"/>
              <a:buChar char="•"/>
            </a:pPr>
            <a:r>
              <a:rPr lang="en-US" dirty="0">
                <a:solidFill>
                  <a:schemeClr val="bg1"/>
                </a:solidFill>
                <a:latin typeface="Microsoft Sans Serif"/>
                <a:cs typeface="Microsoft Sans Serif" panose="020B0604020202020204" pitchFamily="34" charset="0"/>
              </a:rPr>
              <a:t>Support of Public Warning System &amp; Emergency Alerts</a:t>
            </a:r>
          </a:p>
        </p:txBody>
      </p:sp>
    </p:spTree>
    <p:extLst>
      <p:ext uri="{BB962C8B-B14F-4D97-AF65-F5344CB8AC3E}">
        <p14:creationId xmlns:p14="http://schemas.microsoft.com/office/powerpoint/2010/main" val="381657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childTnLst>
                          </p:cTn>
                        </p:par>
                        <p:par>
                          <p:cTn id="50" fill="hold">
                            <p:stCondLst>
                              <p:cond delay="35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childTnLst>
                          </p:cTn>
                        </p:par>
                      </p:childTnLst>
                    </p:cTn>
                  </p:par>
                  <p:par>
                    <p:cTn id="61" fill="hold">
                      <p:stCondLst>
                        <p:cond delay="indefinite"/>
                      </p:stCondLst>
                      <p:childTnLst>
                        <p:par>
                          <p:cTn id="62" fill="hold">
                            <p:stCondLst>
                              <p:cond delay="0"/>
                            </p:stCondLst>
                            <p:childTnLst>
                              <p:par>
                                <p:cTn id="63" presetID="31" presetClass="entr" presetSubtype="0" fill="hold" grpId="0" nodeType="clickEffect">
                                  <p:stCondLst>
                                    <p:cond delay="0"/>
                                  </p:stCondLst>
                                  <p:childTnLst>
                                    <p:set>
                                      <p:cBhvr>
                                        <p:cTn id="64" dur="1" fill="hold">
                                          <p:stCondLst>
                                            <p:cond delay="0"/>
                                          </p:stCondLst>
                                        </p:cTn>
                                        <p:tgtEl>
                                          <p:spTgt spid="24"/>
                                        </p:tgtEl>
                                        <p:attrNameLst>
                                          <p:attrName>style.visibility</p:attrName>
                                        </p:attrNameLst>
                                      </p:cBhvr>
                                      <p:to>
                                        <p:strVal val="visible"/>
                                      </p:to>
                                    </p:set>
                                    <p:anim calcmode="lin" valueType="num">
                                      <p:cBhvr>
                                        <p:cTn id="65" dur="1000" fill="hold"/>
                                        <p:tgtEl>
                                          <p:spTgt spid="24"/>
                                        </p:tgtEl>
                                        <p:attrNameLst>
                                          <p:attrName>ppt_w</p:attrName>
                                        </p:attrNameLst>
                                      </p:cBhvr>
                                      <p:tavLst>
                                        <p:tav tm="0">
                                          <p:val>
                                            <p:fltVal val="0"/>
                                          </p:val>
                                        </p:tav>
                                        <p:tav tm="100000">
                                          <p:val>
                                            <p:strVal val="#ppt_w"/>
                                          </p:val>
                                        </p:tav>
                                      </p:tavLst>
                                    </p:anim>
                                    <p:anim calcmode="lin" valueType="num">
                                      <p:cBhvr>
                                        <p:cTn id="66" dur="1000" fill="hold"/>
                                        <p:tgtEl>
                                          <p:spTgt spid="24"/>
                                        </p:tgtEl>
                                        <p:attrNameLst>
                                          <p:attrName>ppt_h</p:attrName>
                                        </p:attrNameLst>
                                      </p:cBhvr>
                                      <p:tavLst>
                                        <p:tav tm="0">
                                          <p:val>
                                            <p:fltVal val="0"/>
                                          </p:val>
                                        </p:tav>
                                        <p:tav tm="100000">
                                          <p:val>
                                            <p:strVal val="#ppt_h"/>
                                          </p:val>
                                        </p:tav>
                                      </p:tavLst>
                                    </p:anim>
                                    <p:anim calcmode="lin" valueType="num">
                                      <p:cBhvr>
                                        <p:cTn id="67" dur="1000" fill="hold"/>
                                        <p:tgtEl>
                                          <p:spTgt spid="24"/>
                                        </p:tgtEl>
                                        <p:attrNameLst>
                                          <p:attrName>style.rotation</p:attrName>
                                        </p:attrNameLst>
                                      </p:cBhvr>
                                      <p:tavLst>
                                        <p:tav tm="0">
                                          <p:val>
                                            <p:fltVal val="90"/>
                                          </p:val>
                                        </p:tav>
                                        <p:tav tm="100000">
                                          <p:val>
                                            <p:fltVal val="0"/>
                                          </p:val>
                                        </p:tav>
                                      </p:tavLst>
                                    </p:anim>
                                    <p:animEffect transition="in" filter="fade">
                                      <p:cBhvr>
                                        <p:cTn id="68"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6" grpId="0"/>
      <p:bldP spid="17" grpId="0"/>
      <p:bldP spid="18" grpId="0"/>
      <p:bldP spid="19" grpId="0"/>
      <p:bldP spid="20" grpId="0"/>
      <p:bldP spid="21" grpId="0"/>
      <p:bldP spid="22" grpId="0"/>
      <p:bldP spid="23" grpId="0"/>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A7FBE7-C12E-3268-CD17-584452BAABFE}"/>
              </a:ext>
            </a:extLst>
          </p:cNvPr>
          <p:cNvPicPr>
            <a:picLocks noChangeAspect="1"/>
          </p:cNvPicPr>
          <p:nvPr/>
        </p:nvPicPr>
        <p:blipFill>
          <a:blip r:embed="rId2"/>
          <a:stretch>
            <a:fillRect/>
          </a:stretch>
        </p:blipFill>
        <p:spPr>
          <a:xfrm>
            <a:off x="8406686" y="265378"/>
            <a:ext cx="3495675" cy="3087688"/>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pic>
        <p:nvPicPr>
          <p:cNvPr id="1026" name="Picture 2">
            <a:extLst>
              <a:ext uri="{FF2B5EF4-FFF2-40B4-BE49-F238E27FC236}">
                <a16:creationId xmlns:a16="http://schemas.microsoft.com/office/drawing/2014/main" id="{04A86CCC-AF90-15B5-B277-D00F500F2A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2727" y="3429000"/>
            <a:ext cx="5521325" cy="308768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Picture 6" descr="A blue and white cover with a globe and puzzle pieces&#10;&#10;Description automatically generated">
            <a:extLst>
              <a:ext uri="{FF2B5EF4-FFF2-40B4-BE49-F238E27FC236}">
                <a16:creationId xmlns:a16="http://schemas.microsoft.com/office/drawing/2014/main" id="{EC4812A3-6051-2880-E1E6-A4C99C7E135E}"/>
              </a:ext>
            </a:extLst>
          </p:cNvPr>
          <p:cNvPicPr>
            <a:picLocks noChangeAspect="1"/>
          </p:cNvPicPr>
          <p:nvPr/>
        </p:nvPicPr>
        <p:blipFill>
          <a:blip r:embed="rId4"/>
          <a:stretch>
            <a:fillRect/>
          </a:stretch>
        </p:blipFill>
        <p:spPr>
          <a:xfrm>
            <a:off x="289639" y="1311224"/>
            <a:ext cx="2943088" cy="366707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2" name="Footer Placeholder 1">
            <a:extLst>
              <a:ext uri="{FF2B5EF4-FFF2-40B4-BE49-F238E27FC236}">
                <a16:creationId xmlns:a16="http://schemas.microsoft.com/office/drawing/2014/main" id="{6197C08B-9244-D2B9-029A-916FEDD740EA}"/>
              </a:ext>
            </a:extLst>
          </p:cNvPr>
          <p:cNvSpPr>
            <a:spLocks noGrp="1"/>
          </p:cNvSpPr>
          <p:nvPr>
            <p:ph type="ftr" sz="quarter" idx="4294967295"/>
          </p:nvPr>
        </p:nvSpPr>
        <p:spPr>
          <a:xfrm>
            <a:off x="119533" y="6478292"/>
            <a:ext cx="632137" cy="232476"/>
          </a:xfrm>
        </p:spPr>
        <p:txBody>
          <a:bodyPr wrap="square" anchor="b">
            <a:normAutofit/>
          </a:bodyPr>
          <a:lstStyle/>
          <a:p>
            <a:r>
              <a:rPr lang="en-US" sz="500"/>
              <a:t>IBC 2023</a:t>
            </a:r>
          </a:p>
        </p:txBody>
      </p:sp>
      <p:sp>
        <p:nvSpPr>
          <p:cNvPr id="3" name="Title 2">
            <a:extLst>
              <a:ext uri="{FF2B5EF4-FFF2-40B4-BE49-F238E27FC236}">
                <a16:creationId xmlns:a16="http://schemas.microsoft.com/office/drawing/2014/main" id="{B3350CF6-303B-A3C0-AB1C-2C50BF553B38}"/>
              </a:ext>
            </a:extLst>
          </p:cNvPr>
          <p:cNvSpPr>
            <a:spLocks noGrp="1"/>
          </p:cNvSpPr>
          <p:nvPr>
            <p:ph type="title"/>
          </p:nvPr>
        </p:nvSpPr>
        <p:spPr>
          <a:xfrm>
            <a:off x="289639" y="416092"/>
            <a:ext cx="11650520" cy="525850"/>
          </a:xfrm>
        </p:spPr>
        <p:txBody>
          <a:bodyPr wrap="square" anchor="b">
            <a:normAutofit/>
          </a:bodyPr>
          <a:lstStyle/>
          <a:p>
            <a:r>
              <a:rPr lang="de-DE" dirty="0"/>
              <a:t>Latest Updates</a:t>
            </a:r>
            <a:endParaRPr lang="en-US" dirty="0"/>
          </a:p>
        </p:txBody>
      </p:sp>
      <p:sp>
        <p:nvSpPr>
          <p:cNvPr id="11" name="Rectangle 10">
            <a:extLst>
              <a:ext uri="{FF2B5EF4-FFF2-40B4-BE49-F238E27FC236}">
                <a16:creationId xmlns:a16="http://schemas.microsoft.com/office/drawing/2014/main" id="{503F65FD-24AF-72B8-6BC8-68634814D516}"/>
              </a:ext>
            </a:extLst>
          </p:cNvPr>
          <p:cNvSpPr/>
          <p:nvPr/>
        </p:nvSpPr>
        <p:spPr>
          <a:xfrm>
            <a:off x="3785315" y="1492719"/>
            <a:ext cx="4216218" cy="954107"/>
          </a:xfrm>
          <a:prstGeom prst="rect">
            <a:avLst/>
          </a:prstGeom>
          <a:noFill/>
        </p:spPr>
        <p:txBody>
          <a:bodyPr wrap="none" lIns="91440" tIns="45720" rIns="91440" bIns="45720">
            <a:spAutoFit/>
          </a:bodyPr>
          <a:lstStyle/>
          <a:p>
            <a:pPr algn="ctr"/>
            <a:r>
              <a:rPr lang="en-US" sz="2800" b="1" dirty="0">
                <a:ln w="22225">
                  <a:solidFill>
                    <a:schemeClr val="accent2"/>
                  </a:solidFill>
                  <a:prstDash val="solid"/>
                </a:ln>
                <a:solidFill>
                  <a:schemeClr val="accent2">
                    <a:lumMod val="40000"/>
                    <a:lumOff val="60000"/>
                  </a:schemeClr>
                </a:solidFill>
              </a:rPr>
              <a:t>5G Broadcast will evolve </a:t>
            </a:r>
            <a:br>
              <a:rPr lang="en-US" sz="2800" b="1" dirty="0">
                <a:ln w="22225">
                  <a:solidFill>
                    <a:schemeClr val="accent2"/>
                  </a:solidFill>
                  <a:prstDash val="solid"/>
                </a:ln>
                <a:solidFill>
                  <a:schemeClr val="accent2">
                    <a:lumMod val="40000"/>
                    <a:lumOff val="60000"/>
                  </a:schemeClr>
                </a:solidFill>
              </a:rPr>
            </a:br>
            <a:r>
              <a:rPr lang="en-US" sz="2800" b="1" dirty="0">
                <a:ln w="22225">
                  <a:solidFill>
                    <a:schemeClr val="accent2"/>
                  </a:solidFill>
                  <a:prstDash val="solid"/>
                </a:ln>
                <a:solidFill>
                  <a:schemeClr val="accent2">
                    <a:lumMod val="40000"/>
                    <a:lumOff val="60000"/>
                  </a:schemeClr>
                </a:solidFill>
              </a:rPr>
              <a:t>with 3GPP pace</a:t>
            </a:r>
          </a:p>
        </p:txBody>
      </p:sp>
      <p:sp>
        <p:nvSpPr>
          <p:cNvPr id="13" name="TextBox 12">
            <a:extLst>
              <a:ext uri="{FF2B5EF4-FFF2-40B4-BE49-F238E27FC236}">
                <a16:creationId xmlns:a16="http://schemas.microsoft.com/office/drawing/2014/main" id="{D537FBA4-C40B-9B6F-9304-450F0ABFDD68}"/>
              </a:ext>
            </a:extLst>
          </p:cNvPr>
          <p:cNvSpPr txBox="1"/>
          <p:nvPr/>
        </p:nvSpPr>
        <p:spPr>
          <a:xfrm>
            <a:off x="3941062" y="1285900"/>
            <a:ext cx="96180" cy="413639"/>
          </a:xfrm>
          <a:prstGeom prst="rect">
            <a:avLst/>
          </a:prstGeom>
        </p:spPr>
        <p:txBody>
          <a:bodyPr wrap="none" lIns="0" tIns="0" rIns="0" bIns="0" rtlCol="0">
            <a:spAutoFit/>
          </a:bodyPr>
          <a:lstStyle/>
          <a:p>
            <a:pPr algn="l">
              <a:lnSpc>
                <a:spcPct val="96000"/>
              </a:lnSpc>
            </a:pPr>
            <a:r>
              <a:rPr lang="de-DE" sz="2800" dirty="0">
                <a:solidFill>
                  <a:schemeClr val="tx2"/>
                </a:solidFill>
                <a:latin typeface="Microsoft Sans Serif"/>
                <a:cs typeface="Microsoft Sans Serif" panose="020B0604020202020204" pitchFamily="34" charset="0"/>
              </a:rPr>
              <a:t> </a:t>
            </a:r>
            <a:endParaRPr lang="en-US" sz="2800" dirty="0">
              <a:solidFill>
                <a:schemeClr val="tx2"/>
              </a:solidFill>
              <a:latin typeface="Microsoft Sans Serif"/>
              <a:cs typeface="Microsoft Sans Serif" panose="020B0604020202020204" pitchFamily="34" charset="0"/>
            </a:endParaRPr>
          </a:p>
        </p:txBody>
      </p:sp>
      <p:pic>
        <p:nvPicPr>
          <p:cNvPr id="5" name="Content Placeholder 4">
            <a:extLst>
              <a:ext uri="{FF2B5EF4-FFF2-40B4-BE49-F238E27FC236}">
                <a16:creationId xmlns:a16="http://schemas.microsoft.com/office/drawing/2014/main" id="{CDC918E0-40A2-0E5B-2718-2261730903E6}"/>
              </a:ext>
            </a:extLst>
          </p:cNvPr>
          <p:cNvPicPr>
            <a:picLocks noChangeAspect="1"/>
          </p:cNvPicPr>
          <p:nvPr/>
        </p:nvPicPr>
        <p:blipFill>
          <a:blip r:embed="rId5"/>
          <a:stretch>
            <a:fillRect/>
          </a:stretch>
        </p:blipFill>
        <p:spPr>
          <a:xfrm>
            <a:off x="9201150" y="3814483"/>
            <a:ext cx="2701211" cy="2167016"/>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Tree>
    <p:extLst>
      <p:ext uri="{BB962C8B-B14F-4D97-AF65-F5344CB8AC3E}">
        <p14:creationId xmlns:p14="http://schemas.microsoft.com/office/powerpoint/2010/main" val="40746899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3194277"/>
            <a:ext cx="8829675" cy="736355"/>
          </a:xfrm>
        </p:spPr>
        <p:txBody>
          <a:bodyPr/>
          <a:lstStyle/>
          <a:p>
            <a:r>
              <a:rPr lang="de-DE" dirty="0"/>
              <a:t>T</a:t>
            </a:r>
            <a:r>
              <a:rPr lang="en-US" dirty="0" err="1"/>
              <a:t>echnologies</a:t>
            </a:r>
            <a:r>
              <a:rPr lang="en-US" dirty="0"/>
              <a:t> and Trials</a:t>
            </a:r>
          </a:p>
        </p:txBody>
      </p:sp>
    </p:spTree>
    <p:extLst>
      <p:ext uri="{BB962C8B-B14F-4D97-AF65-F5344CB8AC3E}">
        <p14:creationId xmlns:p14="http://schemas.microsoft.com/office/powerpoint/2010/main" val="266430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9B9A128-D4E8-4E93-B006-EFC1EBF6149F}"/>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p>
        </p:txBody>
      </p:sp>
      <p:sp>
        <p:nvSpPr>
          <p:cNvPr id="3" name="Title 2">
            <a:extLst>
              <a:ext uri="{FF2B5EF4-FFF2-40B4-BE49-F238E27FC236}">
                <a16:creationId xmlns:a16="http://schemas.microsoft.com/office/drawing/2014/main" id="{53005426-6251-43F3-9DA1-F02AD04BC719}"/>
              </a:ext>
            </a:extLst>
          </p:cNvPr>
          <p:cNvSpPr>
            <a:spLocks noGrp="1"/>
          </p:cNvSpPr>
          <p:nvPr>
            <p:ph type="title"/>
          </p:nvPr>
        </p:nvSpPr>
        <p:spPr>
          <a:xfrm>
            <a:off x="495300" y="565125"/>
            <a:ext cx="11187112" cy="439479"/>
          </a:xfrm>
        </p:spPr>
        <p:txBody>
          <a:bodyPr/>
          <a:lstStyle/>
          <a:p>
            <a:r>
              <a:rPr lang="en-US" dirty="0"/>
              <a:t>Proof of concept in 2022:</a:t>
            </a:r>
          </a:p>
        </p:txBody>
      </p:sp>
      <p:sp>
        <p:nvSpPr>
          <p:cNvPr id="12" name="Content Placeholder 11">
            <a:extLst>
              <a:ext uri="{FF2B5EF4-FFF2-40B4-BE49-F238E27FC236}">
                <a16:creationId xmlns:a16="http://schemas.microsoft.com/office/drawing/2014/main" id="{2AD80370-D9D6-49F2-B1C7-1F38E3B1C593}"/>
              </a:ext>
            </a:extLst>
          </p:cNvPr>
          <p:cNvSpPr>
            <a:spLocks noGrp="1"/>
          </p:cNvSpPr>
          <p:nvPr>
            <p:ph sz="quarter" idx="14"/>
          </p:nvPr>
        </p:nvSpPr>
        <p:spPr>
          <a:xfrm>
            <a:off x="495300" y="1719072"/>
            <a:ext cx="4254253" cy="4681727"/>
          </a:xfrm>
        </p:spPr>
        <p:txBody>
          <a:bodyPr/>
          <a:lstStyle/>
          <a:p>
            <a:r>
              <a:rPr lang="en-US" b="1" dirty="0"/>
              <a:t>Objective</a:t>
            </a:r>
            <a:r>
              <a:rPr lang="en-US" dirty="0"/>
              <a:t>: confirm feasibility and move ecosystem towards commercial deployments.</a:t>
            </a:r>
          </a:p>
          <a:p>
            <a:endParaRPr lang="en-US" dirty="0"/>
          </a:p>
          <a:p>
            <a:r>
              <a:rPr lang="en-US" dirty="0"/>
              <a:t>Summary of features:</a:t>
            </a:r>
          </a:p>
          <a:p>
            <a:pPr lvl="1"/>
            <a:r>
              <a:rPr lang="en-US" dirty="0"/>
              <a:t>Reception from </a:t>
            </a:r>
            <a:r>
              <a:rPr lang="en-US" dirty="0">
                <a:solidFill>
                  <a:schemeClr val="bg2"/>
                </a:solidFill>
              </a:rPr>
              <a:t>broadcast transmitter</a:t>
            </a:r>
          </a:p>
          <a:p>
            <a:pPr lvl="1"/>
            <a:r>
              <a:rPr lang="en-US" dirty="0"/>
              <a:t>Reception in </a:t>
            </a:r>
            <a:r>
              <a:rPr lang="en-US" dirty="0">
                <a:solidFill>
                  <a:schemeClr val="bg2"/>
                </a:solidFill>
              </a:rPr>
              <a:t>broadcast UHF spectrum</a:t>
            </a:r>
          </a:p>
          <a:p>
            <a:pPr lvl="1"/>
            <a:r>
              <a:rPr lang="en-US" dirty="0"/>
              <a:t>Operation without SIM card</a:t>
            </a:r>
          </a:p>
          <a:p>
            <a:pPr lvl="1"/>
            <a:r>
              <a:rPr lang="en-US" dirty="0"/>
              <a:t>Reuse of cellular hardware (smartphone)</a:t>
            </a:r>
          </a:p>
          <a:p>
            <a:pPr lvl="1"/>
            <a:endParaRPr lang="en-US" dirty="0"/>
          </a:p>
          <a:p>
            <a:pPr marL="234950" lvl="1" indent="0">
              <a:buNone/>
            </a:pPr>
            <a:endParaRPr lang="en-US" dirty="0"/>
          </a:p>
        </p:txBody>
      </p:sp>
      <p:pic>
        <p:nvPicPr>
          <p:cNvPr id="6" name="Picture 5">
            <a:extLst>
              <a:ext uri="{FF2B5EF4-FFF2-40B4-BE49-F238E27FC236}">
                <a16:creationId xmlns:a16="http://schemas.microsoft.com/office/drawing/2014/main" id="{69D92E6C-8B83-4CF2-86A6-081D62289A8E}"/>
              </a:ext>
            </a:extLst>
          </p:cNvPr>
          <p:cNvPicPr>
            <a:picLocks noChangeAspect="1"/>
          </p:cNvPicPr>
          <p:nvPr/>
        </p:nvPicPr>
        <p:blipFill>
          <a:blip r:embed="rId2"/>
          <a:stretch>
            <a:fillRect/>
          </a:stretch>
        </p:blipFill>
        <p:spPr>
          <a:xfrm>
            <a:off x="4847209" y="4893170"/>
            <a:ext cx="7150778" cy="1398374"/>
          </a:xfrm>
          <a:prstGeom prst="rect">
            <a:avLst/>
          </a:prstGeom>
          <a:ln>
            <a:solidFill>
              <a:schemeClr val="accent1"/>
            </a:solidFill>
          </a:ln>
        </p:spPr>
      </p:pic>
      <p:pic>
        <p:nvPicPr>
          <p:cNvPr id="8" name="Picture 7">
            <a:extLst>
              <a:ext uri="{FF2B5EF4-FFF2-40B4-BE49-F238E27FC236}">
                <a16:creationId xmlns:a16="http://schemas.microsoft.com/office/drawing/2014/main" id="{B192595C-6519-42E4-982D-085EFF59958F}"/>
              </a:ext>
            </a:extLst>
          </p:cNvPr>
          <p:cNvPicPr>
            <a:picLocks noChangeAspect="1"/>
          </p:cNvPicPr>
          <p:nvPr/>
        </p:nvPicPr>
        <p:blipFill>
          <a:blip r:embed="rId3"/>
          <a:stretch>
            <a:fillRect/>
          </a:stretch>
        </p:blipFill>
        <p:spPr>
          <a:xfrm>
            <a:off x="4847209" y="3050490"/>
            <a:ext cx="7150778" cy="1663716"/>
          </a:xfrm>
          <a:prstGeom prst="rect">
            <a:avLst/>
          </a:prstGeom>
          <a:ln>
            <a:solidFill>
              <a:schemeClr val="accent1"/>
            </a:solidFill>
          </a:ln>
        </p:spPr>
      </p:pic>
      <p:pic>
        <p:nvPicPr>
          <p:cNvPr id="10" name="Picture 9">
            <a:extLst>
              <a:ext uri="{FF2B5EF4-FFF2-40B4-BE49-F238E27FC236}">
                <a16:creationId xmlns:a16="http://schemas.microsoft.com/office/drawing/2014/main" id="{A8454EEC-B913-4390-B6D9-D50884995EC9}"/>
              </a:ext>
            </a:extLst>
          </p:cNvPr>
          <p:cNvPicPr>
            <a:picLocks noChangeAspect="1"/>
          </p:cNvPicPr>
          <p:nvPr/>
        </p:nvPicPr>
        <p:blipFill rotWithShape="1">
          <a:blip r:embed="rId4"/>
          <a:srcRect r="9122"/>
          <a:stretch/>
        </p:blipFill>
        <p:spPr>
          <a:xfrm>
            <a:off x="4847210" y="1245954"/>
            <a:ext cx="7150778" cy="1562876"/>
          </a:xfrm>
          <a:prstGeom prst="rect">
            <a:avLst/>
          </a:prstGeom>
          <a:ln>
            <a:solidFill>
              <a:schemeClr val="accent1"/>
            </a:solidFill>
          </a:ln>
        </p:spPr>
      </p:pic>
      <p:cxnSp>
        <p:nvCxnSpPr>
          <p:cNvPr id="5" name="Straight Connector 4">
            <a:extLst>
              <a:ext uri="{FF2B5EF4-FFF2-40B4-BE49-F238E27FC236}">
                <a16:creationId xmlns:a16="http://schemas.microsoft.com/office/drawing/2014/main" id="{6927EA9B-482B-40D6-BF61-98DA6CAF7683}"/>
              </a:ext>
            </a:extLst>
          </p:cNvPr>
          <p:cNvCxnSpPr/>
          <p:nvPr/>
        </p:nvCxnSpPr>
        <p:spPr>
          <a:xfrm>
            <a:off x="9722498" y="2077616"/>
            <a:ext cx="1915886" cy="0"/>
          </a:xfrm>
          <a:prstGeom prst="line">
            <a:avLst/>
          </a:prstGeom>
          <a:ln w="12700" cap="rnd">
            <a:solidFill>
              <a:schemeClr val="bg2"/>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6006601-7283-456C-8095-DFF57C06B019}"/>
              </a:ext>
            </a:extLst>
          </p:cNvPr>
          <p:cNvCxnSpPr>
            <a:cxnSpLocks/>
          </p:cNvCxnSpPr>
          <p:nvPr/>
        </p:nvCxnSpPr>
        <p:spPr>
          <a:xfrm>
            <a:off x="11041224" y="3828661"/>
            <a:ext cx="799323" cy="0"/>
          </a:xfrm>
          <a:prstGeom prst="line">
            <a:avLst/>
          </a:prstGeom>
          <a:ln w="12700" cap="rnd">
            <a:solidFill>
              <a:schemeClr val="bg2"/>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E0F9859-891A-425D-B193-2DFFCA7A50FC}"/>
              </a:ext>
            </a:extLst>
          </p:cNvPr>
          <p:cNvCxnSpPr>
            <a:cxnSpLocks/>
          </p:cNvCxnSpPr>
          <p:nvPr/>
        </p:nvCxnSpPr>
        <p:spPr>
          <a:xfrm>
            <a:off x="4998098" y="5685453"/>
            <a:ext cx="1769707" cy="0"/>
          </a:xfrm>
          <a:prstGeom prst="line">
            <a:avLst/>
          </a:prstGeom>
          <a:ln w="12700" cap="rnd">
            <a:solidFill>
              <a:schemeClr val="bg2"/>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2052" name="Picture 4">
            <a:extLst>
              <a:ext uri="{FF2B5EF4-FFF2-40B4-BE49-F238E27FC236}">
                <a16:creationId xmlns:a16="http://schemas.microsoft.com/office/drawing/2014/main" id="{F554986A-0198-E32F-9960-0205AE140E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6243" y="520019"/>
            <a:ext cx="2697018" cy="49515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88FB5B92-B532-33E9-2062-926FF8594F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31416" y="70186"/>
            <a:ext cx="3594827" cy="1054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0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09ACEF-BF3B-4AF3-B2C3-1BC25319D0FC}"/>
              </a:ext>
            </a:extLst>
          </p:cNvPr>
          <p:cNvSpPr>
            <a:spLocks noGrp="1"/>
          </p:cNvSpPr>
          <p:nvPr>
            <p:ph type="title"/>
          </p:nvPr>
        </p:nvSpPr>
        <p:spPr/>
        <p:txBody>
          <a:bodyPr/>
          <a:lstStyle/>
          <a:p>
            <a:endParaRPr lang="en-US"/>
          </a:p>
        </p:txBody>
      </p:sp>
      <p:sp>
        <p:nvSpPr>
          <p:cNvPr id="4" name="Subtitle 3">
            <a:extLst>
              <a:ext uri="{FF2B5EF4-FFF2-40B4-BE49-F238E27FC236}">
                <a16:creationId xmlns:a16="http://schemas.microsoft.com/office/drawing/2014/main" id="{9EDDF809-2611-47CB-8822-D028504D8D96}"/>
              </a:ext>
            </a:extLst>
          </p:cNvPr>
          <p:cNvSpPr>
            <a:spLocks noGrp="1"/>
          </p:cNvSpPr>
          <p:nvPr>
            <p:ph type="subTitle" idx="1"/>
          </p:nvPr>
        </p:nvSpPr>
        <p:spPr/>
        <p:txBody>
          <a:bodyPr/>
          <a:lstStyle/>
          <a:p>
            <a:endParaRPr lang="en-US"/>
          </a:p>
        </p:txBody>
      </p:sp>
      <p:pic>
        <p:nvPicPr>
          <p:cNvPr id="6" name="Picture 5">
            <a:extLst>
              <a:ext uri="{FF2B5EF4-FFF2-40B4-BE49-F238E27FC236}">
                <a16:creationId xmlns:a16="http://schemas.microsoft.com/office/drawing/2014/main" id="{6118C32B-200D-47D7-8E7B-322A4CEBC772}"/>
              </a:ext>
            </a:extLst>
          </p:cNvPr>
          <p:cNvPicPr>
            <a:picLocks noChangeAspect="1"/>
          </p:cNvPicPr>
          <p:nvPr/>
        </p:nvPicPr>
        <p:blipFill>
          <a:blip r:embed="rId2"/>
          <a:stretch>
            <a:fillRect/>
          </a:stretch>
        </p:blipFill>
        <p:spPr>
          <a:xfrm>
            <a:off x="494189" y="93428"/>
            <a:ext cx="11080145" cy="5998739"/>
          </a:xfrm>
          <a:prstGeom prst="rect">
            <a:avLst/>
          </a:prstGeom>
        </p:spPr>
      </p:pic>
      <p:sp>
        <p:nvSpPr>
          <p:cNvPr id="8" name="TextBox 7">
            <a:extLst>
              <a:ext uri="{FF2B5EF4-FFF2-40B4-BE49-F238E27FC236}">
                <a16:creationId xmlns:a16="http://schemas.microsoft.com/office/drawing/2014/main" id="{18085DCC-BC99-45ED-A4B9-6576ED6D61A6}"/>
              </a:ext>
            </a:extLst>
          </p:cNvPr>
          <p:cNvSpPr txBox="1"/>
          <p:nvPr/>
        </p:nvSpPr>
        <p:spPr>
          <a:xfrm>
            <a:off x="1074198" y="6125005"/>
            <a:ext cx="1386598" cy="472694"/>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Spanish public </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broadcaster</a:t>
            </a:r>
          </a:p>
        </p:txBody>
      </p:sp>
      <p:sp>
        <p:nvSpPr>
          <p:cNvPr id="9" name="TextBox 8">
            <a:extLst>
              <a:ext uri="{FF2B5EF4-FFF2-40B4-BE49-F238E27FC236}">
                <a16:creationId xmlns:a16="http://schemas.microsoft.com/office/drawing/2014/main" id="{D7678190-8952-4702-8960-D3C74CE7C90E}"/>
              </a:ext>
            </a:extLst>
          </p:cNvPr>
          <p:cNvSpPr txBox="1"/>
          <p:nvPr/>
        </p:nvSpPr>
        <p:spPr>
          <a:xfrm>
            <a:off x="2886722" y="6125005"/>
            <a:ext cx="990656" cy="472694"/>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Streaming </a:t>
            </a:r>
          </a:p>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solutions</a:t>
            </a:r>
          </a:p>
        </p:txBody>
      </p:sp>
      <p:sp>
        <p:nvSpPr>
          <p:cNvPr id="10" name="TextBox 9">
            <a:extLst>
              <a:ext uri="{FF2B5EF4-FFF2-40B4-BE49-F238E27FC236}">
                <a16:creationId xmlns:a16="http://schemas.microsoft.com/office/drawing/2014/main" id="{FFEA0BE2-752F-4B12-BCBF-754A31EFA052}"/>
              </a:ext>
            </a:extLst>
          </p:cNvPr>
          <p:cNvSpPr txBox="1"/>
          <p:nvPr/>
        </p:nvSpPr>
        <p:spPr>
          <a:xfrm>
            <a:off x="4725878" y="6208952"/>
            <a:ext cx="1455527"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Tower company</a:t>
            </a:r>
          </a:p>
        </p:txBody>
      </p:sp>
      <p:sp>
        <p:nvSpPr>
          <p:cNvPr id="11" name="TextBox 10">
            <a:extLst>
              <a:ext uri="{FF2B5EF4-FFF2-40B4-BE49-F238E27FC236}">
                <a16:creationId xmlns:a16="http://schemas.microsoft.com/office/drawing/2014/main" id="{8EB7957E-74CC-4927-87C3-7B1132F1ACBA}"/>
              </a:ext>
            </a:extLst>
          </p:cNvPr>
          <p:cNvSpPr txBox="1"/>
          <p:nvPr/>
        </p:nvSpPr>
        <p:spPr>
          <a:xfrm>
            <a:off x="6946775" y="6190411"/>
            <a:ext cx="1970091"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Network &amp; transmitter</a:t>
            </a:r>
          </a:p>
        </p:txBody>
      </p:sp>
      <p:sp>
        <p:nvSpPr>
          <p:cNvPr id="12" name="TextBox 11">
            <a:extLst>
              <a:ext uri="{FF2B5EF4-FFF2-40B4-BE49-F238E27FC236}">
                <a16:creationId xmlns:a16="http://schemas.microsoft.com/office/drawing/2014/main" id="{90BC195D-2AB9-422C-A7DD-E9927CE745D7}"/>
              </a:ext>
            </a:extLst>
          </p:cNvPr>
          <p:cNvSpPr txBox="1"/>
          <p:nvPr/>
        </p:nvSpPr>
        <p:spPr>
          <a:xfrm>
            <a:off x="9425124" y="6175698"/>
            <a:ext cx="1934825"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4F4F"/>
                </a:solidFill>
                <a:effectLst/>
                <a:uLnTx/>
                <a:uFillTx/>
                <a:latin typeface="Microsoft Sans Serif"/>
                <a:ea typeface="+mn-ea"/>
                <a:cs typeface="Microsoft Sans Serif" panose="020B0604020202020204" pitchFamily="34" charset="0"/>
              </a:rPr>
              <a:t>Smartphone / chipset</a:t>
            </a:r>
          </a:p>
        </p:txBody>
      </p:sp>
      <p:sp>
        <p:nvSpPr>
          <p:cNvPr id="2" name="Footer Placeholder 1">
            <a:extLst>
              <a:ext uri="{FF2B5EF4-FFF2-40B4-BE49-F238E27FC236}">
                <a16:creationId xmlns:a16="http://schemas.microsoft.com/office/drawing/2014/main" id="{F707A8B5-DEB3-E9A9-1A8D-448BBD8A60C4}"/>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dirty="0">
              <a:ln>
                <a:noFill/>
              </a:ln>
              <a:solidFill>
                <a:srgbClr val="445776">
                  <a:lumMod val="60000"/>
                  <a:lumOff val="40000"/>
                </a:srgbClr>
              </a:solidFill>
              <a:effectLst/>
              <a:uLnTx/>
              <a:uFillTx/>
              <a:latin typeface="Microsoft Sans Serif"/>
              <a:ea typeface="+mn-ea"/>
              <a:cs typeface="+mn-cs"/>
            </a:endParaRPr>
          </a:p>
        </p:txBody>
      </p:sp>
    </p:spTree>
    <p:extLst>
      <p:ext uri="{BB962C8B-B14F-4D97-AF65-F5344CB8AC3E}">
        <p14:creationId xmlns:p14="http://schemas.microsoft.com/office/powerpoint/2010/main" val="204189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val 42">
            <a:extLst>
              <a:ext uri="{FF2B5EF4-FFF2-40B4-BE49-F238E27FC236}">
                <a16:creationId xmlns:a16="http://schemas.microsoft.com/office/drawing/2014/main" id="{93B3E1AD-DB75-4B50-B9CC-94972522DEE2}"/>
              </a:ext>
            </a:extLst>
          </p:cNvPr>
          <p:cNvSpPr>
            <a:spLocks/>
          </p:cNvSpPr>
          <p:nvPr/>
        </p:nvSpPr>
        <p:spPr bwMode="ltGray">
          <a:xfrm>
            <a:off x="5987998" y="678677"/>
            <a:ext cx="5555060" cy="5583844"/>
          </a:xfrm>
          <a:prstGeom prst="ellipse">
            <a:avLst/>
          </a:prstGeom>
          <a:solidFill>
            <a:schemeClr val="accent4"/>
          </a:solidFill>
          <a:ln w="25400" cap="flat" cmpd="sng" algn="ctr">
            <a:noFill/>
            <a:prstDash val="solid"/>
          </a:ln>
          <a:effectLst>
            <a:innerShdw blurRad="127000" dist="114300">
              <a:schemeClr val="accent4">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2" name="Footer Placeholder 1">
            <a:extLst>
              <a:ext uri="{FF2B5EF4-FFF2-40B4-BE49-F238E27FC236}">
                <a16:creationId xmlns:a16="http://schemas.microsoft.com/office/drawing/2014/main" id="{1267FEBB-2570-4709-A0DF-7D7171A92F4E}"/>
              </a:ext>
            </a:extLst>
          </p:cNvPr>
          <p:cNvSpPr>
            <a:spLocks noGrp="1"/>
          </p:cNvSpPr>
          <p:nvPr>
            <p:ph type="ftr" sz="quarter" idx="3"/>
          </p:nvPr>
        </p:nvSpPr>
        <p:spPr/>
        <p:txBody>
          <a:body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7BA0FF">
                    <a:lumMod val="60000"/>
                    <a:lumOff val="40000"/>
                  </a:srgbClr>
                </a:solidFill>
                <a:effectLst/>
                <a:uLnTx/>
                <a:uFillTx/>
                <a:latin typeface="Microsoft Sans Serif"/>
                <a:ea typeface="+mn-ea"/>
                <a:cs typeface="+mn-cs"/>
              </a:rPr>
              <a:t>IBC 2023</a:t>
            </a:r>
          </a:p>
        </p:txBody>
      </p:sp>
      <p:sp>
        <p:nvSpPr>
          <p:cNvPr id="3" name="Title 8">
            <a:extLst>
              <a:ext uri="{FF2B5EF4-FFF2-40B4-BE49-F238E27FC236}">
                <a16:creationId xmlns:a16="http://schemas.microsoft.com/office/drawing/2014/main" id="{587D54FF-32AD-4C52-B71C-8DFE9B279943}"/>
              </a:ext>
            </a:extLst>
          </p:cNvPr>
          <p:cNvSpPr txBox="1">
            <a:spLocks/>
          </p:cNvSpPr>
          <p:nvPr/>
        </p:nvSpPr>
        <p:spPr>
          <a:xfrm>
            <a:off x="395617" y="1388442"/>
            <a:ext cx="5163519" cy="4081117"/>
          </a:xfrm>
          <a:prstGeom prst="rect">
            <a:avLst/>
          </a:prstGeom>
        </p:spPr>
        <p:txBody>
          <a:bodyPr wrap="square">
            <a:spAutoFit/>
          </a:bodyPr>
          <a:lst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7F8FA"/>
                </a:solidFill>
                <a:effectLst>
                  <a:innerShdw blurRad="63500" dist="25400" dir="18900000">
                    <a:srgbClr val="39A3B5">
                      <a:lumMod val="50000"/>
                      <a:alpha val="50000"/>
                    </a:srgbClr>
                  </a:innerShdw>
                </a:effectLst>
                <a:uLnTx/>
                <a:uFillTx/>
                <a:latin typeface="Microsoft Sans Serif"/>
                <a:ea typeface="+mj-ea"/>
                <a:cs typeface="+mj-cs"/>
              </a:rPr>
              <a:t>We are driving</a:t>
            </a:r>
            <a:br>
              <a:rPr kumimoji="0" lang="en-US" sz="4800" b="1" i="0" u="none" strike="noStrike" kern="1200" cap="none" spc="0" normalizeH="0" baseline="0" noProof="0">
                <a:ln>
                  <a:noFill/>
                </a:ln>
                <a:solidFill>
                  <a:srgbClr val="F7F8FA"/>
                </a:solidFill>
                <a:effectLst>
                  <a:innerShdw blurRad="63500" dist="25400" dir="18900000">
                    <a:srgbClr val="39A3B5">
                      <a:lumMod val="50000"/>
                      <a:alpha val="50000"/>
                    </a:srgbClr>
                  </a:innerShdw>
                </a:effectLst>
                <a:uLnTx/>
                <a:uFillTx/>
                <a:latin typeface="Microsoft Sans Serif"/>
                <a:ea typeface="+mj-ea"/>
                <a:cs typeface="+mj-cs"/>
              </a:rPr>
            </a:br>
            <a:r>
              <a:rPr kumimoji="0" lang="en-US" sz="4800" b="1" i="0" u="none" strike="noStrike" kern="1200" cap="none" spc="0" normalizeH="0" baseline="0" noProof="0">
                <a:ln>
                  <a:noFill/>
                </a:ln>
                <a:solidFill>
                  <a:srgbClr val="F7F8FA"/>
                </a:solidFill>
                <a:effectLst>
                  <a:innerShdw blurRad="63500" dist="25400" dir="18900000">
                    <a:srgbClr val="39A3B5">
                      <a:lumMod val="50000"/>
                      <a:alpha val="50000"/>
                    </a:srgbClr>
                  </a:innerShdw>
                </a:effectLst>
                <a:uLnTx/>
                <a:uFillTx/>
                <a:latin typeface="Microsoft Sans Serif"/>
                <a:ea typeface="+mj-ea"/>
                <a:cs typeface="+mj-cs"/>
              </a:rPr>
              <a:t>5G broadcast adoption for digital media delivery</a:t>
            </a:r>
            <a:br>
              <a:rPr kumimoji="0" lang="en-US" sz="4800" b="1" i="0" u="none" strike="noStrike" kern="1200" cap="none" spc="0" normalizeH="0" baseline="0" noProof="0">
                <a:ln>
                  <a:noFill/>
                </a:ln>
                <a:solidFill>
                  <a:srgbClr val="F7F8FA"/>
                </a:solidFill>
                <a:effectLst>
                  <a:innerShdw blurRad="63500" dist="25400" dir="18900000">
                    <a:srgbClr val="39A3B5">
                      <a:lumMod val="50000"/>
                      <a:alpha val="50000"/>
                    </a:srgbClr>
                  </a:innerShdw>
                </a:effectLst>
                <a:uLnTx/>
                <a:uFillTx/>
                <a:latin typeface="Microsoft Sans Serif"/>
                <a:ea typeface="+mj-ea"/>
                <a:cs typeface="+mj-cs"/>
              </a:rPr>
            </a:br>
            <a:r>
              <a:rPr kumimoji="0" lang="en-US" sz="4800" b="1" i="0" u="none" strike="noStrike" kern="1200" cap="none" spc="0" normalizeH="0" baseline="0" noProof="0">
                <a:ln>
                  <a:noFill/>
                </a:ln>
                <a:solidFill>
                  <a:srgbClr val="F7F8FA"/>
                </a:solidFill>
                <a:effectLst>
                  <a:innerShdw blurRad="63500" dist="25400" dir="18900000">
                    <a:srgbClr val="39A3B5">
                      <a:lumMod val="50000"/>
                      <a:alpha val="50000"/>
                    </a:srgbClr>
                  </a:innerShdw>
                </a:effectLst>
                <a:uLnTx/>
                <a:uFillTx/>
                <a:latin typeface="Microsoft Sans Serif"/>
                <a:ea typeface="+mj-ea"/>
                <a:cs typeface="+mj-cs"/>
              </a:rPr>
              <a:t>and more…</a:t>
            </a:r>
          </a:p>
        </p:txBody>
      </p:sp>
      <p:grpSp>
        <p:nvGrpSpPr>
          <p:cNvPr id="42" name="Group 41">
            <a:extLst>
              <a:ext uri="{FF2B5EF4-FFF2-40B4-BE49-F238E27FC236}">
                <a16:creationId xmlns:a16="http://schemas.microsoft.com/office/drawing/2014/main" id="{7FC14386-E79F-4F77-9E6B-7BCA66307147}"/>
              </a:ext>
            </a:extLst>
          </p:cNvPr>
          <p:cNvGrpSpPr>
            <a:grpSpLocks noChangeAspect="1"/>
          </p:cNvGrpSpPr>
          <p:nvPr/>
        </p:nvGrpSpPr>
        <p:grpSpPr>
          <a:xfrm>
            <a:off x="7412761" y="2117832"/>
            <a:ext cx="2705534" cy="2705534"/>
            <a:chOff x="7726118" y="2169759"/>
            <a:chExt cx="2581276" cy="2571751"/>
          </a:xfrm>
        </p:grpSpPr>
        <p:sp>
          <p:nvSpPr>
            <p:cNvPr id="48" name="Freeform 151">
              <a:extLst>
                <a:ext uri="{FF2B5EF4-FFF2-40B4-BE49-F238E27FC236}">
                  <a16:creationId xmlns:a16="http://schemas.microsoft.com/office/drawing/2014/main" id="{87EA65DB-58D9-4177-80C4-33DE1ED8C573}"/>
                </a:ext>
              </a:extLst>
            </p:cNvPr>
            <p:cNvSpPr>
              <a:spLocks/>
            </p:cNvSpPr>
            <p:nvPr/>
          </p:nvSpPr>
          <p:spPr bwMode="auto">
            <a:xfrm>
              <a:off x="7726118" y="2169759"/>
              <a:ext cx="2581276" cy="2571751"/>
            </a:xfrm>
            <a:custGeom>
              <a:avLst/>
              <a:gdLst>
                <a:gd name="T0" fmla="*/ 3996 w 8000"/>
                <a:gd name="T1" fmla="*/ 0 h 7992"/>
                <a:gd name="T2" fmla="*/ 0 w 8000"/>
                <a:gd name="T3" fmla="*/ 4003 h 7992"/>
                <a:gd name="T4" fmla="*/ 3996 w 8000"/>
                <a:gd name="T5" fmla="*/ 7992 h 7992"/>
                <a:gd name="T6" fmla="*/ 8000 w 8000"/>
                <a:gd name="T7" fmla="*/ 4003 h 7992"/>
                <a:gd name="T8" fmla="*/ 3996 w 8000"/>
                <a:gd name="T9" fmla="*/ 0 h 7992"/>
              </a:gdLst>
              <a:ahLst/>
              <a:cxnLst>
                <a:cxn ang="0">
                  <a:pos x="T0" y="T1"/>
                </a:cxn>
                <a:cxn ang="0">
                  <a:pos x="T2" y="T3"/>
                </a:cxn>
                <a:cxn ang="0">
                  <a:pos x="T4" y="T5"/>
                </a:cxn>
                <a:cxn ang="0">
                  <a:pos x="T6" y="T7"/>
                </a:cxn>
                <a:cxn ang="0">
                  <a:pos x="T8" y="T9"/>
                </a:cxn>
              </a:cxnLst>
              <a:rect l="0" t="0" r="r" b="b"/>
              <a:pathLst>
                <a:path w="8000" h="7992">
                  <a:moveTo>
                    <a:pt x="3996" y="0"/>
                  </a:moveTo>
                  <a:cubicBezTo>
                    <a:pt x="1800" y="0"/>
                    <a:pt x="0" y="1798"/>
                    <a:pt x="0" y="4003"/>
                  </a:cubicBezTo>
                  <a:cubicBezTo>
                    <a:pt x="0" y="6202"/>
                    <a:pt x="1800" y="7992"/>
                    <a:pt x="3996" y="7992"/>
                  </a:cubicBezTo>
                  <a:cubicBezTo>
                    <a:pt x="6206" y="7992"/>
                    <a:pt x="8000" y="6202"/>
                    <a:pt x="8000" y="4003"/>
                  </a:cubicBezTo>
                  <a:cubicBezTo>
                    <a:pt x="8000" y="1798"/>
                    <a:pt x="6206" y="0"/>
                    <a:pt x="3996" y="0"/>
                  </a:cubicBez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9" name="Freeform 152">
              <a:extLst>
                <a:ext uri="{FF2B5EF4-FFF2-40B4-BE49-F238E27FC236}">
                  <a16:creationId xmlns:a16="http://schemas.microsoft.com/office/drawing/2014/main" id="{94841DC4-6206-44A9-A823-57D8BDFE7F50}"/>
                </a:ext>
              </a:extLst>
            </p:cNvPr>
            <p:cNvSpPr>
              <a:spLocks noEditPoints="1"/>
            </p:cNvSpPr>
            <p:nvPr/>
          </p:nvSpPr>
          <p:spPr bwMode="auto">
            <a:xfrm>
              <a:off x="7765806" y="2238022"/>
              <a:ext cx="2490788" cy="2087563"/>
            </a:xfrm>
            <a:custGeom>
              <a:avLst/>
              <a:gdLst>
                <a:gd name="T0" fmla="*/ 420 w 7716"/>
                <a:gd name="T1" fmla="*/ 4045 h 6489"/>
                <a:gd name="T2" fmla="*/ 7639 w 7716"/>
                <a:gd name="T3" fmla="*/ 3490 h 6489"/>
                <a:gd name="T4" fmla="*/ 6803 w 7716"/>
                <a:gd name="T5" fmla="*/ 3838 h 6489"/>
                <a:gd name="T6" fmla="*/ 6389 w 7716"/>
                <a:gd name="T7" fmla="*/ 3312 h 6489"/>
                <a:gd name="T8" fmla="*/ 5665 w 7716"/>
                <a:gd name="T9" fmla="*/ 3036 h 6489"/>
                <a:gd name="T10" fmla="*/ 6013 w 7716"/>
                <a:gd name="T11" fmla="*/ 3286 h 6489"/>
                <a:gd name="T12" fmla="*/ 5599 w 7716"/>
                <a:gd name="T13" fmla="*/ 3904 h 6489"/>
                <a:gd name="T14" fmla="*/ 5033 w 7716"/>
                <a:gd name="T15" fmla="*/ 3194 h 6489"/>
                <a:gd name="T16" fmla="*/ 5263 w 7716"/>
                <a:gd name="T17" fmla="*/ 3917 h 6489"/>
                <a:gd name="T18" fmla="*/ 5599 w 7716"/>
                <a:gd name="T19" fmla="*/ 4226 h 6489"/>
                <a:gd name="T20" fmla="*/ 5019 w 7716"/>
                <a:gd name="T21" fmla="*/ 5382 h 6489"/>
                <a:gd name="T22" fmla="*/ 4091 w 7716"/>
                <a:gd name="T23" fmla="*/ 6453 h 6489"/>
                <a:gd name="T24" fmla="*/ 3835 w 7716"/>
                <a:gd name="T25" fmla="*/ 4909 h 6489"/>
                <a:gd name="T26" fmla="*/ 3163 w 7716"/>
                <a:gd name="T27" fmla="*/ 4364 h 6489"/>
                <a:gd name="T28" fmla="*/ 2505 w 7716"/>
                <a:gd name="T29" fmla="*/ 3798 h 6489"/>
                <a:gd name="T30" fmla="*/ 3255 w 7716"/>
                <a:gd name="T31" fmla="*/ 2688 h 6489"/>
                <a:gd name="T32" fmla="*/ 3835 w 7716"/>
                <a:gd name="T33" fmla="*/ 2846 h 6489"/>
                <a:gd name="T34" fmla="*/ 4993 w 7716"/>
                <a:gd name="T35" fmla="*/ 2951 h 6489"/>
                <a:gd name="T36" fmla="*/ 4671 w 7716"/>
                <a:gd name="T37" fmla="*/ 2629 h 6489"/>
                <a:gd name="T38" fmla="*/ 4750 w 7716"/>
                <a:gd name="T39" fmla="*/ 2339 h 6489"/>
                <a:gd name="T40" fmla="*/ 4434 w 7716"/>
                <a:gd name="T41" fmla="*/ 2562 h 6489"/>
                <a:gd name="T42" fmla="*/ 4039 w 7716"/>
                <a:gd name="T43" fmla="*/ 2070 h 6489"/>
                <a:gd name="T44" fmla="*/ 4105 w 7716"/>
                <a:gd name="T45" fmla="*/ 2523 h 6489"/>
                <a:gd name="T46" fmla="*/ 3433 w 7716"/>
                <a:gd name="T47" fmla="*/ 2254 h 6489"/>
                <a:gd name="T48" fmla="*/ 2828 w 7716"/>
                <a:gd name="T49" fmla="*/ 2280 h 6489"/>
                <a:gd name="T50" fmla="*/ 3097 w 7716"/>
                <a:gd name="T51" fmla="*/ 1787 h 6489"/>
                <a:gd name="T52" fmla="*/ 3525 w 7716"/>
                <a:gd name="T53" fmla="*/ 1492 h 6489"/>
                <a:gd name="T54" fmla="*/ 3808 w 7716"/>
                <a:gd name="T55" fmla="*/ 1051 h 6489"/>
                <a:gd name="T56" fmla="*/ 3861 w 7716"/>
                <a:gd name="T57" fmla="*/ 1347 h 6489"/>
                <a:gd name="T58" fmla="*/ 4427 w 7716"/>
                <a:gd name="T59" fmla="*/ 1012 h 6489"/>
                <a:gd name="T60" fmla="*/ 4815 w 7716"/>
                <a:gd name="T61" fmla="*/ 756 h 6489"/>
                <a:gd name="T62" fmla="*/ 4388 w 7716"/>
                <a:gd name="T63" fmla="*/ 526 h 6489"/>
                <a:gd name="T64" fmla="*/ 4401 w 7716"/>
                <a:gd name="T65" fmla="*/ 253 h 6489"/>
                <a:gd name="T66" fmla="*/ 4257 w 7716"/>
                <a:gd name="T67" fmla="*/ 798 h 6489"/>
                <a:gd name="T68" fmla="*/ 4028 w 7716"/>
                <a:gd name="T69" fmla="*/ 1155 h 6489"/>
                <a:gd name="T70" fmla="*/ 3733 w 7716"/>
                <a:gd name="T71" fmla="*/ 915 h 6489"/>
                <a:gd name="T72" fmla="*/ 3543 w 7716"/>
                <a:gd name="T73" fmla="*/ 733 h 6489"/>
                <a:gd name="T74" fmla="*/ 3556 w 7716"/>
                <a:gd name="T75" fmla="*/ 545 h 6489"/>
                <a:gd name="T76" fmla="*/ 3838 w 7716"/>
                <a:gd name="T77" fmla="*/ 279 h 6489"/>
                <a:gd name="T78" fmla="*/ 5125 w 7716"/>
                <a:gd name="T79" fmla="*/ 283 h 6489"/>
                <a:gd name="T80" fmla="*/ 4453 w 7716"/>
                <a:gd name="T81" fmla="*/ 2510 h 6489"/>
                <a:gd name="T82" fmla="*/ 5091 w 7716"/>
                <a:gd name="T83" fmla="*/ 1998 h 6489"/>
                <a:gd name="T84" fmla="*/ 4914 w 7716"/>
                <a:gd name="T85" fmla="*/ 1958 h 6489"/>
                <a:gd name="T86" fmla="*/ 5342 w 7716"/>
                <a:gd name="T87" fmla="*/ 2353 h 6489"/>
                <a:gd name="T88" fmla="*/ 5770 w 7716"/>
                <a:gd name="T89" fmla="*/ 2471 h 6489"/>
                <a:gd name="T90" fmla="*/ 5895 w 7716"/>
                <a:gd name="T91" fmla="*/ 2149 h 6489"/>
                <a:gd name="T92" fmla="*/ 4683 w 7716"/>
                <a:gd name="T93" fmla="*/ 2369 h 6489"/>
                <a:gd name="T94" fmla="*/ 5153 w 7716"/>
                <a:gd name="T95" fmla="*/ 5879 h 6489"/>
                <a:gd name="T96" fmla="*/ 4523 w 7716"/>
                <a:gd name="T97" fmla="*/ 2546 h 6489"/>
                <a:gd name="T98" fmla="*/ 5676 w 7716"/>
                <a:gd name="T99" fmla="*/ 5615 h 6489"/>
                <a:gd name="T100" fmla="*/ 3716 w 7716"/>
                <a:gd name="T101" fmla="*/ 2245 h 6489"/>
                <a:gd name="T102" fmla="*/ 4488 w 7716"/>
                <a:gd name="T103" fmla="*/ 932 h 6489"/>
                <a:gd name="T104" fmla="*/ 1312 w 7716"/>
                <a:gd name="T105" fmla="*/ 6344 h 6489"/>
                <a:gd name="T106" fmla="*/ 680 w 7716"/>
                <a:gd name="T107" fmla="*/ 4281 h 6489"/>
                <a:gd name="T108" fmla="*/ 1115 w 7716"/>
                <a:gd name="T109" fmla="*/ 4655 h 6489"/>
                <a:gd name="T110" fmla="*/ 4576 w 7716"/>
                <a:gd name="T111" fmla="*/ 2581 h 6489"/>
                <a:gd name="T112" fmla="*/ 2913 w 7716"/>
                <a:gd name="T113" fmla="*/ 976 h 6489"/>
                <a:gd name="T114" fmla="*/ 2808 w 7716"/>
                <a:gd name="T115" fmla="*/ 1297 h 6489"/>
                <a:gd name="T116" fmla="*/ 3104 w 7716"/>
                <a:gd name="T117" fmla="*/ 866 h 6489"/>
                <a:gd name="T118" fmla="*/ 3045 w 7716"/>
                <a:gd name="T119" fmla="*/ 1036 h 6489"/>
                <a:gd name="T120" fmla="*/ 3313 w 7716"/>
                <a:gd name="T121" fmla="*/ 1614 h 6489"/>
                <a:gd name="T122" fmla="*/ 3104 w 7716"/>
                <a:gd name="T123" fmla="*/ 1367 h 6489"/>
                <a:gd name="T124" fmla="*/ 2927 w 7716"/>
                <a:gd name="T125" fmla="*/ 1121 h 6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16" h="6489">
                  <a:moveTo>
                    <a:pt x="0" y="3996"/>
                  </a:moveTo>
                  <a:cubicBezTo>
                    <a:pt x="18" y="3996"/>
                    <a:pt x="18" y="3996"/>
                    <a:pt x="18" y="3996"/>
                  </a:cubicBezTo>
                  <a:cubicBezTo>
                    <a:pt x="18" y="4013"/>
                    <a:pt x="18" y="4013"/>
                    <a:pt x="18" y="4013"/>
                  </a:cubicBezTo>
                  <a:cubicBezTo>
                    <a:pt x="0" y="4013"/>
                    <a:pt x="0" y="4013"/>
                    <a:pt x="0" y="4013"/>
                  </a:cubicBezTo>
                  <a:cubicBezTo>
                    <a:pt x="0" y="3996"/>
                    <a:pt x="0" y="3996"/>
                    <a:pt x="0" y="3996"/>
                  </a:cubicBezTo>
                  <a:close/>
                  <a:moveTo>
                    <a:pt x="7698" y="3430"/>
                  </a:moveTo>
                  <a:cubicBezTo>
                    <a:pt x="7698" y="3430"/>
                    <a:pt x="7698" y="3430"/>
                    <a:pt x="7698" y="3430"/>
                  </a:cubicBezTo>
                  <a:cubicBezTo>
                    <a:pt x="7698" y="3439"/>
                    <a:pt x="7698" y="3439"/>
                    <a:pt x="7698" y="3447"/>
                  </a:cubicBezTo>
                  <a:cubicBezTo>
                    <a:pt x="7698" y="3447"/>
                    <a:pt x="7716" y="3447"/>
                    <a:pt x="7716" y="3439"/>
                  </a:cubicBezTo>
                  <a:cubicBezTo>
                    <a:pt x="7716" y="3430"/>
                    <a:pt x="7716" y="3430"/>
                    <a:pt x="7716" y="3430"/>
                  </a:cubicBezTo>
                  <a:cubicBezTo>
                    <a:pt x="7698" y="3430"/>
                    <a:pt x="7698" y="3430"/>
                    <a:pt x="7698" y="3430"/>
                  </a:cubicBezTo>
                  <a:close/>
                  <a:moveTo>
                    <a:pt x="355" y="3801"/>
                  </a:moveTo>
                  <a:cubicBezTo>
                    <a:pt x="355" y="3819"/>
                    <a:pt x="355" y="3819"/>
                    <a:pt x="355" y="3819"/>
                  </a:cubicBezTo>
                  <a:cubicBezTo>
                    <a:pt x="390" y="3819"/>
                    <a:pt x="390" y="3819"/>
                    <a:pt x="390" y="3819"/>
                  </a:cubicBezTo>
                  <a:cubicBezTo>
                    <a:pt x="390" y="3801"/>
                    <a:pt x="390" y="3801"/>
                    <a:pt x="390" y="3801"/>
                  </a:cubicBezTo>
                  <a:cubicBezTo>
                    <a:pt x="355" y="3783"/>
                    <a:pt x="355" y="3783"/>
                    <a:pt x="355" y="3783"/>
                  </a:cubicBezTo>
                  <a:cubicBezTo>
                    <a:pt x="355" y="3801"/>
                    <a:pt x="355" y="3801"/>
                    <a:pt x="355" y="3801"/>
                  </a:cubicBezTo>
                  <a:close/>
                  <a:moveTo>
                    <a:pt x="127" y="3677"/>
                  </a:moveTo>
                  <a:cubicBezTo>
                    <a:pt x="142" y="3660"/>
                    <a:pt x="142" y="3660"/>
                    <a:pt x="142" y="3660"/>
                  </a:cubicBezTo>
                  <a:cubicBezTo>
                    <a:pt x="127" y="3642"/>
                    <a:pt x="127" y="3642"/>
                    <a:pt x="127" y="3642"/>
                  </a:cubicBezTo>
                  <a:cubicBezTo>
                    <a:pt x="98" y="3642"/>
                    <a:pt x="83" y="3642"/>
                    <a:pt x="53" y="3642"/>
                  </a:cubicBezTo>
                  <a:cubicBezTo>
                    <a:pt x="53" y="3642"/>
                    <a:pt x="53" y="3642"/>
                    <a:pt x="53" y="3660"/>
                  </a:cubicBezTo>
                  <a:cubicBezTo>
                    <a:pt x="53" y="3660"/>
                    <a:pt x="53" y="3660"/>
                    <a:pt x="68" y="3660"/>
                  </a:cubicBezTo>
                  <a:cubicBezTo>
                    <a:pt x="68" y="3677"/>
                    <a:pt x="68" y="3677"/>
                    <a:pt x="68" y="3677"/>
                  </a:cubicBezTo>
                  <a:cubicBezTo>
                    <a:pt x="83" y="3677"/>
                    <a:pt x="112" y="3677"/>
                    <a:pt x="127" y="3677"/>
                  </a:cubicBezTo>
                  <a:close/>
                  <a:moveTo>
                    <a:pt x="346" y="3766"/>
                  </a:moveTo>
                  <a:cubicBezTo>
                    <a:pt x="337" y="3748"/>
                    <a:pt x="337" y="3748"/>
                    <a:pt x="337" y="3748"/>
                  </a:cubicBezTo>
                  <a:cubicBezTo>
                    <a:pt x="337" y="3766"/>
                    <a:pt x="337" y="3766"/>
                    <a:pt x="337" y="3766"/>
                  </a:cubicBezTo>
                  <a:cubicBezTo>
                    <a:pt x="337" y="3783"/>
                    <a:pt x="337" y="3783"/>
                    <a:pt x="337" y="3783"/>
                  </a:cubicBezTo>
                  <a:cubicBezTo>
                    <a:pt x="346" y="3783"/>
                    <a:pt x="346" y="3783"/>
                    <a:pt x="346" y="3783"/>
                  </a:cubicBezTo>
                  <a:cubicBezTo>
                    <a:pt x="346" y="3766"/>
                    <a:pt x="346" y="3766"/>
                    <a:pt x="346" y="3766"/>
                  </a:cubicBezTo>
                  <a:close/>
                  <a:moveTo>
                    <a:pt x="346" y="3748"/>
                  </a:moveTo>
                  <a:cubicBezTo>
                    <a:pt x="346" y="3748"/>
                    <a:pt x="346" y="3748"/>
                    <a:pt x="346" y="3766"/>
                  </a:cubicBezTo>
                  <a:cubicBezTo>
                    <a:pt x="346" y="3766"/>
                    <a:pt x="346" y="3766"/>
                    <a:pt x="355" y="3766"/>
                  </a:cubicBezTo>
                  <a:cubicBezTo>
                    <a:pt x="355" y="3766"/>
                    <a:pt x="355" y="3748"/>
                    <a:pt x="346" y="3748"/>
                  </a:cubicBezTo>
                  <a:close/>
                  <a:moveTo>
                    <a:pt x="1064" y="4544"/>
                  </a:moveTo>
                  <a:cubicBezTo>
                    <a:pt x="1047" y="4544"/>
                    <a:pt x="1047" y="4544"/>
                    <a:pt x="1047" y="4544"/>
                  </a:cubicBezTo>
                  <a:cubicBezTo>
                    <a:pt x="1047" y="4544"/>
                    <a:pt x="1047" y="4544"/>
                    <a:pt x="1047" y="4561"/>
                  </a:cubicBezTo>
                  <a:cubicBezTo>
                    <a:pt x="1064" y="4561"/>
                    <a:pt x="1064" y="4561"/>
                    <a:pt x="1064" y="4561"/>
                  </a:cubicBezTo>
                  <a:cubicBezTo>
                    <a:pt x="1064" y="4544"/>
                    <a:pt x="1064" y="4544"/>
                    <a:pt x="1064" y="4544"/>
                  </a:cubicBezTo>
                  <a:close/>
                  <a:moveTo>
                    <a:pt x="7645" y="3982"/>
                  </a:moveTo>
                  <a:cubicBezTo>
                    <a:pt x="7645" y="3996"/>
                    <a:pt x="7645" y="3996"/>
                    <a:pt x="7645" y="3996"/>
                  </a:cubicBezTo>
                  <a:cubicBezTo>
                    <a:pt x="7659" y="3968"/>
                    <a:pt x="7672" y="3955"/>
                    <a:pt x="7672" y="3941"/>
                  </a:cubicBezTo>
                  <a:cubicBezTo>
                    <a:pt x="7672" y="3934"/>
                    <a:pt x="7672" y="3934"/>
                    <a:pt x="7672" y="3934"/>
                  </a:cubicBezTo>
                  <a:cubicBezTo>
                    <a:pt x="7685" y="3934"/>
                    <a:pt x="7685" y="3934"/>
                    <a:pt x="7685" y="3934"/>
                  </a:cubicBezTo>
                  <a:cubicBezTo>
                    <a:pt x="7685" y="3921"/>
                    <a:pt x="7685" y="3921"/>
                    <a:pt x="7685" y="3921"/>
                  </a:cubicBezTo>
                  <a:cubicBezTo>
                    <a:pt x="7685" y="3921"/>
                    <a:pt x="7685" y="3907"/>
                    <a:pt x="7698" y="3907"/>
                  </a:cubicBezTo>
                  <a:cubicBezTo>
                    <a:pt x="7685" y="3907"/>
                    <a:pt x="7685" y="3907"/>
                    <a:pt x="7685" y="3907"/>
                  </a:cubicBezTo>
                  <a:cubicBezTo>
                    <a:pt x="7672" y="3934"/>
                    <a:pt x="7659" y="3955"/>
                    <a:pt x="7645" y="3982"/>
                  </a:cubicBezTo>
                  <a:close/>
                  <a:moveTo>
                    <a:pt x="390" y="3836"/>
                  </a:moveTo>
                  <a:cubicBezTo>
                    <a:pt x="399" y="3842"/>
                    <a:pt x="399" y="3842"/>
                    <a:pt x="399" y="3854"/>
                  </a:cubicBezTo>
                  <a:cubicBezTo>
                    <a:pt x="408" y="3854"/>
                    <a:pt x="408" y="3854"/>
                    <a:pt x="408" y="3854"/>
                  </a:cubicBezTo>
                  <a:cubicBezTo>
                    <a:pt x="399" y="3842"/>
                    <a:pt x="399" y="3842"/>
                    <a:pt x="399" y="3842"/>
                  </a:cubicBezTo>
                  <a:cubicBezTo>
                    <a:pt x="399" y="3836"/>
                    <a:pt x="399" y="3836"/>
                    <a:pt x="399" y="3836"/>
                  </a:cubicBezTo>
                  <a:cubicBezTo>
                    <a:pt x="390" y="3836"/>
                    <a:pt x="390" y="3836"/>
                    <a:pt x="390" y="3836"/>
                  </a:cubicBezTo>
                  <a:close/>
                  <a:moveTo>
                    <a:pt x="408" y="4031"/>
                  </a:moveTo>
                  <a:cubicBezTo>
                    <a:pt x="408" y="4045"/>
                    <a:pt x="408" y="4045"/>
                    <a:pt x="408" y="4045"/>
                  </a:cubicBezTo>
                  <a:cubicBezTo>
                    <a:pt x="408" y="4045"/>
                    <a:pt x="408" y="4045"/>
                    <a:pt x="420" y="4045"/>
                  </a:cubicBezTo>
                  <a:cubicBezTo>
                    <a:pt x="420" y="4052"/>
                    <a:pt x="420" y="4052"/>
                    <a:pt x="420" y="4052"/>
                  </a:cubicBezTo>
                  <a:cubicBezTo>
                    <a:pt x="408" y="4052"/>
                    <a:pt x="408" y="4066"/>
                    <a:pt x="408" y="4066"/>
                  </a:cubicBezTo>
                  <a:cubicBezTo>
                    <a:pt x="420" y="4066"/>
                    <a:pt x="420" y="4066"/>
                    <a:pt x="432" y="4066"/>
                  </a:cubicBezTo>
                  <a:cubicBezTo>
                    <a:pt x="432" y="4066"/>
                    <a:pt x="443" y="4066"/>
                    <a:pt x="443" y="4052"/>
                  </a:cubicBezTo>
                  <a:cubicBezTo>
                    <a:pt x="432" y="4052"/>
                    <a:pt x="432" y="4045"/>
                    <a:pt x="432" y="4045"/>
                  </a:cubicBezTo>
                  <a:cubicBezTo>
                    <a:pt x="432" y="4031"/>
                    <a:pt x="432" y="4031"/>
                    <a:pt x="432" y="4031"/>
                  </a:cubicBezTo>
                  <a:cubicBezTo>
                    <a:pt x="432" y="4031"/>
                    <a:pt x="420" y="4031"/>
                    <a:pt x="408" y="4031"/>
                  </a:cubicBezTo>
                  <a:close/>
                  <a:moveTo>
                    <a:pt x="3654" y="636"/>
                  </a:moveTo>
                  <a:cubicBezTo>
                    <a:pt x="3654" y="636"/>
                    <a:pt x="3636" y="636"/>
                    <a:pt x="3636" y="654"/>
                  </a:cubicBezTo>
                  <a:cubicBezTo>
                    <a:pt x="3654" y="654"/>
                    <a:pt x="3654" y="654"/>
                    <a:pt x="3654" y="654"/>
                  </a:cubicBezTo>
                  <a:cubicBezTo>
                    <a:pt x="3654" y="654"/>
                    <a:pt x="3654" y="654"/>
                    <a:pt x="3654" y="636"/>
                  </a:cubicBezTo>
                  <a:close/>
                  <a:moveTo>
                    <a:pt x="4133" y="2210"/>
                  </a:moveTo>
                  <a:cubicBezTo>
                    <a:pt x="4151" y="2210"/>
                    <a:pt x="4151" y="2210"/>
                    <a:pt x="4151" y="2210"/>
                  </a:cubicBezTo>
                  <a:cubicBezTo>
                    <a:pt x="4151" y="2210"/>
                    <a:pt x="4151" y="2192"/>
                    <a:pt x="4133" y="2192"/>
                  </a:cubicBezTo>
                  <a:cubicBezTo>
                    <a:pt x="4133" y="2210"/>
                    <a:pt x="4133" y="2210"/>
                    <a:pt x="4133" y="2210"/>
                  </a:cubicBezTo>
                  <a:close/>
                  <a:moveTo>
                    <a:pt x="4470" y="2404"/>
                  </a:moveTo>
                  <a:cubicBezTo>
                    <a:pt x="4470" y="2422"/>
                    <a:pt x="4470" y="2422"/>
                    <a:pt x="4488" y="2422"/>
                  </a:cubicBezTo>
                  <a:cubicBezTo>
                    <a:pt x="4488" y="2422"/>
                    <a:pt x="4488" y="2404"/>
                    <a:pt x="4470" y="2404"/>
                  </a:cubicBezTo>
                  <a:close/>
                  <a:moveTo>
                    <a:pt x="4523" y="2404"/>
                  </a:moveTo>
                  <a:cubicBezTo>
                    <a:pt x="4506" y="2387"/>
                    <a:pt x="4506" y="2387"/>
                    <a:pt x="4506" y="2387"/>
                  </a:cubicBezTo>
                  <a:cubicBezTo>
                    <a:pt x="4506" y="2387"/>
                    <a:pt x="4506" y="2404"/>
                    <a:pt x="4523" y="2404"/>
                  </a:cubicBezTo>
                  <a:close/>
                  <a:moveTo>
                    <a:pt x="3938" y="70"/>
                  </a:moveTo>
                  <a:cubicBezTo>
                    <a:pt x="3920" y="70"/>
                    <a:pt x="3920" y="70"/>
                    <a:pt x="3920" y="88"/>
                  </a:cubicBezTo>
                  <a:cubicBezTo>
                    <a:pt x="3938" y="88"/>
                    <a:pt x="3938" y="88"/>
                    <a:pt x="3938" y="88"/>
                  </a:cubicBezTo>
                  <a:cubicBezTo>
                    <a:pt x="3938" y="70"/>
                    <a:pt x="3938" y="70"/>
                    <a:pt x="3938" y="70"/>
                  </a:cubicBezTo>
                  <a:close/>
                  <a:moveTo>
                    <a:pt x="3548" y="786"/>
                  </a:moveTo>
                  <a:cubicBezTo>
                    <a:pt x="3548" y="778"/>
                    <a:pt x="3548" y="778"/>
                    <a:pt x="3548" y="778"/>
                  </a:cubicBezTo>
                  <a:cubicBezTo>
                    <a:pt x="3540" y="778"/>
                    <a:pt x="3532" y="778"/>
                    <a:pt x="3530" y="772"/>
                  </a:cubicBezTo>
                  <a:cubicBezTo>
                    <a:pt x="3539" y="772"/>
                    <a:pt x="3539" y="778"/>
                    <a:pt x="3548" y="778"/>
                  </a:cubicBezTo>
                  <a:cubicBezTo>
                    <a:pt x="3548" y="772"/>
                    <a:pt x="3548" y="772"/>
                    <a:pt x="3565" y="772"/>
                  </a:cubicBezTo>
                  <a:cubicBezTo>
                    <a:pt x="3565" y="772"/>
                    <a:pt x="3565" y="772"/>
                    <a:pt x="3565" y="760"/>
                  </a:cubicBezTo>
                  <a:cubicBezTo>
                    <a:pt x="3548" y="760"/>
                    <a:pt x="3548" y="760"/>
                    <a:pt x="3548" y="760"/>
                  </a:cubicBezTo>
                  <a:cubicBezTo>
                    <a:pt x="3548" y="772"/>
                    <a:pt x="3548" y="772"/>
                    <a:pt x="3530" y="772"/>
                  </a:cubicBezTo>
                  <a:cubicBezTo>
                    <a:pt x="3530" y="771"/>
                    <a:pt x="3530" y="770"/>
                    <a:pt x="3530" y="769"/>
                  </a:cubicBezTo>
                  <a:cubicBezTo>
                    <a:pt x="3530" y="778"/>
                    <a:pt x="3530" y="781"/>
                    <a:pt x="3530" y="795"/>
                  </a:cubicBezTo>
                  <a:cubicBezTo>
                    <a:pt x="3530" y="795"/>
                    <a:pt x="3530" y="795"/>
                    <a:pt x="3548" y="795"/>
                  </a:cubicBezTo>
                  <a:cubicBezTo>
                    <a:pt x="3548" y="792"/>
                    <a:pt x="3548" y="789"/>
                    <a:pt x="3548" y="786"/>
                  </a:cubicBezTo>
                  <a:close/>
                  <a:moveTo>
                    <a:pt x="3731" y="389"/>
                  </a:moveTo>
                  <a:cubicBezTo>
                    <a:pt x="3743" y="371"/>
                    <a:pt x="3743" y="371"/>
                    <a:pt x="3743" y="371"/>
                  </a:cubicBezTo>
                  <a:cubicBezTo>
                    <a:pt x="3743" y="371"/>
                    <a:pt x="3743" y="371"/>
                    <a:pt x="3743" y="353"/>
                  </a:cubicBezTo>
                  <a:cubicBezTo>
                    <a:pt x="3731" y="353"/>
                    <a:pt x="3731" y="353"/>
                    <a:pt x="3731" y="353"/>
                  </a:cubicBezTo>
                  <a:cubicBezTo>
                    <a:pt x="3731" y="353"/>
                    <a:pt x="3731" y="353"/>
                    <a:pt x="3719" y="371"/>
                  </a:cubicBezTo>
                  <a:cubicBezTo>
                    <a:pt x="3719" y="371"/>
                    <a:pt x="3719" y="371"/>
                    <a:pt x="3707" y="371"/>
                  </a:cubicBezTo>
                  <a:cubicBezTo>
                    <a:pt x="3707" y="389"/>
                    <a:pt x="3707" y="389"/>
                    <a:pt x="3707" y="389"/>
                  </a:cubicBezTo>
                  <a:cubicBezTo>
                    <a:pt x="3719" y="389"/>
                    <a:pt x="3719" y="389"/>
                    <a:pt x="3719" y="389"/>
                  </a:cubicBezTo>
                  <a:cubicBezTo>
                    <a:pt x="3719" y="389"/>
                    <a:pt x="3719" y="389"/>
                    <a:pt x="3731" y="389"/>
                  </a:cubicBezTo>
                  <a:close/>
                  <a:moveTo>
                    <a:pt x="4629" y="5963"/>
                  </a:moveTo>
                  <a:cubicBezTo>
                    <a:pt x="4631" y="5961"/>
                    <a:pt x="4631" y="5957"/>
                    <a:pt x="4631" y="5954"/>
                  </a:cubicBezTo>
                  <a:cubicBezTo>
                    <a:pt x="4631" y="5957"/>
                    <a:pt x="4630" y="5960"/>
                    <a:pt x="4629" y="5963"/>
                  </a:cubicBezTo>
                  <a:close/>
                  <a:moveTo>
                    <a:pt x="7698" y="3430"/>
                  </a:moveTo>
                  <a:cubicBezTo>
                    <a:pt x="7692" y="3437"/>
                    <a:pt x="7692" y="3437"/>
                    <a:pt x="7692" y="3437"/>
                  </a:cubicBezTo>
                  <a:cubicBezTo>
                    <a:pt x="7692" y="3437"/>
                    <a:pt x="7692" y="3437"/>
                    <a:pt x="7679" y="3450"/>
                  </a:cubicBezTo>
                  <a:cubicBezTo>
                    <a:pt x="7679" y="3450"/>
                    <a:pt x="7679" y="3450"/>
                    <a:pt x="7679" y="3463"/>
                  </a:cubicBezTo>
                  <a:cubicBezTo>
                    <a:pt x="7679" y="3476"/>
                    <a:pt x="7666" y="3476"/>
                    <a:pt x="7666" y="3490"/>
                  </a:cubicBezTo>
                  <a:cubicBezTo>
                    <a:pt x="7652" y="3490"/>
                    <a:pt x="7652" y="3490"/>
                    <a:pt x="7652" y="3490"/>
                  </a:cubicBezTo>
                  <a:cubicBezTo>
                    <a:pt x="7652" y="3476"/>
                    <a:pt x="7652" y="3476"/>
                    <a:pt x="7652" y="3476"/>
                  </a:cubicBezTo>
                  <a:cubicBezTo>
                    <a:pt x="7652" y="3476"/>
                    <a:pt x="7652" y="3476"/>
                    <a:pt x="7639" y="3476"/>
                  </a:cubicBezTo>
                  <a:cubicBezTo>
                    <a:pt x="7639" y="3476"/>
                    <a:pt x="7639" y="3476"/>
                    <a:pt x="7639" y="3490"/>
                  </a:cubicBezTo>
                  <a:cubicBezTo>
                    <a:pt x="7639" y="3490"/>
                    <a:pt x="7639" y="3490"/>
                    <a:pt x="7626" y="3490"/>
                  </a:cubicBezTo>
                  <a:cubicBezTo>
                    <a:pt x="7626" y="3490"/>
                    <a:pt x="7626" y="3490"/>
                    <a:pt x="7613" y="3490"/>
                  </a:cubicBezTo>
                  <a:cubicBezTo>
                    <a:pt x="7600" y="3490"/>
                    <a:pt x="7600" y="3503"/>
                    <a:pt x="7600" y="3503"/>
                  </a:cubicBezTo>
                  <a:cubicBezTo>
                    <a:pt x="7600" y="3503"/>
                    <a:pt x="7600" y="3503"/>
                    <a:pt x="7587" y="3503"/>
                  </a:cubicBezTo>
                  <a:cubicBezTo>
                    <a:pt x="7587" y="3490"/>
                    <a:pt x="7587" y="3490"/>
                    <a:pt x="7587" y="3490"/>
                  </a:cubicBezTo>
                  <a:cubicBezTo>
                    <a:pt x="7587" y="3490"/>
                    <a:pt x="7587" y="3490"/>
                    <a:pt x="7573" y="3490"/>
                  </a:cubicBezTo>
                  <a:cubicBezTo>
                    <a:pt x="7573" y="3490"/>
                    <a:pt x="7573" y="3490"/>
                    <a:pt x="7573" y="3503"/>
                  </a:cubicBezTo>
                  <a:cubicBezTo>
                    <a:pt x="7560" y="3503"/>
                    <a:pt x="7560" y="3503"/>
                    <a:pt x="7560" y="3503"/>
                  </a:cubicBezTo>
                  <a:cubicBezTo>
                    <a:pt x="7560" y="3490"/>
                    <a:pt x="7560" y="3490"/>
                    <a:pt x="7560" y="3490"/>
                  </a:cubicBezTo>
                  <a:cubicBezTo>
                    <a:pt x="7560" y="3490"/>
                    <a:pt x="7560" y="3490"/>
                    <a:pt x="7560" y="3476"/>
                  </a:cubicBezTo>
                  <a:cubicBezTo>
                    <a:pt x="7560" y="3476"/>
                    <a:pt x="7560" y="3476"/>
                    <a:pt x="7547" y="3476"/>
                  </a:cubicBezTo>
                  <a:cubicBezTo>
                    <a:pt x="7547" y="3476"/>
                    <a:pt x="7547" y="3476"/>
                    <a:pt x="7547" y="3490"/>
                  </a:cubicBezTo>
                  <a:cubicBezTo>
                    <a:pt x="7521" y="3503"/>
                    <a:pt x="7508" y="3503"/>
                    <a:pt x="7494" y="3516"/>
                  </a:cubicBezTo>
                  <a:cubicBezTo>
                    <a:pt x="7494" y="3516"/>
                    <a:pt x="7494" y="3529"/>
                    <a:pt x="7481" y="3529"/>
                  </a:cubicBezTo>
                  <a:cubicBezTo>
                    <a:pt x="7481" y="3529"/>
                    <a:pt x="7481" y="3542"/>
                    <a:pt x="7481" y="3555"/>
                  </a:cubicBezTo>
                  <a:cubicBezTo>
                    <a:pt x="7481" y="3555"/>
                    <a:pt x="7481" y="3555"/>
                    <a:pt x="7468" y="3555"/>
                  </a:cubicBezTo>
                  <a:cubicBezTo>
                    <a:pt x="7468" y="3568"/>
                    <a:pt x="7468" y="3568"/>
                    <a:pt x="7468" y="3568"/>
                  </a:cubicBezTo>
                  <a:cubicBezTo>
                    <a:pt x="7455" y="3568"/>
                    <a:pt x="7455" y="3582"/>
                    <a:pt x="7448" y="3595"/>
                  </a:cubicBezTo>
                  <a:cubicBezTo>
                    <a:pt x="7422" y="3608"/>
                    <a:pt x="7396" y="3608"/>
                    <a:pt x="7369" y="3621"/>
                  </a:cubicBezTo>
                  <a:cubicBezTo>
                    <a:pt x="7356" y="3647"/>
                    <a:pt x="7343" y="3660"/>
                    <a:pt x="7317" y="3667"/>
                  </a:cubicBezTo>
                  <a:cubicBezTo>
                    <a:pt x="7290" y="3693"/>
                    <a:pt x="7251" y="3720"/>
                    <a:pt x="7224" y="3733"/>
                  </a:cubicBezTo>
                  <a:cubicBezTo>
                    <a:pt x="7211" y="3746"/>
                    <a:pt x="7211" y="3746"/>
                    <a:pt x="7211" y="3746"/>
                  </a:cubicBezTo>
                  <a:cubicBezTo>
                    <a:pt x="7211" y="3746"/>
                    <a:pt x="7211" y="3746"/>
                    <a:pt x="7211" y="3759"/>
                  </a:cubicBezTo>
                  <a:cubicBezTo>
                    <a:pt x="7211" y="3759"/>
                    <a:pt x="7198" y="3759"/>
                    <a:pt x="7198" y="3772"/>
                  </a:cubicBezTo>
                  <a:cubicBezTo>
                    <a:pt x="7185" y="3772"/>
                    <a:pt x="7172" y="3772"/>
                    <a:pt x="7159" y="3785"/>
                  </a:cubicBezTo>
                  <a:cubicBezTo>
                    <a:pt x="7146" y="3785"/>
                    <a:pt x="7146" y="3798"/>
                    <a:pt x="7132" y="3798"/>
                  </a:cubicBezTo>
                  <a:cubicBezTo>
                    <a:pt x="7132" y="3798"/>
                    <a:pt x="7132" y="3798"/>
                    <a:pt x="7132" y="3812"/>
                  </a:cubicBezTo>
                  <a:cubicBezTo>
                    <a:pt x="7132" y="3812"/>
                    <a:pt x="7132" y="3812"/>
                    <a:pt x="7126" y="3798"/>
                  </a:cubicBezTo>
                  <a:cubicBezTo>
                    <a:pt x="7113" y="3798"/>
                    <a:pt x="7113" y="3812"/>
                    <a:pt x="7113" y="3812"/>
                  </a:cubicBezTo>
                  <a:cubicBezTo>
                    <a:pt x="7099" y="3812"/>
                    <a:pt x="7099" y="3825"/>
                    <a:pt x="7086" y="3825"/>
                  </a:cubicBezTo>
                  <a:cubicBezTo>
                    <a:pt x="7086" y="3838"/>
                    <a:pt x="7086" y="3851"/>
                    <a:pt x="7086" y="3864"/>
                  </a:cubicBezTo>
                  <a:cubicBezTo>
                    <a:pt x="7086" y="3864"/>
                    <a:pt x="7086" y="3864"/>
                    <a:pt x="7086" y="3877"/>
                  </a:cubicBezTo>
                  <a:cubicBezTo>
                    <a:pt x="7086" y="3877"/>
                    <a:pt x="7086" y="3877"/>
                    <a:pt x="7086" y="3890"/>
                  </a:cubicBezTo>
                  <a:cubicBezTo>
                    <a:pt x="7086" y="3890"/>
                    <a:pt x="7086" y="3904"/>
                    <a:pt x="7086" y="3917"/>
                  </a:cubicBezTo>
                  <a:cubicBezTo>
                    <a:pt x="7073" y="3917"/>
                    <a:pt x="7073" y="3917"/>
                    <a:pt x="7073" y="3917"/>
                  </a:cubicBezTo>
                  <a:cubicBezTo>
                    <a:pt x="7073" y="3930"/>
                    <a:pt x="7073" y="3930"/>
                    <a:pt x="7086" y="3930"/>
                  </a:cubicBezTo>
                  <a:cubicBezTo>
                    <a:pt x="7086" y="3930"/>
                    <a:pt x="7073" y="3930"/>
                    <a:pt x="7073" y="3943"/>
                  </a:cubicBezTo>
                  <a:cubicBezTo>
                    <a:pt x="7060" y="3969"/>
                    <a:pt x="7047" y="3982"/>
                    <a:pt x="7034" y="4002"/>
                  </a:cubicBezTo>
                  <a:cubicBezTo>
                    <a:pt x="7034" y="4028"/>
                    <a:pt x="7034" y="4055"/>
                    <a:pt x="7020" y="4081"/>
                  </a:cubicBezTo>
                  <a:cubicBezTo>
                    <a:pt x="7020" y="4081"/>
                    <a:pt x="7020" y="4081"/>
                    <a:pt x="7007" y="4081"/>
                  </a:cubicBezTo>
                  <a:cubicBezTo>
                    <a:pt x="7007" y="4081"/>
                    <a:pt x="7007" y="4081"/>
                    <a:pt x="6994" y="4081"/>
                  </a:cubicBezTo>
                  <a:cubicBezTo>
                    <a:pt x="6994" y="4094"/>
                    <a:pt x="6981" y="4107"/>
                    <a:pt x="6968" y="4120"/>
                  </a:cubicBezTo>
                  <a:cubicBezTo>
                    <a:pt x="6968" y="4120"/>
                    <a:pt x="6968" y="4120"/>
                    <a:pt x="6968" y="4134"/>
                  </a:cubicBezTo>
                  <a:cubicBezTo>
                    <a:pt x="6955" y="4134"/>
                    <a:pt x="6955" y="4134"/>
                    <a:pt x="6955" y="4134"/>
                  </a:cubicBezTo>
                  <a:cubicBezTo>
                    <a:pt x="6941" y="4134"/>
                    <a:pt x="6941" y="4147"/>
                    <a:pt x="6928" y="4147"/>
                  </a:cubicBezTo>
                  <a:cubicBezTo>
                    <a:pt x="6928" y="4147"/>
                    <a:pt x="6928" y="4160"/>
                    <a:pt x="6915" y="4160"/>
                  </a:cubicBezTo>
                  <a:cubicBezTo>
                    <a:pt x="6915" y="4160"/>
                    <a:pt x="6915" y="4160"/>
                    <a:pt x="6915" y="4173"/>
                  </a:cubicBezTo>
                  <a:cubicBezTo>
                    <a:pt x="6915" y="4173"/>
                    <a:pt x="6915" y="4173"/>
                    <a:pt x="6902" y="4173"/>
                  </a:cubicBezTo>
                  <a:cubicBezTo>
                    <a:pt x="6902" y="4186"/>
                    <a:pt x="6902" y="4186"/>
                    <a:pt x="6902" y="4186"/>
                  </a:cubicBezTo>
                  <a:cubicBezTo>
                    <a:pt x="6902" y="4186"/>
                    <a:pt x="6902" y="4186"/>
                    <a:pt x="6889" y="4186"/>
                  </a:cubicBezTo>
                  <a:cubicBezTo>
                    <a:pt x="6889" y="4186"/>
                    <a:pt x="6889" y="4186"/>
                    <a:pt x="6876" y="4186"/>
                  </a:cubicBezTo>
                  <a:cubicBezTo>
                    <a:pt x="6862" y="4173"/>
                    <a:pt x="6862" y="4160"/>
                    <a:pt x="6849" y="4134"/>
                  </a:cubicBezTo>
                  <a:cubicBezTo>
                    <a:pt x="6849" y="4094"/>
                    <a:pt x="6849" y="4055"/>
                    <a:pt x="6836" y="4015"/>
                  </a:cubicBezTo>
                  <a:cubicBezTo>
                    <a:pt x="6836" y="4002"/>
                    <a:pt x="6823" y="3996"/>
                    <a:pt x="6823" y="3982"/>
                  </a:cubicBezTo>
                  <a:cubicBezTo>
                    <a:pt x="6810" y="3943"/>
                    <a:pt x="6810" y="3904"/>
                    <a:pt x="6810" y="3864"/>
                  </a:cubicBezTo>
                  <a:cubicBezTo>
                    <a:pt x="6803" y="3864"/>
                    <a:pt x="6803" y="3864"/>
                    <a:pt x="6803" y="3864"/>
                  </a:cubicBezTo>
                  <a:cubicBezTo>
                    <a:pt x="6803" y="3864"/>
                    <a:pt x="6803" y="3864"/>
                    <a:pt x="6803" y="3851"/>
                  </a:cubicBezTo>
                  <a:cubicBezTo>
                    <a:pt x="6803" y="3838"/>
                    <a:pt x="6803" y="3838"/>
                    <a:pt x="6803" y="3838"/>
                  </a:cubicBezTo>
                  <a:cubicBezTo>
                    <a:pt x="6803" y="3825"/>
                    <a:pt x="6803" y="3825"/>
                    <a:pt x="6803" y="3825"/>
                  </a:cubicBezTo>
                  <a:cubicBezTo>
                    <a:pt x="6790" y="3825"/>
                    <a:pt x="6790" y="3825"/>
                    <a:pt x="6790" y="3825"/>
                  </a:cubicBezTo>
                  <a:cubicBezTo>
                    <a:pt x="6790" y="3825"/>
                    <a:pt x="6790" y="3825"/>
                    <a:pt x="6790" y="3812"/>
                  </a:cubicBezTo>
                  <a:cubicBezTo>
                    <a:pt x="6790" y="3812"/>
                    <a:pt x="6790" y="3812"/>
                    <a:pt x="6790" y="3798"/>
                  </a:cubicBezTo>
                  <a:cubicBezTo>
                    <a:pt x="6790" y="3798"/>
                    <a:pt x="6790" y="3798"/>
                    <a:pt x="6790" y="3785"/>
                  </a:cubicBezTo>
                  <a:cubicBezTo>
                    <a:pt x="6790" y="3759"/>
                    <a:pt x="6777" y="3733"/>
                    <a:pt x="6777" y="3693"/>
                  </a:cubicBezTo>
                  <a:cubicBezTo>
                    <a:pt x="6777" y="3693"/>
                    <a:pt x="6777" y="3693"/>
                    <a:pt x="6777" y="3680"/>
                  </a:cubicBezTo>
                  <a:cubicBezTo>
                    <a:pt x="6777" y="3680"/>
                    <a:pt x="6777" y="3680"/>
                    <a:pt x="6777" y="3667"/>
                  </a:cubicBezTo>
                  <a:cubicBezTo>
                    <a:pt x="6777" y="3667"/>
                    <a:pt x="6790" y="3660"/>
                    <a:pt x="6790" y="3647"/>
                  </a:cubicBezTo>
                  <a:cubicBezTo>
                    <a:pt x="6790" y="3641"/>
                    <a:pt x="6790" y="3634"/>
                    <a:pt x="6790" y="3634"/>
                  </a:cubicBezTo>
                  <a:cubicBezTo>
                    <a:pt x="6790" y="3628"/>
                    <a:pt x="6790" y="3628"/>
                    <a:pt x="6790" y="3621"/>
                  </a:cubicBezTo>
                  <a:cubicBezTo>
                    <a:pt x="6790" y="3621"/>
                    <a:pt x="6790" y="3608"/>
                    <a:pt x="6790" y="3595"/>
                  </a:cubicBezTo>
                  <a:cubicBezTo>
                    <a:pt x="6790" y="3595"/>
                    <a:pt x="6790" y="3582"/>
                    <a:pt x="6803" y="3568"/>
                  </a:cubicBezTo>
                  <a:cubicBezTo>
                    <a:pt x="6803" y="3555"/>
                    <a:pt x="6803" y="3542"/>
                    <a:pt x="6803" y="3529"/>
                  </a:cubicBezTo>
                  <a:cubicBezTo>
                    <a:pt x="6803" y="3529"/>
                    <a:pt x="6803" y="3529"/>
                    <a:pt x="6790" y="3529"/>
                  </a:cubicBezTo>
                  <a:cubicBezTo>
                    <a:pt x="6790" y="3529"/>
                    <a:pt x="6790" y="3529"/>
                    <a:pt x="6803" y="3516"/>
                  </a:cubicBezTo>
                  <a:cubicBezTo>
                    <a:pt x="6803" y="3516"/>
                    <a:pt x="6803" y="3516"/>
                    <a:pt x="6803" y="3503"/>
                  </a:cubicBezTo>
                  <a:cubicBezTo>
                    <a:pt x="6803" y="3490"/>
                    <a:pt x="6803" y="3490"/>
                    <a:pt x="6803" y="3490"/>
                  </a:cubicBezTo>
                  <a:cubicBezTo>
                    <a:pt x="6803" y="3476"/>
                    <a:pt x="6803" y="3476"/>
                    <a:pt x="6803" y="3476"/>
                  </a:cubicBezTo>
                  <a:cubicBezTo>
                    <a:pt x="6803" y="3476"/>
                    <a:pt x="6803" y="3476"/>
                    <a:pt x="6810" y="3476"/>
                  </a:cubicBezTo>
                  <a:cubicBezTo>
                    <a:pt x="6810" y="3476"/>
                    <a:pt x="6810" y="3476"/>
                    <a:pt x="6810" y="3463"/>
                  </a:cubicBezTo>
                  <a:cubicBezTo>
                    <a:pt x="6810" y="3463"/>
                    <a:pt x="6803" y="3463"/>
                    <a:pt x="6790" y="3463"/>
                  </a:cubicBezTo>
                  <a:cubicBezTo>
                    <a:pt x="6790" y="3476"/>
                    <a:pt x="6777" y="3490"/>
                    <a:pt x="6777" y="3516"/>
                  </a:cubicBezTo>
                  <a:cubicBezTo>
                    <a:pt x="6777" y="3516"/>
                    <a:pt x="6777" y="3516"/>
                    <a:pt x="6764" y="3529"/>
                  </a:cubicBezTo>
                  <a:cubicBezTo>
                    <a:pt x="6764" y="3529"/>
                    <a:pt x="6751" y="3529"/>
                    <a:pt x="6751" y="3542"/>
                  </a:cubicBezTo>
                  <a:cubicBezTo>
                    <a:pt x="6751" y="3542"/>
                    <a:pt x="6751" y="3542"/>
                    <a:pt x="6737" y="3542"/>
                  </a:cubicBezTo>
                  <a:cubicBezTo>
                    <a:pt x="6737" y="3542"/>
                    <a:pt x="6737" y="3542"/>
                    <a:pt x="6724" y="3542"/>
                  </a:cubicBezTo>
                  <a:cubicBezTo>
                    <a:pt x="6724" y="3542"/>
                    <a:pt x="6724" y="3542"/>
                    <a:pt x="6711" y="3555"/>
                  </a:cubicBezTo>
                  <a:cubicBezTo>
                    <a:pt x="6698" y="3555"/>
                    <a:pt x="6698" y="3542"/>
                    <a:pt x="6685" y="3542"/>
                  </a:cubicBezTo>
                  <a:cubicBezTo>
                    <a:pt x="6672" y="3529"/>
                    <a:pt x="6645" y="3503"/>
                    <a:pt x="6632" y="3476"/>
                  </a:cubicBezTo>
                  <a:cubicBezTo>
                    <a:pt x="6632" y="3476"/>
                    <a:pt x="6632" y="3476"/>
                    <a:pt x="6632" y="3463"/>
                  </a:cubicBezTo>
                  <a:cubicBezTo>
                    <a:pt x="6632" y="3463"/>
                    <a:pt x="6632" y="3463"/>
                    <a:pt x="6645" y="3463"/>
                  </a:cubicBezTo>
                  <a:cubicBezTo>
                    <a:pt x="6658" y="3463"/>
                    <a:pt x="6658" y="3463"/>
                    <a:pt x="6672" y="3463"/>
                  </a:cubicBezTo>
                  <a:cubicBezTo>
                    <a:pt x="6685" y="3450"/>
                    <a:pt x="6685" y="3450"/>
                    <a:pt x="6698" y="3450"/>
                  </a:cubicBezTo>
                  <a:cubicBezTo>
                    <a:pt x="6698" y="3437"/>
                    <a:pt x="6711" y="3437"/>
                    <a:pt x="6711" y="3424"/>
                  </a:cubicBezTo>
                  <a:cubicBezTo>
                    <a:pt x="6711" y="3424"/>
                    <a:pt x="6711" y="3424"/>
                    <a:pt x="6698" y="3424"/>
                  </a:cubicBezTo>
                  <a:cubicBezTo>
                    <a:pt x="6685" y="3437"/>
                    <a:pt x="6685" y="3437"/>
                    <a:pt x="6672" y="3437"/>
                  </a:cubicBezTo>
                  <a:cubicBezTo>
                    <a:pt x="6658" y="3437"/>
                    <a:pt x="6645" y="3437"/>
                    <a:pt x="6632" y="3437"/>
                  </a:cubicBezTo>
                  <a:cubicBezTo>
                    <a:pt x="6619" y="3424"/>
                    <a:pt x="6619" y="3411"/>
                    <a:pt x="6606" y="3398"/>
                  </a:cubicBezTo>
                  <a:cubicBezTo>
                    <a:pt x="6606" y="3398"/>
                    <a:pt x="6606" y="3398"/>
                    <a:pt x="6606" y="3384"/>
                  </a:cubicBezTo>
                  <a:cubicBezTo>
                    <a:pt x="6606" y="3384"/>
                    <a:pt x="6606" y="3384"/>
                    <a:pt x="6593" y="3384"/>
                  </a:cubicBezTo>
                  <a:cubicBezTo>
                    <a:pt x="6579" y="3384"/>
                    <a:pt x="6579" y="3384"/>
                    <a:pt x="6579" y="3384"/>
                  </a:cubicBezTo>
                  <a:cubicBezTo>
                    <a:pt x="6579" y="3371"/>
                    <a:pt x="6579" y="3371"/>
                    <a:pt x="6579" y="3371"/>
                  </a:cubicBezTo>
                  <a:cubicBezTo>
                    <a:pt x="6566" y="3371"/>
                    <a:pt x="6566" y="3371"/>
                    <a:pt x="6566" y="3371"/>
                  </a:cubicBezTo>
                  <a:cubicBezTo>
                    <a:pt x="6566" y="3358"/>
                    <a:pt x="6566" y="3345"/>
                    <a:pt x="6566" y="3345"/>
                  </a:cubicBezTo>
                  <a:cubicBezTo>
                    <a:pt x="6566" y="3332"/>
                    <a:pt x="6566" y="3332"/>
                    <a:pt x="6566" y="3332"/>
                  </a:cubicBezTo>
                  <a:cubicBezTo>
                    <a:pt x="6553" y="3332"/>
                    <a:pt x="6553" y="3332"/>
                    <a:pt x="6540" y="3332"/>
                  </a:cubicBezTo>
                  <a:cubicBezTo>
                    <a:pt x="6540" y="3325"/>
                    <a:pt x="6540" y="3325"/>
                    <a:pt x="6540" y="3312"/>
                  </a:cubicBezTo>
                  <a:cubicBezTo>
                    <a:pt x="6540" y="3312"/>
                    <a:pt x="6540" y="3299"/>
                    <a:pt x="6527" y="3299"/>
                  </a:cubicBezTo>
                  <a:cubicBezTo>
                    <a:pt x="6514" y="3299"/>
                    <a:pt x="6500" y="3299"/>
                    <a:pt x="6487" y="3299"/>
                  </a:cubicBezTo>
                  <a:cubicBezTo>
                    <a:pt x="6481" y="3299"/>
                    <a:pt x="6481" y="3312"/>
                    <a:pt x="6481" y="3312"/>
                  </a:cubicBezTo>
                  <a:cubicBezTo>
                    <a:pt x="6468" y="3312"/>
                    <a:pt x="6468" y="3312"/>
                    <a:pt x="6454" y="3299"/>
                  </a:cubicBezTo>
                  <a:cubicBezTo>
                    <a:pt x="6454" y="3312"/>
                    <a:pt x="6454" y="3312"/>
                    <a:pt x="6441" y="3312"/>
                  </a:cubicBezTo>
                  <a:cubicBezTo>
                    <a:pt x="6441" y="3312"/>
                    <a:pt x="6441" y="3312"/>
                    <a:pt x="6428" y="3312"/>
                  </a:cubicBezTo>
                  <a:cubicBezTo>
                    <a:pt x="6428" y="3312"/>
                    <a:pt x="6428" y="3312"/>
                    <a:pt x="6428" y="3299"/>
                  </a:cubicBezTo>
                  <a:cubicBezTo>
                    <a:pt x="6415" y="3299"/>
                    <a:pt x="6415" y="3299"/>
                    <a:pt x="6415" y="3312"/>
                  </a:cubicBezTo>
                  <a:cubicBezTo>
                    <a:pt x="6415" y="3299"/>
                    <a:pt x="6402" y="3299"/>
                    <a:pt x="6402" y="3299"/>
                  </a:cubicBezTo>
                  <a:cubicBezTo>
                    <a:pt x="6402" y="3312"/>
                    <a:pt x="6402" y="3312"/>
                    <a:pt x="6389" y="3312"/>
                  </a:cubicBezTo>
                  <a:cubicBezTo>
                    <a:pt x="6375" y="3312"/>
                    <a:pt x="6362" y="3312"/>
                    <a:pt x="6349" y="3312"/>
                  </a:cubicBezTo>
                  <a:cubicBezTo>
                    <a:pt x="6336" y="3312"/>
                    <a:pt x="6336" y="3312"/>
                    <a:pt x="6336" y="3312"/>
                  </a:cubicBezTo>
                  <a:cubicBezTo>
                    <a:pt x="6323" y="3312"/>
                    <a:pt x="6323" y="3312"/>
                    <a:pt x="6323" y="3312"/>
                  </a:cubicBezTo>
                  <a:cubicBezTo>
                    <a:pt x="6323" y="3312"/>
                    <a:pt x="6323" y="3312"/>
                    <a:pt x="6310" y="3325"/>
                  </a:cubicBezTo>
                  <a:cubicBezTo>
                    <a:pt x="6296" y="3325"/>
                    <a:pt x="6296" y="3325"/>
                    <a:pt x="6296" y="3312"/>
                  </a:cubicBezTo>
                  <a:cubicBezTo>
                    <a:pt x="6296" y="3312"/>
                    <a:pt x="6296" y="3312"/>
                    <a:pt x="6283" y="3325"/>
                  </a:cubicBezTo>
                  <a:cubicBezTo>
                    <a:pt x="6283" y="3312"/>
                    <a:pt x="6270" y="3312"/>
                    <a:pt x="6257" y="3312"/>
                  </a:cubicBezTo>
                  <a:cubicBezTo>
                    <a:pt x="6244" y="3312"/>
                    <a:pt x="6244" y="3299"/>
                    <a:pt x="6244" y="3299"/>
                  </a:cubicBezTo>
                  <a:cubicBezTo>
                    <a:pt x="6244" y="3299"/>
                    <a:pt x="6244" y="3299"/>
                    <a:pt x="6244" y="3312"/>
                  </a:cubicBezTo>
                  <a:cubicBezTo>
                    <a:pt x="6217" y="3299"/>
                    <a:pt x="6204" y="3299"/>
                    <a:pt x="6178" y="3299"/>
                  </a:cubicBezTo>
                  <a:cubicBezTo>
                    <a:pt x="6171" y="3299"/>
                    <a:pt x="6171" y="3299"/>
                    <a:pt x="6171" y="3299"/>
                  </a:cubicBezTo>
                  <a:cubicBezTo>
                    <a:pt x="6145" y="3299"/>
                    <a:pt x="6119" y="3286"/>
                    <a:pt x="6106" y="3286"/>
                  </a:cubicBezTo>
                  <a:cubicBezTo>
                    <a:pt x="6092" y="3260"/>
                    <a:pt x="6092" y="3246"/>
                    <a:pt x="6079" y="3220"/>
                  </a:cubicBezTo>
                  <a:cubicBezTo>
                    <a:pt x="6079" y="3207"/>
                    <a:pt x="6066" y="3207"/>
                    <a:pt x="6066" y="3207"/>
                  </a:cubicBezTo>
                  <a:cubicBezTo>
                    <a:pt x="6053" y="3207"/>
                    <a:pt x="6053" y="3207"/>
                    <a:pt x="6053" y="3207"/>
                  </a:cubicBezTo>
                  <a:cubicBezTo>
                    <a:pt x="6043" y="3207"/>
                    <a:pt x="6034" y="3207"/>
                    <a:pt x="6024" y="3212"/>
                  </a:cubicBezTo>
                  <a:cubicBezTo>
                    <a:pt x="6023" y="3214"/>
                    <a:pt x="6022" y="3216"/>
                    <a:pt x="6021" y="3218"/>
                  </a:cubicBezTo>
                  <a:cubicBezTo>
                    <a:pt x="6019" y="3218"/>
                    <a:pt x="6018" y="3218"/>
                    <a:pt x="6016" y="3218"/>
                  </a:cubicBezTo>
                  <a:cubicBezTo>
                    <a:pt x="6015" y="3218"/>
                    <a:pt x="6014" y="3219"/>
                    <a:pt x="6013" y="3220"/>
                  </a:cubicBezTo>
                  <a:cubicBezTo>
                    <a:pt x="6013" y="3220"/>
                    <a:pt x="6013" y="3220"/>
                    <a:pt x="6007" y="3227"/>
                  </a:cubicBezTo>
                  <a:cubicBezTo>
                    <a:pt x="6003" y="3227"/>
                    <a:pt x="6000" y="3227"/>
                    <a:pt x="5997" y="3227"/>
                  </a:cubicBezTo>
                  <a:cubicBezTo>
                    <a:pt x="5996" y="3229"/>
                    <a:pt x="5996" y="3232"/>
                    <a:pt x="5996" y="3235"/>
                  </a:cubicBezTo>
                  <a:cubicBezTo>
                    <a:pt x="5996" y="3227"/>
                    <a:pt x="5996" y="3227"/>
                    <a:pt x="5996" y="3227"/>
                  </a:cubicBezTo>
                  <a:cubicBezTo>
                    <a:pt x="5994" y="3227"/>
                    <a:pt x="5994" y="3227"/>
                    <a:pt x="5994" y="3227"/>
                  </a:cubicBezTo>
                  <a:cubicBezTo>
                    <a:pt x="5994" y="3227"/>
                    <a:pt x="5994" y="3227"/>
                    <a:pt x="5994" y="3233"/>
                  </a:cubicBezTo>
                  <a:cubicBezTo>
                    <a:pt x="5994" y="3233"/>
                    <a:pt x="5994" y="3233"/>
                    <a:pt x="5987" y="3233"/>
                  </a:cubicBezTo>
                  <a:cubicBezTo>
                    <a:pt x="5987" y="3233"/>
                    <a:pt x="5987" y="3233"/>
                    <a:pt x="5974" y="3233"/>
                  </a:cubicBezTo>
                  <a:cubicBezTo>
                    <a:pt x="5974" y="3233"/>
                    <a:pt x="5974" y="3246"/>
                    <a:pt x="5961" y="3246"/>
                  </a:cubicBezTo>
                  <a:cubicBezTo>
                    <a:pt x="5961" y="3246"/>
                    <a:pt x="5961" y="3233"/>
                    <a:pt x="5948" y="3233"/>
                  </a:cubicBezTo>
                  <a:cubicBezTo>
                    <a:pt x="5948" y="3233"/>
                    <a:pt x="5948" y="3233"/>
                    <a:pt x="5934" y="3233"/>
                  </a:cubicBezTo>
                  <a:cubicBezTo>
                    <a:pt x="5921" y="3233"/>
                    <a:pt x="5921" y="3233"/>
                    <a:pt x="5908" y="3233"/>
                  </a:cubicBezTo>
                  <a:cubicBezTo>
                    <a:pt x="5908" y="3233"/>
                    <a:pt x="5908" y="3233"/>
                    <a:pt x="5908" y="3220"/>
                  </a:cubicBezTo>
                  <a:cubicBezTo>
                    <a:pt x="5895" y="3220"/>
                    <a:pt x="5882" y="3207"/>
                    <a:pt x="5882" y="3207"/>
                  </a:cubicBezTo>
                  <a:cubicBezTo>
                    <a:pt x="5869" y="3207"/>
                    <a:pt x="5869" y="3194"/>
                    <a:pt x="5869" y="3194"/>
                  </a:cubicBezTo>
                  <a:cubicBezTo>
                    <a:pt x="5869" y="3181"/>
                    <a:pt x="5869" y="3181"/>
                    <a:pt x="5869" y="3181"/>
                  </a:cubicBezTo>
                  <a:cubicBezTo>
                    <a:pt x="5855" y="3181"/>
                    <a:pt x="5849" y="3168"/>
                    <a:pt x="5849" y="3168"/>
                  </a:cubicBezTo>
                  <a:cubicBezTo>
                    <a:pt x="5836" y="3168"/>
                    <a:pt x="5836" y="3168"/>
                    <a:pt x="5836" y="3168"/>
                  </a:cubicBezTo>
                  <a:cubicBezTo>
                    <a:pt x="5822" y="3168"/>
                    <a:pt x="5822" y="3168"/>
                    <a:pt x="5822" y="3168"/>
                  </a:cubicBezTo>
                  <a:cubicBezTo>
                    <a:pt x="5822" y="3154"/>
                    <a:pt x="5822" y="3154"/>
                    <a:pt x="5809" y="3154"/>
                  </a:cubicBezTo>
                  <a:cubicBezTo>
                    <a:pt x="5809" y="3141"/>
                    <a:pt x="5809" y="3115"/>
                    <a:pt x="5809" y="3102"/>
                  </a:cubicBezTo>
                  <a:cubicBezTo>
                    <a:pt x="5796" y="3102"/>
                    <a:pt x="5796" y="3089"/>
                    <a:pt x="5783" y="3089"/>
                  </a:cubicBezTo>
                  <a:cubicBezTo>
                    <a:pt x="5783" y="3076"/>
                    <a:pt x="5783" y="3076"/>
                    <a:pt x="5783" y="3062"/>
                  </a:cubicBezTo>
                  <a:cubicBezTo>
                    <a:pt x="5783" y="3062"/>
                    <a:pt x="5783" y="3062"/>
                    <a:pt x="5770" y="3062"/>
                  </a:cubicBezTo>
                  <a:cubicBezTo>
                    <a:pt x="5770" y="3049"/>
                    <a:pt x="5770" y="3049"/>
                    <a:pt x="5770" y="3049"/>
                  </a:cubicBezTo>
                  <a:cubicBezTo>
                    <a:pt x="5770" y="3036"/>
                    <a:pt x="5770" y="3036"/>
                    <a:pt x="5770" y="3036"/>
                  </a:cubicBezTo>
                  <a:cubicBezTo>
                    <a:pt x="5770" y="3036"/>
                    <a:pt x="5770" y="3036"/>
                    <a:pt x="5757" y="3036"/>
                  </a:cubicBezTo>
                  <a:cubicBezTo>
                    <a:pt x="5757" y="3036"/>
                    <a:pt x="5757" y="3036"/>
                    <a:pt x="5757" y="3023"/>
                  </a:cubicBezTo>
                  <a:cubicBezTo>
                    <a:pt x="5757" y="3036"/>
                    <a:pt x="5757" y="3036"/>
                    <a:pt x="5744" y="3036"/>
                  </a:cubicBezTo>
                  <a:cubicBezTo>
                    <a:pt x="5730" y="3036"/>
                    <a:pt x="5730" y="3036"/>
                    <a:pt x="5730" y="3036"/>
                  </a:cubicBezTo>
                  <a:cubicBezTo>
                    <a:pt x="5730" y="3036"/>
                    <a:pt x="5730" y="3023"/>
                    <a:pt x="5717" y="3023"/>
                  </a:cubicBezTo>
                  <a:cubicBezTo>
                    <a:pt x="5717" y="3010"/>
                    <a:pt x="5717" y="3010"/>
                    <a:pt x="5717" y="3010"/>
                  </a:cubicBezTo>
                  <a:cubicBezTo>
                    <a:pt x="5717" y="3010"/>
                    <a:pt x="5717" y="3010"/>
                    <a:pt x="5704" y="2997"/>
                  </a:cubicBezTo>
                  <a:cubicBezTo>
                    <a:pt x="5704" y="3010"/>
                    <a:pt x="5704" y="3010"/>
                    <a:pt x="5704" y="3010"/>
                  </a:cubicBezTo>
                  <a:cubicBezTo>
                    <a:pt x="5704" y="3010"/>
                    <a:pt x="5704" y="3010"/>
                    <a:pt x="5704" y="3023"/>
                  </a:cubicBezTo>
                  <a:cubicBezTo>
                    <a:pt x="5704" y="3023"/>
                    <a:pt x="5704" y="3023"/>
                    <a:pt x="5691" y="3023"/>
                  </a:cubicBezTo>
                  <a:cubicBezTo>
                    <a:pt x="5691" y="3023"/>
                    <a:pt x="5691" y="3023"/>
                    <a:pt x="5691" y="3036"/>
                  </a:cubicBezTo>
                  <a:cubicBezTo>
                    <a:pt x="5691" y="3036"/>
                    <a:pt x="5691" y="3036"/>
                    <a:pt x="5678" y="3036"/>
                  </a:cubicBezTo>
                  <a:cubicBezTo>
                    <a:pt x="5678" y="3036"/>
                    <a:pt x="5678" y="3036"/>
                    <a:pt x="5665" y="3036"/>
                  </a:cubicBezTo>
                  <a:cubicBezTo>
                    <a:pt x="5665" y="3049"/>
                    <a:pt x="5665" y="3049"/>
                    <a:pt x="5678" y="3049"/>
                  </a:cubicBezTo>
                  <a:cubicBezTo>
                    <a:pt x="5678" y="3049"/>
                    <a:pt x="5678" y="3049"/>
                    <a:pt x="5678" y="3062"/>
                  </a:cubicBezTo>
                  <a:cubicBezTo>
                    <a:pt x="5665" y="3062"/>
                    <a:pt x="5665" y="3062"/>
                    <a:pt x="5665" y="3062"/>
                  </a:cubicBezTo>
                  <a:cubicBezTo>
                    <a:pt x="5665" y="3062"/>
                    <a:pt x="5665" y="3062"/>
                    <a:pt x="5651" y="3062"/>
                  </a:cubicBezTo>
                  <a:cubicBezTo>
                    <a:pt x="5651" y="3076"/>
                    <a:pt x="5651" y="3076"/>
                    <a:pt x="5651" y="3076"/>
                  </a:cubicBezTo>
                  <a:cubicBezTo>
                    <a:pt x="5651" y="3076"/>
                    <a:pt x="5651" y="3076"/>
                    <a:pt x="5665" y="3076"/>
                  </a:cubicBezTo>
                  <a:cubicBezTo>
                    <a:pt x="5665" y="3089"/>
                    <a:pt x="5665" y="3102"/>
                    <a:pt x="5665" y="3102"/>
                  </a:cubicBezTo>
                  <a:cubicBezTo>
                    <a:pt x="5665" y="3115"/>
                    <a:pt x="5665" y="3115"/>
                    <a:pt x="5665" y="3115"/>
                  </a:cubicBezTo>
                  <a:cubicBezTo>
                    <a:pt x="5665" y="3115"/>
                    <a:pt x="5665" y="3115"/>
                    <a:pt x="5665" y="3128"/>
                  </a:cubicBezTo>
                  <a:cubicBezTo>
                    <a:pt x="5678" y="3141"/>
                    <a:pt x="5678" y="3154"/>
                    <a:pt x="5691" y="3168"/>
                  </a:cubicBezTo>
                  <a:cubicBezTo>
                    <a:pt x="5691" y="3168"/>
                    <a:pt x="5691" y="3168"/>
                    <a:pt x="5691" y="3181"/>
                  </a:cubicBezTo>
                  <a:cubicBezTo>
                    <a:pt x="5704" y="3181"/>
                    <a:pt x="5704" y="3181"/>
                    <a:pt x="5704" y="3181"/>
                  </a:cubicBezTo>
                  <a:cubicBezTo>
                    <a:pt x="5704" y="3194"/>
                    <a:pt x="5704" y="3194"/>
                    <a:pt x="5704" y="3194"/>
                  </a:cubicBezTo>
                  <a:cubicBezTo>
                    <a:pt x="5704" y="3194"/>
                    <a:pt x="5704" y="3194"/>
                    <a:pt x="5704" y="3207"/>
                  </a:cubicBezTo>
                  <a:cubicBezTo>
                    <a:pt x="5717" y="3207"/>
                    <a:pt x="5717" y="3207"/>
                    <a:pt x="5717" y="3207"/>
                  </a:cubicBezTo>
                  <a:cubicBezTo>
                    <a:pt x="5730" y="3207"/>
                    <a:pt x="5730" y="3220"/>
                    <a:pt x="5744" y="3220"/>
                  </a:cubicBezTo>
                  <a:cubicBezTo>
                    <a:pt x="5744" y="3220"/>
                    <a:pt x="5744" y="3220"/>
                    <a:pt x="5744" y="3233"/>
                  </a:cubicBezTo>
                  <a:cubicBezTo>
                    <a:pt x="5744" y="3233"/>
                    <a:pt x="5744" y="3233"/>
                    <a:pt x="5744" y="3246"/>
                  </a:cubicBezTo>
                  <a:cubicBezTo>
                    <a:pt x="5744" y="3246"/>
                    <a:pt x="5744" y="3246"/>
                    <a:pt x="5744" y="3260"/>
                  </a:cubicBezTo>
                  <a:cubicBezTo>
                    <a:pt x="5744" y="3260"/>
                    <a:pt x="5744" y="3260"/>
                    <a:pt x="5744" y="3273"/>
                  </a:cubicBezTo>
                  <a:cubicBezTo>
                    <a:pt x="5744" y="3286"/>
                    <a:pt x="5757" y="3299"/>
                    <a:pt x="5757" y="3299"/>
                  </a:cubicBezTo>
                  <a:cubicBezTo>
                    <a:pt x="5757" y="3312"/>
                    <a:pt x="5757" y="3312"/>
                    <a:pt x="5757" y="3325"/>
                  </a:cubicBezTo>
                  <a:cubicBezTo>
                    <a:pt x="5757" y="3325"/>
                    <a:pt x="5757" y="3325"/>
                    <a:pt x="5757" y="3332"/>
                  </a:cubicBezTo>
                  <a:cubicBezTo>
                    <a:pt x="5757" y="3332"/>
                    <a:pt x="5757" y="3332"/>
                    <a:pt x="5770" y="3332"/>
                  </a:cubicBezTo>
                  <a:cubicBezTo>
                    <a:pt x="5770" y="3332"/>
                    <a:pt x="5770" y="3332"/>
                    <a:pt x="5770" y="3325"/>
                  </a:cubicBezTo>
                  <a:cubicBezTo>
                    <a:pt x="5770" y="3325"/>
                    <a:pt x="5770" y="3325"/>
                    <a:pt x="5770" y="3312"/>
                  </a:cubicBezTo>
                  <a:cubicBezTo>
                    <a:pt x="5770" y="3299"/>
                    <a:pt x="5770" y="3299"/>
                    <a:pt x="5770" y="3299"/>
                  </a:cubicBezTo>
                  <a:cubicBezTo>
                    <a:pt x="5770" y="3299"/>
                    <a:pt x="5770" y="3299"/>
                    <a:pt x="5783" y="3299"/>
                  </a:cubicBezTo>
                  <a:cubicBezTo>
                    <a:pt x="5783" y="3286"/>
                    <a:pt x="5783" y="3273"/>
                    <a:pt x="5796" y="3260"/>
                  </a:cubicBezTo>
                  <a:cubicBezTo>
                    <a:pt x="5809" y="3260"/>
                    <a:pt x="5809" y="3260"/>
                    <a:pt x="5809" y="3260"/>
                  </a:cubicBezTo>
                  <a:cubicBezTo>
                    <a:pt x="5809" y="3273"/>
                    <a:pt x="5809" y="3273"/>
                    <a:pt x="5809" y="3273"/>
                  </a:cubicBezTo>
                  <a:cubicBezTo>
                    <a:pt x="5809" y="3286"/>
                    <a:pt x="5809" y="3286"/>
                    <a:pt x="5809" y="3286"/>
                  </a:cubicBezTo>
                  <a:cubicBezTo>
                    <a:pt x="5809" y="3299"/>
                    <a:pt x="5809" y="3299"/>
                    <a:pt x="5809" y="3312"/>
                  </a:cubicBezTo>
                  <a:cubicBezTo>
                    <a:pt x="5809" y="3312"/>
                    <a:pt x="5809" y="3312"/>
                    <a:pt x="5809" y="3325"/>
                  </a:cubicBezTo>
                  <a:cubicBezTo>
                    <a:pt x="5809" y="3325"/>
                    <a:pt x="5809" y="3325"/>
                    <a:pt x="5796" y="3332"/>
                  </a:cubicBezTo>
                  <a:cubicBezTo>
                    <a:pt x="5796" y="3345"/>
                    <a:pt x="5796" y="3345"/>
                    <a:pt x="5796" y="3345"/>
                  </a:cubicBezTo>
                  <a:cubicBezTo>
                    <a:pt x="5796" y="3345"/>
                    <a:pt x="5796" y="3345"/>
                    <a:pt x="5796" y="3358"/>
                  </a:cubicBezTo>
                  <a:cubicBezTo>
                    <a:pt x="5796" y="3358"/>
                    <a:pt x="5796" y="3358"/>
                    <a:pt x="5809" y="3358"/>
                  </a:cubicBezTo>
                  <a:cubicBezTo>
                    <a:pt x="5809" y="3358"/>
                    <a:pt x="5809" y="3358"/>
                    <a:pt x="5809" y="3371"/>
                  </a:cubicBezTo>
                  <a:cubicBezTo>
                    <a:pt x="5822" y="3371"/>
                    <a:pt x="5836" y="3371"/>
                    <a:pt x="5836" y="3371"/>
                  </a:cubicBezTo>
                  <a:cubicBezTo>
                    <a:pt x="5849" y="3371"/>
                    <a:pt x="5849" y="3371"/>
                    <a:pt x="5849" y="3371"/>
                  </a:cubicBezTo>
                  <a:cubicBezTo>
                    <a:pt x="5849" y="3371"/>
                    <a:pt x="5849" y="3371"/>
                    <a:pt x="5855" y="3358"/>
                  </a:cubicBezTo>
                  <a:cubicBezTo>
                    <a:pt x="5855" y="3358"/>
                    <a:pt x="5855" y="3358"/>
                    <a:pt x="5869" y="3371"/>
                  </a:cubicBezTo>
                  <a:cubicBezTo>
                    <a:pt x="5869" y="3371"/>
                    <a:pt x="5869" y="3371"/>
                    <a:pt x="5882" y="3371"/>
                  </a:cubicBezTo>
                  <a:cubicBezTo>
                    <a:pt x="5882" y="3371"/>
                    <a:pt x="5882" y="3371"/>
                    <a:pt x="5895" y="3371"/>
                  </a:cubicBezTo>
                  <a:cubicBezTo>
                    <a:pt x="5895" y="3371"/>
                    <a:pt x="5895" y="3371"/>
                    <a:pt x="5908" y="3371"/>
                  </a:cubicBezTo>
                  <a:cubicBezTo>
                    <a:pt x="5921" y="3371"/>
                    <a:pt x="5921" y="3371"/>
                    <a:pt x="5921" y="3371"/>
                  </a:cubicBezTo>
                  <a:cubicBezTo>
                    <a:pt x="5921" y="3371"/>
                    <a:pt x="5921" y="3371"/>
                    <a:pt x="5921" y="3358"/>
                  </a:cubicBezTo>
                  <a:cubicBezTo>
                    <a:pt x="5921" y="3358"/>
                    <a:pt x="5921" y="3358"/>
                    <a:pt x="5934" y="3358"/>
                  </a:cubicBezTo>
                  <a:cubicBezTo>
                    <a:pt x="5934" y="3358"/>
                    <a:pt x="5934" y="3358"/>
                    <a:pt x="5934" y="3345"/>
                  </a:cubicBezTo>
                  <a:cubicBezTo>
                    <a:pt x="5934" y="3345"/>
                    <a:pt x="5934" y="3345"/>
                    <a:pt x="5948" y="3345"/>
                  </a:cubicBezTo>
                  <a:cubicBezTo>
                    <a:pt x="5948" y="3345"/>
                    <a:pt x="5948" y="3345"/>
                    <a:pt x="5948" y="3332"/>
                  </a:cubicBezTo>
                  <a:cubicBezTo>
                    <a:pt x="5961" y="3332"/>
                    <a:pt x="5961" y="3332"/>
                    <a:pt x="5961" y="3332"/>
                  </a:cubicBezTo>
                  <a:cubicBezTo>
                    <a:pt x="5961" y="3325"/>
                    <a:pt x="5974" y="3325"/>
                    <a:pt x="5974" y="3325"/>
                  </a:cubicBezTo>
                  <a:cubicBezTo>
                    <a:pt x="5974" y="3312"/>
                    <a:pt x="5987" y="3312"/>
                    <a:pt x="5987" y="3312"/>
                  </a:cubicBezTo>
                  <a:cubicBezTo>
                    <a:pt x="5987" y="3312"/>
                    <a:pt x="6000" y="3312"/>
                    <a:pt x="6000" y="3299"/>
                  </a:cubicBezTo>
                  <a:cubicBezTo>
                    <a:pt x="6000" y="3286"/>
                    <a:pt x="6000" y="3286"/>
                    <a:pt x="6000" y="3286"/>
                  </a:cubicBezTo>
                  <a:cubicBezTo>
                    <a:pt x="6013" y="3286"/>
                    <a:pt x="6013" y="3286"/>
                    <a:pt x="6013" y="3286"/>
                  </a:cubicBezTo>
                  <a:cubicBezTo>
                    <a:pt x="6013" y="3286"/>
                    <a:pt x="6013" y="3286"/>
                    <a:pt x="6027" y="3273"/>
                  </a:cubicBezTo>
                  <a:cubicBezTo>
                    <a:pt x="6027" y="3273"/>
                    <a:pt x="6027" y="3273"/>
                    <a:pt x="6027" y="3260"/>
                  </a:cubicBezTo>
                  <a:cubicBezTo>
                    <a:pt x="6040" y="3260"/>
                    <a:pt x="6040" y="3260"/>
                    <a:pt x="6040" y="3260"/>
                  </a:cubicBezTo>
                  <a:cubicBezTo>
                    <a:pt x="6040" y="3260"/>
                    <a:pt x="6040" y="3260"/>
                    <a:pt x="6053" y="3246"/>
                  </a:cubicBezTo>
                  <a:cubicBezTo>
                    <a:pt x="6053" y="3246"/>
                    <a:pt x="6053" y="3246"/>
                    <a:pt x="6053" y="3260"/>
                  </a:cubicBezTo>
                  <a:cubicBezTo>
                    <a:pt x="6053" y="3260"/>
                    <a:pt x="6053" y="3260"/>
                    <a:pt x="6053" y="3273"/>
                  </a:cubicBezTo>
                  <a:cubicBezTo>
                    <a:pt x="6040" y="3273"/>
                    <a:pt x="6040" y="3286"/>
                    <a:pt x="6040" y="3286"/>
                  </a:cubicBezTo>
                  <a:cubicBezTo>
                    <a:pt x="6040" y="3286"/>
                    <a:pt x="6040" y="3286"/>
                    <a:pt x="6040" y="3299"/>
                  </a:cubicBezTo>
                  <a:cubicBezTo>
                    <a:pt x="6040" y="3312"/>
                    <a:pt x="6040" y="3325"/>
                    <a:pt x="6040" y="3332"/>
                  </a:cubicBezTo>
                  <a:cubicBezTo>
                    <a:pt x="6040" y="3345"/>
                    <a:pt x="6040" y="3345"/>
                    <a:pt x="6053" y="3345"/>
                  </a:cubicBezTo>
                  <a:cubicBezTo>
                    <a:pt x="6053" y="3358"/>
                    <a:pt x="6053" y="3358"/>
                    <a:pt x="6053" y="3358"/>
                  </a:cubicBezTo>
                  <a:cubicBezTo>
                    <a:pt x="6066" y="3371"/>
                    <a:pt x="6066" y="3371"/>
                    <a:pt x="6066" y="3371"/>
                  </a:cubicBezTo>
                  <a:cubicBezTo>
                    <a:pt x="6066" y="3371"/>
                    <a:pt x="6066" y="3371"/>
                    <a:pt x="6079" y="3371"/>
                  </a:cubicBezTo>
                  <a:cubicBezTo>
                    <a:pt x="6079" y="3384"/>
                    <a:pt x="6092" y="3384"/>
                    <a:pt x="6106" y="3384"/>
                  </a:cubicBezTo>
                  <a:cubicBezTo>
                    <a:pt x="6106" y="3384"/>
                    <a:pt x="6106" y="3384"/>
                    <a:pt x="6119" y="3384"/>
                  </a:cubicBezTo>
                  <a:cubicBezTo>
                    <a:pt x="6119" y="3384"/>
                    <a:pt x="6119" y="3398"/>
                    <a:pt x="6132" y="3398"/>
                  </a:cubicBezTo>
                  <a:cubicBezTo>
                    <a:pt x="6132" y="3398"/>
                    <a:pt x="6132" y="3398"/>
                    <a:pt x="6145" y="3398"/>
                  </a:cubicBezTo>
                  <a:cubicBezTo>
                    <a:pt x="6145" y="3411"/>
                    <a:pt x="6145" y="3411"/>
                    <a:pt x="6158" y="3424"/>
                  </a:cubicBezTo>
                  <a:cubicBezTo>
                    <a:pt x="6158" y="3437"/>
                    <a:pt x="6158" y="3437"/>
                    <a:pt x="6158" y="3437"/>
                  </a:cubicBezTo>
                  <a:cubicBezTo>
                    <a:pt x="6171" y="3450"/>
                    <a:pt x="6171" y="3450"/>
                    <a:pt x="6171" y="3450"/>
                  </a:cubicBezTo>
                  <a:cubicBezTo>
                    <a:pt x="6171" y="3450"/>
                    <a:pt x="6171" y="3450"/>
                    <a:pt x="6178" y="3450"/>
                  </a:cubicBezTo>
                  <a:cubicBezTo>
                    <a:pt x="6178" y="3463"/>
                    <a:pt x="6178" y="3463"/>
                    <a:pt x="6178" y="3463"/>
                  </a:cubicBezTo>
                  <a:cubicBezTo>
                    <a:pt x="6178" y="3463"/>
                    <a:pt x="6178" y="3463"/>
                    <a:pt x="6178" y="3476"/>
                  </a:cubicBezTo>
                  <a:cubicBezTo>
                    <a:pt x="6171" y="3490"/>
                    <a:pt x="6158" y="3503"/>
                    <a:pt x="6158" y="3516"/>
                  </a:cubicBezTo>
                  <a:cubicBezTo>
                    <a:pt x="6145" y="3516"/>
                    <a:pt x="6145" y="3529"/>
                    <a:pt x="6145" y="3529"/>
                  </a:cubicBezTo>
                  <a:cubicBezTo>
                    <a:pt x="6132" y="3542"/>
                    <a:pt x="6119" y="3555"/>
                    <a:pt x="6106" y="3568"/>
                  </a:cubicBezTo>
                  <a:cubicBezTo>
                    <a:pt x="6106" y="3568"/>
                    <a:pt x="6106" y="3568"/>
                    <a:pt x="6092" y="3568"/>
                  </a:cubicBezTo>
                  <a:cubicBezTo>
                    <a:pt x="6079" y="3568"/>
                    <a:pt x="6079" y="3582"/>
                    <a:pt x="6066" y="3595"/>
                  </a:cubicBezTo>
                  <a:cubicBezTo>
                    <a:pt x="6066" y="3608"/>
                    <a:pt x="6066" y="3608"/>
                    <a:pt x="6066" y="3608"/>
                  </a:cubicBezTo>
                  <a:cubicBezTo>
                    <a:pt x="6066" y="3621"/>
                    <a:pt x="6066" y="3621"/>
                    <a:pt x="6066" y="3634"/>
                  </a:cubicBezTo>
                  <a:cubicBezTo>
                    <a:pt x="6066" y="3634"/>
                    <a:pt x="6066" y="3634"/>
                    <a:pt x="6066" y="3647"/>
                  </a:cubicBezTo>
                  <a:cubicBezTo>
                    <a:pt x="6066" y="3647"/>
                    <a:pt x="6066" y="3647"/>
                    <a:pt x="6053" y="3647"/>
                  </a:cubicBezTo>
                  <a:cubicBezTo>
                    <a:pt x="6053" y="3647"/>
                    <a:pt x="6053" y="3647"/>
                    <a:pt x="6040" y="3647"/>
                  </a:cubicBezTo>
                  <a:cubicBezTo>
                    <a:pt x="6040" y="3647"/>
                    <a:pt x="6040" y="3647"/>
                    <a:pt x="6027" y="3647"/>
                  </a:cubicBezTo>
                  <a:cubicBezTo>
                    <a:pt x="6027" y="3647"/>
                    <a:pt x="6027" y="3647"/>
                    <a:pt x="6027" y="3660"/>
                  </a:cubicBezTo>
                  <a:cubicBezTo>
                    <a:pt x="6027" y="3660"/>
                    <a:pt x="6027" y="3660"/>
                    <a:pt x="6013" y="3660"/>
                  </a:cubicBezTo>
                  <a:cubicBezTo>
                    <a:pt x="6013" y="3660"/>
                    <a:pt x="6013" y="3660"/>
                    <a:pt x="6000" y="3667"/>
                  </a:cubicBezTo>
                  <a:cubicBezTo>
                    <a:pt x="6000" y="3680"/>
                    <a:pt x="6000" y="3680"/>
                    <a:pt x="6000" y="3693"/>
                  </a:cubicBezTo>
                  <a:cubicBezTo>
                    <a:pt x="5987" y="3693"/>
                    <a:pt x="5987" y="3693"/>
                    <a:pt x="5987" y="3693"/>
                  </a:cubicBezTo>
                  <a:cubicBezTo>
                    <a:pt x="5987" y="3693"/>
                    <a:pt x="5987" y="3706"/>
                    <a:pt x="5974" y="3706"/>
                  </a:cubicBezTo>
                  <a:cubicBezTo>
                    <a:pt x="5961" y="3706"/>
                    <a:pt x="5948" y="3706"/>
                    <a:pt x="5948" y="3706"/>
                  </a:cubicBezTo>
                  <a:cubicBezTo>
                    <a:pt x="5934" y="3706"/>
                    <a:pt x="5934" y="3720"/>
                    <a:pt x="5934" y="3720"/>
                  </a:cubicBezTo>
                  <a:cubicBezTo>
                    <a:pt x="5934" y="3720"/>
                    <a:pt x="5934" y="3720"/>
                    <a:pt x="5921" y="3733"/>
                  </a:cubicBezTo>
                  <a:cubicBezTo>
                    <a:pt x="5921" y="3733"/>
                    <a:pt x="5921" y="3733"/>
                    <a:pt x="5921" y="3746"/>
                  </a:cubicBezTo>
                  <a:cubicBezTo>
                    <a:pt x="5921" y="3746"/>
                    <a:pt x="5908" y="3746"/>
                    <a:pt x="5908" y="3759"/>
                  </a:cubicBezTo>
                  <a:cubicBezTo>
                    <a:pt x="5908" y="3759"/>
                    <a:pt x="5908" y="3759"/>
                    <a:pt x="5895" y="3759"/>
                  </a:cubicBezTo>
                  <a:cubicBezTo>
                    <a:pt x="5895" y="3759"/>
                    <a:pt x="5895" y="3759"/>
                    <a:pt x="5895" y="3746"/>
                  </a:cubicBezTo>
                  <a:cubicBezTo>
                    <a:pt x="5895" y="3746"/>
                    <a:pt x="5882" y="3746"/>
                    <a:pt x="5869" y="3746"/>
                  </a:cubicBezTo>
                  <a:cubicBezTo>
                    <a:pt x="5855" y="3759"/>
                    <a:pt x="5836" y="3759"/>
                    <a:pt x="5822" y="3772"/>
                  </a:cubicBezTo>
                  <a:cubicBezTo>
                    <a:pt x="5809" y="3772"/>
                    <a:pt x="5796" y="3785"/>
                    <a:pt x="5796" y="3785"/>
                  </a:cubicBezTo>
                  <a:cubicBezTo>
                    <a:pt x="5783" y="3785"/>
                    <a:pt x="5783" y="3785"/>
                    <a:pt x="5783" y="3798"/>
                  </a:cubicBezTo>
                  <a:cubicBezTo>
                    <a:pt x="5783" y="3798"/>
                    <a:pt x="5783" y="3798"/>
                    <a:pt x="5770" y="3812"/>
                  </a:cubicBezTo>
                  <a:cubicBezTo>
                    <a:pt x="5770" y="3812"/>
                    <a:pt x="5770" y="3812"/>
                    <a:pt x="5770" y="3825"/>
                  </a:cubicBezTo>
                  <a:cubicBezTo>
                    <a:pt x="5770" y="3825"/>
                    <a:pt x="5770" y="3825"/>
                    <a:pt x="5757" y="3825"/>
                  </a:cubicBezTo>
                  <a:cubicBezTo>
                    <a:pt x="5757" y="3825"/>
                    <a:pt x="5757" y="3825"/>
                    <a:pt x="5744" y="3838"/>
                  </a:cubicBezTo>
                  <a:cubicBezTo>
                    <a:pt x="5744" y="3838"/>
                    <a:pt x="5744" y="3838"/>
                    <a:pt x="5730" y="3838"/>
                  </a:cubicBezTo>
                  <a:cubicBezTo>
                    <a:pt x="5691" y="3851"/>
                    <a:pt x="5651" y="3864"/>
                    <a:pt x="5612" y="3890"/>
                  </a:cubicBezTo>
                  <a:cubicBezTo>
                    <a:pt x="5612" y="3890"/>
                    <a:pt x="5612" y="3890"/>
                    <a:pt x="5599" y="3904"/>
                  </a:cubicBezTo>
                  <a:cubicBezTo>
                    <a:pt x="5599" y="3904"/>
                    <a:pt x="5586" y="3904"/>
                    <a:pt x="5586" y="3917"/>
                  </a:cubicBezTo>
                  <a:cubicBezTo>
                    <a:pt x="5572" y="3917"/>
                    <a:pt x="5559" y="3917"/>
                    <a:pt x="5546" y="3917"/>
                  </a:cubicBezTo>
                  <a:cubicBezTo>
                    <a:pt x="5546" y="3917"/>
                    <a:pt x="5546" y="3917"/>
                    <a:pt x="5533" y="3917"/>
                  </a:cubicBezTo>
                  <a:cubicBezTo>
                    <a:pt x="5533" y="3930"/>
                    <a:pt x="5533" y="3930"/>
                    <a:pt x="5533" y="3930"/>
                  </a:cubicBezTo>
                  <a:cubicBezTo>
                    <a:pt x="5526" y="3930"/>
                    <a:pt x="5513" y="3943"/>
                    <a:pt x="5500" y="3943"/>
                  </a:cubicBezTo>
                  <a:cubicBezTo>
                    <a:pt x="5500" y="3943"/>
                    <a:pt x="5500" y="3943"/>
                    <a:pt x="5487" y="3943"/>
                  </a:cubicBezTo>
                  <a:cubicBezTo>
                    <a:pt x="5474" y="3943"/>
                    <a:pt x="5460" y="3943"/>
                    <a:pt x="5447" y="3943"/>
                  </a:cubicBezTo>
                  <a:cubicBezTo>
                    <a:pt x="5447" y="3943"/>
                    <a:pt x="5447" y="3943"/>
                    <a:pt x="5447" y="3956"/>
                  </a:cubicBezTo>
                  <a:cubicBezTo>
                    <a:pt x="5434" y="3956"/>
                    <a:pt x="5434" y="3956"/>
                    <a:pt x="5434" y="3956"/>
                  </a:cubicBezTo>
                  <a:cubicBezTo>
                    <a:pt x="5421" y="3969"/>
                    <a:pt x="5421" y="3969"/>
                    <a:pt x="5408" y="3982"/>
                  </a:cubicBezTo>
                  <a:cubicBezTo>
                    <a:pt x="5395" y="3982"/>
                    <a:pt x="5395" y="3982"/>
                    <a:pt x="5381" y="3982"/>
                  </a:cubicBezTo>
                  <a:cubicBezTo>
                    <a:pt x="5381" y="3982"/>
                    <a:pt x="5381" y="3982"/>
                    <a:pt x="5368" y="3982"/>
                  </a:cubicBezTo>
                  <a:cubicBezTo>
                    <a:pt x="5355" y="3982"/>
                    <a:pt x="5355" y="3982"/>
                    <a:pt x="5355" y="3982"/>
                  </a:cubicBezTo>
                  <a:cubicBezTo>
                    <a:pt x="5355" y="3982"/>
                    <a:pt x="5355" y="3982"/>
                    <a:pt x="5342" y="3982"/>
                  </a:cubicBezTo>
                  <a:cubicBezTo>
                    <a:pt x="5342" y="3969"/>
                    <a:pt x="5342" y="3969"/>
                    <a:pt x="5329" y="3969"/>
                  </a:cubicBezTo>
                  <a:cubicBezTo>
                    <a:pt x="5329" y="3969"/>
                    <a:pt x="5329" y="3969"/>
                    <a:pt x="5329" y="3956"/>
                  </a:cubicBezTo>
                  <a:cubicBezTo>
                    <a:pt x="5329" y="3943"/>
                    <a:pt x="5329" y="3930"/>
                    <a:pt x="5329" y="3917"/>
                  </a:cubicBezTo>
                  <a:cubicBezTo>
                    <a:pt x="5329" y="3890"/>
                    <a:pt x="5316" y="3877"/>
                    <a:pt x="5316" y="3851"/>
                  </a:cubicBezTo>
                  <a:cubicBezTo>
                    <a:pt x="5316" y="3851"/>
                    <a:pt x="5316" y="3851"/>
                    <a:pt x="5316" y="3838"/>
                  </a:cubicBezTo>
                  <a:cubicBezTo>
                    <a:pt x="5316" y="3838"/>
                    <a:pt x="5316" y="3838"/>
                    <a:pt x="5316" y="3825"/>
                  </a:cubicBezTo>
                  <a:cubicBezTo>
                    <a:pt x="5316" y="3825"/>
                    <a:pt x="5316" y="3825"/>
                    <a:pt x="5316" y="3812"/>
                  </a:cubicBezTo>
                  <a:cubicBezTo>
                    <a:pt x="5316" y="3812"/>
                    <a:pt x="5316" y="3812"/>
                    <a:pt x="5329" y="3812"/>
                  </a:cubicBezTo>
                  <a:cubicBezTo>
                    <a:pt x="5329" y="3798"/>
                    <a:pt x="5329" y="3798"/>
                    <a:pt x="5329" y="3785"/>
                  </a:cubicBezTo>
                  <a:cubicBezTo>
                    <a:pt x="5316" y="3785"/>
                    <a:pt x="5316" y="3785"/>
                    <a:pt x="5316" y="3785"/>
                  </a:cubicBezTo>
                  <a:cubicBezTo>
                    <a:pt x="5316" y="3785"/>
                    <a:pt x="5316" y="3785"/>
                    <a:pt x="5316" y="3772"/>
                  </a:cubicBezTo>
                  <a:cubicBezTo>
                    <a:pt x="5316" y="3759"/>
                    <a:pt x="5316" y="3759"/>
                    <a:pt x="5316" y="3746"/>
                  </a:cubicBezTo>
                  <a:cubicBezTo>
                    <a:pt x="5303" y="3746"/>
                    <a:pt x="5303" y="3746"/>
                    <a:pt x="5303" y="3746"/>
                  </a:cubicBezTo>
                  <a:cubicBezTo>
                    <a:pt x="5303" y="3733"/>
                    <a:pt x="5303" y="3733"/>
                    <a:pt x="5303" y="3720"/>
                  </a:cubicBezTo>
                  <a:cubicBezTo>
                    <a:pt x="5303" y="3720"/>
                    <a:pt x="5289" y="3720"/>
                    <a:pt x="5289" y="3706"/>
                  </a:cubicBezTo>
                  <a:cubicBezTo>
                    <a:pt x="5289" y="3706"/>
                    <a:pt x="5289" y="3706"/>
                    <a:pt x="5276" y="3706"/>
                  </a:cubicBezTo>
                  <a:cubicBezTo>
                    <a:pt x="5276" y="3693"/>
                    <a:pt x="5263" y="3680"/>
                    <a:pt x="5263" y="3667"/>
                  </a:cubicBezTo>
                  <a:cubicBezTo>
                    <a:pt x="5263" y="3667"/>
                    <a:pt x="5263" y="3667"/>
                    <a:pt x="5263" y="3660"/>
                  </a:cubicBezTo>
                  <a:cubicBezTo>
                    <a:pt x="5263" y="3660"/>
                    <a:pt x="5263" y="3660"/>
                    <a:pt x="5263" y="3647"/>
                  </a:cubicBezTo>
                  <a:cubicBezTo>
                    <a:pt x="5250" y="3634"/>
                    <a:pt x="5237" y="3608"/>
                    <a:pt x="5237" y="3595"/>
                  </a:cubicBezTo>
                  <a:cubicBezTo>
                    <a:pt x="5224" y="3595"/>
                    <a:pt x="5210" y="3582"/>
                    <a:pt x="5210" y="3582"/>
                  </a:cubicBezTo>
                  <a:cubicBezTo>
                    <a:pt x="5204" y="3582"/>
                    <a:pt x="5204" y="3568"/>
                    <a:pt x="5191" y="3568"/>
                  </a:cubicBezTo>
                  <a:cubicBezTo>
                    <a:pt x="5191" y="3568"/>
                    <a:pt x="5191" y="3568"/>
                    <a:pt x="5191" y="3555"/>
                  </a:cubicBezTo>
                  <a:cubicBezTo>
                    <a:pt x="5177" y="3542"/>
                    <a:pt x="5177" y="3516"/>
                    <a:pt x="5177" y="3503"/>
                  </a:cubicBezTo>
                  <a:cubicBezTo>
                    <a:pt x="5177" y="3503"/>
                    <a:pt x="5177" y="3503"/>
                    <a:pt x="5177" y="3490"/>
                  </a:cubicBezTo>
                  <a:cubicBezTo>
                    <a:pt x="5177" y="3476"/>
                    <a:pt x="5177" y="3476"/>
                    <a:pt x="5177" y="3463"/>
                  </a:cubicBezTo>
                  <a:cubicBezTo>
                    <a:pt x="5177" y="3463"/>
                    <a:pt x="5177" y="3463"/>
                    <a:pt x="5177" y="3450"/>
                  </a:cubicBezTo>
                  <a:cubicBezTo>
                    <a:pt x="5177" y="3450"/>
                    <a:pt x="5177" y="3450"/>
                    <a:pt x="5177" y="3437"/>
                  </a:cubicBezTo>
                  <a:cubicBezTo>
                    <a:pt x="5164" y="3424"/>
                    <a:pt x="5164" y="3411"/>
                    <a:pt x="5151" y="3384"/>
                  </a:cubicBezTo>
                  <a:cubicBezTo>
                    <a:pt x="5151" y="3384"/>
                    <a:pt x="5151" y="3384"/>
                    <a:pt x="5138" y="3371"/>
                  </a:cubicBezTo>
                  <a:cubicBezTo>
                    <a:pt x="5138" y="3371"/>
                    <a:pt x="5125" y="3371"/>
                    <a:pt x="5125" y="3358"/>
                  </a:cubicBezTo>
                  <a:cubicBezTo>
                    <a:pt x="5125" y="3358"/>
                    <a:pt x="5125" y="3358"/>
                    <a:pt x="5112" y="3358"/>
                  </a:cubicBezTo>
                  <a:cubicBezTo>
                    <a:pt x="5112" y="3358"/>
                    <a:pt x="5112" y="3358"/>
                    <a:pt x="5112" y="3345"/>
                  </a:cubicBezTo>
                  <a:cubicBezTo>
                    <a:pt x="5112" y="3345"/>
                    <a:pt x="5098" y="3345"/>
                    <a:pt x="5098" y="3332"/>
                  </a:cubicBezTo>
                  <a:cubicBezTo>
                    <a:pt x="5098" y="3332"/>
                    <a:pt x="5098" y="3332"/>
                    <a:pt x="5098" y="3325"/>
                  </a:cubicBezTo>
                  <a:cubicBezTo>
                    <a:pt x="5098" y="3312"/>
                    <a:pt x="5085" y="3299"/>
                    <a:pt x="5085" y="3286"/>
                  </a:cubicBezTo>
                  <a:cubicBezTo>
                    <a:pt x="5085" y="3286"/>
                    <a:pt x="5085" y="3286"/>
                    <a:pt x="5072" y="3286"/>
                  </a:cubicBezTo>
                  <a:cubicBezTo>
                    <a:pt x="5072" y="3286"/>
                    <a:pt x="5072" y="3286"/>
                    <a:pt x="5072" y="3273"/>
                  </a:cubicBezTo>
                  <a:cubicBezTo>
                    <a:pt x="5072" y="3260"/>
                    <a:pt x="5072" y="3260"/>
                    <a:pt x="5072" y="3260"/>
                  </a:cubicBezTo>
                  <a:cubicBezTo>
                    <a:pt x="5059" y="3246"/>
                    <a:pt x="5059" y="3246"/>
                    <a:pt x="5059" y="3233"/>
                  </a:cubicBezTo>
                  <a:cubicBezTo>
                    <a:pt x="5059" y="3233"/>
                    <a:pt x="5059" y="3233"/>
                    <a:pt x="5059" y="3220"/>
                  </a:cubicBezTo>
                  <a:cubicBezTo>
                    <a:pt x="5046" y="3220"/>
                    <a:pt x="5046" y="3220"/>
                    <a:pt x="5046" y="3220"/>
                  </a:cubicBezTo>
                  <a:cubicBezTo>
                    <a:pt x="5046" y="3220"/>
                    <a:pt x="5046" y="3207"/>
                    <a:pt x="5033" y="3207"/>
                  </a:cubicBezTo>
                  <a:cubicBezTo>
                    <a:pt x="5033" y="3207"/>
                    <a:pt x="5033" y="3207"/>
                    <a:pt x="5033" y="3194"/>
                  </a:cubicBezTo>
                  <a:cubicBezTo>
                    <a:pt x="5033" y="3181"/>
                    <a:pt x="5019" y="3168"/>
                    <a:pt x="5019" y="3154"/>
                  </a:cubicBezTo>
                  <a:cubicBezTo>
                    <a:pt x="5006" y="3154"/>
                    <a:pt x="5006" y="3154"/>
                    <a:pt x="5006" y="3141"/>
                  </a:cubicBezTo>
                  <a:cubicBezTo>
                    <a:pt x="5006" y="3141"/>
                    <a:pt x="5006" y="3141"/>
                    <a:pt x="4993" y="3141"/>
                  </a:cubicBezTo>
                  <a:cubicBezTo>
                    <a:pt x="4993" y="3141"/>
                    <a:pt x="4993" y="3141"/>
                    <a:pt x="4980" y="3154"/>
                  </a:cubicBezTo>
                  <a:cubicBezTo>
                    <a:pt x="4993" y="3141"/>
                    <a:pt x="4993" y="3128"/>
                    <a:pt x="4993" y="3128"/>
                  </a:cubicBezTo>
                  <a:cubicBezTo>
                    <a:pt x="4993" y="3115"/>
                    <a:pt x="5006" y="3102"/>
                    <a:pt x="5006" y="3089"/>
                  </a:cubicBezTo>
                  <a:cubicBezTo>
                    <a:pt x="5006" y="3076"/>
                    <a:pt x="5006" y="3076"/>
                    <a:pt x="5006" y="3076"/>
                  </a:cubicBezTo>
                  <a:cubicBezTo>
                    <a:pt x="4993" y="3102"/>
                    <a:pt x="4980" y="3128"/>
                    <a:pt x="4980" y="3141"/>
                  </a:cubicBezTo>
                  <a:cubicBezTo>
                    <a:pt x="4980" y="3154"/>
                    <a:pt x="4980" y="3154"/>
                    <a:pt x="4980" y="3154"/>
                  </a:cubicBezTo>
                  <a:cubicBezTo>
                    <a:pt x="4967" y="3154"/>
                    <a:pt x="4967" y="3168"/>
                    <a:pt x="4967" y="3168"/>
                  </a:cubicBezTo>
                  <a:cubicBezTo>
                    <a:pt x="4967" y="3168"/>
                    <a:pt x="4967" y="3168"/>
                    <a:pt x="4954" y="3168"/>
                  </a:cubicBezTo>
                  <a:cubicBezTo>
                    <a:pt x="4940" y="3154"/>
                    <a:pt x="4927" y="3128"/>
                    <a:pt x="4914" y="3115"/>
                  </a:cubicBezTo>
                  <a:cubicBezTo>
                    <a:pt x="4914" y="3115"/>
                    <a:pt x="4914" y="3115"/>
                    <a:pt x="4914" y="3102"/>
                  </a:cubicBezTo>
                  <a:cubicBezTo>
                    <a:pt x="4914" y="3089"/>
                    <a:pt x="4901" y="3076"/>
                    <a:pt x="4901" y="3062"/>
                  </a:cubicBezTo>
                  <a:cubicBezTo>
                    <a:pt x="4901" y="3062"/>
                    <a:pt x="4901" y="3062"/>
                    <a:pt x="4901" y="3049"/>
                  </a:cubicBezTo>
                  <a:cubicBezTo>
                    <a:pt x="4894" y="3049"/>
                    <a:pt x="4894" y="3049"/>
                    <a:pt x="4894" y="3036"/>
                  </a:cubicBezTo>
                  <a:cubicBezTo>
                    <a:pt x="4894" y="3036"/>
                    <a:pt x="4894" y="3036"/>
                    <a:pt x="4894" y="3049"/>
                  </a:cubicBezTo>
                  <a:cubicBezTo>
                    <a:pt x="4881" y="3049"/>
                    <a:pt x="4881" y="3062"/>
                    <a:pt x="4881" y="3062"/>
                  </a:cubicBezTo>
                  <a:cubicBezTo>
                    <a:pt x="4894" y="3062"/>
                    <a:pt x="4894" y="3076"/>
                    <a:pt x="4894" y="3076"/>
                  </a:cubicBezTo>
                  <a:cubicBezTo>
                    <a:pt x="4894" y="3076"/>
                    <a:pt x="4894" y="3076"/>
                    <a:pt x="4894" y="3089"/>
                  </a:cubicBezTo>
                  <a:cubicBezTo>
                    <a:pt x="4894" y="3089"/>
                    <a:pt x="4894" y="3089"/>
                    <a:pt x="4894" y="3102"/>
                  </a:cubicBezTo>
                  <a:cubicBezTo>
                    <a:pt x="4901" y="3102"/>
                    <a:pt x="4901" y="3115"/>
                    <a:pt x="4901" y="3128"/>
                  </a:cubicBezTo>
                  <a:cubicBezTo>
                    <a:pt x="4914" y="3141"/>
                    <a:pt x="4914" y="3141"/>
                    <a:pt x="4927" y="3154"/>
                  </a:cubicBezTo>
                  <a:cubicBezTo>
                    <a:pt x="4927" y="3168"/>
                    <a:pt x="4927" y="3168"/>
                    <a:pt x="4927" y="3181"/>
                  </a:cubicBezTo>
                  <a:cubicBezTo>
                    <a:pt x="4954" y="3233"/>
                    <a:pt x="4980" y="3299"/>
                    <a:pt x="4993" y="3345"/>
                  </a:cubicBezTo>
                  <a:cubicBezTo>
                    <a:pt x="5006" y="3358"/>
                    <a:pt x="5006" y="3371"/>
                    <a:pt x="5019" y="3371"/>
                  </a:cubicBezTo>
                  <a:cubicBezTo>
                    <a:pt x="5019" y="3371"/>
                    <a:pt x="5019" y="3371"/>
                    <a:pt x="5019" y="3384"/>
                  </a:cubicBezTo>
                  <a:cubicBezTo>
                    <a:pt x="5019" y="3384"/>
                    <a:pt x="5019" y="3384"/>
                    <a:pt x="5006" y="3384"/>
                  </a:cubicBezTo>
                  <a:cubicBezTo>
                    <a:pt x="5006" y="3384"/>
                    <a:pt x="5006" y="3384"/>
                    <a:pt x="5006" y="3398"/>
                  </a:cubicBezTo>
                  <a:cubicBezTo>
                    <a:pt x="5006" y="3398"/>
                    <a:pt x="5006" y="3398"/>
                    <a:pt x="5006" y="3411"/>
                  </a:cubicBezTo>
                  <a:cubicBezTo>
                    <a:pt x="5006" y="3424"/>
                    <a:pt x="5006" y="3424"/>
                    <a:pt x="5006" y="3424"/>
                  </a:cubicBezTo>
                  <a:cubicBezTo>
                    <a:pt x="5019" y="3437"/>
                    <a:pt x="5019" y="3437"/>
                    <a:pt x="5019" y="3450"/>
                  </a:cubicBezTo>
                  <a:cubicBezTo>
                    <a:pt x="5033" y="3450"/>
                    <a:pt x="5033" y="3450"/>
                    <a:pt x="5046" y="3450"/>
                  </a:cubicBezTo>
                  <a:cubicBezTo>
                    <a:pt x="5046" y="3463"/>
                    <a:pt x="5046" y="3463"/>
                    <a:pt x="5059" y="3463"/>
                  </a:cubicBezTo>
                  <a:cubicBezTo>
                    <a:pt x="5059" y="3476"/>
                    <a:pt x="5059" y="3476"/>
                    <a:pt x="5059" y="3476"/>
                  </a:cubicBezTo>
                  <a:cubicBezTo>
                    <a:pt x="5059" y="3476"/>
                    <a:pt x="5059" y="3476"/>
                    <a:pt x="5072" y="3490"/>
                  </a:cubicBezTo>
                  <a:cubicBezTo>
                    <a:pt x="5072" y="3503"/>
                    <a:pt x="5072" y="3503"/>
                    <a:pt x="5072" y="3516"/>
                  </a:cubicBezTo>
                  <a:cubicBezTo>
                    <a:pt x="5072" y="3516"/>
                    <a:pt x="5072" y="3516"/>
                    <a:pt x="5085" y="3529"/>
                  </a:cubicBezTo>
                  <a:cubicBezTo>
                    <a:pt x="5085" y="3529"/>
                    <a:pt x="5085" y="3529"/>
                    <a:pt x="5085" y="3542"/>
                  </a:cubicBezTo>
                  <a:cubicBezTo>
                    <a:pt x="5085" y="3582"/>
                    <a:pt x="5085" y="3621"/>
                    <a:pt x="5085" y="3660"/>
                  </a:cubicBezTo>
                  <a:cubicBezTo>
                    <a:pt x="5098" y="3667"/>
                    <a:pt x="5098" y="3667"/>
                    <a:pt x="5112" y="3667"/>
                  </a:cubicBezTo>
                  <a:cubicBezTo>
                    <a:pt x="5112" y="3667"/>
                    <a:pt x="5112" y="3667"/>
                    <a:pt x="5112" y="3680"/>
                  </a:cubicBezTo>
                  <a:cubicBezTo>
                    <a:pt x="5125" y="3680"/>
                    <a:pt x="5125" y="3680"/>
                    <a:pt x="5125" y="3680"/>
                  </a:cubicBezTo>
                  <a:cubicBezTo>
                    <a:pt x="5125" y="3693"/>
                    <a:pt x="5125" y="3693"/>
                    <a:pt x="5125" y="3693"/>
                  </a:cubicBezTo>
                  <a:cubicBezTo>
                    <a:pt x="5138" y="3693"/>
                    <a:pt x="5138" y="3693"/>
                    <a:pt x="5138" y="3693"/>
                  </a:cubicBezTo>
                  <a:cubicBezTo>
                    <a:pt x="5138" y="3706"/>
                    <a:pt x="5138" y="3720"/>
                    <a:pt x="5151" y="3720"/>
                  </a:cubicBezTo>
                  <a:cubicBezTo>
                    <a:pt x="5151" y="3746"/>
                    <a:pt x="5151" y="3785"/>
                    <a:pt x="5151" y="3812"/>
                  </a:cubicBezTo>
                  <a:cubicBezTo>
                    <a:pt x="5151" y="3812"/>
                    <a:pt x="5151" y="3812"/>
                    <a:pt x="5164" y="3812"/>
                  </a:cubicBezTo>
                  <a:cubicBezTo>
                    <a:pt x="5164" y="3825"/>
                    <a:pt x="5164" y="3825"/>
                    <a:pt x="5164" y="3825"/>
                  </a:cubicBezTo>
                  <a:cubicBezTo>
                    <a:pt x="5164" y="3825"/>
                    <a:pt x="5177" y="3825"/>
                    <a:pt x="5177" y="3838"/>
                  </a:cubicBezTo>
                  <a:cubicBezTo>
                    <a:pt x="5177" y="3838"/>
                    <a:pt x="5177" y="3838"/>
                    <a:pt x="5191" y="3838"/>
                  </a:cubicBezTo>
                  <a:cubicBezTo>
                    <a:pt x="5191" y="3838"/>
                    <a:pt x="5191" y="3838"/>
                    <a:pt x="5191" y="3851"/>
                  </a:cubicBezTo>
                  <a:cubicBezTo>
                    <a:pt x="5191" y="3864"/>
                    <a:pt x="5191" y="3864"/>
                    <a:pt x="5204" y="3864"/>
                  </a:cubicBezTo>
                  <a:cubicBezTo>
                    <a:pt x="5204" y="3864"/>
                    <a:pt x="5204" y="3864"/>
                    <a:pt x="5210" y="3864"/>
                  </a:cubicBezTo>
                  <a:cubicBezTo>
                    <a:pt x="5210" y="3864"/>
                    <a:pt x="5210" y="3864"/>
                    <a:pt x="5210" y="3877"/>
                  </a:cubicBezTo>
                  <a:cubicBezTo>
                    <a:pt x="5210" y="3877"/>
                    <a:pt x="5210" y="3877"/>
                    <a:pt x="5224" y="3877"/>
                  </a:cubicBezTo>
                  <a:cubicBezTo>
                    <a:pt x="5224" y="3877"/>
                    <a:pt x="5224" y="3877"/>
                    <a:pt x="5237" y="3877"/>
                  </a:cubicBezTo>
                  <a:cubicBezTo>
                    <a:pt x="5250" y="3890"/>
                    <a:pt x="5250" y="3904"/>
                    <a:pt x="5263" y="3917"/>
                  </a:cubicBezTo>
                  <a:cubicBezTo>
                    <a:pt x="5276" y="3917"/>
                    <a:pt x="5276" y="3917"/>
                    <a:pt x="5276" y="3917"/>
                  </a:cubicBezTo>
                  <a:cubicBezTo>
                    <a:pt x="5276" y="3930"/>
                    <a:pt x="5276" y="3930"/>
                    <a:pt x="5276" y="3930"/>
                  </a:cubicBezTo>
                  <a:cubicBezTo>
                    <a:pt x="5276" y="3943"/>
                    <a:pt x="5276" y="3943"/>
                    <a:pt x="5289" y="3943"/>
                  </a:cubicBezTo>
                  <a:cubicBezTo>
                    <a:pt x="5289" y="3943"/>
                    <a:pt x="5289" y="3943"/>
                    <a:pt x="5289" y="3956"/>
                  </a:cubicBezTo>
                  <a:cubicBezTo>
                    <a:pt x="5289" y="3956"/>
                    <a:pt x="5289" y="3956"/>
                    <a:pt x="5303" y="3956"/>
                  </a:cubicBezTo>
                  <a:cubicBezTo>
                    <a:pt x="5303" y="3956"/>
                    <a:pt x="5303" y="3956"/>
                    <a:pt x="5303" y="3969"/>
                  </a:cubicBezTo>
                  <a:cubicBezTo>
                    <a:pt x="5316" y="3969"/>
                    <a:pt x="5316" y="3969"/>
                    <a:pt x="5316" y="3969"/>
                  </a:cubicBezTo>
                  <a:cubicBezTo>
                    <a:pt x="5316" y="3982"/>
                    <a:pt x="5316" y="3982"/>
                    <a:pt x="5316" y="3982"/>
                  </a:cubicBezTo>
                  <a:cubicBezTo>
                    <a:pt x="5316" y="3982"/>
                    <a:pt x="5316" y="3982"/>
                    <a:pt x="5329" y="3996"/>
                  </a:cubicBezTo>
                  <a:cubicBezTo>
                    <a:pt x="5329" y="3996"/>
                    <a:pt x="5329" y="3996"/>
                    <a:pt x="5329" y="4002"/>
                  </a:cubicBezTo>
                  <a:cubicBezTo>
                    <a:pt x="5329" y="4002"/>
                    <a:pt x="5329" y="4002"/>
                    <a:pt x="5329" y="4015"/>
                  </a:cubicBezTo>
                  <a:cubicBezTo>
                    <a:pt x="5329" y="4015"/>
                    <a:pt x="5329" y="4015"/>
                    <a:pt x="5316" y="4015"/>
                  </a:cubicBezTo>
                  <a:cubicBezTo>
                    <a:pt x="5316" y="4015"/>
                    <a:pt x="5316" y="4015"/>
                    <a:pt x="5303" y="4015"/>
                  </a:cubicBezTo>
                  <a:cubicBezTo>
                    <a:pt x="5303" y="4015"/>
                    <a:pt x="5303" y="4015"/>
                    <a:pt x="5303" y="4028"/>
                  </a:cubicBezTo>
                  <a:cubicBezTo>
                    <a:pt x="5303" y="4028"/>
                    <a:pt x="5303" y="4028"/>
                    <a:pt x="5289" y="4028"/>
                  </a:cubicBezTo>
                  <a:cubicBezTo>
                    <a:pt x="5289" y="4042"/>
                    <a:pt x="5289" y="4042"/>
                    <a:pt x="5289" y="4042"/>
                  </a:cubicBezTo>
                  <a:cubicBezTo>
                    <a:pt x="5289" y="4028"/>
                    <a:pt x="5303" y="4028"/>
                    <a:pt x="5303" y="4028"/>
                  </a:cubicBezTo>
                  <a:cubicBezTo>
                    <a:pt x="5316" y="4028"/>
                    <a:pt x="5316" y="4028"/>
                    <a:pt x="5316" y="4028"/>
                  </a:cubicBezTo>
                  <a:cubicBezTo>
                    <a:pt x="5316" y="4042"/>
                    <a:pt x="5316" y="4042"/>
                    <a:pt x="5316" y="4042"/>
                  </a:cubicBezTo>
                  <a:cubicBezTo>
                    <a:pt x="5316" y="4042"/>
                    <a:pt x="5316" y="4042"/>
                    <a:pt x="5329" y="4042"/>
                  </a:cubicBezTo>
                  <a:cubicBezTo>
                    <a:pt x="5329" y="4055"/>
                    <a:pt x="5342" y="4068"/>
                    <a:pt x="5355" y="4081"/>
                  </a:cubicBezTo>
                  <a:cubicBezTo>
                    <a:pt x="5355" y="4094"/>
                    <a:pt x="5368" y="4094"/>
                    <a:pt x="5368" y="4094"/>
                  </a:cubicBezTo>
                  <a:cubicBezTo>
                    <a:pt x="5381" y="4094"/>
                    <a:pt x="5381" y="4094"/>
                    <a:pt x="5395" y="4094"/>
                  </a:cubicBezTo>
                  <a:cubicBezTo>
                    <a:pt x="5408" y="4081"/>
                    <a:pt x="5421" y="4081"/>
                    <a:pt x="5434" y="4068"/>
                  </a:cubicBezTo>
                  <a:cubicBezTo>
                    <a:pt x="5434" y="4068"/>
                    <a:pt x="5434" y="4068"/>
                    <a:pt x="5447" y="4068"/>
                  </a:cubicBezTo>
                  <a:cubicBezTo>
                    <a:pt x="5447" y="4068"/>
                    <a:pt x="5447" y="4068"/>
                    <a:pt x="5460" y="4068"/>
                  </a:cubicBezTo>
                  <a:cubicBezTo>
                    <a:pt x="5460" y="4068"/>
                    <a:pt x="5460" y="4068"/>
                    <a:pt x="5460" y="4081"/>
                  </a:cubicBezTo>
                  <a:cubicBezTo>
                    <a:pt x="5474" y="4081"/>
                    <a:pt x="5474" y="4081"/>
                    <a:pt x="5474" y="4081"/>
                  </a:cubicBezTo>
                  <a:cubicBezTo>
                    <a:pt x="5487" y="4068"/>
                    <a:pt x="5487" y="4068"/>
                    <a:pt x="5487" y="4068"/>
                  </a:cubicBezTo>
                  <a:cubicBezTo>
                    <a:pt x="5487" y="4068"/>
                    <a:pt x="5487" y="4068"/>
                    <a:pt x="5500" y="4068"/>
                  </a:cubicBezTo>
                  <a:cubicBezTo>
                    <a:pt x="5500" y="4068"/>
                    <a:pt x="5500" y="4068"/>
                    <a:pt x="5500" y="4055"/>
                  </a:cubicBezTo>
                  <a:cubicBezTo>
                    <a:pt x="5513" y="4055"/>
                    <a:pt x="5513" y="4055"/>
                    <a:pt x="5513" y="4055"/>
                  </a:cubicBezTo>
                  <a:cubicBezTo>
                    <a:pt x="5526" y="4055"/>
                    <a:pt x="5526" y="4055"/>
                    <a:pt x="5526" y="4055"/>
                  </a:cubicBezTo>
                  <a:cubicBezTo>
                    <a:pt x="5533" y="4055"/>
                    <a:pt x="5546" y="4055"/>
                    <a:pt x="5546" y="4055"/>
                  </a:cubicBezTo>
                  <a:cubicBezTo>
                    <a:pt x="5559" y="4055"/>
                    <a:pt x="5559" y="4042"/>
                    <a:pt x="5559" y="4042"/>
                  </a:cubicBezTo>
                  <a:cubicBezTo>
                    <a:pt x="5572" y="4042"/>
                    <a:pt x="5572" y="4042"/>
                    <a:pt x="5586" y="4042"/>
                  </a:cubicBezTo>
                  <a:cubicBezTo>
                    <a:pt x="5586" y="4042"/>
                    <a:pt x="5586" y="4042"/>
                    <a:pt x="5599" y="4042"/>
                  </a:cubicBezTo>
                  <a:cubicBezTo>
                    <a:pt x="5612" y="4042"/>
                    <a:pt x="5612" y="4042"/>
                    <a:pt x="5612" y="4042"/>
                  </a:cubicBezTo>
                  <a:cubicBezTo>
                    <a:pt x="5625" y="4042"/>
                    <a:pt x="5625" y="4028"/>
                    <a:pt x="5638" y="4028"/>
                  </a:cubicBezTo>
                  <a:cubicBezTo>
                    <a:pt x="5638" y="4028"/>
                    <a:pt x="5638" y="4028"/>
                    <a:pt x="5651" y="4028"/>
                  </a:cubicBezTo>
                  <a:cubicBezTo>
                    <a:pt x="5651" y="4015"/>
                    <a:pt x="5665" y="4015"/>
                    <a:pt x="5665" y="4015"/>
                  </a:cubicBezTo>
                  <a:cubicBezTo>
                    <a:pt x="5665" y="4015"/>
                    <a:pt x="5665" y="4015"/>
                    <a:pt x="5678" y="4015"/>
                  </a:cubicBezTo>
                  <a:cubicBezTo>
                    <a:pt x="5678" y="4015"/>
                    <a:pt x="5678" y="4015"/>
                    <a:pt x="5691" y="4015"/>
                  </a:cubicBezTo>
                  <a:cubicBezTo>
                    <a:pt x="5691" y="4028"/>
                    <a:pt x="5691" y="4028"/>
                    <a:pt x="5691" y="4028"/>
                  </a:cubicBezTo>
                  <a:cubicBezTo>
                    <a:pt x="5691" y="4028"/>
                    <a:pt x="5691" y="4028"/>
                    <a:pt x="5691" y="4042"/>
                  </a:cubicBezTo>
                  <a:cubicBezTo>
                    <a:pt x="5678" y="4042"/>
                    <a:pt x="5678" y="4042"/>
                    <a:pt x="5678" y="4042"/>
                  </a:cubicBezTo>
                  <a:cubicBezTo>
                    <a:pt x="5678" y="4042"/>
                    <a:pt x="5678" y="4042"/>
                    <a:pt x="5678" y="4055"/>
                  </a:cubicBezTo>
                  <a:cubicBezTo>
                    <a:pt x="5678" y="4055"/>
                    <a:pt x="5678" y="4055"/>
                    <a:pt x="5691" y="4055"/>
                  </a:cubicBezTo>
                  <a:cubicBezTo>
                    <a:pt x="5691" y="4055"/>
                    <a:pt x="5678" y="4055"/>
                    <a:pt x="5678" y="4068"/>
                  </a:cubicBezTo>
                  <a:cubicBezTo>
                    <a:pt x="5678" y="4068"/>
                    <a:pt x="5678" y="4068"/>
                    <a:pt x="5678" y="4081"/>
                  </a:cubicBezTo>
                  <a:cubicBezTo>
                    <a:pt x="5678" y="4094"/>
                    <a:pt x="5678" y="4094"/>
                    <a:pt x="5678" y="4094"/>
                  </a:cubicBezTo>
                  <a:cubicBezTo>
                    <a:pt x="5678" y="4094"/>
                    <a:pt x="5678" y="4094"/>
                    <a:pt x="5665" y="4094"/>
                  </a:cubicBezTo>
                  <a:cubicBezTo>
                    <a:pt x="5665" y="4120"/>
                    <a:pt x="5665" y="4134"/>
                    <a:pt x="5651" y="4147"/>
                  </a:cubicBezTo>
                  <a:cubicBezTo>
                    <a:pt x="5651" y="4147"/>
                    <a:pt x="5651" y="4147"/>
                    <a:pt x="5651" y="4160"/>
                  </a:cubicBezTo>
                  <a:cubicBezTo>
                    <a:pt x="5651" y="4160"/>
                    <a:pt x="5638" y="4160"/>
                    <a:pt x="5638" y="4173"/>
                  </a:cubicBezTo>
                  <a:cubicBezTo>
                    <a:pt x="5625" y="4173"/>
                    <a:pt x="5625" y="4186"/>
                    <a:pt x="5612" y="4199"/>
                  </a:cubicBezTo>
                  <a:cubicBezTo>
                    <a:pt x="5612" y="4212"/>
                    <a:pt x="5612" y="4212"/>
                    <a:pt x="5599" y="4212"/>
                  </a:cubicBezTo>
                  <a:cubicBezTo>
                    <a:pt x="5599" y="4212"/>
                    <a:pt x="5599" y="4212"/>
                    <a:pt x="5599" y="4226"/>
                  </a:cubicBezTo>
                  <a:cubicBezTo>
                    <a:pt x="5599" y="4226"/>
                    <a:pt x="5599" y="4226"/>
                    <a:pt x="5599" y="4239"/>
                  </a:cubicBezTo>
                  <a:cubicBezTo>
                    <a:pt x="5572" y="4265"/>
                    <a:pt x="5559" y="4304"/>
                    <a:pt x="5533" y="4331"/>
                  </a:cubicBezTo>
                  <a:cubicBezTo>
                    <a:pt x="5533" y="4331"/>
                    <a:pt x="5533" y="4331"/>
                    <a:pt x="5533" y="4337"/>
                  </a:cubicBezTo>
                  <a:cubicBezTo>
                    <a:pt x="5533" y="4337"/>
                    <a:pt x="5533" y="4337"/>
                    <a:pt x="5526" y="4337"/>
                  </a:cubicBezTo>
                  <a:cubicBezTo>
                    <a:pt x="5526" y="4350"/>
                    <a:pt x="5513" y="4350"/>
                    <a:pt x="5513" y="4364"/>
                  </a:cubicBezTo>
                  <a:cubicBezTo>
                    <a:pt x="5513" y="4364"/>
                    <a:pt x="5513" y="4364"/>
                    <a:pt x="5500" y="4364"/>
                  </a:cubicBezTo>
                  <a:cubicBezTo>
                    <a:pt x="5500" y="4377"/>
                    <a:pt x="5500" y="4377"/>
                    <a:pt x="5500" y="4377"/>
                  </a:cubicBezTo>
                  <a:cubicBezTo>
                    <a:pt x="5500" y="4390"/>
                    <a:pt x="5487" y="4403"/>
                    <a:pt x="5474" y="4416"/>
                  </a:cubicBezTo>
                  <a:cubicBezTo>
                    <a:pt x="5460" y="4429"/>
                    <a:pt x="5434" y="4442"/>
                    <a:pt x="5408" y="4469"/>
                  </a:cubicBezTo>
                  <a:cubicBezTo>
                    <a:pt x="5408" y="4482"/>
                    <a:pt x="5395" y="4482"/>
                    <a:pt x="5395" y="4495"/>
                  </a:cubicBezTo>
                  <a:cubicBezTo>
                    <a:pt x="5381" y="4495"/>
                    <a:pt x="5368" y="4508"/>
                    <a:pt x="5368" y="4508"/>
                  </a:cubicBezTo>
                  <a:cubicBezTo>
                    <a:pt x="5355" y="4521"/>
                    <a:pt x="5355" y="4521"/>
                    <a:pt x="5342" y="4521"/>
                  </a:cubicBezTo>
                  <a:cubicBezTo>
                    <a:pt x="5303" y="4561"/>
                    <a:pt x="5263" y="4587"/>
                    <a:pt x="5224" y="4626"/>
                  </a:cubicBezTo>
                  <a:cubicBezTo>
                    <a:pt x="5224" y="4626"/>
                    <a:pt x="5224" y="4626"/>
                    <a:pt x="5210" y="4626"/>
                  </a:cubicBezTo>
                  <a:cubicBezTo>
                    <a:pt x="5210" y="4626"/>
                    <a:pt x="5210" y="4626"/>
                    <a:pt x="5210" y="4640"/>
                  </a:cubicBezTo>
                  <a:cubicBezTo>
                    <a:pt x="5191" y="4666"/>
                    <a:pt x="5177" y="4672"/>
                    <a:pt x="5164" y="4699"/>
                  </a:cubicBezTo>
                  <a:cubicBezTo>
                    <a:pt x="5151" y="4699"/>
                    <a:pt x="5151" y="4712"/>
                    <a:pt x="5151" y="4712"/>
                  </a:cubicBezTo>
                  <a:cubicBezTo>
                    <a:pt x="5151" y="4712"/>
                    <a:pt x="5151" y="4712"/>
                    <a:pt x="5138" y="4712"/>
                  </a:cubicBezTo>
                  <a:cubicBezTo>
                    <a:pt x="5138" y="4712"/>
                    <a:pt x="5138" y="4712"/>
                    <a:pt x="5125" y="4725"/>
                  </a:cubicBezTo>
                  <a:cubicBezTo>
                    <a:pt x="5125" y="4725"/>
                    <a:pt x="5125" y="4725"/>
                    <a:pt x="5125" y="4738"/>
                  </a:cubicBezTo>
                  <a:cubicBezTo>
                    <a:pt x="5125" y="4738"/>
                    <a:pt x="5125" y="4738"/>
                    <a:pt x="5112" y="4738"/>
                  </a:cubicBezTo>
                  <a:cubicBezTo>
                    <a:pt x="5098" y="4751"/>
                    <a:pt x="5098" y="4751"/>
                    <a:pt x="5098" y="4764"/>
                  </a:cubicBezTo>
                  <a:cubicBezTo>
                    <a:pt x="5098" y="4764"/>
                    <a:pt x="5098" y="4778"/>
                    <a:pt x="5085" y="4778"/>
                  </a:cubicBezTo>
                  <a:cubicBezTo>
                    <a:pt x="5072" y="4804"/>
                    <a:pt x="5059" y="4817"/>
                    <a:pt x="5046" y="4843"/>
                  </a:cubicBezTo>
                  <a:cubicBezTo>
                    <a:pt x="5033" y="4870"/>
                    <a:pt x="5019" y="4896"/>
                    <a:pt x="5006" y="4922"/>
                  </a:cubicBezTo>
                  <a:cubicBezTo>
                    <a:pt x="5006" y="4922"/>
                    <a:pt x="5006" y="4922"/>
                    <a:pt x="5006" y="4935"/>
                  </a:cubicBezTo>
                  <a:cubicBezTo>
                    <a:pt x="5019" y="4935"/>
                    <a:pt x="5019" y="4948"/>
                    <a:pt x="5019" y="4948"/>
                  </a:cubicBezTo>
                  <a:cubicBezTo>
                    <a:pt x="5019" y="4948"/>
                    <a:pt x="5019" y="4948"/>
                    <a:pt x="5033" y="4948"/>
                  </a:cubicBezTo>
                  <a:cubicBezTo>
                    <a:pt x="5033" y="4962"/>
                    <a:pt x="5033" y="4962"/>
                    <a:pt x="5033" y="4962"/>
                  </a:cubicBezTo>
                  <a:cubicBezTo>
                    <a:pt x="5033" y="4962"/>
                    <a:pt x="5033" y="4962"/>
                    <a:pt x="5033" y="4975"/>
                  </a:cubicBezTo>
                  <a:cubicBezTo>
                    <a:pt x="5033" y="4975"/>
                    <a:pt x="5033" y="4975"/>
                    <a:pt x="5033" y="4988"/>
                  </a:cubicBezTo>
                  <a:cubicBezTo>
                    <a:pt x="5033" y="4988"/>
                    <a:pt x="5033" y="5001"/>
                    <a:pt x="5019" y="5001"/>
                  </a:cubicBezTo>
                  <a:cubicBezTo>
                    <a:pt x="5019" y="5001"/>
                    <a:pt x="5019" y="5001"/>
                    <a:pt x="5033" y="5001"/>
                  </a:cubicBezTo>
                  <a:cubicBezTo>
                    <a:pt x="5033" y="5008"/>
                    <a:pt x="5033" y="5008"/>
                    <a:pt x="5019" y="5008"/>
                  </a:cubicBezTo>
                  <a:cubicBezTo>
                    <a:pt x="5033" y="5008"/>
                    <a:pt x="5033" y="5008"/>
                    <a:pt x="5033" y="5008"/>
                  </a:cubicBezTo>
                  <a:cubicBezTo>
                    <a:pt x="5019" y="5008"/>
                    <a:pt x="5019" y="5021"/>
                    <a:pt x="5019" y="5021"/>
                  </a:cubicBezTo>
                  <a:cubicBezTo>
                    <a:pt x="5019" y="5034"/>
                    <a:pt x="5019" y="5034"/>
                    <a:pt x="5019" y="5047"/>
                  </a:cubicBezTo>
                  <a:cubicBezTo>
                    <a:pt x="5019" y="5060"/>
                    <a:pt x="5019" y="5060"/>
                    <a:pt x="5019" y="5060"/>
                  </a:cubicBezTo>
                  <a:cubicBezTo>
                    <a:pt x="5019" y="5060"/>
                    <a:pt x="5019" y="5073"/>
                    <a:pt x="5033" y="5073"/>
                  </a:cubicBezTo>
                  <a:cubicBezTo>
                    <a:pt x="5033" y="5086"/>
                    <a:pt x="5033" y="5086"/>
                    <a:pt x="5033" y="5086"/>
                  </a:cubicBezTo>
                  <a:cubicBezTo>
                    <a:pt x="5033" y="5086"/>
                    <a:pt x="5033" y="5086"/>
                    <a:pt x="5033" y="5100"/>
                  </a:cubicBezTo>
                  <a:cubicBezTo>
                    <a:pt x="5033" y="5113"/>
                    <a:pt x="5033" y="5113"/>
                    <a:pt x="5033" y="5113"/>
                  </a:cubicBezTo>
                  <a:cubicBezTo>
                    <a:pt x="5033" y="5113"/>
                    <a:pt x="5033" y="5113"/>
                    <a:pt x="5046" y="5113"/>
                  </a:cubicBezTo>
                  <a:cubicBezTo>
                    <a:pt x="5046" y="5126"/>
                    <a:pt x="5046" y="5126"/>
                    <a:pt x="5046" y="5126"/>
                  </a:cubicBezTo>
                  <a:cubicBezTo>
                    <a:pt x="5046" y="5126"/>
                    <a:pt x="5059" y="5126"/>
                    <a:pt x="5059" y="5139"/>
                  </a:cubicBezTo>
                  <a:cubicBezTo>
                    <a:pt x="5059" y="5139"/>
                    <a:pt x="5059" y="5139"/>
                    <a:pt x="5059" y="5152"/>
                  </a:cubicBezTo>
                  <a:cubicBezTo>
                    <a:pt x="5059" y="5152"/>
                    <a:pt x="5059" y="5152"/>
                    <a:pt x="5059" y="5165"/>
                  </a:cubicBezTo>
                  <a:cubicBezTo>
                    <a:pt x="5046" y="5178"/>
                    <a:pt x="5046" y="5192"/>
                    <a:pt x="5033" y="5205"/>
                  </a:cubicBezTo>
                  <a:cubicBezTo>
                    <a:pt x="5033" y="5218"/>
                    <a:pt x="5033" y="5244"/>
                    <a:pt x="5033" y="5257"/>
                  </a:cubicBezTo>
                  <a:cubicBezTo>
                    <a:pt x="5033" y="5270"/>
                    <a:pt x="5033" y="5270"/>
                    <a:pt x="5033" y="5270"/>
                  </a:cubicBezTo>
                  <a:cubicBezTo>
                    <a:pt x="5033" y="5284"/>
                    <a:pt x="5033" y="5310"/>
                    <a:pt x="5019" y="5323"/>
                  </a:cubicBezTo>
                  <a:cubicBezTo>
                    <a:pt x="5019" y="5323"/>
                    <a:pt x="5019" y="5323"/>
                    <a:pt x="5019" y="5336"/>
                  </a:cubicBezTo>
                  <a:cubicBezTo>
                    <a:pt x="5019" y="5336"/>
                    <a:pt x="5019" y="5336"/>
                    <a:pt x="5033" y="5323"/>
                  </a:cubicBezTo>
                  <a:cubicBezTo>
                    <a:pt x="5033" y="5336"/>
                    <a:pt x="5033" y="5336"/>
                    <a:pt x="5033" y="5336"/>
                  </a:cubicBezTo>
                  <a:cubicBezTo>
                    <a:pt x="5033" y="5349"/>
                    <a:pt x="5033" y="5349"/>
                    <a:pt x="5033" y="5349"/>
                  </a:cubicBezTo>
                  <a:cubicBezTo>
                    <a:pt x="5033" y="5356"/>
                    <a:pt x="5019" y="5356"/>
                    <a:pt x="5019" y="5369"/>
                  </a:cubicBezTo>
                  <a:cubicBezTo>
                    <a:pt x="5019" y="5369"/>
                    <a:pt x="5019" y="5369"/>
                    <a:pt x="5006" y="5369"/>
                  </a:cubicBezTo>
                  <a:cubicBezTo>
                    <a:pt x="5019" y="5382"/>
                    <a:pt x="5019" y="5382"/>
                    <a:pt x="5019" y="5382"/>
                  </a:cubicBezTo>
                  <a:cubicBezTo>
                    <a:pt x="5019" y="5382"/>
                    <a:pt x="5019" y="5382"/>
                    <a:pt x="5019" y="5395"/>
                  </a:cubicBezTo>
                  <a:cubicBezTo>
                    <a:pt x="5006" y="5395"/>
                    <a:pt x="5006" y="5395"/>
                    <a:pt x="5006" y="5395"/>
                  </a:cubicBezTo>
                  <a:cubicBezTo>
                    <a:pt x="4993" y="5408"/>
                    <a:pt x="4993" y="5408"/>
                    <a:pt x="4980" y="5422"/>
                  </a:cubicBezTo>
                  <a:cubicBezTo>
                    <a:pt x="4980" y="5422"/>
                    <a:pt x="4980" y="5435"/>
                    <a:pt x="4967" y="5435"/>
                  </a:cubicBezTo>
                  <a:cubicBezTo>
                    <a:pt x="4980" y="5435"/>
                    <a:pt x="4980" y="5435"/>
                    <a:pt x="4980" y="5435"/>
                  </a:cubicBezTo>
                  <a:cubicBezTo>
                    <a:pt x="4980" y="5435"/>
                    <a:pt x="4967" y="5435"/>
                    <a:pt x="4967" y="5448"/>
                  </a:cubicBezTo>
                  <a:cubicBezTo>
                    <a:pt x="4967" y="5448"/>
                    <a:pt x="4954" y="5461"/>
                    <a:pt x="4940" y="5461"/>
                  </a:cubicBezTo>
                  <a:cubicBezTo>
                    <a:pt x="4940" y="5461"/>
                    <a:pt x="4940" y="5461"/>
                    <a:pt x="4940" y="5474"/>
                  </a:cubicBezTo>
                  <a:cubicBezTo>
                    <a:pt x="4940" y="5474"/>
                    <a:pt x="4940" y="5474"/>
                    <a:pt x="4927" y="5474"/>
                  </a:cubicBezTo>
                  <a:cubicBezTo>
                    <a:pt x="4927" y="5474"/>
                    <a:pt x="4927" y="5474"/>
                    <a:pt x="4914" y="5474"/>
                  </a:cubicBezTo>
                  <a:cubicBezTo>
                    <a:pt x="4894" y="5487"/>
                    <a:pt x="4868" y="5514"/>
                    <a:pt x="4855" y="5527"/>
                  </a:cubicBezTo>
                  <a:cubicBezTo>
                    <a:pt x="4842" y="5527"/>
                    <a:pt x="4842" y="5527"/>
                    <a:pt x="4842" y="5527"/>
                  </a:cubicBezTo>
                  <a:cubicBezTo>
                    <a:pt x="4842" y="5527"/>
                    <a:pt x="4842" y="5527"/>
                    <a:pt x="4842" y="5540"/>
                  </a:cubicBezTo>
                  <a:cubicBezTo>
                    <a:pt x="4829" y="5553"/>
                    <a:pt x="4815" y="5566"/>
                    <a:pt x="4815" y="5566"/>
                  </a:cubicBezTo>
                  <a:cubicBezTo>
                    <a:pt x="4802" y="5566"/>
                    <a:pt x="4802" y="5566"/>
                    <a:pt x="4802" y="5579"/>
                  </a:cubicBezTo>
                  <a:cubicBezTo>
                    <a:pt x="4802" y="5579"/>
                    <a:pt x="4802" y="5579"/>
                    <a:pt x="4789" y="5579"/>
                  </a:cubicBezTo>
                  <a:cubicBezTo>
                    <a:pt x="4776" y="5592"/>
                    <a:pt x="4763" y="5606"/>
                    <a:pt x="4750" y="5619"/>
                  </a:cubicBezTo>
                  <a:cubicBezTo>
                    <a:pt x="4750" y="5632"/>
                    <a:pt x="4750" y="5632"/>
                    <a:pt x="4736" y="5632"/>
                  </a:cubicBezTo>
                  <a:cubicBezTo>
                    <a:pt x="4736" y="5645"/>
                    <a:pt x="4736" y="5658"/>
                    <a:pt x="4736" y="5658"/>
                  </a:cubicBezTo>
                  <a:cubicBezTo>
                    <a:pt x="4736" y="5671"/>
                    <a:pt x="4750" y="5671"/>
                    <a:pt x="4750" y="5671"/>
                  </a:cubicBezTo>
                  <a:cubicBezTo>
                    <a:pt x="4750" y="5671"/>
                    <a:pt x="4750" y="5671"/>
                    <a:pt x="4750" y="5684"/>
                  </a:cubicBezTo>
                  <a:cubicBezTo>
                    <a:pt x="4750" y="5704"/>
                    <a:pt x="4750" y="5717"/>
                    <a:pt x="4750" y="5744"/>
                  </a:cubicBezTo>
                  <a:cubicBezTo>
                    <a:pt x="4750" y="5744"/>
                    <a:pt x="4750" y="5744"/>
                    <a:pt x="4763" y="5744"/>
                  </a:cubicBezTo>
                  <a:cubicBezTo>
                    <a:pt x="4750" y="5770"/>
                    <a:pt x="4750" y="5809"/>
                    <a:pt x="4736" y="5836"/>
                  </a:cubicBezTo>
                  <a:cubicBezTo>
                    <a:pt x="4736" y="5836"/>
                    <a:pt x="4736" y="5836"/>
                    <a:pt x="4750" y="5836"/>
                  </a:cubicBezTo>
                  <a:cubicBezTo>
                    <a:pt x="4750" y="5836"/>
                    <a:pt x="4750" y="5849"/>
                    <a:pt x="4736" y="5849"/>
                  </a:cubicBezTo>
                  <a:cubicBezTo>
                    <a:pt x="4736" y="5862"/>
                    <a:pt x="4723" y="5862"/>
                    <a:pt x="4723" y="5875"/>
                  </a:cubicBezTo>
                  <a:cubicBezTo>
                    <a:pt x="4723" y="5875"/>
                    <a:pt x="4723" y="5875"/>
                    <a:pt x="4710" y="5888"/>
                  </a:cubicBezTo>
                  <a:cubicBezTo>
                    <a:pt x="4710" y="5888"/>
                    <a:pt x="4710" y="5888"/>
                    <a:pt x="4697" y="5888"/>
                  </a:cubicBezTo>
                  <a:cubicBezTo>
                    <a:pt x="4697" y="5888"/>
                    <a:pt x="4697" y="5888"/>
                    <a:pt x="4684" y="5888"/>
                  </a:cubicBezTo>
                  <a:cubicBezTo>
                    <a:pt x="4671" y="5901"/>
                    <a:pt x="4644" y="5914"/>
                    <a:pt x="4631" y="5928"/>
                  </a:cubicBezTo>
                  <a:cubicBezTo>
                    <a:pt x="4618" y="5941"/>
                    <a:pt x="4618" y="5941"/>
                    <a:pt x="4618" y="5954"/>
                  </a:cubicBezTo>
                  <a:cubicBezTo>
                    <a:pt x="4605" y="5954"/>
                    <a:pt x="4605" y="5954"/>
                    <a:pt x="4605" y="5954"/>
                  </a:cubicBezTo>
                  <a:cubicBezTo>
                    <a:pt x="4618" y="5954"/>
                    <a:pt x="4618" y="5967"/>
                    <a:pt x="4618" y="5967"/>
                  </a:cubicBezTo>
                  <a:cubicBezTo>
                    <a:pt x="4624" y="5967"/>
                    <a:pt x="4628" y="5965"/>
                    <a:pt x="4629" y="5963"/>
                  </a:cubicBezTo>
                  <a:cubicBezTo>
                    <a:pt x="4626" y="5973"/>
                    <a:pt x="4618" y="5983"/>
                    <a:pt x="4618" y="5993"/>
                  </a:cubicBezTo>
                  <a:cubicBezTo>
                    <a:pt x="4605" y="6020"/>
                    <a:pt x="4605" y="6052"/>
                    <a:pt x="4592" y="6079"/>
                  </a:cubicBezTo>
                  <a:cubicBezTo>
                    <a:pt x="4592" y="6092"/>
                    <a:pt x="4592" y="6092"/>
                    <a:pt x="4578" y="6092"/>
                  </a:cubicBezTo>
                  <a:cubicBezTo>
                    <a:pt x="4578" y="6105"/>
                    <a:pt x="4572" y="6105"/>
                    <a:pt x="4572" y="6105"/>
                  </a:cubicBezTo>
                  <a:cubicBezTo>
                    <a:pt x="4572" y="6118"/>
                    <a:pt x="4572" y="6118"/>
                    <a:pt x="4572" y="6118"/>
                  </a:cubicBezTo>
                  <a:cubicBezTo>
                    <a:pt x="4493" y="6210"/>
                    <a:pt x="4414" y="6302"/>
                    <a:pt x="4335" y="6388"/>
                  </a:cubicBezTo>
                  <a:cubicBezTo>
                    <a:pt x="4322" y="6388"/>
                    <a:pt x="4309" y="6388"/>
                    <a:pt x="4309" y="6388"/>
                  </a:cubicBezTo>
                  <a:cubicBezTo>
                    <a:pt x="4295" y="6388"/>
                    <a:pt x="4295" y="6401"/>
                    <a:pt x="4295" y="6401"/>
                  </a:cubicBezTo>
                  <a:cubicBezTo>
                    <a:pt x="4295" y="6414"/>
                    <a:pt x="4295" y="6414"/>
                    <a:pt x="4295" y="6414"/>
                  </a:cubicBezTo>
                  <a:cubicBezTo>
                    <a:pt x="4295" y="6414"/>
                    <a:pt x="4282" y="6414"/>
                    <a:pt x="4282" y="6401"/>
                  </a:cubicBezTo>
                  <a:cubicBezTo>
                    <a:pt x="4269" y="6401"/>
                    <a:pt x="4269" y="6401"/>
                    <a:pt x="4269" y="6414"/>
                  </a:cubicBezTo>
                  <a:cubicBezTo>
                    <a:pt x="4249" y="6414"/>
                    <a:pt x="4236" y="6414"/>
                    <a:pt x="4223" y="6414"/>
                  </a:cubicBezTo>
                  <a:cubicBezTo>
                    <a:pt x="4223" y="6414"/>
                    <a:pt x="4223" y="6414"/>
                    <a:pt x="4210" y="6414"/>
                  </a:cubicBezTo>
                  <a:cubicBezTo>
                    <a:pt x="4197" y="6414"/>
                    <a:pt x="4197" y="6414"/>
                    <a:pt x="4184" y="6414"/>
                  </a:cubicBezTo>
                  <a:cubicBezTo>
                    <a:pt x="4184" y="6414"/>
                    <a:pt x="4184" y="6414"/>
                    <a:pt x="4170" y="6414"/>
                  </a:cubicBezTo>
                  <a:cubicBezTo>
                    <a:pt x="4157" y="6414"/>
                    <a:pt x="4157" y="6427"/>
                    <a:pt x="4157" y="6427"/>
                  </a:cubicBezTo>
                  <a:cubicBezTo>
                    <a:pt x="4157" y="6427"/>
                    <a:pt x="4157" y="6427"/>
                    <a:pt x="4144" y="6427"/>
                  </a:cubicBezTo>
                  <a:cubicBezTo>
                    <a:pt x="4144" y="6427"/>
                    <a:pt x="4144" y="6427"/>
                    <a:pt x="4131" y="6427"/>
                  </a:cubicBezTo>
                  <a:cubicBezTo>
                    <a:pt x="4131" y="6427"/>
                    <a:pt x="4131" y="6427"/>
                    <a:pt x="4131" y="6440"/>
                  </a:cubicBezTo>
                  <a:cubicBezTo>
                    <a:pt x="4131" y="6427"/>
                    <a:pt x="4118" y="6427"/>
                    <a:pt x="4118" y="6427"/>
                  </a:cubicBezTo>
                  <a:cubicBezTo>
                    <a:pt x="4118" y="6440"/>
                    <a:pt x="4105" y="6440"/>
                    <a:pt x="4105" y="6440"/>
                  </a:cubicBezTo>
                  <a:cubicBezTo>
                    <a:pt x="4105" y="6440"/>
                    <a:pt x="4105" y="6440"/>
                    <a:pt x="4091" y="6440"/>
                  </a:cubicBezTo>
                  <a:cubicBezTo>
                    <a:pt x="4091" y="6440"/>
                    <a:pt x="4091" y="6440"/>
                    <a:pt x="4091" y="6453"/>
                  </a:cubicBezTo>
                  <a:cubicBezTo>
                    <a:pt x="4091" y="6453"/>
                    <a:pt x="4091" y="6453"/>
                    <a:pt x="4078" y="6453"/>
                  </a:cubicBezTo>
                  <a:cubicBezTo>
                    <a:pt x="4078" y="6453"/>
                    <a:pt x="4078" y="6453"/>
                    <a:pt x="4065" y="6453"/>
                  </a:cubicBezTo>
                  <a:cubicBezTo>
                    <a:pt x="4065" y="6453"/>
                    <a:pt x="4065" y="6453"/>
                    <a:pt x="4052" y="6440"/>
                  </a:cubicBezTo>
                  <a:cubicBezTo>
                    <a:pt x="4052" y="6440"/>
                    <a:pt x="4052" y="6440"/>
                    <a:pt x="4052" y="6427"/>
                  </a:cubicBezTo>
                  <a:cubicBezTo>
                    <a:pt x="4052" y="6427"/>
                    <a:pt x="4052" y="6427"/>
                    <a:pt x="4039" y="6427"/>
                  </a:cubicBezTo>
                  <a:cubicBezTo>
                    <a:pt x="4039" y="6427"/>
                    <a:pt x="4039" y="6427"/>
                    <a:pt x="4039" y="6414"/>
                  </a:cubicBezTo>
                  <a:cubicBezTo>
                    <a:pt x="4039" y="6414"/>
                    <a:pt x="4039" y="6414"/>
                    <a:pt x="4026" y="6414"/>
                  </a:cubicBezTo>
                  <a:cubicBezTo>
                    <a:pt x="4026" y="6414"/>
                    <a:pt x="4026" y="6407"/>
                    <a:pt x="4026" y="6401"/>
                  </a:cubicBezTo>
                  <a:cubicBezTo>
                    <a:pt x="4026" y="6401"/>
                    <a:pt x="4026" y="6401"/>
                    <a:pt x="4026" y="6388"/>
                  </a:cubicBezTo>
                  <a:cubicBezTo>
                    <a:pt x="4026" y="6388"/>
                    <a:pt x="4026" y="6374"/>
                    <a:pt x="4012" y="6374"/>
                  </a:cubicBezTo>
                  <a:cubicBezTo>
                    <a:pt x="4012" y="6361"/>
                    <a:pt x="4012" y="6361"/>
                    <a:pt x="4012" y="6361"/>
                  </a:cubicBezTo>
                  <a:cubicBezTo>
                    <a:pt x="4012" y="6361"/>
                    <a:pt x="4012" y="6361"/>
                    <a:pt x="4012" y="6355"/>
                  </a:cubicBezTo>
                  <a:cubicBezTo>
                    <a:pt x="4012" y="6355"/>
                    <a:pt x="4012" y="6355"/>
                    <a:pt x="4012" y="6342"/>
                  </a:cubicBezTo>
                  <a:cubicBezTo>
                    <a:pt x="4026" y="6342"/>
                    <a:pt x="4026" y="6328"/>
                    <a:pt x="4026" y="6328"/>
                  </a:cubicBezTo>
                  <a:cubicBezTo>
                    <a:pt x="4026" y="6315"/>
                    <a:pt x="4026" y="6302"/>
                    <a:pt x="4026" y="6289"/>
                  </a:cubicBezTo>
                  <a:cubicBezTo>
                    <a:pt x="4012" y="6236"/>
                    <a:pt x="3999" y="6184"/>
                    <a:pt x="3973" y="6118"/>
                  </a:cubicBezTo>
                  <a:cubicBezTo>
                    <a:pt x="3973" y="6118"/>
                    <a:pt x="3973" y="6118"/>
                    <a:pt x="3973" y="6105"/>
                  </a:cubicBezTo>
                  <a:cubicBezTo>
                    <a:pt x="3960" y="6105"/>
                    <a:pt x="3960" y="6105"/>
                    <a:pt x="3960" y="6092"/>
                  </a:cubicBezTo>
                  <a:cubicBezTo>
                    <a:pt x="3947" y="6079"/>
                    <a:pt x="3940" y="6052"/>
                    <a:pt x="3927" y="6026"/>
                  </a:cubicBezTo>
                  <a:cubicBezTo>
                    <a:pt x="3927" y="6020"/>
                    <a:pt x="3927" y="5993"/>
                    <a:pt x="3914" y="5980"/>
                  </a:cubicBezTo>
                  <a:cubicBezTo>
                    <a:pt x="3914" y="5967"/>
                    <a:pt x="3914" y="5967"/>
                    <a:pt x="3927" y="5967"/>
                  </a:cubicBezTo>
                  <a:cubicBezTo>
                    <a:pt x="3914" y="5954"/>
                    <a:pt x="3914" y="5954"/>
                    <a:pt x="3914" y="5941"/>
                  </a:cubicBezTo>
                  <a:cubicBezTo>
                    <a:pt x="3914" y="5928"/>
                    <a:pt x="3914" y="5914"/>
                    <a:pt x="3914" y="5901"/>
                  </a:cubicBezTo>
                  <a:cubicBezTo>
                    <a:pt x="3914" y="5888"/>
                    <a:pt x="3914" y="5875"/>
                    <a:pt x="3901" y="5862"/>
                  </a:cubicBezTo>
                  <a:cubicBezTo>
                    <a:pt x="3901" y="5836"/>
                    <a:pt x="3901" y="5796"/>
                    <a:pt x="3901" y="5770"/>
                  </a:cubicBezTo>
                  <a:cubicBezTo>
                    <a:pt x="3901" y="5757"/>
                    <a:pt x="3887" y="5730"/>
                    <a:pt x="3887" y="5717"/>
                  </a:cubicBezTo>
                  <a:cubicBezTo>
                    <a:pt x="3861" y="5671"/>
                    <a:pt x="3848" y="5619"/>
                    <a:pt x="3822" y="5566"/>
                  </a:cubicBezTo>
                  <a:cubicBezTo>
                    <a:pt x="3822" y="5566"/>
                    <a:pt x="3822" y="5566"/>
                    <a:pt x="3808" y="5566"/>
                  </a:cubicBezTo>
                  <a:cubicBezTo>
                    <a:pt x="3808" y="5553"/>
                    <a:pt x="3808" y="5540"/>
                    <a:pt x="3808" y="5540"/>
                  </a:cubicBezTo>
                  <a:cubicBezTo>
                    <a:pt x="3808" y="5540"/>
                    <a:pt x="3808" y="5540"/>
                    <a:pt x="3808" y="5527"/>
                  </a:cubicBezTo>
                  <a:cubicBezTo>
                    <a:pt x="3795" y="5527"/>
                    <a:pt x="3795" y="5527"/>
                    <a:pt x="3795" y="5514"/>
                  </a:cubicBezTo>
                  <a:cubicBezTo>
                    <a:pt x="3795" y="5514"/>
                    <a:pt x="3795" y="5500"/>
                    <a:pt x="3795" y="5487"/>
                  </a:cubicBezTo>
                  <a:cubicBezTo>
                    <a:pt x="3795" y="5474"/>
                    <a:pt x="3795" y="5474"/>
                    <a:pt x="3795" y="5461"/>
                  </a:cubicBezTo>
                  <a:cubicBezTo>
                    <a:pt x="3795" y="5461"/>
                    <a:pt x="3795" y="5461"/>
                    <a:pt x="3808" y="5461"/>
                  </a:cubicBezTo>
                  <a:cubicBezTo>
                    <a:pt x="3808" y="5461"/>
                    <a:pt x="3808" y="5461"/>
                    <a:pt x="3808" y="5448"/>
                  </a:cubicBezTo>
                  <a:cubicBezTo>
                    <a:pt x="3808" y="5435"/>
                    <a:pt x="3808" y="5435"/>
                    <a:pt x="3808" y="5422"/>
                  </a:cubicBezTo>
                  <a:cubicBezTo>
                    <a:pt x="3808" y="5422"/>
                    <a:pt x="3808" y="5422"/>
                    <a:pt x="3808" y="5408"/>
                  </a:cubicBezTo>
                  <a:cubicBezTo>
                    <a:pt x="3822" y="5382"/>
                    <a:pt x="3835" y="5349"/>
                    <a:pt x="3835" y="5323"/>
                  </a:cubicBezTo>
                  <a:cubicBezTo>
                    <a:pt x="3835" y="5323"/>
                    <a:pt x="3835" y="5323"/>
                    <a:pt x="3835" y="5310"/>
                  </a:cubicBezTo>
                  <a:cubicBezTo>
                    <a:pt x="3848" y="5310"/>
                    <a:pt x="3848" y="5310"/>
                    <a:pt x="3848" y="5297"/>
                  </a:cubicBezTo>
                  <a:cubicBezTo>
                    <a:pt x="3848" y="5297"/>
                    <a:pt x="3848" y="5297"/>
                    <a:pt x="3848" y="5284"/>
                  </a:cubicBezTo>
                  <a:cubicBezTo>
                    <a:pt x="3848" y="5284"/>
                    <a:pt x="3861" y="5284"/>
                    <a:pt x="3861" y="5270"/>
                  </a:cubicBezTo>
                  <a:cubicBezTo>
                    <a:pt x="3861" y="5257"/>
                    <a:pt x="3874" y="5257"/>
                    <a:pt x="3874" y="5257"/>
                  </a:cubicBezTo>
                  <a:cubicBezTo>
                    <a:pt x="3887" y="5244"/>
                    <a:pt x="3887" y="5244"/>
                    <a:pt x="3887" y="5231"/>
                  </a:cubicBezTo>
                  <a:cubicBezTo>
                    <a:pt x="3901" y="5218"/>
                    <a:pt x="3901" y="5192"/>
                    <a:pt x="3901" y="5165"/>
                  </a:cubicBezTo>
                  <a:cubicBezTo>
                    <a:pt x="3901" y="5165"/>
                    <a:pt x="3901" y="5165"/>
                    <a:pt x="3901" y="5152"/>
                  </a:cubicBezTo>
                  <a:cubicBezTo>
                    <a:pt x="3901" y="5139"/>
                    <a:pt x="3901" y="5139"/>
                    <a:pt x="3887" y="5139"/>
                  </a:cubicBezTo>
                  <a:cubicBezTo>
                    <a:pt x="3887" y="5139"/>
                    <a:pt x="3887" y="5139"/>
                    <a:pt x="3887" y="5126"/>
                  </a:cubicBezTo>
                  <a:cubicBezTo>
                    <a:pt x="3887" y="5100"/>
                    <a:pt x="3874" y="5086"/>
                    <a:pt x="3874" y="5073"/>
                  </a:cubicBezTo>
                  <a:cubicBezTo>
                    <a:pt x="3874" y="5060"/>
                    <a:pt x="3887" y="5060"/>
                    <a:pt x="3887" y="5060"/>
                  </a:cubicBezTo>
                  <a:cubicBezTo>
                    <a:pt x="3887" y="5047"/>
                    <a:pt x="3887" y="5047"/>
                    <a:pt x="3887" y="5047"/>
                  </a:cubicBezTo>
                  <a:cubicBezTo>
                    <a:pt x="3887" y="5034"/>
                    <a:pt x="3887" y="5034"/>
                    <a:pt x="3887" y="5034"/>
                  </a:cubicBezTo>
                  <a:cubicBezTo>
                    <a:pt x="3887" y="5021"/>
                    <a:pt x="3887" y="5021"/>
                    <a:pt x="3874" y="5021"/>
                  </a:cubicBezTo>
                  <a:cubicBezTo>
                    <a:pt x="3874" y="5008"/>
                    <a:pt x="3874" y="4988"/>
                    <a:pt x="3874" y="4975"/>
                  </a:cubicBezTo>
                  <a:cubicBezTo>
                    <a:pt x="3861" y="4962"/>
                    <a:pt x="3848" y="4948"/>
                    <a:pt x="3848" y="4935"/>
                  </a:cubicBezTo>
                  <a:cubicBezTo>
                    <a:pt x="3848" y="4922"/>
                    <a:pt x="3848" y="4922"/>
                    <a:pt x="3848" y="4922"/>
                  </a:cubicBezTo>
                  <a:cubicBezTo>
                    <a:pt x="3848" y="4922"/>
                    <a:pt x="3848" y="4922"/>
                    <a:pt x="3848" y="4909"/>
                  </a:cubicBezTo>
                  <a:cubicBezTo>
                    <a:pt x="3848" y="4909"/>
                    <a:pt x="3848" y="4909"/>
                    <a:pt x="3835" y="4909"/>
                  </a:cubicBezTo>
                  <a:cubicBezTo>
                    <a:pt x="3835" y="4896"/>
                    <a:pt x="3835" y="4883"/>
                    <a:pt x="3835" y="4883"/>
                  </a:cubicBezTo>
                  <a:cubicBezTo>
                    <a:pt x="3835" y="4883"/>
                    <a:pt x="3835" y="4883"/>
                    <a:pt x="3835" y="4870"/>
                  </a:cubicBezTo>
                  <a:cubicBezTo>
                    <a:pt x="3835" y="4870"/>
                    <a:pt x="3822" y="4856"/>
                    <a:pt x="3822" y="4843"/>
                  </a:cubicBezTo>
                  <a:cubicBezTo>
                    <a:pt x="3822" y="4843"/>
                    <a:pt x="3808" y="4830"/>
                    <a:pt x="3808" y="4817"/>
                  </a:cubicBezTo>
                  <a:cubicBezTo>
                    <a:pt x="3795" y="4817"/>
                    <a:pt x="3795" y="4817"/>
                    <a:pt x="3795" y="4817"/>
                  </a:cubicBezTo>
                  <a:cubicBezTo>
                    <a:pt x="3795" y="4817"/>
                    <a:pt x="3795" y="4817"/>
                    <a:pt x="3795" y="4804"/>
                  </a:cubicBezTo>
                  <a:cubicBezTo>
                    <a:pt x="3769" y="4778"/>
                    <a:pt x="3743" y="4738"/>
                    <a:pt x="3716" y="4712"/>
                  </a:cubicBezTo>
                  <a:cubicBezTo>
                    <a:pt x="3703" y="4699"/>
                    <a:pt x="3703" y="4672"/>
                    <a:pt x="3690" y="4666"/>
                  </a:cubicBezTo>
                  <a:cubicBezTo>
                    <a:pt x="3690" y="4666"/>
                    <a:pt x="3690" y="4666"/>
                    <a:pt x="3703" y="4653"/>
                  </a:cubicBezTo>
                  <a:cubicBezTo>
                    <a:pt x="3703" y="4653"/>
                    <a:pt x="3703" y="4653"/>
                    <a:pt x="3716" y="4640"/>
                  </a:cubicBezTo>
                  <a:cubicBezTo>
                    <a:pt x="3716" y="4626"/>
                    <a:pt x="3716" y="4626"/>
                    <a:pt x="3716" y="4613"/>
                  </a:cubicBezTo>
                  <a:cubicBezTo>
                    <a:pt x="3716" y="4613"/>
                    <a:pt x="3716" y="4613"/>
                    <a:pt x="3729" y="4613"/>
                  </a:cubicBezTo>
                  <a:cubicBezTo>
                    <a:pt x="3729" y="4613"/>
                    <a:pt x="3729" y="4600"/>
                    <a:pt x="3716" y="4600"/>
                  </a:cubicBezTo>
                  <a:cubicBezTo>
                    <a:pt x="3716" y="4600"/>
                    <a:pt x="3716" y="4600"/>
                    <a:pt x="3716" y="4587"/>
                  </a:cubicBezTo>
                  <a:cubicBezTo>
                    <a:pt x="3729" y="4587"/>
                    <a:pt x="3729" y="4587"/>
                    <a:pt x="3729" y="4587"/>
                  </a:cubicBezTo>
                  <a:cubicBezTo>
                    <a:pt x="3729" y="4587"/>
                    <a:pt x="3729" y="4587"/>
                    <a:pt x="3729" y="4574"/>
                  </a:cubicBezTo>
                  <a:cubicBezTo>
                    <a:pt x="3729" y="4561"/>
                    <a:pt x="3729" y="4561"/>
                    <a:pt x="3716" y="4561"/>
                  </a:cubicBezTo>
                  <a:cubicBezTo>
                    <a:pt x="3729" y="4561"/>
                    <a:pt x="3729" y="4548"/>
                    <a:pt x="3729" y="4548"/>
                  </a:cubicBezTo>
                  <a:cubicBezTo>
                    <a:pt x="3729" y="4534"/>
                    <a:pt x="3729" y="4534"/>
                    <a:pt x="3729" y="4534"/>
                  </a:cubicBezTo>
                  <a:cubicBezTo>
                    <a:pt x="3729" y="4534"/>
                    <a:pt x="3729" y="4521"/>
                    <a:pt x="3743" y="4521"/>
                  </a:cubicBezTo>
                  <a:cubicBezTo>
                    <a:pt x="3743" y="4521"/>
                    <a:pt x="3743" y="4521"/>
                    <a:pt x="3743" y="4508"/>
                  </a:cubicBezTo>
                  <a:cubicBezTo>
                    <a:pt x="3743" y="4495"/>
                    <a:pt x="3743" y="4482"/>
                    <a:pt x="3743" y="4456"/>
                  </a:cubicBezTo>
                  <a:cubicBezTo>
                    <a:pt x="3743" y="4456"/>
                    <a:pt x="3743" y="4456"/>
                    <a:pt x="3743" y="4442"/>
                  </a:cubicBezTo>
                  <a:cubicBezTo>
                    <a:pt x="3729" y="4442"/>
                    <a:pt x="3729" y="4442"/>
                    <a:pt x="3729" y="4429"/>
                  </a:cubicBezTo>
                  <a:cubicBezTo>
                    <a:pt x="3743" y="4429"/>
                    <a:pt x="3743" y="4429"/>
                    <a:pt x="3743" y="4429"/>
                  </a:cubicBezTo>
                  <a:cubicBezTo>
                    <a:pt x="3743" y="4429"/>
                    <a:pt x="3743" y="4429"/>
                    <a:pt x="3743" y="4416"/>
                  </a:cubicBezTo>
                  <a:cubicBezTo>
                    <a:pt x="3743" y="4416"/>
                    <a:pt x="3743" y="4416"/>
                    <a:pt x="3729" y="4416"/>
                  </a:cubicBezTo>
                  <a:cubicBezTo>
                    <a:pt x="3716" y="4416"/>
                    <a:pt x="3716" y="4416"/>
                    <a:pt x="3703" y="4416"/>
                  </a:cubicBezTo>
                  <a:cubicBezTo>
                    <a:pt x="3703" y="4403"/>
                    <a:pt x="3703" y="4403"/>
                    <a:pt x="3703" y="4390"/>
                  </a:cubicBezTo>
                  <a:cubicBezTo>
                    <a:pt x="3690" y="4390"/>
                    <a:pt x="3690" y="4390"/>
                    <a:pt x="3690" y="4390"/>
                  </a:cubicBezTo>
                  <a:cubicBezTo>
                    <a:pt x="3690" y="4390"/>
                    <a:pt x="3690" y="4390"/>
                    <a:pt x="3677" y="4390"/>
                  </a:cubicBezTo>
                  <a:cubicBezTo>
                    <a:pt x="3677" y="4377"/>
                    <a:pt x="3677" y="4377"/>
                    <a:pt x="3677" y="4377"/>
                  </a:cubicBezTo>
                  <a:cubicBezTo>
                    <a:pt x="3677" y="4377"/>
                    <a:pt x="3677" y="4377"/>
                    <a:pt x="3664" y="4377"/>
                  </a:cubicBezTo>
                  <a:cubicBezTo>
                    <a:pt x="3664" y="4390"/>
                    <a:pt x="3664" y="4390"/>
                    <a:pt x="3664" y="4390"/>
                  </a:cubicBezTo>
                  <a:cubicBezTo>
                    <a:pt x="3664" y="4390"/>
                    <a:pt x="3650" y="4390"/>
                    <a:pt x="3637" y="4390"/>
                  </a:cubicBezTo>
                  <a:cubicBezTo>
                    <a:pt x="3637" y="4390"/>
                    <a:pt x="3637" y="4390"/>
                    <a:pt x="3624" y="4390"/>
                  </a:cubicBezTo>
                  <a:cubicBezTo>
                    <a:pt x="3624" y="4390"/>
                    <a:pt x="3624" y="4390"/>
                    <a:pt x="3617" y="4390"/>
                  </a:cubicBezTo>
                  <a:cubicBezTo>
                    <a:pt x="3617" y="4390"/>
                    <a:pt x="3617" y="4390"/>
                    <a:pt x="3617" y="4403"/>
                  </a:cubicBezTo>
                  <a:cubicBezTo>
                    <a:pt x="3604" y="4403"/>
                    <a:pt x="3604" y="4403"/>
                    <a:pt x="3604" y="4403"/>
                  </a:cubicBezTo>
                  <a:cubicBezTo>
                    <a:pt x="3591" y="4403"/>
                    <a:pt x="3591" y="4403"/>
                    <a:pt x="3578" y="4403"/>
                  </a:cubicBezTo>
                  <a:cubicBezTo>
                    <a:pt x="3565" y="4403"/>
                    <a:pt x="3565" y="4403"/>
                    <a:pt x="3565" y="4403"/>
                  </a:cubicBezTo>
                  <a:cubicBezTo>
                    <a:pt x="3565" y="4390"/>
                    <a:pt x="3565" y="4390"/>
                    <a:pt x="3565" y="4390"/>
                  </a:cubicBezTo>
                  <a:cubicBezTo>
                    <a:pt x="3552" y="4390"/>
                    <a:pt x="3552" y="4377"/>
                    <a:pt x="3552" y="4377"/>
                  </a:cubicBezTo>
                  <a:cubicBezTo>
                    <a:pt x="3552" y="4364"/>
                    <a:pt x="3552" y="4364"/>
                    <a:pt x="3538" y="4350"/>
                  </a:cubicBezTo>
                  <a:cubicBezTo>
                    <a:pt x="3538" y="4337"/>
                    <a:pt x="3538" y="4337"/>
                    <a:pt x="3538" y="4337"/>
                  </a:cubicBezTo>
                  <a:cubicBezTo>
                    <a:pt x="3538" y="4331"/>
                    <a:pt x="3538" y="4331"/>
                    <a:pt x="3525" y="4331"/>
                  </a:cubicBezTo>
                  <a:cubicBezTo>
                    <a:pt x="3525" y="4318"/>
                    <a:pt x="3525" y="4318"/>
                    <a:pt x="3525" y="4318"/>
                  </a:cubicBezTo>
                  <a:cubicBezTo>
                    <a:pt x="3512" y="4318"/>
                    <a:pt x="3499" y="4304"/>
                    <a:pt x="3499" y="4304"/>
                  </a:cubicBezTo>
                  <a:cubicBezTo>
                    <a:pt x="3473" y="4304"/>
                    <a:pt x="3446" y="4304"/>
                    <a:pt x="3420" y="4304"/>
                  </a:cubicBezTo>
                  <a:cubicBezTo>
                    <a:pt x="3407" y="4304"/>
                    <a:pt x="3394" y="4304"/>
                    <a:pt x="3381" y="4304"/>
                  </a:cubicBezTo>
                  <a:cubicBezTo>
                    <a:pt x="3381" y="4318"/>
                    <a:pt x="3367" y="4318"/>
                    <a:pt x="3354" y="4318"/>
                  </a:cubicBezTo>
                  <a:cubicBezTo>
                    <a:pt x="3341" y="4331"/>
                    <a:pt x="3341" y="4331"/>
                    <a:pt x="3341" y="4331"/>
                  </a:cubicBezTo>
                  <a:cubicBezTo>
                    <a:pt x="3341" y="4331"/>
                    <a:pt x="3341" y="4331"/>
                    <a:pt x="3328" y="4331"/>
                  </a:cubicBezTo>
                  <a:cubicBezTo>
                    <a:pt x="3328" y="4331"/>
                    <a:pt x="3315" y="4331"/>
                    <a:pt x="3302" y="4331"/>
                  </a:cubicBezTo>
                  <a:cubicBezTo>
                    <a:pt x="3295" y="4337"/>
                    <a:pt x="3282" y="4350"/>
                    <a:pt x="3269" y="4350"/>
                  </a:cubicBezTo>
                  <a:cubicBezTo>
                    <a:pt x="3255" y="4364"/>
                    <a:pt x="3242" y="4364"/>
                    <a:pt x="3229" y="4364"/>
                  </a:cubicBezTo>
                  <a:cubicBezTo>
                    <a:pt x="3229" y="4377"/>
                    <a:pt x="3216" y="4377"/>
                    <a:pt x="3216" y="4377"/>
                  </a:cubicBezTo>
                  <a:cubicBezTo>
                    <a:pt x="3190" y="4377"/>
                    <a:pt x="3176" y="4364"/>
                    <a:pt x="3163" y="4364"/>
                  </a:cubicBezTo>
                  <a:cubicBezTo>
                    <a:pt x="3163" y="4364"/>
                    <a:pt x="3163" y="4364"/>
                    <a:pt x="3163" y="4350"/>
                  </a:cubicBezTo>
                  <a:cubicBezTo>
                    <a:pt x="3163" y="4364"/>
                    <a:pt x="3163" y="4364"/>
                    <a:pt x="3150" y="4364"/>
                  </a:cubicBezTo>
                  <a:cubicBezTo>
                    <a:pt x="3137" y="4364"/>
                    <a:pt x="3124" y="4364"/>
                    <a:pt x="3111" y="4350"/>
                  </a:cubicBezTo>
                  <a:cubicBezTo>
                    <a:pt x="3058" y="4364"/>
                    <a:pt x="3005" y="4377"/>
                    <a:pt x="2972" y="4403"/>
                  </a:cubicBezTo>
                  <a:cubicBezTo>
                    <a:pt x="2972" y="4403"/>
                    <a:pt x="2972" y="4403"/>
                    <a:pt x="2959" y="4390"/>
                  </a:cubicBezTo>
                  <a:cubicBezTo>
                    <a:pt x="2946" y="4390"/>
                    <a:pt x="2946" y="4390"/>
                    <a:pt x="2933" y="4390"/>
                  </a:cubicBezTo>
                  <a:cubicBezTo>
                    <a:pt x="2920" y="4377"/>
                    <a:pt x="2907" y="4377"/>
                    <a:pt x="2893" y="4364"/>
                  </a:cubicBezTo>
                  <a:cubicBezTo>
                    <a:pt x="2893" y="4364"/>
                    <a:pt x="2893" y="4364"/>
                    <a:pt x="2880" y="4364"/>
                  </a:cubicBezTo>
                  <a:cubicBezTo>
                    <a:pt x="2880" y="4364"/>
                    <a:pt x="2880" y="4350"/>
                    <a:pt x="2867" y="4350"/>
                  </a:cubicBezTo>
                  <a:cubicBezTo>
                    <a:pt x="2854" y="4337"/>
                    <a:pt x="2841" y="4331"/>
                    <a:pt x="2814" y="4304"/>
                  </a:cubicBezTo>
                  <a:cubicBezTo>
                    <a:pt x="2814" y="4304"/>
                    <a:pt x="2814" y="4304"/>
                    <a:pt x="2801" y="4304"/>
                  </a:cubicBezTo>
                  <a:cubicBezTo>
                    <a:pt x="2801" y="4291"/>
                    <a:pt x="2788" y="4291"/>
                    <a:pt x="2788" y="4291"/>
                  </a:cubicBezTo>
                  <a:cubicBezTo>
                    <a:pt x="2788" y="4291"/>
                    <a:pt x="2788" y="4291"/>
                    <a:pt x="2775" y="4278"/>
                  </a:cubicBezTo>
                  <a:cubicBezTo>
                    <a:pt x="2775" y="4265"/>
                    <a:pt x="2762" y="4265"/>
                    <a:pt x="2762" y="4265"/>
                  </a:cubicBezTo>
                  <a:cubicBezTo>
                    <a:pt x="2749" y="4265"/>
                    <a:pt x="2735" y="4252"/>
                    <a:pt x="2722" y="4252"/>
                  </a:cubicBezTo>
                  <a:cubicBezTo>
                    <a:pt x="2722" y="4239"/>
                    <a:pt x="2722" y="4239"/>
                    <a:pt x="2722" y="4239"/>
                  </a:cubicBezTo>
                  <a:cubicBezTo>
                    <a:pt x="2719" y="4235"/>
                    <a:pt x="2716" y="4233"/>
                    <a:pt x="2714" y="4231"/>
                  </a:cubicBezTo>
                  <a:cubicBezTo>
                    <a:pt x="2714" y="4233"/>
                    <a:pt x="2714" y="4237"/>
                    <a:pt x="2714" y="4243"/>
                  </a:cubicBezTo>
                  <a:cubicBezTo>
                    <a:pt x="2696" y="4243"/>
                    <a:pt x="2696" y="4243"/>
                    <a:pt x="2696" y="4243"/>
                  </a:cubicBezTo>
                  <a:cubicBezTo>
                    <a:pt x="2696" y="4229"/>
                    <a:pt x="2696" y="4226"/>
                    <a:pt x="2696" y="4226"/>
                  </a:cubicBezTo>
                  <a:cubicBezTo>
                    <a:pt x="2696" y="4226"/>
                    <a:pt x="2696" y="4226"/>
                    <a:pt x="2696" y="4226"/>
                  </a:cubicBezTo>
                  <a:cubicBezTo>
                    <a:pt x="2696" y="4226"/>
                    <a:pt x="2696" y="4226"/>
                    <a:pt x="2696" y="4212"/>
                  </a:cubicBezTo>
                  <a:cubicBezTo>
                    <a:pt x="2683" y="4199"/>
                    <a:pt x="2683" y="4199"/>
                    <a:pt x="2683" y="4199"/>
                  </a:cubicBezTo>
                  <a:cubicBezTo>
                    <a:pt x="2683" y="4199"/>
                    <a:pt x="2683" y="4199"/>
                    <a:pt x="2683" y="4186"/>
                  </a:cubicBezTo>
                  <a:cubicBezTo>
                    <a:pt x="2683" y="4186"/>
                    <a:pt x="2683" y="4186"/>
                    <a:pt x="2683" y="4173"/>
                  </a:cubicBezTo>
                  <a:cubicBezTo>
                    <a:pt x="2683" y="4173"/>
                    <a:pt x="2670" y="4173"/>
                    <a:pt x="2670" y="4160"/>
                  </a:cubicBezTo>
                  <a:cubicBezTo>
                    <a:pt x="2670" y="4160"/>
                    <a:pt x="2670" y="4160"/>
                    <a:pt x="2670" y="4147"/>
                  </a:cubicBezTo>
                  <a:cubicBezTo>
                    <a:pt x="2670" y="4147"/>
                    <a:pt x="2663" y="4147"/>
                    <a:pt x="2663" y="4134"/>
                  </a:cubicBezTo>
                  <a:cubicBezTo>
                    <a:pt x="2663" y="4134"/>
                    <a:pt x="2663" y="4134"/>
                    <a:pt x="2663" y="4120"/>
                  </a:cubicBezTo>
                  <a:cubicBezTo>
                    <a:pt x="2650" y="4120"/>
                    <a:pt x="2650" y="4120"/>
                    <a:pt x="2650" y="4120"/>
                  </a:cubicBezTo>
                  <a:cubicBezTo>
                    <a:pt x="2650" y="4107"/>
                    <a:pt x="2637" y="4107"/>
                    <a:pt x="2624" y="4107"/>
                  </a:cubicBezTo>
                  <a:cubicBezTo>
                    <a:pt x="2624" y="4094"/>
                    <a:pt x="2624" y="4094"/>
                    <a:pt x="2624" y="4094"/>
                  </a:cubicBezTo>
                  <a:cubicBezTo>
                    <a:pt x="2624" y="4081"/>
                    <a:pt x="2624" y="4081"/>
                    <a:pt x="2624" y="4081"/>
                  </a:cubicBezTo>
                  <a:cubicBezTo>
                    <a:pt x="2610" y="4081"/>
                    <a:pt x="2610" y="4081"/>
                    <a:pt x="2610" y="4081"/>
                  </a:cubicBezTo>
                  <a:cubicBezTo>
                    <a:pt x="2610" y="4068"/>
                    <a:pt x="2610" y="4068"/>
                    <a:pt x="2610" y="4068"/>
                  </a:cubicBezTo>
                  <a:cubicBezTo>
                    <a:pt x="2610" y="4068"/>
                    <a:pt x="2610" y="4068"/>
                    <a:pt x="2597" y="4068"/>
                  </a:cubicBezTo>
                  <a:cubicBezTo>
                    <a:pt x="2597" y="4068"/>
                    <a:pt x="2597" y="4068"/>
                    <a:pt x="2597" y="4055"/>
                  </a:cubicBezTo>
                  <a:cubicBezTo>
                    <a:pt x="2584" y="4055"/>
                    <a:pt x="2584" y="4055"/>
                    <a:pt x="2584" y="4055"/>
                  </a:cubicBezTo>
                  <a:cubicBezTo>
                    <a:pt x="2584" y="4055"/>
                    <a:pt x="2584" y="4055"/>
                    <a:pt x="2571" y="4055"/>
                  </a:cubicBezTo>
                  <a:cubicBezTo>
                    <a:pt x="2571" y="4042"/>
                    <a:pt x="2571" y="4042"/>
                    <a:pt x="2571" y="4042"/>
                  </a:cubicBezTo>
                  <a:cubicBezTo>
                    <a:pt x="2571" y="4042"/>
                    <a:pt x="2571" y="4042"/>
                    <a:pt x="2571" y="4028"/>
                  </a:cubicBezTo>
                  <a:cubicBezTo>
                    <a:pt x="2571" y="4015"/>
                    <a:pt x="2571" y="4015"/>
                    <a:pt x="2571" y="4015"/>
                  </a:cubicBezTo>
                  <a:cubicBezTo>
                    <a:pt x="2571" y="4015"/>
                    <a:pt x="2571" y="4015"/>
                    <a:pt x="2558" y="4015"/>
                  </a:cubicBezTo>
                  <a:cubicBezTo>
                    <a:pt x="2558" y="4028"/>
                    <a:pt x="2558" y="4028"/>
                    <a:pt x="2558" y="4028"/>
                  </a:cubicBezTo>
                  <a:cubicBezTo>
                    <a:pt x="2545" y="4028"/>
                    <a:pt x="2545" y="4015"/>
                    <a:pt x="2545" y="4015"/>
                  </a:cubicBezTo>
                  <a:cubicBezTo>
                    <a:pt x="2545" y="4015"/>
                    <a:pt x="2545" y="4015"/>
                    <a:pt x="2531" y="4015"/>
                  </a:cubicBezTo>
                  <a:cubicBezTo>
                    <a:pt x="2531" y="4015"/>
                    <a:pt x="2531" y="4015"/>
                    <a:pt x="2531" y="4002"/>
                  </a:cubicBezTo>
                  <a:cubicBezTo>
                    <a:pt x="2518" y="4002"/>
                    <a:pt x="2518" y="4002"/>
                    <a:pt x="2505" y="3996"/>
                  </a:cubicBezTo>
                  <a:cubicBezTo>
                    <a:pt x="2505" y="3982"/>
                    <a:pt x="2505" y="3969"/>
                    <a:pt x="2505" y="3956"/>
                  </a:cubicBezTo>
                  <a:cubicBezTo>
                    <a:pt x="2505" y="3956"/>
                    <a:pt x="2505" y="3956"/>
                    <a:pt x="2505" y="3943"/>
                  </a:cubicBezTo>
                  <a:cubicBezTo>
                    <a:pt x="2505" y="3943"/>
                    <a:pt x="2505" y="3943"/>
                    <a:pt x="2505" y="3930"/>
                  </a:cubicBezTo>
                  <a:cubicBezTo>
                    <a:pt x="2505" y="3930"/>
                    <a:pt x="2505" y="3930"/>
                    <a:pt x="2505" y="3917"/>
                  </a:cubicBezTo>
                  <a:cubicBezTo>
                    <a:pt x="2505" y="3917"/>
                    <a:pt x="2505" y="3917"/>
                    <a:pt x="2492" y="3904"/>
                  </a:cubicBezTo>
                  <a:cubicBezTo>
                    <a:pt x="2492" y="3890"/>
                    <a:pt x="2479" y="3877"/>
                    <a:pt x="2466" y="3864"/>
                  </a:cubicBezTo>
                  <a:cubicBezTo>
                    <a:pt x="2466" y="3864"/>
                    <a:pt x="2466" y="3864"/>
                    <a:pt x="2479" y="3864"/>
                  </a:cubicBezTo>
                  <a:cubicBezTo>
                    <a:pt x="2479" y="3851"/>
                    <a:pt x="2479" y="3851"/>
                    <a:pt x="2492" y="3851"/>
                  </a:cubicBezTo>
                  <a:cubicBezTo>
                    <a:pt x="2492" y="3838"/>
                    <a:pt x="2505" y="3825"/>
                    <a:pt x="2505" y="3812"/>
                  </a:cubicBezTo>
                  <a:cubicBezTo>
                    <a:pt x="2505" y="3812"/>
                    <a:pt x="2505" y="3812"/>
                    <a:pt x="2505" y="3798"/>
                  </a:cubicBezTo>
                  <a:cubicBezTo>
                    <a:pt x="2505" y="3772"/>
                    <a:pt x="2518" y="3746"/>
                    <a:pt x="2518" y="3720"/>
                  </a:cubicBezTo>
                  <a:cubicBezTo>
                    <a:pt x="2518" y="3693"/>
                    <a:pt x="2518" y="3667"/>
                    <a:pt x="2518" y="3647"/>
                  </a:cubicBezTo>
                  <a:cubicBezTo>
                    <a:pt x="2505" y="3647"/>
                    <a:pt x="2505" y="3634"/>
                    <a:pt x="2492" y="3634"/>
                  </a:cubicBezTo>
                  <a:cubicBezTo>
                    <a:pt x="2492" y="3621"/>
                    <a:pt x="2492" y="3621"/>
                    <a:pt x="2492" y="3621"/>
                  </a:cubicBezTo>
                  <a:cubicBezTo>
                    <a:pt x="2492" y="3621"/>
                    <a:pt x="2492" y="3621"/>
                    <a:pt x="2505" y="3621"/>
                  </a:cubicBezTo>
                  <a:cubicBezTo>
                    <a:pt x="2505" y="3621"/>
                    <a:pt x="2505" y="3621"/>
                    <a:pt x="2505" y="3608"/>
                  </a:cubicBezTo>
                  <a:cubicBezTo>
                    <a:pt x="2505" y="3595"/>
                    <a:pt x="2505" y="3595"/>
                    <a:pt x="2505" y="3582"/>
                  </a:cubicBezTo>
                  <a:cubicBezTo>
                    <a:pt x="2505" y="3568"/>
                    <a:pt x="2505" y="3568"/>
                    <a:pt x="2492" y="3555"/>
                  </a:cubicBezTo>
                  <a:cubicBezTo>
                    <a:pt x="2479" y="3555"/>
                    <a:pt x="2479" y="3542"/>
                    <a:pt x="2479" y="3529"/>
                  </a:cubicBezTo>
                  <a:cubicBezTo>
                    <a:pt x="2479" y="3542"/>
                    <a:pt x="2466" y="3542"/>
                    <a:pt x="2466" y="3542"/>
                  </a:cubicBezTo>
                  <a:cubicBezTo>
                    <a:pt x="2466" y="3529"/>
                    <a:pt x="2466" y="3516"/>
                    <a:pt x="2466" y="3503"/>
                  </a:cubicBezTo>
                  <a:cubicBezTo>
                    <a:pt x="2466" y="3490"/>
                    <a:pt x="2479" y="3476"/>
                    <a:pt x="2479" y="3476"/>
                  </a:cubicBezTo>
                  <a:cubicBezTo>
                    <a:pt x="2479" y="3476"/>
                    <a:pt x="2479" y="3463"/>
                    <a:pt x="2492" y="3463"/>
                  </a:cubicBezTo>
                  <a:cubicBezTo>
                    <a:pt x="2492" y="3450"/>
                    <a:pt x="2492" y="3437"/>
                    <a:pt x="2505" y="3424"/>
                  </a:cubicBezTo>
                  <a:cubicBezTo>
                    <a:pt x="2505" y="3411"/>
                    <a:pt x="2518" y="3398"/>
                    <a:pt x="2518" y="3384"/>
                  </a:cubicBezTo>
                  <a:cubicBezTo>
                    <a:pt x="2518" y="3384"/>
                    <a:pt x="2518" y="3384"/>
                    <a:pt x="2518" y="3371"/>
                  </a:cubicBezTo>
                  <a:cubicBezTo>
                    <a:pt x="2531" y="3358"/>
                    <a:pt x="2545" y="3332"/>
                    <a:pt x="2558" y="3325"/>
                  </a:cubicBezTo>
                  <a:cubicBezTo>
                    <a:pt x="2571" y="3299"/>
                    <a:pt x="2571" y="3286"/>
                    <a:pt x="2571" y="3260"/>
                  </a:cubicBezTo>
                  <a:cubicBezTo>
                    <a:pt x="2584" y="3260"/>
                    <a:pt x="2584" y="3246"/>
                    <a:pt x="2584" y="3246"/>
                  </a:cubicBezTo>
                  <a:cubicBezTo>
                    <a:pt x="2597" y="3233"/>
                    <a:pt x="2610" y="3233"/>
                    <a:pt x="2624" y="3220"/>
                  </a:cubicBezTo>
                  <a:cubicBezTo>
                    <a:pt x="2624" y="3207"/>
                    <a:pt x="2637" y="3194"/>
                    <a:pt x="2637" y="3181"/>
                  </a:cubicBezTo>
                  <a:cubicBezTo>
                    <a:pt x="2637" y="3168"/>
                    <a:pt x="2637" y="3168"/>
                    <a:pt x="2650" y="3168"/>
                  </a:cubicBezTo>
                  <a:cubicBezTo>
                    <a:pt x="2650" y="3168"/>
                    <a:pt x="2650" y="3168"/>
                    <a:pt x="2650" y="3154"/>
                  </a:cubicBezTo>
                  <a:cubicBezTo>
                    <a:pt x="2663" y="3154"/>
                    <a:pt x="2683" y="3141"/>
                    <a:pt x="2709" y="3141"/>
                  </a:cubicBezTo>
                  <a:cubicBezTo>
                    <a:pt x="2722" y="3128"/>
                    <a:pt x="2722" y="3115"/>
                    <a:pt x="2735" y="3115"/>
                  </a:cubicBezTo>
                  <a:cubicBezTo>
                    <a:pt x="2749" y="3102"/>
                    <a:pt x="2749" y="3102"/>
                    <a:pt x="2749" y="3102"/>
                  </a:cubicBezTo>
                  <a:cubicBezTo>
                    <a:pt x="2762" y="3102"/>
                    <a:pt x="2762" y="3102"/>
                    <a:pt x="2762" y="3089"/>
                  </a:cubicBezTo>
                  <a:cubicBezTo>
                    <a:pt x="2775" y="3089"/>
                    <a:pt x="2775" y="3089"/>
                    <a:pt x="2775" y="3076"/>
                  </a:cubicBezTo>
                  <a:cubicBezTo>
                    <a:pt x="2788" y="3062"/>
                    <a:pt x="2788" y="3049"/>
                    <a:pt x="2801" y="3036"/>
                  </a:cubicBezTo>
                  <a:cubicBezTo>
                    <a:pt x="2801" y="3023"/>
                    <a:pt x="2801" y="3023"/>
                    <a:pt x="2801" y="3010"/>
                  </a:cubicBezTo>
                  <a:cubicBezTo>
                    <a:pt x="2801" y="3010"/>
                    <a:pt x="2801" y="3010"/>
                    <a:pt x="2788" y="2997"/>
                  </a:cubicBezTo>
                  <a:cubicBezTo>
                    <a:pt x="2788" y="2990"/>
                    <a:pt x="2788" y="2977"/>
                    <a:pt x="2788" y="2964"/>
                  </a:cubicBezTo>
                  <a:cubicBezTo>
                    <a:pt x="2801" y="2951"/>
                    <a:pt x="2801" y="2938"/>
                    <a:pt x="2801" y="2938"/>
                  </a:cubicBezTo>
                  <a:cubicBezTo>
                    <a:pt x="2801" y="2924"/>
                    <a:pt x="2801" y="2924"/>
                    <a:pt x="2801" y="2924"/>
                  </a:cubicBezTo>
                  <a:cubicBezTo>
                    <a:pt x="2814" y="2924"/>
                    <a:pt x="2814" y="2924"/>
                    <a:pt x="2814" y="2924"/>
                  </a:cubicBezTo>
                  <a:cubicBezTo>
                    <a:pt x="2814" y="2911"/>
                    <a:pt x="2828" y="2911"/>
                    <a:pt x="2828" y="2898"/>
                  </a:cubicBezTo>
                  <a:cubicBezTo>
                    <a:pt x="2828" y="2898"/>
                    <a:pt x="2828" y="2898"/>
                    <a:pt x="2828" y="2885"/>
                  </a:cubicBezTo>
                  <a:cubicBezTo>
                    <a:pt x="2841" y="2872"/>
                    <a:pt x="2841" y="2859"/>
                    <a:pt x="2854" y="2846"/>
                  </a:cubicBezTo>
                  <a:cubicBezTo>
                    <a:pt x="2880" y="2832"/>
                    <a:pt x="2907" y="2819"/>
                    <a:pt x="2933" y="2806"/>
                  </a:cubicBezTo>
                  <a:cubicBezTo>
                    <a:pt x="2933" y="2806"/>
                    <a:pt x="2933" y="2806"/>
                    <a:pt x="2946" y="2793"/>
                  </a:cubicBezTo>
                  <a:cubicBezTo>
                    <a:pt x="2946" y="2793"/>
                    <a:pt x="2946" y="2793"/>
                    <a:pt x="2946" y="2780"/>
                  </a:cubicBezTo>
                  <a:cubicBezTo>
                    <a:pt x="2959" y="2767"/>
                    <a:pt x="2959" y="2767"/>
                    <a:pt x="2959" y="2767"/>
                  </a:cubicBezTo>
                  <a:cubicBezTo>
                    <a:pt x="2972" y="2740"/>
                    <a:pt x="2972" y="2714"/>
                    <a:pt x="2979" y="2688"/>
                  </a:cubicBezTo>
                  <a:cubicBezTo>
                    <a:pt x="2992" y="2688"/>
                    <a:pt x="2992" y="2675"/>
                    <a:pt x="3005" y="2675"/>
                  </a:cubicBezTo>
                  <a:cubicBezTo>
                    <a:pt x="3005" y="2688"/>
                    <a:pt x="3005" y="2688"/>
                    <a:pt x="3005" y="2701"/>
                  </a:cubicBezTo>
                  <a:cubicBezTo>
                    <a:pt x="3018" y="2701"/>
                    <a:pt x="3032" y="2714"/>
                    <a:pt x="3045" y="2727"/>
                  </a:cubicBezTo>
                  <a:cubicBezTo>
                    <a:pt x="3045" y="2727"/>
                    <a:pt x="3045" y="2727"/>
                    <a:pt x="3058" y="2727"/>
                  </a:cubicBezTo>
                  <a:cubicBezTo>
                    <a:pt x="3058" y="2727"/>
                    <a:pt x="3071" y="2727"/>
                    <a:pt x="3084" y="2714"/>
                  </a:cubicBezTo>
                  <a:cubicBezTo>
                    <a:pt x="3097" y="2714"/>
                    <a:pt x="3111" y="2714"/>
                    <a:pt x="3124" y="2714"/>
                  </a:cubicBezTo>
                  <a:cubicBezTo>
                    <a:pt x="3124" y="2714"/>
                    <a:pt x="3124" y="2714"/>
                    <a:pt x="3137" y="2727"/>
                  </a:cubicBezTo>
                  <a:cubicBezTo>
                    <a:pt x="3137" y="2727"/>
                    <a:pt x="3137" y="2727"/>
                    <a:pt x="3150" y="2727"/>
                  </a:cubicBezTo>
                  <a:cubicBezTo>
                    <a:pt x="3150" y="2727"/>
                    <a:pt x="3150" y="2727"/>
                    <a:pt x="3163" y="2727"/>
                  </a:cubicBezTo>
                  <a:cubicBezTo>
                    <a:pt x="3163" y="2727"/>
                    <a:pt x="3163" y="2727"/>
                    <a:pt x="3176" y="2727"/>
                  </a:cubicBezTo>
                  <a:cubicBezTo>
                    <a:pt x="3176" y="2727"/>
                    <a:pt x="3176" y="2727"/>
                    <a:pt x="3190" y="2727"/>
                  </a:cubicBezTo>
                  <a:cubicBezTo>
                    <a:pt x="3190" y="2727"/>
                    <a:pt x="3203" y="2727"/>
                    <a:pt x="3216" y="2714"/>
                  </a:cubicBezTo>
                  <a:cubicBezTo>
                    <a:pt x="3216" y="2714"/>
                    <a:pt x="3216" y="2701"/>
                    <a:pt x="3229" y="2688"/>
                  </a:cubicBezTo>
                  <a:cubicBezTo>
                    <a:pt x="3229" y="2688"/>
                    <a:pt x="3229" y="2688"/>
                    <a:pt x="3242" y="2688"/>
                  </a:cubicBezTo>
                  <a:cubicBezTo>
                    <a:pt x="3242" y="2688"/>
                    <a:pt x="3242" y="2688"/>
                    <a:pt x="3255" y="2688"/>
                  </a:cubicBezTo>
                  <a:cubicBezTo>
                    <a:pt x="3255" y="2688"/>
                    <a:pt x="3255" y="2688"/>
                    <a:pt x="3269" y="2675"/>
                  </a:cubicBezTo>
                  <a:cubicBezTo>
                    <a:pt x="3269" y="2675"/>
                    <a:pt x="3269" y="2675"/>
                    <a:pt x="3269" y="2688"/>
                  </a:cubicBezTo>
                  <a:cubicBezTo>
                    <a:pt x="3282" y="2688"/>
                    <a:pt x="3282" y="2675"/>
                    <a:pt x="3282" y="2675"/>
                  </a:cubicBezTo>
                  <a:cubicBezTo>
                    <a:pt x="3282" y="2675"/>
                    <a:pt x="3282" y="2675"/>
                    <a:pt x="3295" y="2662"/>
                  </a:cubicBezTo>
                  <a:cubicBezTo>
                    <a:pt x="3295" y="2662"/>
                    <a:pt x="3295" y="2662"/>
                    <a:pt x="3302" y="2662"/>
                  </a:cubicBezTo>
                  <a:cubicBezTo>
                    <a:pt x="3302" y="2648"/>
                    <a:pt x="3315" y="2648"/>
                    <a:pt x="3315" y="2648"/>
                  </a:cubicBezTo>
                  <a:cubicBezTo>
                    <a:pt x="3328" y="2648"/>
                    <a:pt x="3341" y="2642"/>
                    <a:pt x="3354" y="2642"/>
                  </a:cubicBezTo>
                  <a:cubicBezTo>
                    <a:pt x="3367" y="2642"/>
                    <a:pt x="3394" y="2642"/>
                    <a:pt x="3407" y="2642"/>
                  </a:cubicBezTo>
                  <a:cubicBezTo>
                    <a:pt x="3420" y="2629"/>
                    <a:pt x="3420" y="2629"/>
                    <a:pt x="3433" y="2629"/>
                  </a:cubicBezTo>
                  <a:cubicBezTo>
                    <a:pt x="3433" y="2629"/>
                    <a:pt x="3433" y="2629"/>
                    <a:pt x="3446" y="2629"/>
                  </a:cubicBezTo>
                  <a:cubicBezTo>
                    <a:pt x="3460" y="2629"/>
                    <a:pt x="3460" y="2629"/>
                    <a:pt x="3460" y="2629"/>
                  </a:cubicBezTo>
                  <a:cubicBezTo>
                    <a:pt x="3460" y="2629"/>
                    <a:pt x="3460" y="2629"/>
                    <a:pt x="3473" y="2615"/>
                  </a:cubicBezTo>
                  <a:cubicBezTo>
                    <a:pt x="3486" y="2615"/>
                    <a:pt x="3512" y="2615"/>
                    <a:pt x="3525" y="2615"/>
                  </a:cubicBezTo>
                  <a:cubicBezTo>
                    <a:pt x="3525" y="2629"/>
                    <a:pt x="3538" y="2629"/>
                    <a:pt x="3538" y="2629"/>
                  </a:cubicBezTo>
                  <a:cubicBezTo>
                    <a:pt x="3538" y="2629"/>
                    <a:pt x="3538" y="2629"/>
                    <a:pt x="3552" y="2629"/>
                  </a:cubicBezTo>
                  <a:cubicBezTo>
                    <a:pt x="3565" y="2629"/>
                    <a:pt x="3578" y="2629"/>
                    <a:pt x="3591" y="2615"/>
                  </a:cubicBezTo>
                  <a:cubicBezTo>
                    <a:pt x="3591" y="2615"/>
                    <a:pt x="3591" y="2615"/>
                    <a:pt x="3604" y="2602"/>
                  </a:cubicBezTo>
                  <a:cubicBezTo>
                    <a:pt x="3604" y="2615"/>
                    <a:pt x="3617" y="2615"/>
                    <a:pt x="3617" y="2615"/>
                  </a:cubicBezTo>
                  <a:cubicBezTo>
                    <a:pt x="3624" y="2615"/>
                    <a:pt x="3624" y="2615"/>
                    <a:pt x="3624" y="2615"/>
                  </a:cubicBezTo>
                  <a:cubicBezTo>
                    <a:pt x="3624" y="2615"/>
                    <a:pt x="3624" y="2615"/>
                    <a:pt x="3637" y="2615"/>
                  </a:cubicBezTo>
                  <a:cubicBezTo>
                    <a:pt x="3637" y="2615"/>
                    <a:pt x="3637" y="2615"/>
                    <a:pt x="3637" y="2602"/>
                  </a:cubicBezTo>
                  <a:cubicBezTo>
                    <a:pt x="3650" y="2615"/>
                    <a:pt x="3650" y="2615"/>
                    <a:pt x="3664" y="2615"/>
                  </a:cubicBezTo>
                  <a:cubicBezTo>
                    <a:pt x="3677" y="2615"/>
                    <a:pt x="3677" y="2615"/>
                    <a:pt x="3677" y="2615"/>
                  </a:cubicBezTo>
                  <a:cubicBezTo>
                    <a:pt x="3677" y="2615"/>
                    <a:pt x="3677" y="2615"/>
                    <a:pt x="3690" y="2615"/>
                  </a:cubicBezTo>
                  <a:cubicBezTo>
                    <a:pt x="3690" y="2615"/>
                    <a:pt x="3690" y="2615"/>
                    <a:pt x="3703" y="2615"/>
                  </a:cubicBezTo>
                  <a:cubicBezTo>
                    <a:pt x="3703" y="2615"/>
                    <a:pt x="3703" y="2615"/>
                    <a:pt x="3716" y="2615"/>
                  </a:cubicBezTo>
                  <a:cubicBezTo>
                    <a:pt x="3729" y="2602"/>
                    <a:pt x="3729" y="2602"/>
                    <a:pt x="3743" y="2602"/>
                  </a:cubicBezTo>
                  <a:cubicBezTo>
                    <a:pt x="3743" y="2602"/>
                    <a:pt x="3743" y="2602"/>
                    <a:pt x="3756" y="2589"/>
                  </a:cubicBezTo>
                  <a:cubicBezTo>
                    <a:pt x="3769" y="2589"/>
                    <a:pt x="3782" y="2602"/>
                    <a:pt x="3795" y="2602"/>
                  </a:cubicBezTo>
                  <a:cubicBezTo>
                    <a:pt x="3782" y="2602"/>
                    <a:pt x="3782" y="2602"/>
                    <a:pt x="3782" y="2602"/>
                  </a:cubicBezTo>
                  <a:cubicBezTo>
                    <a:pt x="3795" y="2602"/>
                    <a:pt x="3795" y="2615"/>
                    <a:pt x="3795" y="2615"/>
                  </a:cubicBezTo>
                  <a:cubicBezTo>
                    <a:pt x="3795" y="2615"/>
                    <a:pt x="3795" y="2615"/>
                    <a:pt x="3795" y="2629"/>
                  </a:cubicBezTo>
                  <a:cubicBezTo>
                    <a:pt x="3795" y="2629"/>
                    <a:pt x="3795" y="2629"/>
                    <a:pt x="3808" y="2629"/>
                  </a:cubicBezTo>
                  <a:cubicBezTo>
                    <a:pt x="3822" y="2615"/>
                    <a:pt x="3822" y="2615"/>
                    <a:pt x="3822" y="2615"/>
                  </a:cubicBezTo>
                  <a:cubicBezTo>
                    <a:pt x="3822" y="2615"/>
                    <a:pt x="3822" y="2615"/>
                    <a:pt x="3835" y="2615"/>
                  </a:cubicBezTo>
                  <a:cubicBezTo>
                    <a:pt x="3835" y="2629"/>
                    <a:pt x="3835" y="2642"/>
                    <a:pt x="3822" y="2642"/>
                  </a:cubicBezTo>
                  <a:cubicBezTo>
                    <a:pt x="3822" y="2642"/>
                    <a:pt x="3822" y="2642"/>
                    <a:pt x="3808" y="2642"/>
                  </a:cubicBezTo>
                  <a:cubicBezTo>
                    <a:pt x="3808" y="2648"/>
                    <a:pt x="3808" y="2648"/>
                    <a:pt x="3808" y="2648"/>
                  </a:cubicBezTo>
                  <a:cubicBezTo>
                    <a:pt x="3808" y="2648"/>
                    <a:pt x="3808" y="2648"/>
                    <a:pt x="3808" y="2662"/>
                  </a:cubicBezTo>
                  <a:cubicBezTo>
                    <a:pt x="3808" y="2662"/>
                    <a:pt x="3808" y="2662"/>
                    <a:pt x="3808" y="2675"/>
                  </a:cubicBezTo>
                  <a:cubicBezTo>
                    <a:pt x="3808" y="2675"/>
                    <a:pt x="3808" y="2675"/>
                    <a:pt x="3808" y="2688"/>
                  </a:cubicBezTo>
                  <a:cubicBezTo>
                    <a:pt x="3808" y="2688"/>
                    <a:pt x="3808" y="2688"/>
                    <a:pt x="3822" y="2688"/>
                  </a:cubicBezTo>
                  <a:cubicBezTo>
                    <a:pt x="3822" y="2688"/>
                    <a:pt x="3835" y="2688"/>
                    <a:pt x="3835" y="2701"/>
                  </a:cubicBezTo>
                  <a:cubicBezTo>
                    <a:pt x="3835" y="2701"/>
                    <a:pt x="3835" y="2701"/>
                    <a:pt x="3835" y="2714"/>
                  </a:cubicBezTo>
                  <a:cubicBezTo>
                    <a:pt x="3835" y="2727"/>
                    <a:pt x="3822" y="2740"/>
                    <a:pt x="3822" y="2754"/>
                  </a:cubicBezTo>
                  <a:cubicBezTo>
                    <a:pt x="3808" y="2754"/>
                    <a:pt x="3808" y="2767"/>
                    <a:pt x="3808" y="2767"/>
                  </a:cubicBezTo>
                  <a:cubicBezTo>
                    <a:pt x="3795" y="2767"/>
                    <a:pt x="3795" y="2767"/>
                    <a:pt x="3795" y="2767"/>
                  </a:cubicBezTo>
                  <a:cubicBezTo>
                    <a:pt x="3795" y="2767"/>
                    <a:pt x="3795" y="2767"/>
                    <a:pt x="3795" y="2780"/>
                  </a:cubicBezTo>
                  <a:cubicBezTo>
                    <a:pt x="3795" y="2780"/>
                    <a:pt x="3795" y="2780"/>
                    <a:pt x="3782" y="2780"/>
                  </a:cubicBezTo>
                  <a:cubicBezTo>
                    <a:pt x="3782" y="2780"/>
                    <a:pt x="3782" y="2780"/>
                    <a:pt x="3782" y="2793"/>
                  </a:cubicBezTo>
                  <a:cubicBezTo>
                    <a:pt x="3782" y="2793"/>
                    <a:pt x="3782" y="2793"/>
                    <a:pt x="3769" y="2793"/>
                  </a:cubicBezTo>
                  <a:cubicBezTo>
                    <a:pt x="3769" y="2793"/>
                    <a:pt x="3769" y="2793"/>
                    <a:pt x="3769" y="2806"/>
                  </a:cubicBezTo>
                  <a:cubicBezTo>
                    <a:pt x="3782" y="2819"/>
                    <a:pt x="3782" y="2819"/>
                    <a:pt x="3782" y="2819"/>
                  </a:cubicBezTo>
                  <a:cubicBezTo>
                    <a:pt x="3795" y="2819"/>
                    <a:pt x="3795" y="2819"/>
                    <a:pt x="3795" y="2819"/>
                  </a:cubicBezTo>
                  <a:cubicBezTo>
                    <a:pt x="3795" y="2819"/>
                    <a:pt x="3795" y="2819"/>
                    <a:pt x="3808" y="2819"/>
                  </a:cubicBezTo>
                  <a:cubicBezTo>
                    <a:pt x="3822" y="2819"/>
                    <a:pt x="3822" y="2819"/>
                    <a:pt x="3822" y="2819"/>
                  </a:cubicBezTo>
                  <a:cubicBezTo>
                    <a:pt x="3822" y="2832"/>
                    <a:pt x="3822" y="2832"/>
                    <a:pt x="3822" y="2846"/>
                  </a:cubicBezTo>
                  <a:cubicBezTo>
                    <a:pt x="3822" y="2846"/>
                    <a:pt x="3822" y="2846"/>
                    <a:pt x="3835" y="2846"/>
                  </a:cubicBezTo>
                  <a:cubicBezTo>
                    <a:pt x="3835" y="2846"/>
                    <a:pt x="3835" y="2846"/>
                    <a:pt x="3848" y="2846"/>
                  </a:cubicBezTo>
                  <a:cubicBezTo>
                    <a:pt x="3861" y="2859"/>
                    <a:pt x="3874" y="2859"/>
                    <a:pt x="3887" y="2872"/>
                  </a:cubicBezTo>
                  <a:cubicBezTo>
                    <a:pt x="3901" y="2872"/>
                    <a:pt x="3901" y="2872"/>
                    <a:pt x="3914" y="2872"/>
                  </a:cubicBezTo>
                  <a:cubicBezTo>
                    <a:pt x="3914" y="2872"/>
                    <a:pt x="3914" y="2872"/>
                    <a:pt x="3927" y="2872"/>
                  </a:cubicBezTo>
                  <a:cubicBezTo>
                    <a:pt x="3940" y="2872"/>
                    <a:pt x="3940" y="2872"/>
                    <a:pt x="3940" y="2872"/>
                  </a:cubicBezTo>
                  <a:cubicBezTo>
                    <a:pt x="3940" y="2872"/>
                    <a:pt x="3940" y="2872"/>
                    <a:pt x="3947" y="2872"/>
                  </a:cubicBezTo>
                  <a:cubicBezTo>
                    <a:pt x="3947" y="2872"/>
                    <a:pt x="3947" y="2872"/>
                    <a:pt x="3960" y="2872"/>
                  </a:cubicBezTo>
                  <a:cubicBezTo>
                    <a:pt x="3986" y="2885"/>
                    <a:pt x="3999" y="2898"/>
                    <a:pt x="4026" y="2898"/>
                  </a:cubicBezTo>
                  <a:cubicBezTo>
                    <a:pt x="4026" y="2898"/>
                    <a:pt x="4026" y="2898"/>
                    <a:pt x="4026" y="2911"/>
                  </a:cubicBezTo>
                  <a:cubicBezTo>
                    <a:pt x="4039" y="2911"/>
                    <a:pt x="4039" y="2924"/>
                    <a:pt x="4039" y="2938"/>
                  </a:cubicBezTo>
                  <a:cubicBezTo>
                    <a:pt x="4039" y="2938"/>
                    <a:pt x="4052" y="2951"/>
                    <a:pt x="4052" y="2964"/>
                  </a:cubicBezTo>
                  <a:cubicBezTo>
                    <a:pt x="4105" y="2977"/>
                    <a:pt x="4144" y="2990"/>
                    <a:pt x="4184" y="2997"/>
                  </a:cubicBezTo>
                  <a:cubicBezTo>
                    <a:pt x="4184" y="2997"/>
                    <a:pt x="4184" y="2997"/>
                    <a:pt x="4197" y="3010"/>
                  </a:cubicBezTo>
                  <a:cubicBezTo>
                    <a:pt x="4210" y="3010"/>
                    <a:pt x="4210" y="3023"/>
                    <a:pt x="4210" y="3023"/>
                  </a:cubicBezTo>
                  <a:cubicBezTo>
                    <a:pt x="4223" y="3023"/>
                    <a:pt x="4223" y="3023"/>
                    <a:pt x="4223" y="3023"/>
                  </a:cubicBezTo>
                  <a:cubicBezTo>
                    <a:pt x="4236" y="3010"/>
                    <a:pt x="4249" y="3010"/>
                    <a:pt x="4249" y="3010"/>
                  </a:cubicBezTo>
                  <a:cubicBezTo>
                    <a:pt x="4256" y="2997"/>
                    <a:pt x="4256" y="2990"/>
                    <a:pt x="4269" y="2990"/>
                  </a:cubicBezTo>
                  <a:cubicBezTo>
                    <a:pt x="4269" y="2977"/>
                    <a:pt x="4269" y="2977"/>
                    <a:pt x="4269" y="2977"/>
                  </a:cubicBezTo>
                  <a:cubicBezTo>
                    <a:pt x="4269" y="2977"/>
                    <a:pt x="4269" y="2977"/>
                    <a:pt x="4269" y="2964"/>
                  </a:cubicBezTo>
                  <a:cubicBezTo>
                    <a:pt x="4269" y="2964"/>
                    <a:pt x="4269" y="2964"/>
                    <a:pt x="4269" y="2951"/>
                  </a:cubicBezTo>
                  <a:cubicBezTo>
                    <a:pt x="4269" y="2951"/>
                    <a:pt x="4269" y="2951"/>
                    <a:pt x="4256" y="2951"/>
                  </a:cubicBezTo>
                  <a:cubicBezTo>
                    <a:pt x="4256" y="2938"/>
                    <a:pt x="4256" y="2938"/>
                    <a:pt x="4256" y="2924"/>
                  </a:cubicBezTo>
                  <a:cubicBezTo>
                    <a:pt x="4256" y="2924"/>
                    <a:pt x="4256" y="2924"/>
                    <a:pt x="4269" y="2924"/>
                  </a:cubicBezTo>
                  <a:cubicBezTo>
                    <a:pt x="4282" y="2898"/>
                    <a:pt x="4295" y="2885"/>
                    <a:pt x="4322" y="2872"/>
                  </a:cubicBezTo>
                  <a:cubicBezTo>
                    <a:pt x="4335" y="2872"/>
                    <a:pt x="4348" y="2872"/>
                    <a:pt x="4374" y="2872"/>
                  </a:cubicBezTo>
                  <a:cubicBezTo>
                    <a:pt x="4388" y="2872"/>
                    <a:pt x="4401" y="2872"/>
                    <a:pt x="4401" y="2885"/>
                  </a:cubicBezTo>
                  <a:cubicBezTo>
                    <a:pt x="4414" y="2885"/>
                    <a:pt x="4414" y="2885"/>
                    <a:pt x="4414" y="2885"/>
                  </a:cubicBezTo>
                  <a:cubicBezTo>
                    <a:pt x="4414" y="2885"/>
                    <a:pt x="4414" y="2885"/>
                    <a:pt x="4427" y="2885"/>
                  </a:cubicBezTo>
                  <a:cubicBezTo>
                    <a:pt x="4427" y="2885"/>
                    <a:pt x="4427" y="2885"/>
                    <a:pt x="4427" y="2898"/>
                  </a:cubicBezTo>
                  <a:cubicBezTo>
                    <a:pt x="4414" y="2898"/>
                    <a:pt x="4414" y="2898"/>
                    <a:pt x="4414" y="2898"/>
                  </a:cubicBezTo>
                  <a:cubicBezTo>
                    <a:pt x="4427" y="2911"/>
                    <a:pt x="4427" y="2911"/>
                    <a:pt x="4427" y="2911"/>
                  </a:cubicBezTo>
                  <a:cubicBezTo>
                    <a:pt x="4440" y="2911"/>
                    <a:pt x="4440" y="2911"/>
                    <a:pt x="4440" y="2911"/>
                  </a:cubicBezTo>
                  <a:cubicBezTo>
                    <a:pt x="4467" y="2911"/>
                    <a:pt x="4493" y="2924"/>
                    <a:pt x="4519" y="2924"/>
                  </a:cubicBezTo>
                  <a:cubicBezTo>
                    <a:pt x="4519" y="2938"/>
                    <a:pt x="4519" y="2938"/>
                    <a:pt x="4532" y="2938"/>
                  </a:cubicBezTo>
                  <a:cubicBezTo>
                    <a:pt x="4532" y="2938"/>
                    <a:pt x="4532" y="2938"/>
                    <a:pt x="4532" y="2951"/>
                  </a:cubicBezTo>
                  <a:cubicBezTo>
                    <a:pt x="4546" y="2951"/>
                    <a:pt x="4559" y="2951"/>
                    <a:pt x="4572" y="2951"/>
                  </a:cubicBezTo>
                  <a:cubicBezTo>
                    <a:pt x="4578" y="2951"/>
                    <a:pt x="4592" y="2951"/>
                    <a:pt x="4605" y="2951"/>
                  </a:cubicBezTo>
                  <a:cubicBezTo>
                    <a:pt x="4618" y="2964"/>
                    <a:pt x="4631" y="2964"/>
                    <a:pt x="4644" y="2964"/>
                  </a:cubicBezTo>
                  <a:cubicBezTo>
                    <a:pt x="4644" y="2977"/>
                    <a:pt x="4657" y="2977"/>
                    <a:pt x="4657" y="2977"/>
                  </a:cubicBezTo>
                  <a:cubicBezTo>
                    <a:pt x="4657" y="2977"/>
                    <a:pt x="4657" y="2977"/>
                    <a:pt x="4671" y="2977"/>
                  </a:cubicBezTo>
                  <a:cubicBezTo>
                    <a:pt x="4671" y="2977"/>
                    <a:pt x="4684" y="2977"/>
                    <a:pt x="4697" y="2977"/>
                  </a:cubicBezTo>
                  <a:cubicBezTo>
                    <a:pt x="4697" y="2990"/>
                    <a:pt x="4710" y="2990"/>
                    <a:pt x="4723" y="2990"/>
                  </a:cubicBezTo>
                  <a:cubicBezTo>
                    <a:pt x="4736" y="2977"/>
                    <a:pt x="4763" y="2964"/>
                    <a:pt x="4789" y="2951"/>
                  </a:cubicBezTo>
                  <a:cubicBezTo>
                    <a:pt x="4789" y="2951"/>
                    <a:pt x="4802" y="2951"/>
                    <a:pt x="4815" y="2951"/>
                  </a:cubicBezTo>
                  <a:cubicBezTo>
                    <a:pt x="4802" y="2951"/>
                    <a:pt x="4802" y="2964"/>
                    <a:pt x="4802" y="2964"/>
                  </a:cubicBezTo>
                  <a:cubicBezTo>
                    <a:pt x="4802" y="2964"/>
                    <a:pt x="4802" y="2964"/>
                    <a:pt x="4815" y="2964"/>
                  </a:cubicBezTo>
                  <a:cubicBezTo>
                    <a:pt x="4815" y="2964"/>
                    <a:pt x="4815" y="2964"/>
                    <a:pt x="4815" y="2951"/>
                  </a:cubicBezTo>
                  <a:cubicBezTo>
                    <a:pt x="4829" y="2951"/>
                    <a:pt x="4829" y="2951"/>
                    <a:pt x="4829" y="2951"/>
                  </a:cubicBezTo>
                  <a:cubicBezTo>
                    <a:pt x="4842" y="2951"/>
                    <a:pt x="4855" y="2951"/>
                    <a:pt x="4855" y="2951"/>
                  </a:cubicBezTo>
                  <a:cubicBezTo>
                    <a:pt x="4868" y="2951"/>
                    <a:pt x="4868" y="2951"/>
                    <a:pt x="4868" y="2951"/>
                  </a:cubicBezTo>
                  <a:cubicBezTo>
                    <a:pt x="4868" y="2951"/>
                    <a:pt x="4868" y="2951"/>
                    <a:pt x="4868" y="2964"/>
                  </a:cubicBezTo>
                  <a:cubicBezTo>
                    <a:pt x="4868" y="2964"/>
                    <a:pt x="4868" y="2964"/>
                    <a:pt x="4881" y="2964"/>
                  </a:cubicBezTo>
                  <a:cubicBezTo>
                    <a:pt x="4881" y="2964"/>
                    <a:pt x="4894" y="2964"/>
                    <a:pt x="4894" y="2977"/>
                  </a:cubicBezTo>
                  <a:cubicBezTo>
                    <a:pt x="4901" y="2977"/>
                    <a:pt x="4901" y="2977"/>
                    <a:pt x="4914" y="2977"/>
                  </a:cubicBezTo>
                  <a:cubicBezTo>
                    <a:pt x="4914" y="2977"/>
                    <a:pt x="4914" y="2977"/>
                    <a:pt x="4927" y="2977"/>
                  </a:cubicBezTo>
                  <a:cubicBezTo>
                    <a:pt x="4927" y="2977"/>
                    <a:pt x="4927" y="2977"/>
                    <a:pt x="4940" y="2977"/>
                  </a:cubicBezTo>
                  <a:cubicBezTo>
                    <a:pt x="4954" y="2977"/>
                    <a:pt x="4967" y="2964"/>
                    <a:pt x="4967" y="2964"/>
                  </a:cubicBezTo>
                  <a:cubicBezTo>
                    <a:pt x="4980" y="2964"/>
                    <a:pt x="4980" y="2951"/>
                    <a:pt x="4993" y="2951"/>
                  </a:cubicBezTo>
                  <a:cubicBezTo>
                    <a:pt x="4993" y="2951"/>
                    <a:pt x="4993" y="2951"/>
                    <a:pt x="4993" y="2938"/>
                  </a:cubicBezTo>
                  <a:cubicBezTo>
                    <a:pt x="5006" y="2911"/>
                    <a:pt x="5019" y="2885"/>
                    <a:pt x="5033" y="2859"/>
                  </a:cubicBezTo>
                  <a:cubicBezTo>
                    <a:pt x="5033" y="2832"/>
                    <a:pt x="5046" y="2819"/>
                    <a:pt x="5059" y="2806"/>
                  </a:cubicBezTo>
                  <a:cubicBezTo>
                    <a:pt x="5059" y="2806"/>
                    <a:pt x="5059" y="2806"/>
                    <a:pt x="5059" y="2793"/>
                  </a:cubicBezTo>
                  <a:cubicBezTo>
                    <a:pt x="5059" y="2793"/>
                    <a:pt x="5059" y="2793"/>
                    <a:pt x="5072" y="2780"/>
                  </a:cubicBezTo>
                  <a:cubicBezTo>
                    <a:pt x="5072" y="2767"/>
                    <a:pt x="5085" y="2767"/>
                    <a:pt x="5085" y="2767"/>
                  </a:cubicBezTo>
                  <a:cubicBezTo>
                    <a:pt x="5085" y="2754"/>
                    <a:pt x="5085" y="2754"/>
                    <a:pt x="5085" y="2754"/>
                  </a:cubicBezTo>
                  <a:cubicBezTo>
                    <a:pt x="5085" y="2754"/>
                    <a:pt x="5085" y="2754"/>
                    <a:pt x="5085" y="2740"/>
                  </a:cubicBezTo>
                  <a:cubicBezTo>
                    <a:pt x="5085" y="2740"/>
                    <a:pt x="5085" y="2740"/>
                    <a:pt x="5085" y="2727"/>
                  </a:cubicBezTo>
                  <a:cubicBezTo>
                    <a:pt x="5085" y="2727"/>
                    <a:pt x="5085" y="2727"/>
                    <a:pt x="5085" y="2714"/>
                  </a:cubicBezTo>
                  <a:cubicBezTo>
                    <a:pt x="5085" y="2714"/>
                    <a:pt x="5085" y="2714"/>
                    <a:pt x="5085" y="2701"/>
                  </a:cubicBezTo>
                  <a:cubicBezTo>
                    <a:pt x="5085" y="2688"/>
                    <a:pt x="5085" y="2688"/>
                    <a:pt x="5085" y="2688"/>
                  </a:cubicBezTo>
                  <a:cubicBezTo>
                    <a:pt x="5085" y="2688"/>
                    <a:pt x="5085" y="2688"/>
                    <a:pt x="5085" y="2675"/>
                  </a:cubicBezTo>
                  <a:cubicBezTo>
                    <a:pt x="5085" y="2675"/>
                    <a:pt x="5085" y="2675"/>
                    <a:pt x="5098" y="2662"/>
                  </a:cubicBezTo>
                  <a:cubicBezTo>
                    <a:pt x="5085" y="2662"/>
                    <a:pt x="5085" y="2662"/>
                    <a:pt x="5085" y="2648"/>
                  </a:cubicBezTo>
                  <a:cubicBezTo>
                    <a:pt x="5085" y="2648"/>
                    <a:pt x="5098" y="2648"/>
                    <a:pt x="5098" y="2642"/>
                  </a:cubicBezTo>
                  <a:cubicBezTo>
                    <a:pt x="5112" y="2642"/>
                    <a:pt x="5112" y="2629"/>
                    <a:pt x="5112" y="2629"/>
                  </a:cubicBezTo>
                  <a:cubicBezTo>
                    <a:pt x="5112" y="2629"/>
                    <a:pt x="5112" y="2629"/>
                    <a:pt x="5098" y="2629"/>
                  </a:cubicBezTo>
                  <a:cubicBezTo>
                    <a:pt x="5098" y="2629"/>
                    <a:pt x="5098" y="2629"/>
                    <a:pt x="5085" y="2629"/>
                  </a:cubicBezTo>
                  <a:cubicBezTo>
                    <a:pt x="5085" y="2629"/>
                    <a:pt x="5085" y="2629"/>
                    <a:pt x="5085" y="2642"/>
                  </a:cubicBezTo>
                  <a:cubicBezTo>
                    <a:pt x="5072" y="2642"/>
                    <a:pt x="5072" y="2642"/>
                    <a:pt x="5072" y="2642"/>
                  </a:cubicBezTo>
                  <a:cubicBezTo>
                    <a:pt x="5072" y="2642"/>
                    <a:pt x="5072" y="2642"/>
                    <a:pt x="5059" y="2642"/>
                  </a:cubicBezTo>
                  <a:cubicBezTo>
                    <a:pt x="5059" y="2642"/>
                    <a:pt x="5059" y="2642"/>
                    <a:pt x="5046" y="2629"/>
                  </a:cubicBezTo>
                  <a:cubicBezTo>
                    <a:pt x="5046" y="2629"/>
                    <a:pt x="5046" y="2629"/>
                    <a:pt x="5033" y="2629"/>
                  </a:cubicBezTo>
                  <a:cubicBezTo>
                    <a:pt x="5033" y="2629"/>
                    <a:pt x="5033" y="2629"/>
                    <a:pt x="5019" y="2629"/>
                  </a:cubicBezTo>
                  <a:cubicBezTo>
                    <a:pt x="5019" y="2642"/>
                    <a:pt x="5006" y="2642"/>
                    <a:pt x="5006" y="2642"/>
                  </a:cubicBezTo>
                  <a:cubicBezTo>
                    <a:pt x="5006" y="2648"/>
                    <a:pt x="4993" y="2648"/>
                    <a:pt x="4993" y="2648"/>
                  </a:cubicBezTo>
                  <a:cubicBezTo>
                    <a:pt x="4980" y="2648"/>
                    <a:pt x="4980" y="2662"/>
                    <a:pt x="4980" y="2662"/>
                  </a:cubicBezTo>
                  <a:cubicBezTo>
                    <a:pt x="4980" y="2662"/>
                    <a:pt x="4980" y="2662"/>
                    <a:pt x="4967" y="2662"/>
                  </a:cubicBezTo>
                  <a:cubicBezTo>
                    <a:pt x="4967" y="2662"/>
                    <a:pt x="4967" y="2662"/>
                    <a:pt x="4954" y="2662"/>
                  </a:cubicBezTo>
                  <a:cubicBezTo>
                    <a:pt x="4954" y="2662"/>
                    <a:pt x="4940" y="2662"/>
                    <a:pt x="4927" y="2675"/>
                  </a:cubicBezTo>
                  <a:cubicBezTo>
                    <a:pt x="4927" y="2662"/>
                    <a:pt x="4927" y="2662"/>
                    <a:pt x="4914" y="2662"/>
                  </a:cubicBezTo>
                  <a:cubicBezTo>
                    <a:pt x="4914" y="2662"/>
                    <a:pt x="4914" y="2662"/>
                    <a:pt x="4901" y="2648"/>
                  </a:cubicBezTo>
                  <a:cubicBezTo>
                    <a:pt x="4894" y="2642"/>
                    <a:pt x="4881" y="2629"/>
                    <a:pt x="4868" y="2629"/>
                  </a:cubicBezTo>
                  <a:cubicBezTo>
                    <a:pt x="4855" y="2629"/>
                    <a:pt x="4842" y="2629"/>
                    <a:pt x="4829" y="2615"/>
                  </a:cubicBezTo>
                  <a:cubicBezTo>
                    <a:pt x="4829" y="2629"/>
                    <a:pt x="4829" y="2629"/>
                    <a:pt x="4829" y="2629"/>
                  </a:cubicBezTo>
                  <a:cubicBezTo>
                    <a:pt x="4829" y="2629"/>
                    <a:pt x="4829" y="2629"/>
                    <a:pt x="4829" y="2642"/>
                  </a:cubicBezTo>
                  <a:cubicBezTo>
                    <a:pt x="4829" y="2642"/>
                    <a:pt x="4829" y="2642"/>
                    <a:pt x="4815" y="2642"/>
                  </a:cubicBezTo>
                  <a:cubicBezTo>
                    <a:pt x="4815" y="2648"/>
                    <a:pt x="4815" y="2648"/>
                    <a:pt x="4815" y="2648"/>
                  </a:cubicBezTo>
                  <a:cubicBezTo>
                    <a:pt x="4802" y="2648"/>
                    <a:pt x="4802" y="2662"/>
                    <a:pt x="4789" y="2662"/>
                  </a:cubicBezTo>
                  <a:cubicBezTo>
                    <a:pt x="4776" y="2662"/>
                    <a:pt x="4776" y="2662"/>
                    <a:pt x="4763" y="2662"/>
                  </a:cubicBezTo>
                  <a:cubicBezTo>
                    <a:pt x="4763" y="2662"/>
                    <a:pt x="4763" y="2662"/>
                    <a:pt x="4763" y="2648"/>
                  </a:cubicBezTo>
                  <a:cubicBezTo>
                    <a:pt x="4750" y="2648"/>
                    <a:pt x="4750" y="2648"/>
                    <a:pt x="4750" y="2648"/>
                  </a:cubicBezTo>
                  <a:cubicBezTo>
                    <a:pt x="4750" y="2642"/>
                    <a:pt x="4750" y="2642"/>
                    <a:pt x="4750" y="2629"/>
                  </a:cubicBezTo>
                  <a:cubicBezTo>
                    <a:pt x="4750" y="2629"/>
                    <a:pt x="4750" y="2629"/>
                    <a:pt x="4736" y="2629"/>
                  </a:cubicBezTo>
                  <a:cubicBezTo>
                    <a:pt x="4736" y="2629"/>
                    <a:pt x="4736" y="2629"/>
                    <a:pt x="4736" y="2642"/>
                  </a:cubicBezTo>
                  <a:cubicBezTo>
                    <a:pt x="4736" y="2629"/>
                    <a:pt x="4736" y="2629"/>
                    <a:pt x="4723" y="2629"/>
                  </a:cubicBezTo>
                  <a:cubicBezTo>
                    <a:pt x="4710" y="2629"/>
                    <a:pt x="4710" y="2629"/>
                    <a:pt x="4710" y="2629"/>
                  </a:cubicBezTo>
                  <a:cubicBezTo>
                    <a:pt x="4700" y="2629"/>
                    <a:pt x="4698" y="2629"/>
                    <a:pt x="4697" y="2634"/>
                  </a:cubicBezTo>
                  <a:cubicBezTo>
                    <a:pt x="4699" y="2634"/>
                    <a:pt x="4701" y="2634"/>
                    <a:pt x="4701" y="2634"/>
                  </a:cubicBezTo>
                  <a:cubicBezTo>
                    <a:pt x="4701" y="2652"/>
                    <a:pt x="4701" y="2652"/>
                    <a:pt x="4701" y="2652"/>
                  </a:cubicBezTo>
                  <a:cubicBezTo>
                    <a:pt x="4683" y="2669"/>
                    <a:pt x="4683" y="2669"/>
                    <a:pt x="4665" y="2669"/>
                  </a:cubicBezTo>
                  <a:cubicBezTo>
                    <a:pt x="4665" y="2669"/>
                    <a:pt x="4665" y="2669"/>
                    <a:pt x="4665" y="2652"/>
                  </a:cubicBezTo>
                  <a:cubicBezTo>
                    <a:pt x="4683" y="2652"/>
                    <a:pt x="4683" y="2634"/>
                    <a:pt x="4683" y="2634"/>
                  </a:cubicBezTo>
                  <a:cubicBezTo>
                    <a:pt x="4688" y="2634"/>
                    <a:pt x="4694" y="2634"/>
                    <a:pt x="4697" y="2634"/>
                  </a:cubicBezTo>
                  <a:cubicBezTo>
                    <a:pt x="4697" y="2629"/>
                    <a:pt x="4697" y="2629"/>
                    <a:pt x="4697" y="2629"/>
                  </a:cubicBezTo>
                  <a:cubicBezTo>
                    <a:pt x="4684" y="2629"/>
                    <a:pt x="4671" y="2629"/>
                    <a:pt x="4657" y="2642"/>
                  </a:cubicBezTo>
                  <a:cubicBezTo>
                    <a:pt x="4671" y="2629"/>
                    <a:pt x="4671" y="2629"/>
                    <a:pt x="4671" y="2629"/>
                  </a:cubicBezTo>
                  <a:cubicBezTo>
                    <a:pt x="4671" y="2629"/>
                    <a:pt x="4671" y="2629"/>
                    <a:pt x="4684" y="2629"/>
                  </a:cubicBezTo>
                  <a:cubicBezTo>
                    <a:pt x="4697" y="2629"/>
                    <a:pt x="4697" y="2615"/>
                    <a:pt x="4697" y="2615"/>
                  </a:cubicBezTo>
                  <a:cubicBezTo>
                    <a:pt x="4697" y="2615"/>
                    <a:pt x="4697" y="2615"/>
                    <a:pt x="4710" y="2615"/>
                  </a:cubicBezTo>
                  <a:cubicBezTo>
                    <a:pt x="4710" y="2615"/>
                    <a:pt x="4710" y="2615"/>
                    <a:pt x="4710" y="2602"/>
                  </a:cubicBezTo>
                  <a:cubicBezTo>
                    <a:pt x="4697" y="2615"/>
                    <a:pt x="4671" y="2615"/>
                    <a:pt x="4657" y="2615"/>
                  </a:cubicBezTo>
                  <a:cubicBezTo>
                    <a:pt x="4657" y="2615"/>
                    <a:pt x="4657" y="2615"/>
                    <a:pt x="4657" y="2602"/>
                  </a:cubicBezTo>
                  <a:cubicBezTo>
                    <a:pt x="4657" y="2602"/>
                    <a:pt x="4657" y="2602"/>
                    <a:pt x="4671" y="2602"/>
                  </a:cubicBezTo>
                  <a:cubicBezTo>
                    <a:pt x="4671" y="2589"/>
                    <a:pt x="4657" y="2589"/>
                    <a:pt x="4657" y="2589"/>
                  </a:cubicBezTo>
                  <a:cubicBezTo>
                    <a:pt x="4657" y="2589"/>
                    <a:pt x="4657" y="2589"/>
                    <a:pt x="4657" y="2576"/>
                  </a:cubicBezTo>
                  <a:cubicBezTo>
                    <a:pt x="4644" y="2576"/>
                    <a:pt x="4644" y="2563"/>
                    <a:pt x="4644" y="2563"/>
                  </a:cubicBezTo>
                  <a:cubicBezTo>
                    <a:pt x="4644" y="2563"/>
                    <a:pt x="4644" y="2563"/>
                    <a:pt x="4657" y="2563"/>
                  </a:cubicBezTo>
                  <a:cubicBezTo>
                    <a:pt x="4657" y="2563"/>
                    <a:pt x="4657" y="2563"/>
                    <a:pt x="4657" y="2550"/>
                  </a:cubicBezTo>
                  <a:cubicBezTo>
                    <a:pt x="4644" y="2550"/>
                    <a:pt x="4644" y="2537"/>
                    <a:pt x="4644" y="2537"/>
                  </a:cubicBezTo>
                  <a:cubicBezTo>
                    <a:pt x="4644" y="2537"/>
                    <a:pt x="4644" y="2537"/>
                    <a:pt x="4631" y="2537"/>
                  </a:cubicBezTo>
                  <a:cubicBezTo>
                    <a:pt x="4618" y="2537"/>
                    <a:pt x="4618" y="2537"/>
                    <a:pt x="4618" y="2537"/>
                  </a:cubicBezTo>
                  <a:cubicBezTo>
                    <a:pt x="4618" y="2537"/>
                    <a:pt x="4618" y="2537"/>
                    <a:pt x="4605" y="2523"/>
                  </a:cubicBezTo>
                  <a:cubicBezTo>
                    <a:pt x="4605" y="2523"/>
                    <a:pt x="4605" y="2523"/>
                    <a:pt x="4618" y="2523"/>
                  </a:cubicBezTo>
                  <a:cubicBezTo>
                    <a:pt x="4618" y="2523"/>
                    <a:pt x="4618" y="2523"/>
                    <a:pt x="4618" y="2510"/>
                  </a:cubicBezTo>
                  <a:cubicBezTo>
                    <a:pt x="4618" y="2510"/>
                    <a:pt x="4618" y="2510"/>
                    <a:pt x="4618" y="2497"/>
                  </a:cubicBezTo>
                  <a:cubicBezTo>
                    <a:pt x="4618" y="2510"/>
                    <a:pt x="4618" y="2510"/>
                    <a:pt x="4631" y="2523"/>
                  </a:cubicBezTo>
                  <a:cubicBezTo>
                    <a:pt x="4644" y="2523"/>
                    <a:pt x="4644" y="2523"/>
                    <a:pt x="4657" y="2523"/>
                  </a:cubicBezTo>
                  <a:cubicBezTo>
                    <a:pt x="4644" y="2523"/>
                    <a:pt x="4644" y="2510"/>
                    <a:pt x="4644" y="2510"/>
                  </a:cubicBezTo>
                  <a:cubicBezTo>
                    <a:pt x="4631" y="2510"/>
                    <a:pt x="4631" y="2510"/>
                    <a:pt x="4631" y="2497"/>
                  </a:cubicBezTo>
                  <a:cubicBezTo>
                    <a:pt x="4644" y="2497"/>
                    <a:pt x="4644" y="2497"/>
                    <a:pt x="4644" y="2484"/>
                  </a:cubicBezTo>
                  <a:cubicBezTo>
                    <a:pt x="4644" y="2484"/>
                    <a:pt x="4644" y="2484"/>
                    <a:pt x="4631" y="2484"/>
                  </a:cubicBezTo>
                  <a:cubicBezTo>
                    <a:pt x="4631" y="2484"/>
                    <a:pt x="4631" y="2484"/>
                    <a:pt x="4631" y="2477"/>
                  </a:cubicBezTo>
                  <a:cubicBezTo>
                    <a:pt x="4638" y="2471"/>
                    <a:pt x="4638" y="2471"/>
                    <a:pt x="4644" y="2471"/>
                  </a:cubicBezTo>
                  <a:cubicBezTo>
                    <a:pt x="4631" y="2471"/>
                    <a:pt x="4631" y="2471"/>
                    <a:pt x="4631" y="2471"/>
                  </a:cubicBezTo>
                  <a:cubicBezTo>
                    <a:pt x="4631" y="2458"/>
                    <a:pt x="4631" y="2458"/>
                    <a:pt x="4631" y="2458"/>
                  </a:cubicBezTo>
                  <a:cubicBezTo>
                    <a:pt x="4631" y="2458"/>
                    <a:pt x="4631" y="2458"/>
                    <a:pt x="4644" y="2445"/>
                  </a:cubicBezTo>
                  <a:cubicBezTo>
                    <a:pt x="4638" y="2445"/>
                    <a:pt x="4631" y="2445"/>
                    <a:pt x="4624" y="2445"/>
                  </a:cubicBezTo>
                  <a:cubicBezTo>
                    <a:pt x="4624" y="2451"/>
                    <a:pt x="4626" y="2463"/>
                    <a:pt x="4630" y="2475"/>
                  </a:cubicBezTo>
                  <a:cubicBezTo>
                    <a:pt x="4624" y="2475"/>
                    <a:pt x="4624" y="2475"/>
                    <a:pt x="4624" y="2475"/>
                  </a:cubicBezTo>
                  <a:cubicBezTo>
                    <a:pt x="4624" y="2475"/>
                    <a:pt x="4624" y="2475"/>
                    <a:pt x="4612" y="2475"/>
                  </a:cubicBezTo>
                  <a:cubicBezTo>
                    <a:pt x="4612" y="2457"/>
                    <a:pt x="4612" y="2457"/>
                    <a:pt x="4612" y="2457"/>
                  </a:cubicBezTo>
                  <a:cubicBezTo>
                    <a:pt x="4594" y="2457"/>
                    <a:pt x="4594" y="2457"/>
                    <a:pt x="4594" y="2457"/>
                  </a:cubicBezTo>
                  <a:cubicBezTo>
                    <a:pt x="4594" y="2457"/>
                    <a:pt x="4594" y="2457"/>
                    <a:pt x="4594" y="2440"/>
                  </a:cubicBezTo>
                  <a:cubicBezTo>
                    <a:pt x="4594" y="2440"/>
                    <a:pt x="4599" y="2440"/>
                    <a:pt x="4605" y="2440"/>
                  </a:cubicBezTo>
                  <a:cubicBezTo>
                    <a:pt x="4605" y="2431"/>
                    <a:pt x="4605" y="2430"/>
                    <a:pt x="4605" y="2418"/>
                  </a:cubicBezTo>
                  <a:cubicBezTo>
                    <a:pt x="4618" y="2418"/>
                    <a:pt x="4618" y="2405"/>
                    <a:pt x="4618" y="2405"/>
                  </a:cubicBezTo>
                  <a:cubicBezTo>
                    <a:pt x="4618" y="2405"/>
                    <a:pt x="4631" y="2392"/>
                    <a:pt x="4644" y="2379"/>
                  </a:cubicBezTo>
                  <a:cubicBezTo>
                    <a:pt x="4644" y="2392"/>
                    <a:pt x="4644" y="2392"/>
                    <a:pt x="4644" y="2392"/>
                  </a:cubicBezTo>
                  <a:cubicBezTo>
                    <a:pt x="4657" y="2379"/>
                    <a:pt x="4657" y="2379"/>
                    <a:pt x="4671" y="2379"/>
                  </a:cubicBezTo>
                  <a:cubicBezTo>
                    <a:pt x="4671" y="2379"/>
                    <a:pt x="4671" y="2379"/>
                    <a:pt x="4671" y="2392"/>
                  </a:cubicBezTo>
                  <a:cubicBezTo>
                    <a:pt x="4671" y="2392"/>
                    <a:pt x="4671" y="2392"/>
                    <a:pt x="4684" y="2392"/>
                  </a:cubicBezTo>
                  <a:cubicBezTo>
                    <a:pt x="4684" y="2392"/>
                    <a:pt x="4684" y="2392"/>
                    <a:pt x="4697" y="2392"/>
                  </a:cubicBezTo>
                  <a:cubicBezTo>
                    <a:pt x="4723" y="2379"/>
                    <a:pt x="4736" y="2379"/>
                    <a:pt x="4763" y="2379"/>
                  </a:cubicBezTo>
                  <a:cubicBezTo>
                    <a:pt x="4750" y="2379"/>
                    <a:pt x="4750" y="2379"/>
                    <a:pt x="4750" y="2379"/>
                  </a:cubicBezTo>
                  <a:cubicBezTo>
                    <a:pt x="4750" y="2379"/>
                    <a:pt x="4750" y="2379"/>
                    <a:pt x="4750" y="2366"/>
                  </a:cubicBezTo>
                  <a:cubicBezTo>
                    <a:pt x="4750" y="2366"/>
                    <a:pt x="4750" y="2366"/>
                    <a:pt x="4763" y="2366"/>
                  </a:cubicBezTo>
                  <a:cubicBezTo>
                    <a:pt x="4769" y="2366"/>
                    <a:pt x="4783" y="2366"/>
                    <a:pt x="4789" y="2366"/>
                  </a:cubicBezTo>
                  <a:cubicBezTo>
                    <a:pt x="4789" y="2366"/>
                    <a:pt x="4796" y="2366"/>
                    <a:pt x="4802" y="2366"/>
                  </a:cubicBezTo>
                  <a:cubicBezTo>
                    <a:pt x="4802" y="2366"/>
                    <a:pt x="4789" y="2366"/>
                    <a:pt x="4789" y="2353"/>
                  </a:cubicBezTo>
                  <a:cubicBezTo>
                    <a:pt x="4789" y="2366"/>
                    <a:pt x="4789" y="2366"/>
                    <a:pt x="4789" y="2366"/>
                  </a:cubicBezTo>
                  <a:cubicBezTo>
                    <a:pt x="4776" y="2366"/>
                    <a:pt x="4776" y="2366"/>
                    <a:pt x="4776" y="2353"/>
                  </a:cubicBezTo>
                  <a:cubicBezTo>
                    <a:pt x="4776" y="2353"/>
                    <a:pt x="4776" y="2353"/>
                    <a:pt x="4763" y="2353"/>
                  </a:cubicBezTo>
                  <a:cubicBezTo>
                    <a:pt x="4763" y="2353"/>
                    <a:pt x="4763" y="2353"/>
                    <a:pt x="4763" y="2339"/>
                  </a:cubicBezTo>
                  <a:cubicBezTo>
                    <a:pt x="4763" y="2339"/>
                    <a:pt x="4763" y="2339"/>
                    <a:pt x="4750" y="2339"/>
                  </a:cubicBezTo>
                  <a:cubicBezTo>
                    <a:pt x="4750" y="2339"/>
                    <a:pt x="4750" y="2353"/>
                    <a:pt x="4736" y="2353"/>
                  </a:cubicBezTo>
                  <a:cubicBezTo>
                    <a:pt x="4736" y="2353"/>
                    <a:pt x="4736" y="2353"/>
                    <a:pt x="4736" y="2339"/>
                  </a:cubicBezTo>
                  <a:cubicBezTo>
                    <a:pt x="4710" y="2339"/>
                    <a:pt x="4697" y="2339"/>
                    <a:pt x="4684" y="2353"/>
                  </a:cubicBezTo>
                  <a:cubicBezTo>
                    <a:pt x="4657" y="2366"/>
                    <a:pt x="4644" y="2379"/>
                    <a:pt x="4618" y="2392"/>
                  </a:cubicBezTo>
                  <a:cubicBezTo>
                    <a:pt x="4618" y="2392"/>
                    <a:pt x="4618" y="2392"/>
                    <a:pt x="4618" y="2405"/>
                  </a:cubicBezTo>
                  <a:cubicBezTo>
                    <a:pt x="4618" y="2405"/>
                    <a:pt x="4618" y="2405"/>
                    <a:pt x="4605" y="2405"/>
                  </a:cubicBezTo>
                  <a:cubicBezTo>
                    <a:pt x="4605" y="2405"/>
                    <a:pt x="4605" y="2405"/>
                    <a:pt x="4605" y="2392"/>
                  </a:cubicBezTo>
                  <a:cubicBezTo>
                    <a:pt x="4618" y="2379"/>
                    <a:pt x="4631" y="2379"/>
                    <a:pt x="4631" y="2379"/>
                  </a:cubicBezTo>
                  <a:cubicBezTo>
                    <a:pt x="4631" y="2379"/>
                    <a:pt x="4631" y="2379"/>
                    <a:pt x="4644" y="2366"/>
                  </a:cubicBezTo>
                  <a:cubicBezTo>
                    <a:pt x="4631" y="2366"/>
                    <a:pt x="4618" y="2366"/>
                    <a:pt x="4605" y="2379"/>
                  </a:cubicBezTo>
                  <a:cubicBezTo>
                    <a:pt x="4605" y="2366"/>
                    <a:pt x="4605" y="2366"/>
                    <a:pt x="4605" y="2366"/>
                  </a:cubicBezTo>
                  <a:cubicBezTo>
                    <a:pt x="4592" y="2366"/>
                    <a:pt x="4592" y="2366"/>
                    <a:pt x="4592" y="2353"/>
                  </a:cubicBezTo>
                  <a:cubicBezTo>
                    <a:pt x="4578" y="2353"/>
                    <a:pt x="4572" y="2353"/>
                    <a:pt x="4559" y="2339"/>
                  </a:cubicBezTo>
                  <a:cubicBezTo>
                    <a:pt x="4546" y="2353"/>
                    <a:pt x="4546" y="2353"/>
                    <a:pt x="4532" y="2353"/>
                  </a:cubicBezTo>
                  <a:cubicBezTo>
                    <a:pt x="4532" y="2353"/>
                    <a:pt x="4532" y="2353"/>
                    <a:pt x="4519" y="2353"/>
                  </a:cubicBezTo>
                  <a:cubicBezTo>
                    <a:pt x="4519" y="2353"/>
                    <a:pt x="4519" y="2353"/>
                    <a:pt x="4506" y="2366"/>
                  </a:cubicBezTo>
                  <a:cubicBezTo>
                    <a:pt x="4506" y="2366"/>
                    <a:pt x="4506" y="2366"/>
                    <a:pt x="4493" y="2366"/>
                  </a:cubicBezTo>
                  <a:cubicBezTo>
                    <a:pt x="4493" y="2366"/>
                    <a:pt x="4480" y="2366"/>
                    <a:pt x="4480" y="2379"/>
                  </a:cubicBezTo>
                  <a:cubicBezTo>
                    <a:pt x="4480" y="2379"/>
                    <a:pt x="4480" y="2379"/>
                    <a:pt x="4493" y="2379"/>
                  </a:cubicBezTo>
                  <a:cubicBezTo>
                    <a:pt x="4493" y="2379"/>
                    <a:pt x="4493" y="2379"/>
                    <a:pt x="4506" y="2392"/>
                  </a:cubicBezTo>
                  <a:cubicBezTo>
                    <a:pt x="4493" y="2392"/>
                    <a:pt x="4493" y="2392"/>
                    <a:pt x="4493" y="2392"/>
                  </a:cubicBezTo>
                  <a:cubicBezTo>
                    <a:pt x="4493" y="2392"/>
                    <a:pt x="4493" y="2392"/>
                    <a:pt x="4481" y="2392"/>
                  </a:cubicBezTo>
                  <a:cubicBezTo>
                    <a:pt x="4488" y="2395"/>
                    <a:pt x="4488" y="2395"/>
                    <a:pt x="4488" y="2395"/>
                  </a:cubicBezTo>
                  <a:cubicBezTo>
                    <a:pt x="4488" y="2395"/>
                    <a:pt x="4488" y="2395"/>
                    <a:pt x="4488" y="2404"/>
                  </a:cubicBezTo>
                  <a:cubicBezTo>
                    <a:pt x="4488" y="2404"/>
                    <a:pt x="4488" y="2395"/>
                    <a:pt x="4470" y="2395"/>
                  </a:cubicBezTo>
                  <a:cubicBezTo>
                    <a:pt x="4470" y="2395"/>
                    <a:pt x="4470" y="2395"/>
                    <a:pt x="4470" y="2392"/>
                  </a:cubicBezTo>
                  <a:cubicBezTo>
                    <a:pt x="4467" y="2392"/>
                    <a:pt x="4467" y="2392"/>
                    <a:pt x="4467" y="2392"/>
                  </a:cubicBezTo>
                  <a:cubicBezTo>
                    <a:pt x="4467" y="2405"/>
                    <a:pt x="4467" y="2405"/>
                    <a:pt x="4467" y="2405"/>
                  </a:cubicBezTo>
                  <a:cubicBezTo>
                    <a:pt x="4467" y="2405"/>
                    <a:pt x="4467" y="2405"/>
                    <a:pt x="4453" y="2392"/>
                  </a:cubicBezTo>
                  <a:cubicBezTo>
                    <a:pt x="4453" y="2392"/>
                    <a:pt x="4440" y="2392"/>
                    <a:pt x="4440" y="2379"/>
                  </a:cubicBezTo>
                  <a:cubicBezTo>
                    <a:pt x="4440" y="2379"/>
                    <a:pt x="4440" y="2379"/>
                    <a:pt x="4427" y="2379"/>
                  </a:cubicBezTo>
                  <a:cubicBezTo>
                    <a:pt x="4427" y="2392"/>
                    <a:pt x="4427" y="2405"/>
                    <a:pt x="4427" y="2418"/>
                  </a:cubicBezTo>
                  <a:cubicBezTo>
                    <a:pt x="4427" y="2431"/>
                    <a:pt x="4440" y="2431"/>
                    <a:pt x="4440" y="2431"/>
                  </a:cubicBezTo>
                  <a:cubicBezTo>
                    <a:pt x="4440" y="2445"/>
                    <a:pt x="4440" y="2445"/>
                    <a:pt x="4453" y="2458"/>
                  </a:cubicBezTo>
                  <a:cubicBezTo>
                    <a:pt x="4440" y="2458"/>
                    <a:pt x="4440" y="2458"/>
                    <a:pt x="4440" y="2458"/>
                  </a:cubicBezTo>
                  <a:cubicBezTo>
                    <a:pt x="4440" y="2458"/>
                    <a:pt x="4440" y="2458"/>
                    <a:pt x="4440" y="2471"/>
                  </a:cubicBezTo>
                  <a:cubicBezTo>
                    <a:pt x="4440" y="2471"/>
                    <a:pt x="4440" y="2471"/>
                    <a:pt x="4440" y="2477"/>
                  </a:cubicBezTo>
                  <a:cubicBezTo>
                    <a:pt x="4444" y="2475"/>
                    <a:pt x="4449" y="2475"/>
                    <a:pt x="4449" y="2475"/>
                  </a:cubicBezTo>
                  <a:cubicBezTo>
                    <a:pt x="4449" y="2475"/>
                    <a:pt x="4449" y="2475"/>
                    <a:pt x="4463" y="2475"/>
                  </a:cubicBezTo>
                  <a:cubicBezTo>
                    <a:pt x="4463" y="2475"/>
                    <a:pt x="4463" y="2488"/>
                    <a:pt x="4477" y="2488"/>
                  </a:cubicBezTo>
                  <a:cubicBezTo>
                    <a:pt x="4477" y="2488"/>
                    <a:pt x="4477" y="2488"/>
                    <a:pt x="4477" y="2501"/>
                  </a:cubicBezTo>
                  <a:cubicBezTo>
                    <a:pt x="4491" y="2501"/>
                    <a:pt x="4491" y="2501"/>
                    <a:pt x="4491" y="2501"/>
                  </a:cubicBezTo>
                  <a:cubicBezTo>
                    <a:pt x="4506" y="2501"/>
                    <a:pt x="4506" y="2501"/>
                    <a:pt x="4506" y="2501"/>
                  </a:cubicBezTo>
                  <a:cubicBezTo>
                    <a:pt x="4506" y="2501"/>
                    <a:pt x="4506" y="2501"/>
                    <a:pt x="4506" y="2515"/>
                  </a:cubicBezTo>
                  <a:cubicBezTo>
                    <a:pt x="4506" y="2515"/>
                    <a:pt x="4506" y="2515"/>
                    <a:pt x="4506" y="2528"/>
                  </a:cubicBezTo>
                  <a:cubicBezTo>
                    <a:pt x="4506" y="2528"/>
                    <a:pt x="4505" y="2528"/>
                    <a:pt x="4493" y="2528"/>
                  </a:cubicBezTo>
                  <a:cubicBezTo>
                    <a:pt x="4493" y="2537"/>
                    <a:pt x="4493" y="2537"/>
                    <a:pt x="4493" y="2537"/>
                  </a:cubicBezTo>
                  <a:cubicBezTo>
                    <a:pt x="4493" y="2550"/>
                    <a:pt x="4493" y="2563"/>
                    <a:pt x="4493" y="2576"/>
                  </a:cubicBezTo>
                  <a:cubicBezTo>
                    <a:pt x="4493" y="2563"/>
                    <a:pt x="4480" y="2563"/>
                    <a:pt x="4480" y="2563"/>
                  </a:cubicBezTo>
                  <a:cubicBezTo>
                    <a:pt x="4480" y="2563"/>
                    <a:pt x="4480" y="2550"/>
                    <a:pt x="4467" y="2550"/>
                  </a:cubicBezTo>
                  <a:cubicBezTo>
                    <a:pt x="4467" y="2550"/>
                    <a:pt x="4459" y="2550"/>
                    <a:pt x="4450" y="2550"/>
                  </a:cubicBezTo>
                  <a:cubicBezTo>
                    <a:pt x="4452" y="2551"/>
                    <a:pt x="4455" y="2553"/>
                    <a:pt x="4455" y="2562"/>
                  </a:cubicBezTo>
                  <a:cubicBezTo>
                    <a:pt x="4455" y="2562"/>
                    <a:pt x="4455" y="2562"/>
                    <a:pt x="4470" y="2562"/>
                  </a:cubicBezTo>
                  <a:cubicBezTo>
                    <a:pt x="4470" y="2575"/>
                    <a:pt x="4470" y="2575"/>
                    <a:pt x="4470" y="2575"/>
                  </a:cubicBezTo>
                  <a:cubicBezTo>
                    <a:pt x="4470" y="2575"/>
                    <a:pt x="4470" y="2575"/>
                    <a:pt x="4455" y="2575"/>
                  </a:cubicBezTo>
                  <a:cubicBezTo>
                    <a:pt x="4448" y="2575"/>
                    <a:pt x="4448" y="2588"/>
                    <a:pt x="4448" y="2588"/>
                  </a:cubicBezTo>
                  <a:cubicBezTo>
                    <a:pt x="4448" y="2575"/>
                    <a:pt x="4448" y="2575"/>
                    <a:pt x="4448" y="2575"/>
                  </a:cubicBezTo>
                  <a:cubicBezTo>
                    <a:pt x="4448" y="2575"/>
                    <a:pt x="4434" y="2575"/>
                    <a:pt x="4434" y="2562"/>
                  </a:cubicBezTo>
                  <a:cubicBezTo>
                    <a:pt x="4434" y="2575"/>
                    <a:pt x="4434" y="2575"/>
                    <a:pt x="4434" y="2575"/>
                  </a:cubicBezTo>
                  <a:cubicBezTo>
                    <a:pt x="4434" y="2575"/>
                    <a:pt x="4434" y="2588"/>
                    <a:pt x="4448" y="2588"/>
                  </a:cubicBezTo>
                  <a:cubicBezTo>
                    <a:pt x="4448" y="2595"/>
                    <a:pt x="4448" y="2608"/>
                    <a:pt x="4448" y="2634"/>
                  </a:cubicBezTo>
                  <a:cubicBezTo>
                    <a:pt x="4448" y="2634"/>
                    <a:pt x="4448" y="2621"/>
                    <a:pt x="4434" y="2621"/>
                  </a:cubicBezTo>
                  <a:cubicBezTo>
                    <a:pt x="4434" y="2621"/>
                    <a:pt x="4434" y="2621"/>
                    <a:pt x="4434" y="2608"/>
                  </a:cubicBezTo>
                  <a:cubicBezTo>
                    <a:pt x="4419" y="2608"/>
                    <a:pt x="4419" y="2608"/>
                    <a:pt x="4419" y="2608"/>
                  </a:cubicBezTo>
                  <a:cubicBezTo>
                    <a:pt x="4419" y="2621"/>
                    <a:pt x="4419" y="2621"/>
                    <a:pt x="4404" y="2634"/>
                  </a:cubicBezTo>
                  <a:cubicBezTo>
                    <a:pt x="4404" y="2621"/>
                    <a:pt x="4404" y="2608"/>
                    <a:pt x="4404" y="2608"/>
                  </a:cubicBezTo>
                  <a:cubicBezTo>
                    <a:pt x="4404" y="2608"/>
                    <a:pt x="4404" y="2608"/>
                    <a:pt x="4390" y="2595"/>
                  </a:cubicBezTo>
                  <a:cubicBezTo>
                    <a:pt x="4390" y="2595"/>
                    <a:pt x="4390" y="2595"/>
                    <a:pt x="4375" y="2595"/>
                  </a:cubicBezTo>
                  <a:cubicBezTo>
                    <a:pt x="4375" y="2608"/>
                    <a:pt x="4375" y="2608"/>
                    <a:pt x="4375" y="2608"/>
                  </a:cubicBezTo>
                  <a:cubicBezTo>
                    <a:pt x="4375" y="2608"/>
                    <a:pt x="4375" y="2608"/>
                    <a:pt x="4360" y="2608"/>
                  </a:cubicBezTo>
                  <a:cubicBezTo>
                    <a:pt x="4360" y="2595"/>
                    <a:pt x="4360" y="2595"/>
                    <a:pt x="4360" y="2595"/>
                  </a:cubicBezTo>
                  <a:cubicBezTo>
                    <a:pt x="4360" y="2588"/>
                    <a:pt x="4360" y="2588"/>
                    <a:pt x="4375" y="2575"/>
                  </a:cubicBezTo>
                  <a:cubicBezTo>
                    <a:pt x="4360" y="2575"/>
                    <a:pt x="4360" y="2575"/>
                    <a:pt x="4360" y="2562"/>
                  </a:cubicBezTo>
                  <a:cubicBezTo>
                    <a:pt x="4360" y="2562"/>
                    <a:pt x="4360" y="2562"/>
                    <a:pt x="4346" y="2562"/>
                  </a:cubicBezTo>
                  <a:cubicBezTo>
                    <a:pt x="4346" y="2562"/>
                    <a:pt x="4346" y="2562"/>
                    <a:pt x="4346" y="2549"/>
                  </a:cubicBezTo>
                  <a:cubicBezTo>
                    <a:pt x="4346" y="2549"/>
                    <a:pt x="4346" y="2549"/>
                    <a:pt x="4346" y="2536"/>
                  </a:cubicBezTo>
                  <a:cubicBezTo>
                    <a:pt x="4346" y="2536"/>
                    <a:pt x="4346" y="2524"/>
                    <a:pt x="4359" y="2523"/>
                  </a:cubicBezTo>
                  <a:cubicBezTo>
                    <a:pt x="4357" y="2523"/>
                    <a:pt x="4354" y="2523"/>
                    <a:pt x="4348" y="2523"/>
                  </a:cubicBezTo>
                  <a:cubicBezTo>
                    <a:pt x="4335" y="2510"/>
                    <a:pt x="4335" y="2497"/>
                    <a:pt x="4322" y="2484"/>
                  </a:cubicBezTo>
                  <a:cubicBezTo>
                    <a:pt x="4335" y="2484"/>
                    <a:pt x="4335" y="2484"/>
                    <a:pt x="4335" y="2497"/>
                  </a:cubicBezTo>
                  <a:cubicBezTo>
                    <a:pt x="4335" y="2484"/>
                    <a:pt x="4335" y="2484"/>
                    <a:pt x="4348" y="2484"/>
                  </a:cubicBezTo>
                  <a:cubicBezTo>
                    <a:pt x="4348" y="2484"/>
                    <a:pt x="4348" y="2484"/>
                    <a:pt x="4335" y="2484"/>
                  </a:cubicBezTo>
                  <a:cubicBezTo>
                    <a:pt x="4335" y="2484"/>
                    <a:pt x="4335" y="2471"/>
                    <a:pt x="4322" y="2471"/>
                  </a:cubicBezTo>
                  <a:cubicBezTo>
                    <a:pt x="4322" y="2484"/>
                    <a:pt x="4322" y="2484"/>
                    <a:pt x="4322" y="2484"/>
                  </a:cubicBezTo>
                  <a:cubicBezTo>
                    <a:pt x="4322" y="2471"/>
                    <a:pt x="4322" y="2471"/>
                    <a:pt x="4309" y="2458"/>
                  </a:cubicBezTo>
                  <a:cubicBezTo>
                    <a:pt x="4295" y="2445"/>
                    <a:pt x="4295" y="2445"/>
                    <a:pt x="4295" y="2431"/>
                  </a:cubicBezTo>
                  <a:cubicBezTo>
                    <a:pt x="4295" y="2431"/>
                    <a:pt x="4295" y="2431"/>
                    <a:pt x="4289" y="2431"/>
                  </a:cubicBezTo>
                  <a:cubicBezTo>
                    <a:pt x="4289" y="2431"/>
                    <a:pt x="4289" y="2431"/>
                    <a:pt x="4289" y="2425"/>
                  </a:cubicBezTo>
                  <a:cubicBezTo>
                    <a:pt x="4289" y="2425"/>
                    <a:pt x="4289" y="2425"/>
                    <a:pt x="4282" y="2425"/>
                  </a:cubicBezTo>
                  <a:cubicBezTo>
                    <a:pt x="4282" y="2425"/>
                    <a:pt x="4282" y="2425"/>
                    <a:pt x="4282" y="2418"/>
                  </a:cubicBezTo>
                  <a:cubicBezTo>
                    <a:pt x="4282" y="2418"/>
                    <a:pt x="4282" y="2418"/>
                    <a:pt x="4282" y="2405"/>
                  </a:cubicBezTo>
                  <a:cubicBezTo>
                    <a:pt x="4269" y="2405"/>
                    <a:pt x="4269" y="2405"/>
                    <a:pt x="4269" y="2405"/>
                  </a:cubicBezTo>
                  <a:cubicBezTo>
                    <a:pt x="4256" y="2392"/>
                    <a:pt x="4256" y="2392"/>
                    <a:pt x="4256" y="2379"/>
                  </a:cubicBezTo>
                  <a:cubicBezTo>
                    <a:pt x="4256" y="2379"/>
                    <a:pt x="4256" y="2379"/>
                    <a:pt x="4256" y="2366"/>
                  </a:cubicBezTo>
                  <a:cubicBezTo>
                    <a:pt x="4256" y="2353"/>
                    <a:pt x="4256" y="2353"/>
                    <a:pt x="4256" y="2353"/>
                  </a:cubicBezTo>
                  <a:cubicBezTo>
                    <a:pt x="4256" y="2339"/>
                    <a:pt x="4256" y="2339"/>
                    <a:pt x="4256" y="2339"/>
                  </a:cubicBezTo>
                  <a:cubicBezTo>
                    <a:pt x="4256" y="2339"/>
                    <a:pt x="4256" y="2339"/>
                    <a:pt x="4269" y="2326"/>
                  </a:cubicBezTo>
                  <a:cubicBezTo>
                    <a:pt x="4256" y="2326"/>
                    <a:pt x="4256" y="2326"/>
                    <a:pt x="4256" y="2326"/>
                  </a:cubicBezTo>
                  <a:cubicBezTo>
                    <a:pt x="4256" y="2313"/>
                    <a:pt x="4269" y="2307"/>
                    <a:pt x="4269" y="2293"/>
                  </a:cubicBezTo>
                  <a:cubicBezTo>
                    <a:pt x="4256" y="2293"/>
                    <a:pt x="4256" y="2293"/>
                    <a:pt x="4256" y="2293"/>
                  </a:cubicBezTo>
                  <a:cubicBezTo>
                    <a:pt x="4256" y="2293"/>
                    <a:pt x="4256" y="2293"/>
                    <a:pt x="4256" y="2280"/>
                  </a:cubicBezTo>
                  <a:cubicBezTo>
                    <a:pt x="4249" y="2280"/>
                    <a:pt x="4249" y="2280"/>
                    <a:pt x="4249" y="2280"/>
                  </a:cubicBezTo>
                  <a:cubicBezTo>
                    <a:pt x="4236" y="2267"/>
                    <a:pt x="4223" y="2254"/>
                    <a:pt x="4223" y="2241"/>
                  </a:cubicBezTo>
                  <a:cubicBezTo>
                    <a:pt x="4210" y="2241"/>
                    <a:pt x="4197" y="2228"/>
                    <a:pt x="4184" y="2228"/>
                  </a:cubicBezTo>
                  <a:cubicBezTo>
                    <a:pt x="4184" y="2228"/>
                    <a:pt x="4184" y="2228"/>
                    <a:pt x="4170" y="2228"/>
                  </a:cubicBezTo>
                  <a:cubicBezTo>
                    <a:pt x="4170" y="2215"/>
                    <a:pt x="4170" y="2215"/>
                    <a:pt x="4157" y="2215"/>
                  </a:cubicBezTo>
                  <a:cubicBezTo>
                    <a:pt x="4157" y="2215"/>
                    <a:pt x="4157" y="2215"/>
                    <a:pt x="4170" y="2215"/>
                  </a:cubicBezTo>
                  <a:cubicBezTo>
                    <a:pt x="4157" y="2201"/>
                    <a:pt x="4131" y="2188"/>
                    <a:pt x="4118" y="2175"/>
                  </a:cubicBezTo>
                  <a:cubicBezTo>
                    <a:pt x="4105" y="2175"/>
                    <a:pt x="4105" y="2175"/>
                    <a:pt x="4091" y="2175"/>
                  </a:cubicBezTo>
                  <a:cubicBezTo>
                    <a:pt x="4091" y="2175"/>
                    <a:pt x="4091" y="2175"/>
                    <a:pt x="4091" y="2162"/>
                  </a:cubicBezTo>
                  <a:cubicBezTo>
                    <a:pt x="4078" y="2149"/>
                    <a:pt x="4065" y="2149"/>
                    <a:pt x="4065" y="2136"/>
                  </a:cubicBezTo>
                  <a:cubicBezTo>
                    <a:pt x="4052" y="2136"/>
                    <a:pt x="4052" y="2136"/>
                    <a:pt x="4052" y="2123"/>
                  </a:cubicBezTo>
                  <a:cubicBezTo>
                    <a:pt x="4052" y="2123"/>
                    <a:pt x="4052" y="2123"/>
                    <a:pt x="4065" y="2109"/>
                  </a:cubicBezTo>
                  <a:cubicBezTo>
                    <a:pt x="4052" y="2109"/>
                    <a:pt x="4052" y="2109"/>
                    <a:pt x="4039" y="2096"/>
                  </a:cubicBezTo>
                  <a:cubicBezTo>
                    <a:pt x="4039" y="2096"/>
                    <a:pt x="4039" y="2096"/>
                    <a:pt x="4039" y="2083"/>
                  </a:cubicBezTo>
                  <a:cubicBezTo>
                    <a:pt x="4039" y="2083"/>
                    <a:pt x="4039" y="2083"/>
                    <a:pt x="4039" y="2070"/>
                  </a:cubicBezTo>
                  <a:cubicBezTo>
                    <a:pt x="4039" y="2070"/>
                    <a:pt x="4039" y="2070"/>
                    <a:pt x="4026" y="2057"/>
                  </a:cubicBezTo>
                  <a:cubicBezTo>
                    <a:pt x="4026" y="2057"/>
                    <a:pt x="4026" y="2052"/>
                    <a:pt x="4022" y="2048"/>
                  </a:cubicBezTo>
                  <a:cubicBezTo>
                    <a:pt x="4021" y="2048"/>
                    <a:pt x="4020" y="2048"/>
                    <a:pt x="4018" y="2048"/>
                  </a:cubicBezTo>
                  <a:cubicBezTo>
                    <a:pt x="4018" y="2063"/>
                    <a:pt x="4018" y="2078"/>
                    <a:pt x="4018" y="2086"/>
                  </a:cubicBezTo>
                  <a:cubicBezTo>
                    <a:pt x="4018" y="2076"/>
                    <a:pt x="4007" y="2073"/>
                    <a:pt x="3999" y="2068"/>
                  </a:cubicBezTo>
                  <a:cubicBezTo>
                    <a:pt x="3999" y="2068"/>
                    <a:pt x="3999" y="2069"/>
                    <a:pt x="3999" y="2070"/>
                  </a:cubicBezTo>
                  <a:cubicBezTo>
                    <a:pt x="3999" y="2070"/>
                    <a:pt x="3993" y="2077"/>
                    <a:pt x="3986" y="2083"/>
                  </a:cubicBezTo>
                  <a:cubicBezTo>
                    <a:pt x="3986" y="2083"/>
                    <a:pt x="3973" y="2083"/>
                    <a:pt x="3973" y="2070"/>
                  </a:cubicBezTo>
                  <a:cubicBezTo>
                    <a:pt x="3973" y="2070"/>
                    <a:pt x="3973" y="2057"/>
                    <a:pt x="3960" y="2044"/>
                  </a:cubicBezTo>
                  <a:cubicBezTo>
                    <a:pt x="3960" y="2044"/>
                    <a:pt x="3960" y="2044"/>
                    <a:pt x="3960" y="2031"/>
                  </a:cubicBezTo>
                  <a:cubicBezTo>
                    <a:pt x="3960" y="2031"/>
                    <a:pt x="3960" y="2031"/>
                    <a:pt x="3973" y="2031"/>
                  </a:cubicBezTo>
                  <a:cubicBezTo>
                    <a:pt x="3973" y="2017"/>
                    <a:pt x="3973" y="2017"/>
                    <a:pt x="3973" y="2017"/>
                  </a:cubicBezTo>
                  <a:cubicBezTo>
                    <a:pt x="3973" y="2017"/>
                    <a:pt x="3973" y="2017"/>
                    <a:pt x="3960" y="2004"/>
                  </a:cubicBezTo>
                  <a:cubicBezTo>
                    <a:pt x="3960" y="2017"/>
                    <a:pt x="3960" y="2017"/>
                    <a:pt x="3960" y="2017"/>
                  </a:cubicBezTo>
                  <a:cubicBezTo>
                    <a:pt x="3960" y="2017"/>
                    <a:pt x="3960" y="2017"/>
                    <a:pt x="3947" y="2017"/>
                  </a:cubicBezTo>
                  <a:cubicBezTo>
                    <a:pt x="3940" y="2017"/>
                    <a:pt x="3927" y="2031"/>
                    <a:pt x="3914" y="2031"/>
                  </a:cubicBezTo>
                  <a:cubicBezTo>
                    <a:pt x="3914" y="2031"/>
                    <a:pt x="3914" y="2031"/>
                    <a:pt x="3901" y="2031"/>
                  </a:cubicBezTo>
                  <a:cubicBezTo>
                    <a:pt x="3901" y="2044"/>
                    <a:pt x="3901" y="2044"/>
                    <a:pt x="3901" y="2044"/>
                  </a:cubicBezTo>
                  <a:cubicBezTo>
                    <a:pt x="3901" y="2044"/>
                    <a:pt x="3901" y="2044"/>
                    <a:pt x="3901" y="2057"/>
                  </a:cubicBezTo>
                  <a:cubicBezTo>
                    <a:pt x="3901" y="2057"/>
                    <a:pt x="3901" y="2057"/>
                    <a:pt x="3914" y="2057"/>
                  </a:cubicBezTo>
                  <a:cubicBezTo>
                    <a:pt x="3914" y="2057"/>
                    <a:pt x="3914" y="2057"/>
                    <a:pt x="3914" y="2070"/>
                  </a:cubicBezTo>
                  <a:cubicBezTo>
                    <a:pt x="3914" y="2070"/>
                    <a:pt x="3914" y="2070"/>
                    <a:pt x="3901" y="2083"/>
                  </a:cubicBezTo>
                  <a:cubicBezTo>
                    <a:pt x="3901" y="2083"/>
                    <a:pt x="3901" y="2096"/>
                    <a:pt x="3901" y="2109"/>
                  </a:cubicBezTo>
                  <a:cubicBezTo>
                    <a:pt x="3914" y="2123"/>
                    <a:pt x="3914" y="2123"/>
                    <a:pt x="3914" y="2136"/>
                  </a:cubicBezTo>
                  <a:cubicBezTo>
                    <a:pt x="3927" y="2149"/>
                    <a:pt x="3940" y="2149"/>
                    <a:pt x="3947" y="2162"/>
                  </a:cubicBezTo>
                  <a:cubicBezTo>
                    <a:pt x="3960" y="2162"/>
                    <a:pt x="3960" y="2162"/>
                    <a:pt x="3960" y="2162"/>
                  </a:cubicBezTo>
                  <a:cubicBezTo>
                    <a:pt x="3973" y="2188"/>
                    <a:pt x="3986" y="2215"/>
                    <a:pt x="3986" y="2241"/>
                  </a:cubicBezTo>
                  <a:cubicBezTo>
                    <a:pt x="3999" y="2254"/>
                    <a:pt x="4012" y="2254"/>
                    <a:pt x="4012" y="2267"/>
                  </a:cubicBezTo>
                  <a:cubicBezTo>
                    <a:pt x="4026" y="2267"/>
                    <a:pt x="4026" y="2267"/>
                    <a:pt x="4026" y="2280"/>
                  </a:cubicBezTo>
                  <a:cubicBezTo>
                    <a:pt x="4039" y="2280"/>
                    <a:pt x="4039" y="2293"/>
                    <a:pt x="4052" y="2293"/>
                  </a:cubicBezTo>
                  <a:cubicBezTo>
                    <a:pt x="4052" y="2293"/>
                    <a:pt x="4052" y="2293"/>
                    <a:pt x="4052" y="2280"/>
                  </a:cubicBezTo>
                  <a:cubicBezTo>
                    <a:pt x="4052" y="2280"/>
                    <a:pt x="4065" y="2280"/>
                    <a:pt x="4078" y="2280"/>
                  </a:cubicBezTo>
                  <a:cubicBezTo>
                    <a:pt x="4078" y="2280"/>
                    <a:pt x="4078" y="2280"/>
                    <a:pt x="4091" y="2280"/>
                  </a:cubicBezTo>
                  <a:cubicBezTo>
                    <a:pt x="4091" y="2280"/>
                    <a:pt x="4091" y="2280"/>
                    <a:pt x="4091" y="2293"/>
                  </a:cubicBezTo>
                  <a:cubicBezTo>
                    <a:pt x="4091" y="2293"/>
                    <a:pt x="4091" y="2293"/>
                    <a:pt x="4091" y="2307"/>
                  </a:cubicBezTo>
                  <a:cubicBezTo>
                    <a:pt x="4091" y="2307"/>
                    <a:pt x="4091" y="2307"/>
                    <a:pt x="4078" y="2307"/>
                  </a:cubicBezTo>
                  <a:cubicBezTo>
                    <a:pt x="4078" y="2307"/>
                    <a:pt x="4078" y="2307"/>
                    <a:pt x="4078" y="2313"/>
                  </a:cubicBezTo>
                  <a:cubicBezTo>
                    <a:pt x="4078" y="2313"/>
                    <a:pt x="4078" y="2313"/>
                    <a:pt x="4091" y="2313"/>
                  </a:cubicBezTo>
                  <a:cubicBezTo>
                    <a:pt x="4105" y="2326"/>
                    <a:pt x="4131" y="2326"/>
                    <a:pt x="4144" y="2339"/>
                  </a:cubicBezTo>
                  <a:cubicBezTo>
                    <a:pt x="4144" y="2339"/>
                    <a:pt x="4144" y="2339"/>
                    <a:pt x="4157" y="2353"/>
                  </a:cubicBezTo>
                  <a:cubicBezTo>
                    <a:pt x="4170" y="2353"/>
                    <a:pt x="4184" y="2353"/>
                    <a:pt x="4184" y="2366"/>
                  </a:cubicBezTo>
                  <a:cubicBezTo>
                    <a:pt x="4197" y="2379"/>
                    <a:pt x="4210" y="2392"/>
                    <a:pt x="4210" y="2405"/>
                  </a:cubicBezTo>
                  <a:cubicBezTo>
                    <a:pt x="4210" y="2405"/>
                    <a:pt x="4210" y="2405"/>
                    <a:pt x="4210" y="2418"/>
                  </a:cubicBezTo>
                  <a:cubicBezTo>
                    <a:pt x="4210" y="2418"/>
                    <a:pt x="4210" y="2418"/>
                    <a:pt x="4197" y="2418"/>
                  </a:cubicBezTo>
                  <a:cubicBezTo>
                    <a:pt x="4197" y="2405"/>
                    <a:pt x="4197" y="2405"/>
                    <a:pt x="4184" y="2392"/>
                  </a:cubicBezTo>
                  <a:cubicBezTo>
                    <a:pt x="4184" y="2392"/>
                    <a:pt x="4184" y="2392"/>
                    <a:pt x="4170" y="2392"/>
                  </a:cubicBezTo>
                  <a:cubicBezTo>
                    <a:pt x="4157" y="2379"/>
                    <a:pt x="4157" y="2379"/>
                    <a:pt x="4144" y="2379"/>
                  </a:cubicBezTo>
                  <a:cubicBezTo>
                    <a:pt x="4131" y="2392"/>
                    <a:pt x="4131" y="2392"/>
                    <a:pt x="4118" y="2405"/>
                  </a:cubicBezTo>
                  <a:cubicBezTo>
                    <a:pt x="4118" y="2405"/>
                    <a:pt x="4118" y="2418"/>
                    <a:pt x="4118" y="2431"/>
                  </a:cubicBezTo>
                  <a:cubicBezTo>
                    <a:pt x="4131" y="2431"/>
                    <a:pt x="4131" y="2445"/>
                    <a:pt x="4131" y="2445"/>
                  </a:cubicBezTo>
                  <a:cubicBezTo>
                    <a:pt x="4144" y="2445"/>
                    <a:pt x="4144" y="2445"/>
                    <a:pt x="4144" y="2458"/>
                  </a:cubicBezTo>
                  <a:cubicBezTo>
                    <a:pt x="4144" y="2458"/>
                    <a:pt x="4144" y="2471"/>
                    <a:pt x="4144" y="2484"/>
                  </a:cubicBezTo>
                  <a:cubicBezTo>
                    <a:pt x="4144" y="2484"/>
                    <a:pt x="4144" y="2484"/>
                    <a:pt x="4131" y="2484"/>
                  </a:cubicBezTo>
                  <a:cubicBezTo>
                    <a:pt x="4131" y="2484"/>
                    <a:pt x="4131" y="2484"/>
                    <a:pt x="4118" y="2484"/>
                  </a:cubicBezTo>
                  <a:cubicBezTo>
                    <a:pt x="4118" y="2497"/>
                    <a:pt x="4118" y="2497"/>
                    <a:pt x="4118" y="2497"/>
                  </a:cubicBezTo>
                  <a:cubicBezTo>
                    <a:pt x="4118" y="2497"/>
                    <a:pt x="4118" y="2497"/>
                    <a:pt x="4118" y="2510"/>
                  </a:cubicBezTo>
                  <a:cubicBezTo>
                    <a:pt x="4118" y="2523"/>
                    <a:pt x="4118" y="2523"/>
                    <a:pt x="4118" y="2523"/>
                  </a:cubicBezTo>
                  <a:cubicBezTo>
                    <a:pt x="4105" y="2523"/>
                    <a:pt x="4105" y="2523"/>
                    <a:pt x="4105" y="2523"/>
                  </a:cubicBezTo>
                  <a:cubicBezTo>
                    <a:pt x="4091" y="2537"/>
                    <a:pt x="4091" y="2537"/>
                    <a:pt x="4091" y="2550"/>
                  </a:cubicBezTo>
                  <a:cubicBezTo>
                    <a:pt x="4085" y="2550"/>
                    <a:pt x="4085" y="2550"/>
                    <a:pt x="4078" y="2550"/>
                  </a:cubicBezTo>
                  <a:cubicBezTo>
                    <a:pt x="4065" y="2550"/>
                    <a:pt x="4065" y="2550"/>
                    <a:pt x="4065" y="2550"/>
                  </a:cubicBezTo>
                  <a:cubicBezTo>
                    <a:pt x="4065" y="2550"/>
                    <a:pt x="4065" y="2550"/>
                    <a:pt x="4065" y="2543"/>
                  </a:cubicBezTo>
                  <a:cubicBezTo>
                    <a:pt x="4065" y="2537"/>
                    <a:pt x="4065" y="2537"/>
                    <a:pt x="4072" y="2537"/>
                  </a:cubicBezTo>
                  <a:cubicBezTo>
                    <a:pt x="4072" y="2537"/>
                    <a:pt x="4072" y="2537"/>
                    <a:pt x="4072" y="2523"/>
                  </a:cubicBezTo>
                  <a:cubicBezTo>
                    <a:pt x="4072" y="2523"/>
                    <a:pt x="4078" y="2517"/>
                    <a:pt x="4078" y="2510"/>
                  </a:cubicBezTo>
                  <a:cubicBezTo>
                    <a:pt x="4078" y="2510"/>
                    <a:pt x="4078" y="2510"/>
                    <a:pt x="4078" y="2497"/>
                  </a:cubicBezTo>
                  <a:cubicBezTo>
                    <a:pt x="4078" y="2497"/>
                    <a:pt x="4078" y="2497"/>
                    <a:pt x="4091" y="2497"/>
                  </a:cubicBezTo>
                  <a:cubicBezTo>
                    <a:pt x="4091" y="2458"/>
                    <a:pt x="4078" y="2431"/>
                    <a:pt x="4065" y="2405"/>
                  </a:cubicBezTo>
                  <a:cubicBezTo>
                    <a:pt x="4065" y="2405"/>
                    <a:pt x="4065" y="2405"/>
                    <a:pt x="4052" y="2418"/>
                  </a:cubicBezTo>
                  <a:cubicBezTo>
                    <a:pt x="4052" y="2405"/>
                    <a:pt x="4052" y="2405"/>
                    <a:pt x="4052" y="2405"/>
                  </a:cubicBezTo>
                  <a:cubicBezTo>
                    <a:pt x="4039" y="2405"/>
                    <a:pt x="4039" y="2405"/>
                    <a:pt x="4039" y="2405"/>
                  </a:cubicBezTo>
                  <a:cubicBezTo>
                    <a:pt x="4039" y="2392"/>
                    <a:pt x="4039" y="2392"/>
                    <a:pt x="4026" y="2392"/>
                  </a:cubicBezTo>
                  <a:cubicBezTo>
                    <a:pt x="4026" y="2392"/>
                    <a:pt x="4039" y="2392"/>
                    <a:pt x="4039" y="2379"/>
                  </a:cubicBezTo>
                  <a:cubicBezTo>
                    <a:pt x="4026" y="2379"/>
                    <a:pt x="4026" y="2379"/>
                    <a:pt x="4026" y="2379"/>
                  </a:cubicBezTo>
                  <a:cubicBezTo>
                    <a:pt x="4026" y="2379"/>
                    <a:pt x="4026" y="2379"/>
                    <a:pt x="4026" y="2366"/>
                  </a:cubicBezTo>
                  <a:cubicBezTo>
                    <a:pt x="4012" y="2366"/>
                    <a:pt x="4012" y="2366"/>
                    <a:pt x="3999" y="2366"/>
                  </a:cubicBezTo>
                  <a:cubicBezTo>
                    <a:pt x="3999" y="2353"/>
                    <a:pt x="3999" y="2353"/>
                    <a:pt x="3986" y="2353"/>
                  </a:cubicBezTo>
                  <a:cubicBezTo>
                    <a:pt x="3986" y="2353"/>
                    <a:pt x="3986" y="2353"/>
                    <a:pt x="3986" y="2339"/>
                  </a:cubicBezTo>
                  <a:cubicBezTo>
                    <a:pt x="3973" y="2339"/>
                    <a:pt x="3973" y="2339"/>
                    <a:pt x="3973" y="2326"/>
                  </a:cubicBezTo>
                  <a:cubicBezTo>
                    <a:pt x="3960" y="2326"/>
                    <a:pt x="3947" y="2326"/>
                    <a:pt x="3940" y="2326"/>
                  </a:cubicBezTo>
                  <a:cubicBezTo>
                    <a:pt x="3927" y="2313"/>
                    <a:pt x="3901" y="2293"/>
                    <a:pt x="3887" y="2280"/>
                  </a:cubicBezTo>
                  <a:cubicBezTo>
                    <a:pt x="3887" y="2280"/>
                    <a:pt x="3887" y="2280"/>
                    <a:pt x="3874" y="2280"/>
                  </a:cubicBezTo>
                  <a:cubicBezTo>
                    <a:pt x="3874" y="2267"/>
                    <a:pt x="3874" y="2267"/>
                    <a:pt x="3861" y="2254"/>
                  </a:cubicBezTo>
                  <a:cubicBezTo>
                    <a:pt x="3861" y="2254"/>
                    <a:pt x="3861" y="2254"/>
                    <a:pt x="3848" y="2254"/>
                  </a:cubicBezTo>
                  <a:cubicBezTo>
                    <a:pt x="3848" y="2254"/>
                    <a:pt x="3848" y="2254"/>
                    <a:pt x="3835" y="2241"/>
                  </a:cubicBezTo>
                  <a:cubicBezTo>
                    <a:pt x="3835" y="2228"/>
                    <a:pt x="3822" y="2215"/>
                    <a:pt x="3808" y="2215"/>
                  </a:cubicBezTo>
                  <a:cubicBezTo>
                    <a:pt x="3808" y="2201"/>
                    <a:pt x="3808" y="2201"/>
                    <a:pt x="3808" y="2201"/>
                  </a:cubicBezTo>
                  <a:cubicBezTo>
                    <a:pt x="3808" y="2175"/>
                    <a:pt x="3795" y="2162"/>
                    <a:pt x="3795" y="2136"/>
                  </a:cubicBezTo>
                  <a:cubicBezTo>
                    <a:pt x="3769" y="2136"/>
                    <a:pt x="3756" y="2123"/>
                    <a:pt x="3743" y="2109"/>
                  </a:cubicBezTo>
                  <a:cubicBezTo>
                    <a:pt x="3729" y="2109"/>
                    <a:pt x="3729" y="2109"/>
                    <a:pt x="3716" y="2109"/>
                  </a:cubicBezTo>
                  <a:cubicBezTo>
                    <a:pt x="3716" y="2109"/>
                    <a:pt x="3703" y="2109"/>
                    <a:pt x="3703" y="2123"/>
                  </a:cubicBezTo>
                  <a:cubicBezTo>
                    <a:pt x="3703" y="2123"/>
                    <a:pt x="3703" y="2123"/>
                    <a:pt x="3690" y="2123"/>
                  </a:cubicBezTo>
                  <a:cubicBezTo>
                    <a:pt x="3690" y="2136"/>
                    <a:pt x="3690" y="2136"/>
                    <a:pt x="3690" y="2136"/>
                  </a:cubicBezTo>
                  <a:cubicBezTo>
                    <a:pt x="3690" y="2136"/>
                    <a:pt x="3690" y="2136"/>
                    <a:pt x="3690" y="2149"/>
                  </a:cubicBezTo>
                  <a:cubicBezTo>
                    <a:pt x="3677" y="2149"/>
                    <a:pt x="3677" y="2149"/>
                    <a:pt x="3677" y="2149"/>
                  </a:cubicBezTo>
                  <a:cubicBezTo>
                    <a:pt x="3664" y="2149"/>
                    <a:pt x="3664" y="2149"/>
                    <a:pt x="3650" y="2149"/>
                  </a:cubicBezTo>
                  <a:cubicBezTo>
                    <a:pt x="3650" y="2162"/>
                    <a:pt x="3637" y="2162"/>
                    <a:pt x="3637" y="2162"/>
                  </a:cubicBezTo>
                  <a:cubicBezTo>
                    <a:pt x="3624" y="2175"/>
                    <a:pt x="3617" y="2175"/>
                    <a:pt x="3617" y="2188"/>
                  </a:cubicBezTo>
                  <a:cubicBezTo>
                    <a:pt x="3617" y="2188"/>
                    <a:pt x="3617" y="2188"/>
                    <a:pt x="3617" y="2201"/>
                  </a:cubicBezTo>
                  <a:cubicBezTo>
                    <a:pt x="3604" y="2201"/>
                    <a:pt x="3591" y="2201"/>
                    <a:pt x="3591" y="2201"/>
                  </a:cubicBezTo>
                  <a:cubicBezTo>
                    <a:pt x="3578" y="2201"/>
                    <a:pt x="3578" y="2201"/>
                    <a:pt x="3578" y="2201"/>
                  </a:cubicBezTo>
                  <a:cubicBezTo>
                    <a:pt x="3565" y="2201"/>
                    <a:pt x="3565" y="2201"/>
                    <a:pt x="3565" y="2201"/>
                  </a:cubicBezTo>
                  <a:cubicBezTo>
                    <a:pt x="3565" y="2201"/>
                    <a:pt x="3565" y="2201"/>
                    <a:pt x="3552" y="2201"/>
                  </a:cubicBezTo>
                  <a:cubicBezTo>
                    <a:pt x="3552" y="2188"/>
                    <a:pt x="3552" y="2188"/>
                    <a:pt x="3552" y="2188"/>
                  </a:cubicBezTo>
                  <a:cubicBezTo>
                    <a:pt x="3552" y="2188"/>
                    <a:pt x="3552" y="2188"/>
                    <a:pt x="3538" y="2188"/>
                  </a:cubicBezTo>
                  <a:cubicBezTo>
                    <a:pt x="3525" y="2188"/>
                    <a:pt x="3525" y="2188"/>
                    <a:pt x="3525" y="2188"/>
                  </a:cubicBezTo>
                  <a:cubicBezTo>
                    <a:pt x="3512" y="2188"/>
                    <a:pt x="3512" y="2188"/>
                    <a:pt x="3512" y="2188"/>
                  </a:cubicBezTo>
                  <a:cubicBezTo>
                    <a:pt x="3499" y="2188"/>
                    <a:pt x="3499" y="2188"/>
                    <a:pt x="3499" y="2188"/>
                  </a:cubicBezTo>
                  <a:cubicBezTo>
                    <a:pt x="3499" y="2188"/>
                    <a:pt x="3499" y="2188"/>
                    <a:pt x="3499" y="2175"/>
                  </a:cubicBezTo>
                  <a:cubicBezTo>
                    <a:pt x="3499" y="2175"/>
                    <a:pt x="3499" y="2175"/>
                    <a:pt x="3486" y="2175"/>
                  </a:cubicBezTo>
                  <a:cubicBezTo>
                    <a:pt x="3486" y="2175"/>
                    <a:pt x="3486" y="2175"/>
                    <a:pt x="3473" y="2175"/>
                  </a:cubicBezTo>
                  <a:cubicBezTo>
                    <a:pt x="3473" y="2188"/>
                    <a:pt x="3460" y="2188"/>
                    <a:pt x="3460" y="2188"/>
                  </a:cubicBezTo>
                  <a:cubicBezTo>
                    <a:pt x="3460" y="2188"/>
                    <a:pt x="3446" y="2201"/>
                    <a:pt x="3433" y="2201"/>
                  </a:cubicBezTo>
                  <a:cubicBezTo>
                    <a:pt x="3433" y="2201"/>
                    <a:pt x="3433" y="2201"/>
                    <a:pt x="3433" y="2215"/>
                  </a:cubicBezTo>
                  <a:cubicBezTo>
                    <a:pt x="3433" y="2215"/>
                    <a:pt x="3433" y="2215"/>
                    <a:pt x="3433" y="2228"/>
                  </a:cubicBezTo>
                  <a:cubicBezTo>
                    <a:pt x="3433" y="2241"/>
                    <a:pt x="3433" y="2241"/>
                    <a:pt x="3433" y="2254"/>
                  </a:cubicBezTo>
                  <a:cubicBezTo>
                    <a:pt x="3433" y="2254"/>
                    <a:pt x="3433" y="2254"/>
                    <a:pt x="3446" y="2254"/>
                  </a:cubicBezTo>
                  <a:cubicBezTo>
                    <a:pt x="3446" y="2267"/>
                    <a:pt x="3446" y="2267"/>
                    <a:pt x="3446" y="2267"/>
                  </a:cubicBezTo>
                  <a:cubicBezTo>
                    <a:pt x="3433" y="2267"/>
                    <a:pt x="3433" y="2267"/>
                    <a:pt x="3433" y="2267"/>
                  </a:cubicBezTo>
                  <a:cubicBezTo>
                    <a:pt x="3433" y="2267"/>
                    <a:pt x="3433" y="2267"/>
                    <a:pt x="3433" y="2280"/>
                  </a:cubicBezTo>
                  <a:cubicBezTo>
                    <a:pt x="3433" y="2280"/>
                    <a:pt x="3433" y="2280"/>
                    <a:pt x="3433" y="2293"/>
                  </a:cubicBezTo>
                  <a:cubicBezTo>
                    <a:pt x="3420" y="2307"/>
                    <a:pt x="3394" y="2313"/>
                    <a:pt x="3381" y="2326"/>
                  </a:cubicBezTo>
                  <a:cubicBezTo>
                    <a:pt x="3367" y="2339"/>
                    <a:pt x="3341" y="2339"/>
                    <a:pt x="3328" y="2353"/>
                  </a:cubicBezTo>
                  <a:cubicBezTo>
                    <a:pt x="3315" y="2353"/>
                    <a:pt x="3315" y="2353"/>
                    <a:pt x="3315" y="2366"/>
                  </a:cubicBezTo>
                  <a:cubicBezTo>
                    <a:pt x="3302" y="2392"/>
                    <a:pt x="3282" y="2418"/>
                    <a:pt x="3269" y="2445"/>
                  </a:cubicBezTo>
                  <a:cubicBezTo>
                    <a:pt x="3269" y="2445"/>
                    <a:pt x="3269" y="2458"/>
                    <a:pt x="3255" y="2458"/>
                  </a:cubicBezTo>
                  <a:cubicBezTo>
                    <a:pt x="3269" y="2458"/>
                    <a:pt x="3269" y="2471"/>
                    <a:pt x="3269" y="2471"/>
                  </a:cubicBezTo>
                  <a:cubicBezTo>
                    <a:pt x="3269" y="2471"/>
                    <a:pt x="3269" y="2471"/>
                    <a:pt x="3269" y="2484"/>
                  </a:cubicBezTo>
                  <a:cubicBezTo>
                    <a:pt x="3282" y="2484"/>
                    <a:pt x="3282" y="2484"/>
                    <a:pt x="3282" y="2497"/>
                  </a:cubicBezTo>
                  <a:cubicBezTo>
                    <a:pt x="3282" y="2497"/>
                    <a:pt x="3282" y="2497"/>
                    <a:pt x="3295" y="2497"/>
                  </a:cubicBezTo>
                  <a:cubicBezTo>
                    <a:pt x="3295" y="2497"/>
                    <a:pt x="3295" y="2497"/>
                    <a:pt x="3282" y="2510"/>
                  </a:cubicBezTo>
                  <a:cubicBezTo>
                    <a:pt x="3282" y="2510"/>
                    <a:pt x="3269" y="2523"/>
                    <a:pt x="3255" y="2523"/>
                  </a:cubicBezTo>
                  <a:cubicBezTo>
                    <a:pt x="3255" y="2537"/>
                    <a:pt x="3242" y="2550"/>
                    <a:pt x="3242" y="2576"/>
                  </a:cubicBezTo>
                  <a:cubicBezTo>
                    <a:pt x="3229" y="2576"/>
                    <a:pt x="3216" y="2576"/>
                    <a:pt x="3216" y="2576"/>
                  </a:cubicBezTo>
                  <a:cubicBezTo>
                    <a:pt x="3203" y="2589"/>
                    <a:pt x="3203" y="2589"/>
                    <a:pt x="3190" y="2602"/>
                  </a:cubicBezTo>
                  <a:cubicBezTo>
                    <a:pt x="3190" y="2602"/>
                    <a:pt x="3190" y="2615"/>
                    <a:pt x="3190" y="2629"/>
                  </a:cubicBezTo>
                  <a:cubicBezTo>
                    <a:pt x="3176" y="2629"/>
                    <a:pt x="3176" y="2629"/>
                    <a:pt x="3176" y="2629"/>
                  </a:cubicBezTo>
                  <a:cubicBezTo>
                    <a:pt x="3163" y="2629"/>
                    <a:pt x="3163" y="2629"/>
                    <a:pt x="3163" y="2629"/>
                  </a:cubicBezTo>
                  <a:cubicBezTo>
                    <a:pt x="3150" y="2629"/>
                    <a:pt x="3150" y="2629"/>
                    <a:pt x="3150" y="2629"/>
                  </a:cubicBezTo>
                  <a:cubicBezTo>
                    <a:pt x="3137" y="2629"/>
                    <a:pt x="3124" y="2629"/>
                    <a:pt x="3124" y="2629"/>
                  </a:cubicBezTo>
                  <a:cubicBezTo>
                    <a:pt x="3111" y="2629"/>
                    <a:pt x="3111" y="2629"/>
                    <a:pt x="3097" y="2629"/>
                  </a:cubicBezTo>
                  <a:cubicBezTo>
                    <a:pt x="3084" y="2629"/>
                    <a:pt x="3071" y="2629"/>
                    <a:pt x="3058" y="2629"/>
                  </a:cubicBezTo>
                  <a:cubicBezTo>
                    <a:pt x="3058" y="2642"/>
                    <a:pt x="3045" y="2642"/>
                    <a:pt x="3045" y="2642"/>
                  </a:cubicBezTo>
                  <a:cubicBezTo>
                    <a:pt x="3045" y="2642"/>
                    <a:pt x="3045" y="2642"/>
                    <a:pt x="3032" y="2642"/>
                  </a:cubicBezTo>
                  <a:cubicBezTo>
                    <a:pt x="3032" y="2648"/>
                    <a:pt x="3032" y="2648"/>
                    <a:pt x="3018" y="2648"/>
                  </a:cubicBezTo>
                  <a:cubicBezTo>
                    <a:pt x="3018" y="2662"/>
                    <a:pt x="3018" y="2662"/>
                    <a:pt x="3018" y="2662"/>
                  </a:cubicBezTo>
                  <a:cubicBezTo>
                    <a:pt x="3018" y="2662"/>
                    <a:pt x="3018" y="2662"/>
                    <a:pt x="3005" y="2662"/>
                  </a:cubicBezTo>
                  <a:cubicBezTo>
                    <a:pt x="2992" y="2662"/>
                    <a:pt x="2992" y="2662"/>
                    <a:pt x="2992" y="2662"/>
                  </a:cubicBezTo>
                  <a:cubicBezTo>
                    <a:pt x="2979" y="2662"/>
                    <a:pt x="2979" y="2662"/>
                    <a:pt x="2979" y="2662"/>
                  </a:cubicBezTo>
                  <a:cubicBezTo>
                    <a:pt x="2972" y="2648"/>
                    <a:pt x="2972" y="2648"/>
                    <a:pt x="2972" y="2642"/>
                  </a:cubicBezTo>
                  <a:cubicBezTo>
                    <a:pt x="2972" y="2642"/>
                    <a:pt x="2959" y="2642"/>
                    <a:pt x="2959" y="2629"/>
                  </a:cubicBezTo>
                  <a:cubicBezTo>
                    <a:pt x="2959" y="2629"/>
                    <a:pt x="2959" y="2629"/>
                    <a:pt x="2959" y="2615"/>
                  </a:cubicBezTo>
                  <a:cubicBezTo>
                    <a:pt x="2959" y="2615"/>
                    <a:pt x="2959" y="2615"/>
                    <a:pt x="2946" y="2615"/>
                  </a:cubicBezTo>
                  <a:cubicBezTo>
                    <a:pt x="2946" y="2602"/>
                    <a:pt x="2933" y="2602"/>
                    <a:pt x="2933" y="2602"/>
                  </a:cubicBezTo>
                  <a:cubicBezTo>
                    <a:pt x="2920" y="2602"/>
                    <a:pt x="2920" y="2602"/>
                    <a:pt x="2907" y="2602"/>
                  </a:cubicBezTo>
                  <a:cubicBezTo>
                    <a:pt x="2893" y="2602"/>
                    <a:pt x="2893" y="2602"/>
                    <a:pt x="2880" y="2615"/>
                  </a:cubicBezTo>
                  <a:cubicBezTo>
                    <a:pt x="2867" y="2615"/>
                    <a:pt x="2867" y="2615"/>
                    <a:pt x="2867" y="2615"/>
                  </a:cubicBezTo>
                  <a:cubicBezTo>
                    <a:pt x="2854" y="2615"/>
                    <a:pt x="2854" y="2602"/>
                    <a:pt x="2841" y="2602"/>
                  </a:cubicBezTo>
                  <a:cubicBezTo>
                    <a:pt x="2841" y="2615"/>
                    <a:pt x="2841" y="2615"/>
                    <a:pt x="2828" y="2615"/>
                  </a:cubicBezTo>
                  <a:cubicBezTo>
                    <a:pt x="2828" y="2615"/>
                    <a:pt x="2828" y="2615"/>
                    <a:pt x="2828" y="2602"/>
                  </a:cubicBezTo>
                  <a:cubicBezTo>
                    <a:pt x="2828" y="2589"/>
                    <a:pt x="2828" y="2589"/>
                    <a:pt x="2841" y="2576"/>
                  </a:cubicBezTo>
                  <a:cubicBezTo>
                    <a:pt x="2841" y="2563"/>
                    <a:pt x="2828" y="2537"/>
                    <a:pt x="2828" y="2523"/>
                  </a:cubicBezTo>
                  <a:cubicBezTo>
                    <a:pt x="2841" y="2523"/>
                    <a:pt x="2841" y="2523"/>
                    <a:pt x="2841" y="2523"/>
                  </a:cubicBezTo>
                  <a:cubicBezTo>
                    <a:pt x="2841" y="2523"/>
                    <a:pt x="2841" y="2523"/>
                    <a:pt x="2841" y="2510"/>
                  </a:cubicBezTo>
                  <a:cubicBezTo>
                    <a:pt x="2828" y="2523"/>
                    <a:pt x="2828" y="2523"/>
                    <a:pt x="2814" y="2523"/>
                  </a:cubicBezTo>
                  <a:cubicBezTo>
                    <a:pt x="2814" y="2510"/>
                    <a:pt x="2814" y="2510"/>
                    <a:pt x="2801" y="2510"/>
                  </a:cubicBezTo>
                  <a:cubicBezTo>
                    <a:pt x="2801" y="2510"/>
                    <a:pt x="2801" y="2510"/>
                    <a:pt x="2801" y="2497"/>
                  </a:cubicBezTo>
                  <a:cubicBezTo>
                    <a:pt x="2801" y="2497"/>
                    <a:pt x="2801" y="2497"/>
                    <a:pt x="2801" y="2484"/>
                  </a:cubicBezTo>
                  <a:cubicBezTo>
                    <a:pt x="2801" y="2484"/>
                    <a:pt x="2801" y="2484"/>
                    <a:pt x="2801" y="2471"/>
                  </a:cubicBezTo>
                  <a:cubicBezTo>
                    <a:pt x="2801" y="2458"/>
                    <a:pt x="2814" y="2445"/>
                    <a:pt x="2814" y="2445"/>
                  </a:cubicBezTo>
                  <a:cubicBezTo>
                    <a:pt x="2828" y="2405"/>
                    <a:pt x="2828" y="2379"/>
                    <a:pt x="2828" y="2353"/>
                  </a:cubicBezTo>
                  <a:cubicBezTo>
                    <a:pt x="2841" y="2353"/>
                    <a:pt x="2841" y="2353"/>
                    <a:pt x="2841" y="2339"/>
                  </a:cubicBezTo>
                  <a:cubicBezTo>
                    <a:pt x="2828" y="2326"/>
                    <a:pt x="2828" y="2313"/>
                    <a:pt x="2828" y="2293"/>
                  </a:cubicBezTo>
                  <a:cubicBezTo>
                    <a:pt x="2828" y="2293"/>
                    <a:pt x="2828" y="2293"/>
                    <a:pt x="2828" y="2280"/>
                  </a:cubicBezTo>
                  <a:cubicBezTo>
                    <a:pt x="2828" y="2267"/>
                    <a:pt x="2828" y="2267"/>
                    <a:pt x="2828" y="2267"/>
                  </a:cubicBezTo>
                  <a:cubicBezTo>
                    <a:pt x="2828" y="2267"/>
                    <a:pt x="2828" y="2267"/>
                    <a:pt x="2828" y="2254"/>
                  </a:cubicBezTo>
                  <a:cubicBezTo>
                    <a:pt x="2828" y="2254"/>
                    <a:pt x="2828" y="2254"/>
                    <a:pt x="2814" y="2254"/>
                  </a:cubicBezTo>
                  <a:cubicBezTo>
                    <a:pt x="2814" y="2254"/>
                    <a:pt x="2814" y="2254"/>
                    <a:pt x="2828" y="2241"/>
                  </a:cubicBezTo>
                  <a:cubicBezTo>
                    <a:pt x="2828" y="2241"/>
                    <a:pt x="2828" y="2241"/>
                    <a:pt x="2814" y="2241"/>
                  </a:cubicBezTo>
                  <a:cubicBezTo>
                    <a:pt x="2814" y="2241"/>
                    <a:pt x="2814" y="2241"/>
                    <a:pt x="2814" y="2228"/>
                  </a:cubicBezTo>
                  <a:cubicBezTo>
                    <a:pt x="2801" y="2228"/>
                    <a:pt x="2801" y="2228"/>
                    <a:pt x="2801" y="2215"/>
                  </a:cubicBezTo>
                  <a:cubicBezTo>
                    <a:pt x="2801" y="2215"/>
                    <a:pt x="2801" y="2215"/>
                    <a:pt x="2801" y="2201"/>
                  </a:cubicBezTo>
                  <a:cubicBezTo>
                    <a:pt x="2801" y="2201"/>
                    <a:pt x="2801" y="2201"/>
                    <a:pt x="2814" y="2201"/>
                  </a:cubicBezTo>
                  <a:cubicBezTo>
                    <a:pt x="2814" y="2201"/>
                    <a:pt x="2814" y="2201"/>
                    <a:pt x="2828" y="2188"/>
                  </a:cubicBezTo>
                  <a:cubicBezTo>
                    <a:pt x="2828" y="2188"/>
                    <a:pt x="2828" y="2188"/>
                    <a:pt x="2841" y="2188"/>
                  </a:cubicBezTo>
                  <a:cubicBezTo>
                    <a:pt x="2841" y="2188"/>
                    <a:pt x="2841" y="2188"/>
                    <a:pt x="2854" y="2188"/>
                  </a:cubicBezTo>
                  <a:cubicBezTo>
                    <a:pt x="2854" y="2188"/>
                    <a:pt x="2854" y="2188"/>
                    <a:pt x="2854" y="2175"/>
                  </a:cubicBezTo>
                  <a:cubicBezTo>
                    <a:pt x="2867" y="2162"/>
                    <a:pt x="2867" y="2162"/>
                    <a:pt x="2880" y="2162"/>
                  </a:cubicBezTo>
                  <a:cubicBezTo>
                    <a:pt x="2880" y="2162"/>
                    <a:pt x="2893" y="2175"/>
                    <a:pt x="2907" y="2175"/>
                  </a:cubicBezTo>
                  <a:cubicBezTo>
                    <a:pt x="2920" y="2175"/>
                    <a:pt x="2933" y="2175"/>
                    <a:pt x="2959" y="2175"/>
                  </a:cubicBezTo>
                  <a:cubicBezTo>
                    <a:pt x="2959" y="2175"/>
                    <a:pt x="2959" y="2175"/>
                    <a:pt x="2972" y="2175"/>
                  </a:cubicBezTo>
                  <a:cubicBezTo>
                    <a:pt x="3032" y="2175"/>
                    <a:pt x="3111" y="2188"/>
                    <a:pt x="3176" y="2188"/>
                  </a:cubicBezTo>
                  <a:cubicBezTo>
                    <a:pt x="3190" y="2188"/>
                    <a:pt x="3190" y="2188"/>
                    <a:pt x="3190" y="2188"/>
                  </a:cubicBezTo>
                  <a:cubicBezTo>
                    <a:pt x="3190" y="2188"/>
                    <a:pt x="3190" y="2188"/>
                    <a:pt x="3203" y="2188"/>
                  </a:cubicBezTo>
                  <a:cubicBezTo>
                    <a:pt x="3203" y="2162"/>
                    <a:pt x="3203" y="2136"/>
                    <a:pt x="3216" y="2109"/>
                  </a:cubicBezTo>
                  <a:cubicBezTo>
                    <a:pt x="3216" y="2096"/>
                    <a:pt x="3216" y="2096"/>
                    <a:pt x="3216" y="2096"/>
                  </a:cubicBezTo>
                  <a:cubicBezTo>
                    <a:pt x="3216" y="2090"/>
                    <a:pt x="3216" y="2090"/>
                    <a:pt x="3216" y="2083"/>
                  </a:cubicBezTo>
                  <a:cubicBezTo>
                    <a:pt x="3216" y="2070"/>
                    <a:pt x="3216" y="2057"/>
                    <a:pt x="3216" y="2044"/>
                  </a:cubicBezTo>
                  <a:cubicBezTo>
                    <a:pt x="3216" y="2031"/>
                    <a:pt x="3216" y="2031"/>
                    <a:pt x="3216" y="2031"/>
                  </a:cubicBezTo>
                  <a:cubicBezTo>
                    <a:pt x="3229" y="2044"/>
                    <a:pt x="3229" y="2044"/>
                    <a:pt x="3242" y="2057"/>
                  </a:cubicBezTo>
                  <a:cubicBezTo>
                    <a:pt x="3242" y="2044"/>
                    <a:pt x="3242" y="2044"/>
                    <a:pt x="3242" y="2044"/>
                  </a:cubicBezTo>
                  <a:cubicBezTo>
                    <a:pt x="3229" y="2031"/>
                    <a:pt x="3229" y="2031"/>
                    <a:pt x="3229" y="2031"/>
                  </a:cubicBezTo>
                  <a:cubicBezTo>
                    <a:pt x="3229" y="2031"/>
                    <a:pt x="3216" y="2031"/>
                    <a:pt x="3216" y="2017"/>
                  </a:cubicBezTo>
                  <a:cubicBezTo>
                    <a:pt x="3216" y="2004"/>
                    <a:pt x="3216" y="2004"/>
                    <a:pt x="3216" y="2004"/>
                  </a:cubicBezTo>
                  <a:cubicBezTo>
                    <a:pt x="3216" y="2004"/>
                    <a:pt x="3216" y="2004"/>
                    <a:pt x="3216" y="1991"/>
                  </a:cubicBezTo>
                  <a:cubicBezTo>
                    <a:pt x="3216" y="1991"/>
                    <a:pt x="3216" y="1991"/>
                    <a:pt x="3216" y="1978"/>
                  </a:cubicBezTo>
                  <a:cubicBezTo>
                    <a:pt x="3216" y="1978"/>
                    <a:pt x="3203" y="1978"/>
                    <a:pt x="3203" y="1971"/>
                  </a:cubicBezTo>
                  <a:cubicBezTo>
                    <a:pt x="3190" y="1971"/>
                    <a:pt x="3190" y="1971"/>
                    <a:pt x="3176" y="1958"/>
                  </a:cubicBezTo>
                  <a:cubicBezTo>
                    <a:pt x="3176" y="1945"/>
                    <a:pt x="3163" y="1945"/>
                    <a:pt x="3163" y="1932"/>
                  </a:cubicBezTo>
                  <a:cubicBezTo>
                    <a:pt x="3163" y="1932"/>
                    <a:pt x="3163" y="1932"/>
                    <a:pt x="3176" y="1919"/>
                  </a:cubicBezTo>
                  <a:cubicBezTo>
                    <a:pt x="3163" y="1919"/>
                    <a:pt x="3163" y="1919"/>
                    <a:pt x="3163" y="1919"/>
                  </a:cubicBezTo>
                  <a:cubicBezTo>
                    <a:pt x="3163" y="1906"/>
                    <a:pt x="3176" y="1906"/>
                    <a:pt x="3176" y="1906"/>
                  </a:cubicBezTo>
                  <a:cubicBezTo>
                    <a:pt x="3163" y="1906"/>
                    <a:pt x="3163" y="1906"/>
                    <a:pt x="3150" y="1906"/>
                  </a:cubicBezTo>
                  <a:cubicBezTo>
                    <a:pt x="3150" y="1906"/>
                    <a:pt x="3150" y="1906"/>
                    <a:pt x="3137" y="1906"/>
                  </a:cubicBezTo>
                  <a:cubicBezTo>
                    <a:pt x="3137" y="1893"/>
                    <a:pt x="3137" y="1893"/>
                    <a:pt x="3150" y="1893"/>
                  </a:cubicBezTo>
                  <a:cubicBezTo>
                    <a:pt x="3137" y="1893"/>
                    <a:pt x="3137" y="1893"/>
                    <a:pt x="3137" y="1879"/>
                  </a:cubicBezTo>
                  <a:cubicBezTo>
                    <a:pt x="3137" y="1893"/>
                    <a:pt x="3137" y="1893"/>
                    <a:pt x="3137" y="1893"/>
                  </a:cubicBezTo>
                  <a:cubicBezTo>
                    <a:pt x="3137" y="1893"/>
                    <a:pt x="3124" y="1893"/>
                    <a:pt x="3124" y="1879"/>
                  </a:cubicBezTo>
                  <a:cubicBezTo>
                    <a:pt x="3111" y="1879"/>
                    <a:pt x="3111" y="1879"/>
                    <a:pt x="3111" y="1879"/>
                  </a:cubicBezTo>
                  <a:cubicBezTo>
                    <a:pt x="3111" y="1879"/>
                    <a:pt x="3111" y="1879"/>
                    <a:pt x="3097" y="1879"/>
                  </a:cubicBezTo>
                  <a:cubicBezTo>
                    <a:pt x="3084" y="1866"/>
                    <a:pt x="3071" y="1866"/>
                    <a:pt x="3058" y="1866"/>
                  </a:cubicBezTo>
                  <a:cubicBezTo>
                    <a:pt x="3045" y="1866"/>
                    <a:pt x="3045" y="1866"/>
                    <a:pt x="3045" y="1866"/>
                  </a:cubicBezTo>
                  <a:cubicBezTo>
                    <a:pt x="3045" y="1866"/>
                    <a:pt x="3045" y="1866"/>
                    <a:pt x="3045" y="1853"/>
                  </a:cubicBezTo>
                  <a:cubicBezTo>
                    <a:pt x="3032" y="1853"/>
                    <a:pt x="3032" y="1853"/>
                    <a:pt x="3032" y="1853"/>
                  </a:cubicBezTo>
                  <a:cubicBezTo>
                    <a:pt x="3032" y="1853"/>
                    <a:pt x="3032" y="1853"/>
                    <a:pt x="3018" y="1853"/>
                  </a:cubicBezTo>
                  <a:cubicBezTo>
                    <a:pt x="3032" y="1840"/>
                    <a:pt x="3032" y="1840"/>
                    <a:pt x="3045" y="1840"/>
                  </a:cubicBezTo>
                  <a:cubicBezTo>
                    <a:pt x="3045" y="1840"/>
                    <a:pt x="3045" y="1840"/>
                    <a:pt x="3032" y="1840"/>
                  </a:cubicBezTo>
                  <a:cubicBezTo>
                    <a:pt x="3032" y="1840"/>
                    <a:pt x="3032" y="1840"/>
                    <a:pt x="3032" y="1827"/>
                  </a:cubicBezTo>
                  <a:cubicBezTo>
                    <a:pt x="3032" y="1827"/>
                    <a:pt x="3025" y="1827"/>
                    <a:pt x="3018" y="1827"/>
                  </a:cubicBezTo>
                  <a:cubicBezTo>
                    <a:pt x="3018" y="1827"/>
                    <a:pt x="3018" y="1827"/>
                    <a:pt x="3018" y="1814"/>
                  </a:cubicBezTo>
                  <a:cubicBezTo>
                    <a:pt x="3045" y="1801"/>
                    <a:pt x="3058" y="1801"/>
                    <a:pt x="3084" y="1787"/>
                  </a:cubicBezTo>
                  <a:cubicBezTo>
                    <a:pt x="3084" y="1787"/>
                    <a:pt x="3084" y="1787"/>
                    <a:pt x="3097" y="1787"/>
                  </a:cubicBezTo>
                  <a:cubicBezTo>
                    <a:pt x="3097" y="1787"/>
                    <a:pt x="3097" y="1787"/>
                    <a:pt x="3111" y="1787"/>
                  </a:cubicBezTo>
                  <a:cubicBezTo>
                    <a:pt x="3124" y="1787"/>
                    <a:pt x="3124" y="1801"/>
                    <a:pt x="3137" y="1801"/>
                  </a:cubicBezTo>
                  <a:cubicBezTo>
                    <a:pt x="3137" y="1801"/>
                    <a:pt x="3137" y="1801"/>
                    <a:pt x="3150" y="1801"/>
                  </a:cubicBezTo>
                  <a:cubicBezTo>
                    <a:pt x="3150" y="1801"/>
                    <a:pt x="3150" y="1801"/>
                    <a:pt x="3163" y="1801"/>
                  </a:cubicBezTo>
                  <a:cubicBezTo>
                    <a:pt x="3163" y="1801"/>
                    <a:pt x="3163" y="1801"/>
                    <a:pt x="3176" y="1801"/>
                  </a:cubicBezTo>
                  <a:cubicBezTo>
                    <a:pt x="3190" y="1801"/>
                    <a:pt x="3190" y="1801"/>
                    <a:pt x="3190" y="1801"/>
                  </a:cubicBezTo>
                  <a:cubicBezTo>
                    <a:pt x="3190" y="1801"/>
                    <a:pt x="3190" y="1801"/>
                    <a:pt x="3203" y="1801"/>
                  </a:cubicBezTo>
                  <a:cubicBezTo>
                    <a:pt x="3190" y="1801"/>
                    <a:pt x="3190" y="1787"/>
                    <a:pt x="3190" y="1787"/>
                  </a:cubicBezTo>
                  <a:cubicBezTo>
                    <a:pt x="3190" y="1774"/>
                    <a:pt x="3190" y="1761"/>
                    <a:pt x="3176" y="1748"/>
                  </a:cubicBezTo>
                  <a:cubicBezTo>
                    <a:pt x="3176" y="1748"/>
                    <a:pt x="3176" y="1748"/>
                    <a:pt x="3176" y="1735"/>
                  </a:cubicBezTo>
                  <a:cubicBezTo>
                    <a:pt x="3176" y="1735"/>
                    <a:pt x="3176" y="1728"/>
                    <a:pt x="3176" y="1722"/>
                  </a:cubicBezTo>
                  <a:cubicBezTo>
                    <a:pt x="3190" y="1722"/>
                    <a:pt x="3190" y="1722"/>
                    <a:pt x="3203" y="1709"/>
                  </a:cubicBezTo>
                  <a:cubicBezTo>
                    <a:pt x="3203" y="1722"/>
                    <a:pt x="3203" y="1722"/>
                    <a:pt x="3203" y="1722"/>
                  </a:cubicBezTo>
                  <a:cubicBezTo>
                    <a:pt x="3203" y="1735"/>
                    <a:pt x="3216" y="1735"/>
                    <a:pt x="3216" y="1735"/>
                  </a:cubicBezTo>
                  <a:cubicBezTo>
                    <a:pt x="3229" y="1748"/>
                    <a:pt x="3242" y="1748"/>
                    <a:pt x="3242" y="1748"/>
                  </a:cubicBezTo>
                  <a:cubicBezTo>
                    <a:pt x="3255" y="1748"/>
                    <a:pt x="3255" y="1748"/>
                    <a:pt x="3269" y="1748"/>
                  </a:cubicBezTo>
                  <a:cubicBezTo>
                    <a:pt x="3269" y="1735"/>
                    <a:pt x="3269" y="1735"/>
                    <a:pt x="3282" y="1735"/>
                  </a:cubicBezTo>
                  <a:cubicBezTo>
                    <a:pt x="3282" y="1722"/>
                    <a:pt x="3282" y="1722"/>
                    <a:pt x="3282" y="1722"/>
                  </a:cubicBezTo>
                  <a:cubicBezTo>
                    <a:pt x="3282" y="1722"/>
                    <a:pt x="3282" y="1722"/>
                    <a:pt x="3282" y="1709"/>
                  </a:cubicBezTo>
                  <a:cubicBezTo>
                    <a:pt x="3295" y="1709"/>
                    <a:pt x="3295" y="1709"/>
                    <a:pt x="3295" y="1709"/>
                  </a:cubicBezTo>
                  <a:cubicBezTo>
                    <a:pt x="3302" y="1695"/>
                    <a:pt x="3315" y="1695"/>
                    <a:pt x="3328" y="1695"/>
                  </a:cubicBezTo>
                  <a:cubicBezTo>
                    <a:pt x="3328" y="1682"/>
                    <a:pt x="3341" y="1682"/>
                    <a:pt x="3354" y="1669"/>
                  </a:cubicBezTo>
                  <a:cubicBezTo>
                    <a:pt x="3354" y="1669"/>
                    <a:pt x="3354" y="1669"/>
                    <a:pt x="3341" y="1656"/>
                  </a:cubicBezTo>
                  <a:cubicBezTo>
                    <a:pt x="3354" y="1643"/>
                    <a:pt x="3354" y="1636"/>
                    <a:pt x="3354" y="1623"/>
                  </a:cubicBezTo>
                  <a:cubicBezTo>
                    <a:pt x="3367" y="1610"/>
                    <a:pt x="3381" y="1610"/>
                    <a:pt x="3407" y="1610"/>
                  </a:cubicBezTo>
                  <a:cubicBezTo>
                    <a:pt x="3407" y="1597"/>
                    <a:pt x="3407" y="1597"/>
                    <a:pt x="3407" y="1597"/>
                  </a:cubicBezTo>
                  <a:cubicBezTo>
                    <a:pt x="3420" y="1597"/>
                    <a:pt x="3433" y="1584"/>
                    <a:pt x="3433" y="1584"/>
                  </a:cubicBezTo>
                  <a:cubicBezTo>
                    <a:pt x="3446" y="1584"/>
                    <a:pt x="3446" y="1584"/>
                    <a:pt x="3446" y="1584"/>
                  </a:cubicBezTo>
                  <a:cubicBezTo>
                    <a:pt x="3446" y="1584"/>
                    <a:pt x="3446" y="1584"/>
                    <a:pt x="3460" y="1584"/>
                  </a:cubicBezTo>
                  <a:cubicBezTo>
                    <a:pt x="3473" y="1584"/>
                    <a:pt x="3473" y="1584"/>
                    <a:pt x="3473" y="1584"/>
                  </a:cubicBezTo>
                  <a:cubicBezTo>
                    <a:pt x="3473" y="1584"/>
                    <a:pt x="3473" y="1584"/>
                    <a:pt x="3486" y="1584"/>
                  </a:cubicBezTo>
                  <a:cubicBezTo>
                    <a:pt x="3486" y="1584"/>
                    <a:pt x="3486" y="1574"/>
                    <a:pt x="3477" y="1571"/>
                  </a:cubicBezTo>
                  <a:cubicBezTo>
                    <a:pt x="3477" y="1572"/>
                    <a:pt x="3477" y="1572"/>
                    <a:pt x="3477" y="1573"/>
                  </a:cubicBezTo>
                  <a:cubicBezTo>
                    <a:pt x="3477" y="1573"/>
                    <a:pt x="3477" y="1572"/>
                    <a:pt x="3477" y="1571"/>
                  </a:cubicBezTo>
                  <a:cubicBezTo>
                    <a:pt x="3475" y="1571"/>
                    <a:pt x="3474" y="1571"/>
                    <a:pt x="3473" y="1571"/>
                  </a:cubicBezTo>
                  <a:cubicBezTo>
                    <a:pt x="3473" y="1571"/>
                    <a:pt x="3474" y="1571"/>
                    <a:pt x="3476" y="1570"/>
                  </a:cubicBezTo>
                  <a:cubicBezTo>
                    <a:pt x="3475" y="1565"/>
                    <a:pt x="3472" y="1556"/>
                    <a:pt x="3459" y="1556"/>
                  </a:cubicBezTo>
                  <a:cubicBezTo>
                    <a:pt x="3459" y="1556"/>
                    <a:pt x="3459" y="1555"/>
                    <a:pt x="3468" y="1547"/>
                  </a:cubicBezTo>
                  <a:cubicBezTo>
                    <a:pt x="3459" y="1538"/>
                    <a:pt x="3459" y="1538"/>
                    <a:pt x="3459" y="1538"/>
                  </a:cubicBezTo>
                  <a:cubicBezTo>
                    <a:pt x="3468" y="1538"/>
                    <a:pt x="3472" y="1538"/>
                    <a:pt x="3474" y="1540"/>
                  </a:cubicBezTo>
                  <a:cubicBezTo>
                    <a:pt x="3475" y="1539"/>
                    <a:pt x="3476" y="1539"/>
                    <a:pt x="3477" y="1538"/>
                  </a:cubicBezTo>
                  <a:cubicBezTo>
                    <a:pt x="3477" y="1556"/>
                    <a:pt x="3477" y="1556"/>
                    <a:pt x="3477" y="1556"/>
                  </a:cubicBezTo>
                  <a:cubicBezTo>
                    <a:pt x="3477" y="1556"/>
                    <a:pt x="3477" y="1556"/>
                    <a:pt x="3477" y="1570"/>
                  </a:cubicBezTo>
                  <a:cubicBezTo>
                    <a:pt x="3481" y="1569"/>
                    <a:pt x="3486" y="1566"/>
                    <a:pt x="3486" y="1557"/>
                  </a:cubicBezTo>
                  <a:cubicBezTo>
                    <a:pt x="3486" y="1557"/>
                    <a:pt x="3486" y="1557"/>
                    <a:pt x="3499" y="1557"/>
                  </a:cubicBezTo>
                  <a:cubicBezTo>
                    <a:pt x="3499" y="1557"/>
                    <a:pt x="3499" y="1557"/>
                    <a:pt x="3512" y="1557"/>
                  </a:cubicBezTo>
                  <a:cubicBezTo>
                    <a:pt x="3512" y="1557"/>
                    <a:pt x="3525" y="1557"/>
                    <a:pt x="3525" y="1544"/>
                  </a:cubicBezTo>
                  <a:cubicBezTo>
                    <a:pt x="3525" y="1544"/>
                    <a:pt x="3525" y="1544"/>
                    <a:pt x="3512" y="1544"/>
                  </a:cubicBezTo>
                  <a:cubicBezTo>
                    <a:pt x="3512" y="1544"/>
                    <a:pt x="3512" y="1544"/>
                    <a:pt x="3499" y="1557"/>
                  </a:cubicBezTo>
                  <a:cubicBezTo>
                    <a:pt x="3499" y="1544"/>
                    <a:pt x="3486" y="1544"/>
                    <a:pt x="3486" y="1544"/>
                  </a:cubicBezTo>
                  <a:cubicBezTo>
                    <a:pt x="3486" y="1544"/>
                    <a:pt x="3486" y="1544"/>
                    <a:pt x="3486" y="1531"/>
                  </a:cubicBezTo>
                  <a:cubicBezTo>
                    <a:pt x="3486" y="1518"/>
                    <a:pt x="3499" y="1518"/>
                    <a:pt x="3499" y="1505"/>
                  </a:cubicBezTo>
                  <a:cubicBezTo>
                    <a:pt x="3512" y="1492"/>
                    <a:pt x="3512" y="1465"/>
                    <a:pt x="3512" y="1452"/>
                  </a:cubicBezTo>
                  <a:cubicBezTo>
                    <a:pt x="3525" y="1452"/>
                    <a:pt x="3525" y="1452"/>
                    <a:pt x="3525" y="1452"/>
                  </a:cubicBezTo>
                  <a:cubicBezTo>
                    <a:pt x="3538" y="1452"/>
                    <a:pt x="3538" y="1465"/>
                    <a:pt x="3538" y="1465"/>
                  </a:cubicBezTo>
                  <a:cubicBezTo>
                    <a:pt x="3538" y="1465"/>
                    <a:pt x="3538" y="1465"/>
                    <a:pt x="3525" y="1465"/>
                  </a:cubicBezTo>
                  <a:cubicBezTo>
                    <a:pt x="3525" y="1479"/>
                    <a:pt x="3525" y="1479"/>
                    <a:pt x="3525" y="1479"/>
                  </a:cubicBezTo>
                  <a:cubicBezTo>
                    <a:pt x="3525" y="1479"/>
                    <a:pt x="3525" y="1479"/>
                    <a:pt x="3525" y="1492"/>
                  </a:cubicBezTo>
                  <a:cubicBezTo>
                    <a:pt x="3525" y="1492"/>
                    <a:pt x="3525" y="1492"/>
                    <a:pt x="3538" y="1492"/>
                  </a:cubicBezTo>
                  <a:cubicBezTo>
                    <a:pt x="3538" y="1505"/>
                    <a:pt x="3538" y="1505"/>
                    <a:pt x="3538" y="1505"/>
                  </a:cubicBezTo>
                  <a:cubicBezTo>
                    <a:pt x="3538" y="1505"/>
                    <a:pt x="3538" y="1505"/>
                    <a:pt x="3552" y="1505"/>
                  </a:cubicBezTo>
                  <a:cubicBezTo>
                    <a:pt x="3552" y="1492"/>
                    <a:pt x="3552" y="1492"/>
                    <a:pt x="3552" y="1492"/>
                  </a:cubicBezTo>
                  <a:cubicBezTo>
                    <a:pt x="3552" y="1492"/>
                    <a:pt x="3552" y="1492"/>
                    <a:pt x="3538" y="1492"/>
                  </a:cubicBezTo>
                  <a:cubicBezTo>
                    <a:pt x="3538" y="1479"/>
                    <a:pt x="3538" y="1479"/>
                    <a:pt x="3538" y="1479"/>
                  </a:cubicBezTo>
                  <a:cubicBezTo>
                    <a:pt x="3538" y="1479"/>
                    <a:pt x="3538" y="1479"/>
                    <a:pt x="3552" y="1479"/>
                  </a:cubicBezTo>
                  <a:cubicBezTo>
                    <a:pt x="3552" y="1465"/>
                    <a:pt x="3552" y="1465"/>
                    <a:pt x="3552" y="1452"/>
                  </a:cubicBezTo>
                  <a:cubicBezTo>
                    <a:pt x="3552" y="1439"/>
                    <a:pt x="3552" y="1439"/>
                    <a:pt x="3552" y="1426"/>
                  </a:cubicBezTo>
                  <a:cubicBezTo>
                    <a:pt x="3552" y="1413"/>
                    <a:pt x="3565" y="1413"/>
                    <a:pt x="3565" y="1413"/>
                  </a:cubicBezTo>
                  <a:cubicBezTo>
                    <a:pt x="3578" y="1413"/>
                    <a:pt x="3578" y="1413"/>
                    <a:pt x="3578" y="1400"/>
                  </a:cubicBezTo>
                  <a:cubicBezTo>
                    <a:pt x="3578" y="1413"/>
                    <a:pt x="3591" y="1413"/>
                    <a:pt x="3591" y="1413"/>
                  </a:cubicBezTo>
                  <a:cubicBezTo>
                    <a:pt x="3591" y="1413"/>
                    <a:pt x="3591" y="1413"/>
                    <a:pt x="3604" y="1400"/>
                  </a:cubicBezTo>
                  <a:cubicBezTo>
                    <a:pt x="3604" y="1400"/>
                    <a:pt x="3604" y="1400"/>
                    <a:pt x="3617" y="1400"/>
                  </a:cubicBezTo>
                  <a:cubicBezTo>
                    <a:pt x="3624" y="1400"/>
                    <a:pt x="3624" y="1400"/>
                    <a:pt x="3624" y="1400"/>
                  </a:cubicBezTo>
                  <a:cubicBezTo>
                    <a:pt x="3624" y="1413"/>
                    <a:pt x="3624" y="1413"/>
                    <a:pt x="3637" y="1413"/>
                  </a:cubicBezTo>
                  <a:cubicBezTo>
                    <a:pt x="3637" y="1413"/>
                    <a:pt x="3637" y="1413"/>
                    <a:pt x="3650" y="1426"/>
                  </a:cubicBezTo>
                  <a:cubicBezTo>
                    <a:pt x="3650" y="1426"/>
                    <a:pt x="3650" y="1413"/>
                    <a:pt x="3664" y="1413"/>
                  </a:cubicBezTo>
                  <a:cubicBezTo>
                    <a:pt x="3664" y="1413"/>
                    <a:pt x="3664" y="1413"/>
                    <a:pt x="3650" y="1413"/>
                  </a:cubicBezTo>
                  <a:cubicBezTo>
                    <a:pt x="3650" y="1413"/>
                    <a:pt x="3650" y="1413"/>
                    <a:pt x="3637" y="1413"/>
                  </a:cubicBezTo>
                  <a:cubicBezTo>
                    <a:pt x="3637" y="1400"/>
                    <a:pt x="3637" y="1400"/>
                    <a:pt x="3637" y="1400"/>
                  </a:cubicBezTo>
                  <a:cubicBezTo>
                    <a:pt x="3637" y="1400"/>
                    <a:pt x="3637" y="1400"/>
                    <a:pt x="3650" y="1400"/>
                  </a:cubicBezTo>
                  <a:cubicBezTo>
                    <a:pt x="3650" y="1387"/>
                    <a:pt x="3650" y="1387"/>
                    <a:pt x="3650" y="1387"/>
                  </a:cubicBezTo>
                  <a:cubicBezTo>
                    <a:pt x="3664" y="1387"/>
                    <a:pt x="3664" y="1387"/>
                    <a:pt x="3677" y="1387"/>
                  </a:cubicBezTo>
                  <a:cubicBezTo>
                    <a:pt x="3690" y="1387"/>
                    <a:pt x="3690" y="1387"/>
                    <a:pt x="3690" y="1387"/>
                  </a:cubicBezTo>
                  <a:cubicBezTo>
                    <a:pt x="3690" y="1387"/>
                    <a:pt x="3690" y="1387"/>
                    <a:pt x="3703" y="1387"/>
                  </a:cubicBezTo>
                  <a:cubicBezTo>
                    <a:pt x="3703" y="1400"/>
                    <a:pt x="3703" y="1400"/>
                    <a:pt x="3703" y="1400"/>
                  </a:cubicBezTo>
                  <a:cubicBezTo>
                    <a:pt x="3716" y="1400"/>
                    <a:pt x="3716" y="1400"/>
                    <a:pt x="3716" y="1400"/>
                  </a:cubicBezTo>
                  <a:cubicBezTo>
                    <a:pt x="3716" y="1400"/>
                    <a:pt x="3716" y="1400"/>
                    <a:pt x="3729" y="1413"/>
                  </a:cubicBezTo>
                  <a:cubicBezTo>
                    <a:pt x="3729" y="1413"/>
                    <a:pt x="3729" y="1400"/>
                    <a:pt x="3716" y="1400"/>
                  </a:cubicBezTo>
                  <a:cubicBezTo>
                    <a:pt x="3716" y="1387"/>
                    <a:pt x="3716" y="1387"/>
                    <a:pt x="3716" y="1373"/>
                  </a:cubicBezTo>
                  <a:cubicBezTo>
                    <a:pt x="3729" y="1373"/>
                    <a:pt x="3729" y="1373"/>
                    <a:pt x="3729" y="1373"/>
                  </a:cubicBezTo>
                  <a:cubicBezTo>
                    <a:pt x="3729" y="1373"/>
                    <a:pt x="3743" y="1373"/>
                    <a:pt x="3756" y="1373"/>
                  </a:cubicBezTo>
                  <a:cubicBezTo>
                    <a:pt x="3756" y="1360"/>
                    <a:pt x="3756" y="1360"/>
                    <a:pt x="3756" y="1360"/>
                  </a:cubicBezTo>
                  <a:cubicBezTo>
                    <a:pt x="3743" y="1360"/>
                    <a:pt x="3743" y="1360"/>
                    <a:pt x="3743" y="1360"/>
                  </a:cubicBezTo>
                  <a:cubicBezTo>
                    <a:pt x="3743" y="1347"/>
                    <a:pt x="3743" y="1347"/>
                    <a:pt x="3743" y="1347"/>
                  </a:cubicBezTo>
                  <a:cubicBezTo>
                    <a:pt x="3743" y="1347"/>
                    <a:pt x="3743" y="1347"/>
                    <a:pt x="3743" y="1334"/>
                  </a:cubicBezTo>
                  <a:cubicBezTo>
                    <a:pt x="3743" y="1321"/>
                    <a:pt x="3729" y="1321"/>
                    <a:pt x="3729" y="1321"/>
                  </a:cubicBezTo>
                  <a:cubicBezTo>
                    <a:pt x="3743" y="1308"/>
                    <a:pt x="3743" y="1308"/>
                    <a:pt x="3743" y="1308"/>
                  </a:cubicBezTo>
                  <a:cubicBezTo>
                    <a:pt x="3743" y="1301"/>
                    <a:pt x="3729" y="1301"/>
                    <a:pt x="3729" y="1288"/>
                  </a:cubicBezTo>
                  <a:cubicBezTo>
                    <a:pt x="3729" y="1288"/>
                    <a:pt x="3729" y="1288"/>
                    <a:pt x="3729" y="1275"/>
                  </a:cubicBezTo>
                  <a:cubicBezTo>
                    <a:pt x="3716" y="1275"/>
                    <a:pt x="3716" y="1275"/>
                    <a:pt x="3716" y="1275"/>
                  </a:cubicBezTo>
                  <a:cubicBezTo>
                    <a:pt x="3716" y="1262"/>
                    <a:pt x="3716" y="1249"/>
                    <a:pt x="3716" y="1235"/>
                  </a:cubicBezTo>
                  <a:cubicBezTo>
                    <a:pt x="3716" y="1235"/>
                    <a:pt x="3716" y="1235"/>
                    <a:pt x="3703" y="1222"/>
                  </a:cubicBezTo>
                  <a:cubicBezTo>
                    <a:pt x="3703" y="1222"/>
                    <a:pt x="3703" y="1222"/>
                    <a:pt x="3690" y="1209"/>
                  </a:cubicBezTo>
                  <a:cubicBezTo>
                    <a:pt x="3690" y="1209"/>
                    <a:pt x="3690" y="1196"/>
                    <a:pt x="3690" y="1183"/>
                  </a:cubicBezTo>
                  <a:cubicBezTo>
                    <a:pt x="3690" y="1183"/>
                    <a:pt x="3690" y="1183"/>
                    <a:pt x="3677" y="1170"/>
                  </a:cubicBezTo>
                  <a:cubicBezTo>
                    <a:pt x="3677" y="1157"/>
                    <a:pt x="3677" y="1143"/>
                    <a:pt x="3677" y="1130"/>
                  </a:cubicBezTo>
                  <a:cubicBezTo>
                    <a:pt x="3690" y="1117"/>
                    <a:pt x="3690" y="1091"/>
                    <a:pt x="3703" y="1078"/>
                  </a:cubicBezTo>
                  <a:cubicBezTo>
                    <a:pt x="3703" y="1078"/>
                    <a:pt x="3703" y="1065"/>
                    <a:pt x="3716" y="1065"/>
                  </a:cubicBezTo>
                  <a:cubicBezTo>
                    <a:pt x="3729" y="1065"/>
                    <a:pt x="3743" y="1065"/>
                    <a:pt x="3756" y="1065"/>
                  </a:cubicBezTo>
                  <a:cubicBezTo>
                    <a:pt x="3756" y="1051"/>
                    <a:pt x="3756" y="1051"/>
                    <a:pt x="3769" y="1051"/>
                  </a:cubicBezTo>
                  <a:cubicBezTo>
                    <a:pt x="3769" y="1051"/>
                    <a:pt x="3769" y="1051"/>
                    <a:pt x="3769" y="1038"/>
                  </a:cubicBezTo>
                  <a:cubicBezTo>
                    <a:pt x="3769" y="1038"/>
                    <a:pt x="3769" y="1038"/>
                    <a:pt x="3782" y="1025"/>
                  </a:cubicBezTo>
                  <a:cubicBezTo>
                    <a:pt x="3795" y="1012"/>
                    <a:pt x="3795" y="1012"/>
                    <a:pt x="3808" y="1012"/>
                  </a:cubicBezTo>
                  <a:cubicBezTo>
                    <a:pt x="3808" y="1012"/>
                    <a:pt x="3808" y="1012"/>
                    <a:pt x="3808" y="1025"/>
                  </a:cubicBezTo>
                  <a:cubicBezTo>
                    <a:pt x="3808" y="1038"/>
                    <a:pt x="3808" y="1038"/>
                    <a:pt x="3808" y="1038"/>
                  </a:cubicBezTo>
                  <a:cubicBezTo>
                    <a:pt x="3808" y="1051"/>
                    <a:pt x="3808" y="1051"/>
                    <a:pt x="3808" y="1051"/>
                  </a:cubicBezTo>
                  <a:cubicBezTo>
                    <a:pt x="3808" y="1065"/>
                    <a:pt x="3808" y="1078"/>
                    <a:pt x="3795" y="1078"/>
                  </a:cubicBezTo>
                  <a:cubicBezTo>
                    <a:pt x="3795" y="1091"/>
                    <a:pt x="3795" y="1091"/>
                    <a:pt x="3795" y="1091"/>
                  </a:cubicBezTo>
                  <a:cubicBezTo>
                    <a:pt x="3795" y="1104"/>
                    <a:pt x="3795" y="1104"/>
                    <a:pt x="3795" y="1104"/>
                  </a:cubicBezTo>
                  <a:cubicBezTo>
                    <a:pt x="3795" y="1104"/>
                    <a:pt x="3795" y="1104"/>
                    <a:pt x="3782" y="1104"/>
                  </a:cubicBezTo>
                  <a:cubicBezTo>
                    <a:pt x="3782" y="1104"/>
                    <a:pt x="3782" y="1104"/>
                    <a:pt x="3782" y="1117"/>
                  </a:cubicBezTo>
                  <a:cubicBezTo>
                    <a:pt x="3795" y="1117"/>
                    <a:pt x="3795" y="1117"/>
                    <a:pt x="3795" y="1104"/>
                  </a:cubicBezTo>
                  <a:cubicBezTo>
                    <a:pt x="3795" y="1117"/>
                    <a:pt x="3795" y="1117"/>
                    <a:pt x="3795" y="1117"/>
                  </a:cubicBezTo>
                  <a:cubicBezTo>
                    <a:pt x="3795" y="1117"/>
                    <a:pt x="3795" y="1117"/>
                    <a:pt x="3808" y="1117"/>
                  </a:cubicBezTo>
                  <a:cubicBezTo>
                    <a:pt x="3808" y="1130"/>
                    <a:pt x="3808" y="1130"/>
                    <a:pt x="3808" y="1130"/>
                  </a:cubicBezTo>
                  <a:cubicBezTo>
                    <a:pt x="3808" y="1130"/>
                    <a:pt x="3808" y="1130"/>
                    <a:pt x="3822" y="1130"/>
                  </a:cubicBezTo>
                  <a:cubicBezTo>
                    <a:pt x="3822" y="1130"/>
                    <a:pt x="3822" y="1130"/>
                    <a:pt x="3835" y="1130"/>
                  </a:cubicBezTo>
                  <a:cubicBezTo>
                    <a:pt x="3835" y="1143"/>
                    <a:pt x="3835" y="1143"/>
                    <a:pt x="3835" y="1143"/>
                  </a:cubicBezTo>
                  <a:cubicBezTo>
                    <a:pt x="3822" y="1143"/>
                    <a:pt x="3822" y="1157"/>
                    <a:pt x="3822" y="1157"/>
                  </a:cubicBezTo>
                  <a:cubicBezTo>
                    <a:pt x="3808" y="1157"/>
                    <a:pt x="3808" y="1170"/>
                    <a:pt x="3808" y="1170"/>
                  </a:cubicBezTo>
                  <a:cubicBezTo>
                    <a:pt x="3808" y="1170"/>
                    <a:pt x="3808" y="1170"/>
                    <a:pt x="3808" y="1183"/>
                  </a:cubicBezTo>
                  <a:cubicBezTo>
                    <a:pt x="3808" y="1183"/>
                    <a:pt x="3808" y="1183"/>
                    <a:pt x="3795" y="1183"/>
                  </a:cubicBezTo>
                  <a:cubicBezTo>
                    <a:pt x="3795" y="1196"/>
                    <a:pt x="3795" y="1196"/>
                    <a:pt x="3795" y="1196"/>
                  </a:cubicBezTo>
                  <a:cubicBezTo>
                    <a:pt x="3795" y="1196"/>
                    <a:pt x="3795" y="1196"/>
                    <a:pt x="3782" y="1196"/>
                  </a:cubicBezTo>
                  <a:cubicBezTo>
                    <a:pt x="3782" y="1209"/>
                    <a:pt x="3782" y="1209"/>
                    <a:pt x="3782" y="1209"/>
                  </a:cubicBezTo>
                  <a:cubicBezTo>
                    <a:pt x="3782" y="1209"/>
                    <a:pt x="3782" y="1209"/>
                    <a:pt x="3782" y="1222"/>
                  </a:cubicBezTo>
                  <a:cubicBezTo>
                    <a:pt x="3782" y="1222"/>
                    <a:pt x="3782" y="1222"/>
                    <a:pt x="3795" y="1222"/>
                  </a:cubicBezTo>
                  <a:cubicBezTo>
                    <a:pt x="3795" y="1209"/>
                    <a:pt x="3795" y="1209"/>
                    <a:pt x="3795" y="1209"/>
                  </a:cubicBezTo>
                  <a:cubicBezTo>
                    <a:pt x="3795" y="1209"/>
                    <a:pt x="3795" y="1209"/>
                    <a:pt x="3808" y="1209"/>
                  </a:cubicBezTo>
                  <a:cubicBezTo>
                    <a:pt x="3808" y="1209"/>
                    <a:pt x="3808" y="1209"/>
                    <a:pt x="3814" y="1215"/>
                  </a:cubicBezTo>
                  <a:cubicBezTo>
                    <a:pt x="3814" y="1202"/>
                    <a:pt x="3814" y="1202"/>
                    <a:pt x="3814" y="1202"/>
                  </a:cubicBezTo>
                  <a:cubicBezTo>
                    <a:pt x="3814" y="1202"/>
                    <a:pt x="3814" y="1220"/>
                    <a:pt x="3831" y="1220"/>
                  </a:cubicBezTo>
                  <a:cubicBezTo>
                    <a:pt x="3825" y="1220"/>
                    <a:pt x="3821" y="1220"/>
                    <a:pt x="3819" y="1220"/>
                  </a:cubicBezTo>
                  <a:cubicBezTo>
                    <a:pt x="3820" y="1220"/>
                    <a:pt x="3820" y="1221"/>
                    <a:pt x="3822" y="1222"/>
                  </a:cubicBezTo>
                  <a:cubicBezTo>
                    <a:pt x="3835" y="1235"/>
                    <a:pt x="3835" y="1235"/>
                    <a:pt x="3835" y="1235"/>
                  </a:cubicBezTo>
                  <a:cubicBezTo>
                    <a:pt x="3835" y="1249"/>
                    <a:pt x="3835" y="1249"/>
                    <a:pt x="3835" y="1262"/>
                  </a:cubicBezTo>
                  <a:cubicBezTo>
                    <a:pt x="3835" y="1262"/>
                    <a:pt x="3835" y="1262"/>
                    <a:pt x="3831" y="1262"/>
                  </a:cubicBezTo>
                  <a:cubicBezTo>
                    <a:pt x="3831" y="1263"/>
                    <a:pt x="3831" y="1266"/>
                    <a:pt x="3831" y="1273"/>
                  </a:cubicBezTo>
                  <a:cubicBezTo>
                    <a:pt x="3831" y="1273"/>
                    <a:pt x="3831" y="1273"/>
                    <a:pt x="3814" y="1273"/>
                  </a:cubicBezTo>
                  <a:cubicBezTo>
                    <a:pt x="3814" y="1262"/>
                    <a:pt x="3814" y="1262"/>
                    <a:pt x="3814" y="1262"/>
                  </a:cubicBezTo>
                  <a:cubicBezTo>
                    <a:pt x="3812" y="1262"/>
                    <a:pt x="3811" y="1262"/>
                    <a:pt x="3808" y="1262"/>
                  </a:cubicBezTo>
                  <a:cubicBezTo>
                    <a:pt x="3795" y="1262"/>
                    <a:pt x="3795" y="1262"/>
                    <a:pt x="3795" y="1262"/>
                  </a:cubicBezTo>
                  <a:cubicBezTo>
                    <a:pt x="3795" y="1262"/>
                    <a:pt x="3795" y="1262"/>
                    <a:pt x="3795" y="1249"/>
                  </a:cubicBezTo>
                  <a:cubicBezTo>
                    <a:pt x="3795" y="1249"/>
                    <a:pt x="3795" y="1249"/>
                    <a:pt x="3782" y="1249"/>
                  </a:cubicBezTo>
                  <a:cubicBezTo>
                    <a:pt x="3769" y="1249"/>
                    <a:pt x="3769" y="1249"/>
                    <a:pt x="3769" y="1249"/>
                  </a:cubicBezTo>
                  <a:cubicBezTo>
                    <a:pt x="3769" y="1262"/>
                    <a:pt x="3769" y="1262"/>
                    <a:pt x="3769" y="1262"/>
                  </a:cubicBezTo>
                  <a:cubicBezTo>
                    <a:pt x="3769" y="1262"/>
                    <a:pt x="3769" y="1262"/>
                    <a:pt x="3782" y="1262"/>
                  </a:cubicBezTo>
                  <a:cubicBezTo>
                    <a:pt x="3782" y="1275"/>
                    <a:pt x="3782" y="1275"/>
                    <a:pt x="3782" y="1275"/>
                  </a:cubicBezTo>
                  <a:cubicBezTo>
                    <a:pt x="3769" y="1275"/>
                    <a:pt x="3769" y="1275"/>
                    <a:pt x="3769" y="1275"/>
                  </a:cubicBezTo>
                  <a:cubicBezTo>
                    <a:pt x="3769" y="1288"/>
                    <a:pt x="3769" y="1288"/>
                    <a:pt x="3769" y="1288"/>
                  </a:cubicBezTo>
                  <a:cubicBezTo>
                    <a:pt x="3782" y="1288"/>
                    <a:pt x="3782" y="1288"/>
                    <a:pt x="3795" y="1288"/>
                  </a:cubicBezTo>
                  <a:cubicBezTo>
                    <a:pt x="3795" y="1288"/>
                    <a:pt x="3795" y="1288"/>
                    <a:pt x="3795" y="1301"/>
                  </a:cubicBezTo>
                  <a:cubicBezTo>
                    <a:pt x="3795" y="1301"/>
                    <a:pt x="3795" y="1301"/>
                    <a:pt x="3795" y="1308"/>
                  </a:cubicBezTo>
                  <a:cubicBezTo>
                    <a:pt x="3795" y="1321"/>
                    <a:pt x="3795" y="1321"/>
                    <a:pt x="3795" y="1321"/>
                  </a:cubicBezTo>
                  <a:cubicBezTo>
                    <a:pt x="3808" y="1321"/>
                    <a:pt x="3808" y="1321"/>
                    <a:pt x="3808" y="1321"/>
                  </a:cubicBezTo>
                  <a:cubicBezTo>
                    <a:pt x="3808" y="1321"/>
                    <a:pt x="3808" y="1321"/>
                    <a:pt x="3808" y="1308"/>
                  </a:cubicBezTo>
                  <a:cubicBezTo>
                    <a:pt x="3822" y="1321"/>
                    <a:pt x="3822" y="1321"/>
                    <a:pt x="3822" y="1321"/>
                  </a:cubicBezTo>
                  <a:cubicBezTo>
                    <a:pt x="3835" y="1321"/>
                    <a:pt x="3835" y="1321"/>
                    <a:pt x="3835" y="1321"/>
                  </a:cubicBezTo>
                  <a:cubicBezTo>
                    <a:pt x="3835" y="1321"/>
                    <a:pt x="3835" y="1321"/>
                    <a:pt x="3848" y="1321"/>
                  </a:cubicBezTo>
                  <a:cubicBezTo>
                    <a:pt x="3848" y="1321"/>
                    <a:pt x="3848" y="1321"/>
                    <a:pt x="3848" y="1334"/>
                  </a:cubicBezTo>
                  <a:cubicBezTo>
                    <a:pt x="3848" y="1334"/>
                    <a:pt x="3848" y="1334"/>
                    <a:pt x="3835" y="1347"/>
                  </a:cubicBezTo>
                  <a:cubicBezTo>
                    <a:pt x="3835" y="1347"/>
                    <a:pt x="3835" y="1347"/>
                    <a:pt x="3835" y="1360"/>
                  </a:cubicBezTo>
                  <a:cubicBezTo>
                    <a:pt x="3835" y="1360"/>
                    <a:pt x="3835" y="1360"/>
                    <a:pt x="3848" y="1360"/>
                  </a:cubicBezTo>
                  <a:cubicBezTo>
                    <a:pt x="3848" y="1360"/>
                    <a:pt x="3848" y="1360"/>
                    <a:pt x="3861" y="1347"/>
                  </a:cubicBezTo>
                  <a:cubicBezTo>
                    <a:pt x="3861" y="1360"/>
                    <a:pt x="3861" y="1360"/>
                    <a:pt x="3861" y="1360"/>
                  </a:cubicBezTo>
                  <a:cubicBezTo>
                    <a:pt x="3874" y="1360"/>
                    <a:pt x="3874" y="1360"/>
                    <a:pt x="3874" y="1360"/>
                  </a:cubicBezTo>
                  <a:cubicBezTo>
                    <a:pt x="3874" y="1360"/>
                    <a:pt x="3874" y="1360"/>
                    <a:pt x="3874" y="1347"/>
                  </a:cubicBezTo>
                  <a:cubicBezTo>
                    <a:pt x="3874" y="1347"/>
                    <a:pt x="3887" y="1347"/>
                    <a:pt x="3887" y="1334"/>
                  </a:cubicBezTo>
                  <a:cubicBezTo>
                    <a:pt x="3901" y="1334"/>
                    <a:pt x="3901" y="1334"/>
                    <a:pt x="3914" y="1334"/>
                  </a:cubicBezTo>
                  <a:cubicBezTo>
                    <a:pt x="3927" y="1321"/>
                    <a:pt x="3927" y="1321"/>
                    <a:pt x="3927" y="1308"/>
                  </a:cubicBezTo>
                  <a:cubicBezTo>
                    <a:pt x="3927" y="1308"/>
                    <a:pt x="3927" y="1308"/>
                    <a:pt x="3940" y="1308"/>
                  </a:cubicBezTo>
                  <a:cubicBezTo>
                    <a:pt x="3940" y="1321"/>
                    <a:pt x="3940" y="1321"/>
                    <a:pt x="3927" y="1321"/>
                  </a:cubicBezTo>
                  <a:cubicBezTo>
                    <a:pt x="3927" y="1321"/>
                    <a:pt x="3927" y="1321"/>
                    <a:pt x="3927" y="1334"/>
                  </a:cubicBezTo>
                  <a:cubicBezTo>
                    <a:pt x="3927" y="1321"/>
                    <a:pt x="3927" y="1321"/>
                    <a:pt x="3940" y="1321"/>
                  </a:cubicBezTo>
                  <a:cubicBezTo>
                    <a:pt x="3940" y="1321"/>
                    <a:pt x="3940" y="1321"/>
                    <a:pt x="3947" y="1321"/>
                  </a:cubicBezTo>
                  <a:cubicBezTo>
                    <a:pt x="3947" y="1321"/>
                    <a:pt x="3947" y="1321"/>
                    <a:pt x="3960" y="1321"/>
                  </a:cubicBezTo>
                  <a:cubicBezTo>
                    <a:pt x="3960" y="1321"/>
                    <a:pt x="3960" y="1321"/>
                    <a:pt x="3960" y="1334"/>
                  </a:cubicBezTo>
                  <a:cubicBezTo>
                    <a:pt x="3973" y="1334"/>
                    <a:pt x="3973" y="1334"/>
                    <a:pt x="3973" y="1334"/>
                  </a:cubicBezTo>
                  <a:cubicBezTo>
                    <a:pt x="3973" y="1334"/>
                    <a:pt x="3973" y="1334"/>
                    <a:pt x="3973" y="1347"/>
                  </a:cubicBezTo>
                  <a:cubicBezTo>
                    <a:pt x="3973" y="1347"/>
                    <a:pt x="3973" y="1347"/>
                    <a:pt x="3986" y="1347"/>
                  </a:cubicBezTo>
                  <a:cubicBezTo>
                    <a:pt x="3986" y="1347"/>
                    <a:pt x="3986" y="1347"/>
                    <a:pt x="3986" y="1360"/>
                  </a:cubicBezTo>
                  <a:cubicBezTo>
                    <a:pt x="3999" y="1360"/>
                    <a:pt x="3999" y="1360"/>
                    <a:pt x="3999" y="1373"/>
                  </a:cubicBezTo>
                  <a:cubicBezTo>
                    <a:pt x="3999" y="1373"/>
                    <a:pt x="3999" y="1373"/>
                    <a:pt x="4012" y="1373"/>
                  </a:cubicBezTo>
                  <a:cubicBezTo>
                    <a:pt x="4012" y="1373"/>
                    <a:pt x="4012" y="1373"/>
                    <a:pt x="4026" y="1373"/>
                  </a:cubicBezTo>
                  <a:cubicBezTo>
                    <a:pt x="4026" y="1373"/>
                    <a:pt x="4026" y="1373"/>
                    <a:pt x="4026" y="1361"/>
                  </a:cubicBezTo>
                  <a:cubicBezTo>
                    <a:pt x="4009" y="1361"/>
                    <a:pt x="4009" y="1361"/>
                    <a:pt x="4009" y="1361"/>
                  </a:cubicBezTo>
                  <a:cubicBezTo>
                    <a:pt x="4027" y="1343"/>
                    <a:pt x="4027" y="1343"/>
                    <a:pt x="4027" y="1343"/>
                  </a:cubicBezTo>
                  <a:cubicBezTo>
                    <a:pt x="4027" y="1343"/>
                    <a:pt x="4027" y="1343"/>
                    <a:pt x="4027" y="1355"/>
                  </a:cubicBezTo>
                  <a:cubicBezTo>
                    <a:pt x="4030" y="1347"/>
                    <a:pt x="4039" y="1347"/>
                    <a:pt x="4039" y="1347"/>
                  </a:cubicBezTo>
                  <a:cubicBezTo>
                    <a:pt x="4065" y="1334"/>
                    <a:pt x="4078" y="1334"/>
                    <a:pt x="4105" y="1321"/>
                  </a:cubicBezTo>
                  <a:cubicBezTo>
                    <a:pt x="4118" y="1308"/>
                    <a:pt x="4118" y="1308"/>
                    <a:pt x="4131" y="1301"/>
                  </a:cubicBezTo>
                  <a:cubicBezTo>
                    <a:pt x="4144" y="1301"/>
                    <a:pt x="4157" y="1288"/>
                    <a:pt x="4170" y="1288"/>
                  </a:cubicBezTo>
                  <a:cubicBezTo>
                    <a:pt x="4184" y="1288"/>
                    <a:pt x="4210" y="1275"/>
                    <a:pt x="4223" y="1275"/>
                  </a:cubicBezTo>
                  <a:cubicBezTo>
                    <a:pt x="4236" y="1275"/>
                    <a:pt x="4236" y="1288"/>
                    <a:pt x="4249" y="1288"/>
                  </a:cubicBezTo>
                  <a:cubicBezTo>
                    <a:pt x="4249" y="1301"/>
                    <a:pt x="4249" y="1301"/>
                    <a:pt x="4249" y="1301"/>
                  </a:cubicBezTo>
                  <a:cubicBezTo>
                    <a:pt x="4249" y="1301"/>
                    <a:pt x="4249" y="1301"/>
                    <a:pt x="4236" y="1288"/>
                  </a:cubicBezTo>
                  <a:cubicBezTo>
                    <a:pt x="4236" y="1301"/>
                    <a:pt x="4249" y="1308"/>
                    <a:pt x="4249" y="1321"/>
                  </a:cubicBezTo>
                  <a:cubicBezTo>
                    <a:pt x="4256" y="1321"/>
                    <a:pt x="4256" y="1321"/>
                    <a:pt x="4256" y="1321"/>
                  </a:cubicBezTo>
                  <a:cubicBezTo>
                    <a:pt x="4269" y="1321"/>
                    <a:pt x="4269" y="1308"/>
                    <a:pt x="4282" y="1308"/>
                  </a:cubicBezTo>
                  <a:cubicBezTo>
                    <a:pt x="4282" y="1308"/>
                    <a:pt x="4282" y="1308"/>
                    <a:pt x="4295" y="1308"/>
                  </a:cubicBezTo>
                  <a:cubicBezTo>
                    <a:pt x="4295" y="1301"/>
                    <a:pt x="4295" y="1301"/>
                    <a:pt x="4309" y="1301"/>
                  </a:cubicBezTo>
                  <a:cubicBezTo>
                    <a:pt x="4309" y="1301"/>
                    <a:pt x="4309" y="1301"/>
                    <a:pt x="4309" y="1288"/>
                  </a:cubicBezTo>
                  <a:cubicBezTo>
                    <a:pt x="4309" y="1275"/>
                    <a:pt x="4309" y="1275"/>
                    <a:pt x="4309" y="1275"/>
                  </a:cubicBezTo>
                  <a:cubicBezTo>
                    <a:pt x="4309" y="1275"/>
                    <a:pt x="4309" y="1275"/>
                    <a:pt x="4322" y="1262"/>
                  </a:cubicBezTo>
                  <a:cubicBezTo>
                    <a:pt x="4322" y="1262"/>
                    <a:pt x="4322" y="1262"/>
                    <a:pt x="4335" y="1262"/>
                  </a:cubicBezTo>
                  <a:cubicBezTo>
                    <a:pt x="4348" y="1249"/>
                    <a:pt x="4361" y="1249"/>
                    <a:pt x="4361" y="1235"/>
                  </a:cubicBezTo>
                  <a:cubicBezTo>
                    <a:pt x="4361" y="1249"/>
                    <a:pt x="4348" y="1249"/>
                    <a:pt x="4348" y="1262"/>
                  </a:cubicBezTo>
                  <a:cubicBezTo>
                    <a:pt x="4348" y="1262"/>
                    <a:pt x="4348" y="1262"/>
                    <a:pt x="4348" y="1275"/>
                  </a:cubicBezTo>
                  <a:cubicBezTo>
                    <a:pt x="4348" y="1262"/>
                    <a:pt x="4361" y="1262"/>
                    <a:pt x="4361" y="1262"/>
                  </a:cubicBezTo>
                  <a:cubicBezTo>
                    <a:pt x="4361" y="1275"/>
                    <a:pt x="4361" y="1275"/>
                    <a:pt x="4361" y="1275"/>
                  </a:cubicBezTo>
                  <a:cubicBezTo>
                    <a:pt x="4374" y="1275"/>
                    <a:pt x="4374" y="1275"/>
                    <a:pt x="4374" y="1275"/>
                  </a:cubicBezTo>
                  <a:cubicBezTo>
                    <a:pt x="4374" y="1262"/>
                    <a:pt x="4374" y="1262"/>
                    <a:pt x="4374" y="1249"/>
                  </a:cubicBezTo>
                  <a:cubicBezTo>
                    <a:pt x="4374" y="1249"/>
                    <a:pt x="4374" y="1249"/>
                    <a:pt x="4388" y="1249"/>
                  </a:cubicBezTo>
                  <a:cubicBezTo>
                    <a:pt x="4388" y="1235"/>
                    <a:pt x="4388" y="1235"/>
                    <a:pt x="4388" y="1235"/>
                  </a:cubicBezTo>
                  <a:cubicBezTo>
                    <a:pt x="4388" y="1235"/>
                    <a:pt x="4388" y="1235"/>
                    <a:pt x="4374" y="1235"/>
                  </a:cubicBezTo>
                  <a:cubicBezTo>
                    <a:pt x="4374" y="1222"/>
                    <a:pt x="4374" y="1222"/>
                    <a:pt x="4388" y="1222"/>
                  </a:cubicBezTo>
                  <a:cubicBezTo>
                    <a:pt x="4374" y="1209"/>
                    <a:pt x="4374" y="1196"/>
                    <a:pt x="4374" y="1183"/>
                  </a:cubicBezTo>
                  <a:cubicBezTo>
                    <a:pt x="4374" y="1176"/>
                    <a:pt x="4374" y="1163"/>
                    <a:pt x="4374" y="1157"/>
                  </a:cubicBezTo>
                  <a:cubicBezTo>
                    <a:pt x="4374" y="1157"/>
                    <a:pt x="4374" y="1157"/>
                    <a:pt x="4361" y="1143"/>
                  </a:cubicBezTo>
                  <a:cubicBezTo>
                    <a:pt x="4374" y="1130"/>
                    <a:pt x="4374" y="1117"/>
                    <a:pt x="4374" y="1104"/>
                  </a:cubicBezTo>
                  <a:cubicBezTo>
                    <a:pt x="4388" y="1078"/>
                    <a:pt x="4388" y="1051"/>
                    <a:pt x="4401" y="1038"/>
                  </a:cubicBezTo>
                  <a:cubicBezTo>
                    <a:pt x="4414" y="1025"/>
                    <a:pt x="4414" y="1025"/>
                    <a:pt x="4427" y="1012"/>
                  </a:cubicBezTo>
                  <a:cubicBezTo>
                    <a:pt x="4427" y="1012"/>
                    <a:pt x="4440" y="1012"/>
                    <a:pt x="4453" y="999"/>
                  </a:cubicBezTo>
                  <a:cubicBezTo>
                    <a:pt x="4467" y="1012"/>
                    <a:pt x="4467" y="1025"/>
                    <a:pt x="4480" y="1038"/>
                  </a:cubicBezTo>
                  <a:cubicBezTo>
                    <a:pt x="4480" y="1038"/>
                    <a:pt x="4480" y="1051"/>
                    <a:pt x="4493" y="1051"/>
                  </a:cubicBezTo>
                  <a:cubicBezTo>
                    <a:pt x="4493" y="1058"/>
                    <a:pt x="4493" y="1058"/>
                    <a:pt x="4493" y="1065"/>
                  </a:cubicBezTo>
                  <a:cubicBezTo>
                    <a:pt x="4506" y="1065"/>
                    <a:pt x="4506" y="1078"/>
                    <a:pt x="4519" y="1078"/>
                  </a:cubicBezTo>
                  <a:cubicBezTo>
                    <a:pt x="4519" y="1078"/>
                    <a:pt x="4532" y="1078"/>
                    <a:pt x="4532" y="1065"/>
                  </a:cubicBezTo>
                  <a:cubicBezTo>
                    <a:pt x="4532" y="1065"/>
                    <a:pt x="4532" y="1065"/>
                    <a:pt x="4532" y="1078"/>
                  </a:cubicBezTo>
                  <a:cubicBezTo>
                    <a:pt x="4532" y="1078"/>
                    <a:pt x="4532" y="1078"/>
                    <a:pt x="4546" y="1078"/>
                  </a:cubicBezTo>
                  <a:cubicBezTo>
                    <a:pt x="4546" y="1078"/>
                    <a:pt x="4546" y="1078"/>
                    <a:pt x="4546" y="1065"/>
                  </a:cubicBezTo>
                  <a:cubicBezTo>
                    <a:pt x="4546" y="1065"/>
                    <a:pt x="4546" y="1051"/>
                    <a:pt x="4559" y="1051"/>
                  </a:cubicBezTo>
                  <a:cubicBezTo>
                    <a:pt x="4559" y="1038"/>
                    <a:pt x="4559" y="1012"/>
                    <a:pt x="4559" y="986"/>
                  </a:cubicBezTo>
                  <a:cubicBezTo>
                    <a:pt x="4559" y="973"/>
                    <a:pt x="4559" y="966"/>
                    <a:pt x="4559" y="953"/>
                  </a:cubicBezTo>
                  <a:cubicBezTo>
                    <a:pt x="4559" y="940"/>
                    <a:pt x="4559" y="940"/>
                    <a:pt x="4546" y="940"/>
                  </a:cubicBezTo>
                  <a:cubicBezTo>
                    <a:pt x="4546" y="953"/>
                    <a:pt x="4546" y="953"/>
                    <a:pt x="4546" y="953"/>
                  </a:cubicBezTo>
                  <a:cubicBezTo>
                    <a:pt x="4532" y="953"/>
                    <a:pt x="4532" y="953"/>
                    <a:pt x="4532" y="953"/>
                  </a:cubicBezTo>
                  <a:cubicBezTo>
                    <a:pt x="4519" y="953"/>
                    <a:pt x="4519" y="953"/>
                    <a:pt x="4519" y="953"/>
                  </a:cubicBezTo>
                  <a:cubicBezTo>
                    <a:pt x="4519" y="940"/>
                    <a:pt x="4519" y="940"/>
                    <a:pt x="4519" y="940"/>
                  </a:cubicBezTo>
                  <a:cubicBezTo>
                    <a:pt x="4519" y="927"/>
                    <a:pt x="4506" y="927"/>
                    <a:pt x="4506" y="927"/>
                  </a:cubicBezTo>
                  <a:cubicBezTo>
                    <a:pt x="4506" y="927"/>
                    <a:pt x="4506" y="927"/>
                    <a:pt x="4506" y="913"/>
                  </a:cubicBezTo>
                  <a:cubicBezTo>
                    <a:pt x="4506" y="913"/>
                    <a:pt x="4506" y="913"/>
                    <a:pt x="4519" y="913"/>
                  </a:cubicBezTo>
                  <a:cubicBezTo>
                    <a:pt x="4519" y="913"/>
                    <a:pt x="4519" y="913"/>
                    <a:pt x="4519" y="900"/>
                  </a:cubicBezTo>
                  <a:cubicBezTo>
                    <a:pt x="4519" y="900"/>
                    <a:pt x="4519" y="900"/>
                    <a:pt x="4506" y="900"/>
                  </a:cubicBezTo>
                  <a:cubicBezTo>
                    <a:pt x="4506" y="900"/>
                    <a:pt x="4506" y="900"/>
                    <a:pt x="4506" y="887"/>
                  </a:cubicBezTo>
                  <a:cubicBezTo>
                    <a:pt x="4506" y="874"/>
                    <a:pt x="4506" y="874"/>
                    <a:pt x="4506" y="874"/>
                  </a:cubicBezTo>
                  <a:cubicBezTo>
                    <a:pt x="4506" y="874"/>
                    <a:pt x="4506" y="874"/>
                    <a:pt x="4506" y="861"/>
                  </a:cubicBezTo>
                  <a:cubicBezTo>
                    <a:pt x="4506" y="861"/>
                    <a:pt x="4506" y="861"/>
                    <a:pt x="4519" y="861"/>
                  </a:cubicBezTo>
                  <a:cubicBezTo>
                    <a:pt x="4519" y="848"/>
                    <a:pt x="4532" y="848"/>
                    <a:pt x="4546" y="848"/>
                  </a:cubicBezTo>
                  <a:cubicBezTo>
                    <a:pt x="4546" y="835"/>
                    <a:pt x="4546" y="835"/>
                    <a:pt x="4559" y="835"/>
                  </a:cubicBezTo>
                  <a:cubicBezTo>
                    <a:pt x="4572" y="835"/>
                    <a:pt x="4572" y="835"/>
                    <a:pt x="4578" y="835"/>
                  </a:cubicBezTo>
                  <a:cubicBezTo>
                    <a:pt x="4578" y="835"/>
                    <a:pt x="4578" y="835"/>
                    <a:pt x="4578" y="821"/>
                  </a:cubicBezTo>
                  <a:cubicBezTo>
                    <a:pt x="4578" y="821"/>
                    <a:pt x="4578" y="835"/>
                    <a:pt x="4592" y="835"/>
                  </a:cubicBezTo>
                  <a:cubicBezTo>
                    <a:pt x="4592" y="835"/>
                    <a:pt x="4592" y="835"/>
                    <a:pt x="4605" y="835"/>
                  </a:cubicBezTo>
                  <a:cubicBezTo>
                    <a:pt x="4605" y="821"/>
                    <a:pt x="4618" y="821"/>
                    <a:pt x="4618" y="821"/>
                  </a:cubicBezTo>
                  <a:cubicBezTo>
                    <a:pt x="4618" y="821"/>
                    <a:pt x="4618" y="821"/>
                    <a:pt x="4618" y="808"/>
                  </a:cubicBezTo>
                  <a:cubicBezTo>
                    <a:pt x="4631" y="821"/>
                    <a:pt x="4631" y="821"/>
                    <a:pt x="4631" y="821"/>
                  </a:cubicBezTo>
                  <a:cubicBezTo>
                    <a:pt x="4631" y="821"/>
                    <a:pt x="4631" y="821"/>
                    <a:pt x="4644" y="821"/>
                  </a:cubicBezTo>
                  <a:cubicBezTo>
                    <a:pt x="4657" y="821"/>
                    <a:pt x="4671" y="821"/>
                    <a:pt x="4684" y="821"/>
                  </a:cubicBezTo>
                  <a:cubicBezTo>
                    <a:pt x="4684" y="835"/>
                    <a:pt x="4684" y="835"/>
                    <a:pt x="4684" y="835"/>
                  </a:cubicBezTo>
                  <a:cubicBezTo>
                    <a:pt x="4684" y="835"/>
                    <a:pt x="4684" y="835"/>
                    <a:pt x="4697" y="835"/>
                  </a:cubicBezTo>
                  <a:cubicBezTo>
                    <a:pt x="4710" y="835"/>
                    <a:pt x="4723" y="835"/>
                    <a:pt x="4736" y="835"/>
                  </a:cubicBezTo>
                  <a:cubicBezTo>
                    <a:pt x="4736" y="835"/>
                    <a:pt x="4736" y="835"/>
                    <a:pt x="4750" y="835"/>
                  </a:cubicBezTo>
                  <a:cubicBezTo>
                    <a:pt x="4750" y="835"/>
                    <a:pt x="4750" y="835"/>
                    <a:pt x="4750" y="821"/>
                  </a:cubicBezTo>
                  <a:cubicBezTo>
                    <a:pt x="4750" y="821"/>
                    <a:pt x="4750" y="821"/>
                    <a:pt x="4750" y="808"/>
                  </a:cubicBezTo>
                  <a:cubicBezTo>
                    <a:pt x="4763" y="808"/>
                    <a:pt x="4763" y="808"/>
                    <a:pt x="4763" y="808"/>
                  </a:cubicBezTo>
                  <a:cubicBezTo>
                    <a:pt x="4776" y="808"/>
                    <a:pt x="4776" y="808"/>
                    <a:pt x="4776" y="808"/>
                  </a:cubicBezTo>
                  <a:cubicBezTo>
                    <a:pt x="4776" y="808"/>
                    <a:pt x="4776" y="808"/>
                    <a:pt x="4776" y="795"/>
                  </a:cubicBezTo>
                  <a:cubicBezTo>
                    <a:pt x="4776" y="795"/>
                    <a:pt x="4776" y="795"/>
                    <a:pt x="4789" y="795"/>
                  </a:cubicBezTo>
                  <a:cubicBezTo>
                    <a:pt x="4789" y="795"/>
                    <a:pt x="4789" y="795"/>
                    <a:pt x="4789" y="808"/>
                  </a:cubicBezTo>
                  <a:cubicBezTo>
                    <a:pt x="4802" y="795"/>
                    <a:pt x="4802" y="795"/>
                    <a:pt x="4802" y="795"/>
                  </a:cubicBezTo>
                  <a:cubicBezTo>
                    <a:pt x="4802" y="795"/>
                    <a:pt x="4802" y="795"/>
                    <a:pt x="4815" y="782"/>
                  </a:cubicBezTo>
                  <a:cubicBezTo>
                    <a:pt x="4829" y="782"/>
                    <a:pt x="4855" y="782"/>
                    <a:pt x="4868" y="795"/>
                  </a:cubicBezTo>
                  <a:cubicBezTo>
                    <a:pt x="4868" y="795"/>
                    <a:pt x="4868" y="782"/>
                    <a:pt x="4881" y="782"/>
                  </a:cubicBezTo>
                  <a:cubicBezTo>
                    <a:pt x="4868" y="782"/>
                    <a:pt x="4868" y="782"/>
                    <a:pt x="4868" y="782"/>
                  </a:cubicBezTo>
                  <a:cubicBezTo>
                    <a:pt x="4868" y="782"/>
                    <a:pt x="4868" y="782"/>
                    <a:pt x="4855" y="782"/>
                  </a:cubicBezTo>
                  <a:cubicBezTo>
                    <a:pt x="4855" y="769"/>
                    <a:pt x="4855" y="769"/>
                    <a:pt x="4855" y="769"/>
                  </a:cubicBezTo>
                  <a:cubicBezTo>
                    <a:pt x="4855" y="769"/>
                    <a:pt x="4855" y="769"/>
                    <a:pt x="4855" y="756"/>
                  </a:cubicBezTo>
                  <a:cubicBezTo>
                    <a:pt x="4855" y="756"/>
                    <a:pt x="4855" y="756"/>
                    <a:pt x="4842" y="756"/>
                  </a:cubicBezTo>
                  <a:cubicBezTo>
                    <a:pt x="4829" y="756"/>
                    <a:pt x="4815" y="756"/>
                    <a:pt x="4815" y="756"/>
                  </a:cubicBezTo>
                  <a:cubicBezTo>
                    <a:pt x="4802" y="756"/>
                    <a:pt x="4802" y="756"/>
                    <a:pt x="4789" y="743"/>
                  </a:cubicBezTo>
                  <a:cubicBezTo>
                    <a:pt x="4776" y="743"/>
                    <a:pt x="4776" y="743"/>
                    <a:pt x="4776" y="729"/>
                  </a:cubicBezTo>
                  <a:cubicBezTo>
                    <a:pt x="4776" y="729"/>
                    <a:pt x="4776" y="729"/>
                    <a:pt x="4776" y="716"/>
                  </a:cubicBezTo>
                  <a:cubicBezTo>
                    <a:pt x="4776" y="716"/>
                    <a:pt x="4776" y="716"/>
                    <a:pt x="4789" y="716"/>
                  </a:cubicBezTo>
                  <a:cubicBezTo>
                    <a:pt x="4789" y="716"/>
                    <a:pt x="4789" y="716"/>
                    <a:pt x="4789" y="703"/>
                  </a:cubicBezTo>
                  <a:cubicBezTo>
                    <a:pt x="4789" y="703"/>
                    <a:pt x="4776" y="703"/>
                    <a:pt x="4776" y="716"/>
                  </a:cubicBezTo>
                  <a:cubicBezTo>
                    <a:pt x="4763" y="716"/>
                    <a:pt x="4763" y="716"/>
                    <a:pt x="4763" y="716"/>
                  </a:cubicBezTo>
                  <a:cubicBezTo>
                    <a:pt x="4750" y="716"/>
                    <a:pt x="4736" y="716"/>
                    <a:pt x="4736" y="716"/>
                  </a:cubicBezTo>
                  <a:cubicBezTo>
                    <a:pt x="4723" y="729"/>
                    <a:pt x="4723" y="729"/>
                    <a:pt x="4723" y="729"/>
                  </a:cubicBezTo>
                  <a:cubicBezTo>
                    <a:pt x="4723" y="729"/>
                    <a:pt x="4723" y="729"/>
                    <a:pt x="4710" y="729"/>
                  </a:cubicBezTo>
                  <a:cubicBezTo>
                    <a:pt x="4710" y="716"/>
                    <a:pt x="4697" y="716"/>
                    <a:pt x="4697" y="716"/>
                  </a:cubicBezTo>
                  <a:cubicBezTo>
                    <a:pt x="4697" y="716"/>
                    <a:pt x="4697" y="716"/>
                    <a:pt x="4684" y="729"/>
                  </a:cubicBezTo>
                  <a:cubicBezTo>
                    <a:pt x="4671" y="729"/>
                    <a:pt x="4671" y="729"/>
                    <a:pt x="4657" y="729"/>
                  </a:cubicBezTo>
                  <a:cubicBezTo>
                    <a:pt x="4644" y="729"/>
                    <a:pt x="4644" y="729"/>
                    <a:pt x="4644" y="729"/>
                  </a:cubicBezTo>
                  <a:cubicBezTo>
                    <a:pt x="4644" y="729"/>
                    <a:pt x="4644" y="729"/>
                    <a:pt x="4631" y="729"/>
                  </a:cubicBezTo>
                  <a:cubicBezTo>
                    <a:pt x="4631" y="729"/>
                    <a:pt x="4644" y="729"/>
                    <a:pt x="4644" y="743"/>
                  </a:cubicBezTo>
                  <a:cubicBezTo>
                    <a:pt x="4631" y="743"/>
                    <a:pt x="4631" y="743"/>
                    <a:pt x="4618" y="743"/>
                  </a:cubicBezTo>
                  <a:cubicBezTo>
                    <a:pt x="4618" y="743"/>
                    <a:pt x="4618" y="743"/>
                    <a:pt x="4618" y="729"/>
                  </a:cubicBezTo>
                  <a:cubicBezTo>
                    <a:pt x="4618" y="743"/>
                    <a:pt x="4605" y="743"/>
                    <a:pt x="4605" y="756"/>
                  </a:cubicBezTo>
                  <a:cubicBezTo>
                    <a:pt x="4592" y="756"/>
                    <a:pt x="4592" y="756"/>
                    <a:pt x="4578" y="756"/>
                  </a:cubicBezTo>
                  <a:cubicBezTo>
                    <a:pt x="4578" y="756"/>
                    <a:pt x="4578" y="756"/>
                    <a:pt x="4572" y="756"/>
                  </a:cubicBezTo>
                  <a:cubicBezTo>
                    <a:pt x="4572" y="769"/>
                    <a:pt x="4559" y="769"/>
                    <a:pt x="4559" y="769"/>
                  </a:cubicBezTo>
                  <a:cubicBezTo>
                    <a:pt x="4559" y="769"/>
                    <a:pt x="4559" y="769"/>
                    <a:pt x="4546" y="769"/>
                  </a:cubicBezTo>
                  <a:cubicBezTo>
                    <a:pt x="4546" y="769"/>
                    <a:pt x="4546" y="769"/>
                    <a:pt x="4532" y="769"/>
                  </a:cubicBezTo>
                  <a:cubicBezTo>
                    <a:pt x="4532" y="782"/>
                    <a:pt x="4519" y="782"/>
                    <a:pt x="4506" y="782"/>
                  </a:cubicBezTo>
                  <a:cubicBezTo>
                    <a:pt x="4506" y="782"/>
                    <a:pt x="4506" y="782"/>
                    <a:pt x="4506" y="769"/>
                  </a:cubicBezTo>
                  <a:cubicBezTo>
                    <a:pt x="4506" y="782"/>
                    <a:pt x="4493" y="782"/>
                    <a:pt x="4493" y="795"/>
                  </a:cubicBezTo>
                  <a:cubicBezTo>
                    <a:pt x="4493" y="795"/>
                    <a:pt x="4493" y="795"/>
                    <a:pt x="4480" y="795"/>
                  </a:cubicBezTo>
                  <a:cubicBezTo>
                    <a:pt x="4480" y="795"/>
                    <a:pt x="4480" y="795"/>
                    <a:pt x="4493" y="782"/>
                  </a:cubicBezTo>
                  <a:cubicBezTo>
                    <a:pt x="4493" y="782"/>
                    <a:pt x="4493" y="782"/>
                    <a:pt x="4480" y="782"/>
                  </a:cubicBezTo>
                  <a:cubicBezTo>
                    <a:pt x="4480" y="782"/>
                    <a:pt x="4480" y="782"/>
                    <a:pt x="4480" y="769"/>
                  </a:cubicBezTo>
                  <a:cubicBezTo>
                    <a:pt x="4480" y="769"/>
                    <a:pt x="4480" y="769"/>
                    <a:pt x="4480" y="756"/>
                  </a:cubicBezTo>
                  <a:cubicBezTo>
                    <a:pt x="4480" y="756"/>
                    <a:pt x="4480" y="756"/>
                    <a:pt x="4480" y="743"/>
                  </a:cubicBezTo>
                  <a:cubicBezTo>
                    <a:pt x="4467" y="743"/>
                    <a:pt x="4467" y="743"/>
                    <a:pt x="4467" y="749"/>
                  </a:cubicBezTo>
                  <a:cubicBezTo>
                    <a:pt x="4467" y="749"/>
                    <a:pt x="4467" y="749"/>
                    <a:pt x="4462" y="749"/>
                  </a:cubicBezTo>
                  <a:cubicBezTo>
                    <a:pt x="4463" y="751"/>
                    <a:pt x="4465" y="751"/>
                    <a:pt x="4470" y="751"/>
                  </a:cubicBezTo>
                  <a:cubicBezTo>
                    <a:pt x="4470" y="756"/>
                    <a:pt x="4470" y="760"/>
                    <a:pt x="4470" y="760"/>
                  </a:cubicBezTo>
                  <a:cubicBezTo>
                    <a:pt x="4470" y="760"/>
                    <a:pt x="4470" y="760"/>
                    <a:pt x="4452" y="760"/>
                  </a:cubicBezTo>
                  <a:cubicBezTo>
                    <a:pt x="4452" y="760"/>
                    <a:pt x="4452" y="760"/>
                    <a:pt x="4452" y="742"/>
                  </a:cubicBezTo>
                  <a:cubicBezTo>
                    <a:pt x="4452" y="742"/>
                    <a:pt x="4452" y="742"/>
                    <a:pt x="4453" y="742"/>
                  </a:cubicBezTo>
                  <a:cubicBezTo>
                    <a:pt x="4453" y="730"/>
                    <a:pt x="4453" y="729"/>
                    <a:pt x="4453" y="729"/>
                  </a:cubicBezTo>
                  <a:cubicBezTo>
                    <a:pt x="4440" y="729"/>
                    <a:pt x="4440" y="729"/>
                    <a:pt x="4427" y="716"/>
                  </a:cubicBezTo>
                  <a:cubicBezTo>
                    <a:pt x="4414" y="716"/>
                    <a:pt x="4414" y="716"/>
                    <a:pt x="4414" y="703"/>
                  </a:cubicBezTo>
                  <a:cubicBezTo>
                    <a:pt x="4401" y="703"/>
                    <a:pt x="4401" y="703"/>
                    <a:pt x="4401" y="703"/>
                  </a:cubicBezTo>
                  <a:cubicBezTo>
                    <a:pt x="4401" y="703"/>
                    <a:pt x="4401" y="703"/>
                    <a:pt x="4401" y="690"/>
                  </a:cubicBezTo>
                  <a:cubicBezTo>
                    <a:pt x="4401" y="690"/>
                    <a:pt x="4401" y="690"/>
                    <a:pt x="4388" y="690"/>
                  </a:cubicBezTo>
                  <a:cubicBezTo>
                    <a:pt x="4388" y="690"/>
                    <a:pt x="4388" y="690"/>
                    <a:pt x="4388" y="677"/>
                  </a:cubicBezTo>
                  <a:cubicBezTo>
                    <a:pt x="4388" y="664"/>
                    <a:pt x="4388" y="664"/>
                    <a:pt x="4388" y="664"/>
                  </a:cubicBezTo>
                  <a:cubicBezTo>
                    <a:pt x="4388" y="664"/>
                    <a:pt x="4388" y="664"/>
                    <a:pt x="4401" y="664"/>
                  </a:cubicBezTo>
                  <a:cubicBezTo>
                    <a:pt x="4401" y="664"/>
                    <a:pt x="4401" y="664"/>
                    <a:pt x="4401" y="651"/>
                  </a:cubicBezTo>
                  <a:cubicBezTo>
                    <a:pt x="4401" y="651"/>
                    <a:pt x="4401" y="651"/>
                    <a:pt x="4401" y="637"/>
                  </a:cubicBezTo>
                  <a:cubicBezTo>
                    <a:pt x="4401" y="637"/>
                    <a:pt x="4401" y="637"/>
                    <a:pt x="4401" y="631"/>
                  </a:cubicBezTo>
                  <a:cubicBezTo>
                    <a:pt x="4401" y="631"/>
                    <a:pt x="4401" y="631"/>
                    <a:pt x="4401" y="618"/>
                  </a:cubicBezTo>
                  <a:cubicBezTo>
                    <a:pt x="4401" y="605"/>
                    <a:pt x="4401" y="605"/>
                    <a:pt x="4401" y="605"/>
                  </a:cubicBezTo>
                  <a:cubicBezTo>
                    <a:pt x="4401" y="591"/>
                    <a:pt x="4401" y="591"/>
                    <a:pt x="4401" y="578"/>
                  </a:cubicBezTo>
                  <a:cubicBezTo>
                    <a:pt x="4401" y="578"/>
                    <a:pt x="4388" y="578"/>
                    <a:pt x="4388" y="565"/>
                  </a:cubicBezTo>
                  <a:cubicBezTo>
                    <a:pt x="4388" y="552"/>
                    <a:pt x="4388" y="539"/>
                    <a:pt x="4388" y="539"/>
                  </a:cubicBezTo>
                  <a:cubicBezTo>
                    <a:pt x="4388" y="539"/>
                    <a:pt x="4388" y="539"/>
                    <a:pt x="4388" y="526"/>
                  </a:cubicBezTo>
                  <a:cubicBezTo>
                    <a:pt x="4388" y="526"/>
                    <a:pt x="4388" y="526"/>
                    <a:pt x="4388" y="513"/>
                  </a:cubicBezTo>
                  <a:cubicBezTo>
                    <a:pt x="4388" y="513"/>
                    <a:pt x="4374" y="499"/>
                    <a:pt x="4374" y="486"/>
                  </a:cubicBezTo>
                  <a:cubicBezTo>
                    <a:pt x="4388" y="486"/>
                    <a:pt x="4388" y="473"/>
                    <a:pt x="4388" y="460"/>
                  </a:cubicBezTo>
                  <a:cubicBezTo>
                    <a:pt x="4388" y="460"/>
                    <a:pt x="4388" y="460"/>
                    <a:pt x="4401" y="460"/>
                  </a:cubicBezTo>
                  <a:cubicBezTo>
                    <a:pt x="4401" y="447"/>
                    <a:pt x="4401" y="447"/>
                    <a:pt x="4401" y="447"/>
                  </a:cubicBezTo>
                  <a:cubicBezTo>
                    <a:pt x="4401" y="447"/>
                    <a:pt x="4401" y="447"/>
                    <a:pt x="4414" y="447"/>
                  </a:cubicBezTo>
                  <a:cubicBezTo>
                    <a:pt x="4414" y="447"/>
                    <a:pt x="4414" y="447"/>
                    <a:pt x="4427" y="447"/>
                  </a:cubicBezTo>
                  <a:cubicBezTo>
                    <a:pt x="4414" y="447"/>
                    <a:pt x="4414" y="434"/>
                    <a:pt x="4414" y="434"/>
                  </a:cubicBezTo>
                  <a:cubicBezTo>
                    <a:pt x="4414" y="434"/>
                    <a:pt x="4414" y="434"/>
                    <a:pt x="4414" y="421"/>
                  </a:cubicBezTo>
                  <a:cubicBezTo>
                    <a:pt x="4427" y="421"/>
                    <a:pt x="4427" y="421"/>
                    <a:pt x="4427" y="421"/>
                  </a:cubicBezTo>
                  <a:cubicBezTo>
                    <a:pt x="4440" y="421"/>
                    <a:pt x="4440" y="421"/>
                    <a:pt x="4453" y="421"/>
                  </a:cubicBezTo>
                  <a:cubicBezTo>
                    <a:pt x="4453" y="407"/>
                    <a:pt x="4453" y="407"/>
                    <a:pt x="4467" y="407"/>
                  </a:cubicBezTo>
                  <a:cubicBezTo>
                    <a:pt x="4467" y="407"/>
                    <a:pt x="4467" y="407"/>
                    <a:pt x="4467" y="394"/>
                  </a:cubicBezTo>
                  <a:cubicBezTo>
                    <a:pt x="4467" y="394"/>
                    <a:pt x="4467" y="394"/>
                    <a:pt x="4480" y="394"/>
                  </a:cubicBezTo>
                  <a:cubicBezTo>
                    <a:pt x="4506" y="355"/>
                    <a:pt x="4546" y="315"/>
                    <a:pt x="4572" y="269"/>
                  </a:cubicBezTo>
                  <a:cubicBezTo>
                    <a:pt x="4572" y="256"/>
                    <a:pt x="4578" y="256"/>
                    <a:pt x="4578" y="243"/>
                  </a:cubicBezTo>
                  <a:cubicBezTo>
                    <a:pt x="4578" y="243"/>
                    <a:pt x="4578" y="243"/>
                    <a:pt x="4592" y="230"/>
                  </a:cubicBezTo>
                  <a:cubicBezTo>
                    <a:pt x="4605" y="230"/>
                    <a:pt x="4605" y="230"/>
                    <a:pt x="4605" y="230"/>
                  </a:cubicBezTo>
                  <a:cubicBezTo>
                    <a:pt x="4605" y="230"/>
                    <a:pt x="4618" y="230"/>
                    <a:pt x="4618" y="243"/>
                  </a:cubicBezTo>
                  <a:cubicBezTo>
                    <a:pt x="4618" y="230"/>
                    <a:pt x="4618" y="230"/>
                    <a:pt x="4618" y="230"/>
                  </a:cubicBezTo>
                  <a:cubicBezTo>
                    <a:pt x="4618" y="230"/>
                    <a:pt x="4618" y="230"/>
                    <a:pt x="4618" y="217"/>
                  </a:cubicBezTo>
                  <a:cubicBezTo>
                    <a:pt x="4618" y="217"/>
                    <a:pt x="4618" y="217"/>
                    <a:pt x="4631" y="217"/>
                  </a:cubicBezTo>
                  <a:cubicBezTo>
                    <a:pt x="4618" y="217"/>
                    <a:pt x="4618" y="204"/>
                    <a:pt x="4618" y="204"/>
                  </a:cubicBezTo>
                  <a:cubicBezTo>
                    <a:pt x="4618" y="191"/>
                    <a:pt x="4618" y="177"/>
                    <a:pt x="4618" y="177"/>
                  </a:cubicBezTo>
                  <a:cubicBezTo>
                    <a:pt x="4618" y="164"/>
                    <a:pt x="4618" y="164"/>
                    <a:pt x="4618" y="164"/>
                  </a:cubicBezTo>
                  <a:cubicBezTo>
                    <a:pt x="4605" y="151"/>
                    <a:pt x="4605" y="151"/>
                    <a:pt x="4592" y="138"/>
                  </a:cubicBezTo>
                  <a:cubicBezTo>
                    <a:pt x="4592" y="138"/>
                    <a:pt x="4592" y="138"/>
                    <a:pt x="4578" y="125"/>
                  </a:cubicBezTo>
                  <a:cubicBezTo>
                    <a:pt x="4578" y="125"/>
                    <a:pt x="4578" y="125"/>
                    <a:pt x="4578" y="112"/>
                  </a:cubicBezTo>
                  <a:cubicBezTo>
                    <a:pt x="4572" y="112"/>
                    <a:pt x="4572" y="112"/>
                    <a:pt x="4572" y="112"/>
                  </a:cubicBezTo>
                  <a:cubicBezTo>
                    <a:pt x="4572" y="112"/>
                    <a:pt x="4572" y="112"/>
                    <a:pt x="4559" y="112"/>
                  </a:cubicBezTo>
                  <a:cubicBezTo>
                    <a:pt x="4559" y="110"/>
                    <a:pt x="4559" y="110"/>
                    <a:pt x="4559" y="110"/>
                  </a:cubicBezTo>
                  <a:cubicBezTo>
                    <a:pt x="4559" y="110"/>
                    <a:pt x="4559" y="110"/>
                    <a:pt x="4546" y="110"/>
                  </a:cubicBezTo>
                  <a:cubicBezTo>
                    <a:pt x="4533" y="110"/>
                    <a:pt x="4533" y="110"/>
                    <a:pt x="4533" y="110"/>
                  </a:cubicBezTo>
                  <a:cubicBezTo>
                    <a:pt x="4519" y="110"/>
                    <a:pt x="4519" y="110"/>
                    <a:pt x="4506" y="110"/>
                  </a:cubicBezTo>
                  <a:cubicBezTo>
                    <a:pt x="4506" y="110"/>
                    <a:pt x="4506" y="110"/>
                    <a:pt x="4493" y="123"/>
                  </a:cubicBezTo>
                  <a:cubicBezTo>
                    <a:pt x="4493" y="110"/>
                    <a:pt x="4493" y="110"/>
                    <a:pt x="4493" y="110"/>
                  </a:cubicBezTo>
                  <a:cubicBezTo>
                    <a:pt x="4493" y="110"/>
                    <a:pt x="4480" y="110"/>
                    <a:pt x="4480" y="97"/>
                  </a:cubicBezTo>
                  <a:cubicBezTo>
                    <a:pt x="4480" y="97"/>
                    <a:pt x="4480" y="97"/>
                    <a:pt x="4480" y="110"/>
                  </a:cubicBezTo>
                  <a:cubicBezTo>
                    <a:pt x="4467" y="110"/>
                    <a:pt x="4467" y="110"/>
                    <a:pt x="4467" y="110"/>
                  </a:cubicBezTo>
                  <a:cubicBezTo>
                    <a:pt x="4467" y="97"/>
                    <a:pt x="4467" y="97"/>
                    <a:pt x="4467" y="97"/>
                  </a:cubicBezTo>
                  <a:cubicBezTo>
                    <a:pt x="4467" y="97"/>
                    <a:pt x="4467" y="97"/>
                    <a:pt x="4454" y="97"/>
                  </a:cubicBezTo>
                  <a:cubicBezTo>
                    <a:pt x="4454" y="110"/>
                    <a:pt x="4454" y="110"/>
                    <a:pt x="4454" y="123"/>
                  </a:cubicBezTo>
                  <a:cubicBezTo>
                    <a:pt x="4454" y="123"/>
                    <a:pt x="4454" y="123"/>
                    <a:pt x="4454" y="136"/>
                  </a:cubicBezTo>
                  <a:cubicBezTo>
                    <a:pt x="4441" y="136"/>
                    <a:pt x="4441" y="136"/>
                    <a:pt x="4441" y="123"/>
                  </a:cubicBezTo>
                  <a:cubicBezTo>
                    <a:pt x="4441" y="123"/>
                    <a:pt x="4441" y="123"/>
                    <a:pt x="4428" y="123"/>
                  </a:cubicBezTo>
                  <a:cubicBezTo>
                    <a:pt x="4441" y="123"/>
                    <a:pt x="4441" y="136"/>
                    <a:pt x="4441" y="136"/>
                  </a:cubicBezTo>
                  <a:cubicBezTo>
                    <a:pt x="4441" y="136"/>
                    <a:pt x="4441" y="136"/>
                    <a:pt x="4441" y="149"/>
                  </a:cubicBezTo>
                  <a:cubicBezTo>
                    <a:pt x="4441" y="149"/>
                    <a:pt x="4441" y="149"/>
                    <a:pt x="4428" y="162"/>
                  </a:cubicBezTo>
                  <a:cubicBezTo>
                    <a:pt x="4428" y="162"/>
                    <a:pt x="4428" y="162"/>
                    <a:pt x="4428" y="149"/>
                  </a:cubicBezTo>
                  <a:cubicBezTo>
                    <a:pt x="4428" y="149"/>
                    <a:pt x="4428" y="149"/>
                    <a:pt x="4415" y="149"/>
                  </a:cubicBezTo>
                  <a:cubicBezTo>
                    <a:pt x="4415" y="162"/>
                    <a:pt x="4415" y="162"/>
                    <a:pt x="4415" y="162"/>
                  </a:cubicBezTo>
                  <a:cubicBezTo>
                    <a:pt x="4415" y="162"/>
                    <a:pt x="4415" y="162"/>
                    <a:pt x="4401" y="175"/>
                  </a:cubicBezTo>
                  <a:cubicBezTo>
                    <a:pt x="4415" y="175"/>
                    <a:pt x="4415" y="188"/>
                    <a:pt x="4415" y="188"/>
                  </a:cubicBezTo>
                  <a:cubicBezTo>
                    <a:pt x="4415" y="201"/>
                    <a:pt x="4415" y="214"/>
                    <a:pt x="4401" y="214"/>
                  </a:cubicBezTo>
                  <a:cubicBezTo>
                    <a:pt x="4401" y="214"/>
                    <a:pt x="4401" y="214"/>
                    <a:pt x="4401" y="227"/>
                  </a:cubicBezTo>
                  <a:cubicBezTo>
                    <a:pt x="4401" y="227"/>
                    <a:pt x="4401" y="227"/>
                    <a:pt x="4388" y="227"/>
                  </a:cubicBezTo>
                  <a:cubicBezTo>
                    <a:pt x="4388" y="240"/>
                    <a:pt x="4388" y="240"/>
                    <a:pt x="4388" y="240"/>
                  </a:cubicBezTo>
                  <a:cubicBezTo>
                    <a:pt x="4388" y="240"/>
                    <a:pt x="4401" y="240"/>
                    <a:pt x="4401" y="253"/>
                  </a:cubicBezTo>
                  <a:cubicBezTo>
                    <a:pt x="4388" y="253"/>
                    <a:pt x="4388" y="253"/>
                    <a:pt x="4388" y="253"/>
                  </a:cubicBezTo>
                  <a:cubicBezTo>
                    <a:pt x="4401" y="266"/>
                    <a:pt x="4401" y="266"/>
                    <a:pt x="4415" y="266"/>
                  </a:cubicBezTo>
                  <a:cubicBezTo>
                    <a:pt x="4415" y="279"/>
                    <a:pt x="4415" y="279"/>
                    <a:pt x="4415" y="279"/>
                  </a:cubicBezTo>
                  <a:cubicBezTo>
                    <a:pt x="4415" y="285"/>
                    <a:pt x="4401" y="285"/>
                    <a:pt x="4401" y="298"/>
                  </a:cubicBezTo>
                  <a:cubicBezTo>
                    <a:pt x="4401" y="285"/>
                    <a:pt x="4401" y="285"/>
                    <a:pt x="4401" y="285"/>
                  </a:cubicBezTo>
                  <a:cubicBezTo>
                    <a:pt x="4401" y="285"/>
                    <a:pt x="4401" y="285"/>
                    <a:pt x="4401" y="279"/>
                  </a:cubicBezTo>
                  <a:cubicBezTo>
                    <a:pt x="4388" y="298"/>
                    <a:pt x="4375" y="324"/>
                    <a:pt x="4362" y="350"/>
                  </a:cubicBezTo>
                  <a:cubicBezTo>
                    <a:pt x="4362" y="350"/>
                    <a:pt x="4362" y="350"/>
                    <a:pt x="4349" y="350"/>
                  </a:cubicBezTo>
                  <a:cubicBezTo>
                    <a:pt x="4349" y="363"/>
                    <a:pt x="4349" y="363"/>
                    <a:pt x="4336" y="363"/>
                  </a:cubicBezTo>
                  <a:cubicBezTo>
                    <a:pt x="4336" y="363"/>
                    <a:pt x="4336" y="363"/>
                    <a:pt x="4323" y="363"/>
                  </a:cubicBezTo>
                  <a:cubicBezTo>
                    <a:pt x="4323" y="363"/>
                    <a:pt x="4323" y="363"/>
                    <a:pt x="4323" y="376"/>
                  </a:cubicBezTo>
                  <a:cubicBezTo>
                    <a:pt x="4310" y="376"/>
                    <a:pt x="4310" y="389"/>
                    <a:pt x="4310" y="389"/>
                  </a:cubicBezTo>
                  <a:cubicBezTo>
                    <a:pt x="4310" y="389"/>
                    <a:pt x="4310" y="389"/>
                    <a:pt x="4297" y="376"/>
                  </a:cubicBezTo>
                  <a:cubicBezTo>
                    <a:pt x="4297" y="389"/>
                    <a:pt x="4297" y="389"/>
                    <a:pt x="4283" y="389"/>
                  </a:cubicBezTo>
                  <a:cubicBezTo>
                    <a:pt x="4283" y="389"/>
                    <a:pt x="4283" y="389"/>
                    <a:pt x="4283" y="402"/>
                  </a:cubicBezTo>
                  <a:cubicBezTo>
                    <a:pt x="4283" y="402"/>
                    <a:pt x="4270" y="402"/>
                    <a:pt x="4270" y="415"/>
                  </a:cubicBezTo>
                  <a:cubicBezTo>
                    <a:pt x="4270" y="415"/>
                    <a:pt x="4270" y="415"/>
                    <a:pt x="4257" y="402"/>
                  </a:cubicBezTo>
                  <a:cubicBezTo>
                    <a:pt x="4257" y="415"/>
                    <a:pt x="4257" y="415"/>
                    <a:pt x="4257" y="415"/>
                  </a:cubicBezTo>
                  <a:cubicBezTo>
                    <a:pt x="4257" y="428"/>
                    <a:pt x="4251" y="428"/>
                    <a:pt x="4251" y="428"/>
                  </a:cubicBezTo>
                  <a:cubicBezTo>
                    <a:pt x="4251" y="428"/>
                    <a:pt x="4251" y="428"/>
                    <a:pt x="4251" y="441"/>
                  </a:cubicBezTo>
                  <a:cubicBezTo>
                    <a:pt x="4238" y="441"/>
                    <a:pt x="4238" y="441"/>
                    <a:pt x="4238" y="441"/>
                  </a:cubicBezTo>
                  <a:cubicBezTo>
                    <a:pt x="4238" y="441"/>
                    <a:pt x="4238" y="441"/>
                    <a:pt x="4225" y="441"/>
                  </a:cubicBezTo>
                  <a:cubicBezTo>
                    <a:pt x="4238" y="454"/>
                    <a:pt x="4238" y="454"/>
                    <a:pt x="4238" y="454"/>
                  </a:cubicBezTo>
                  <a:cubicBezTo>
                    <a:pt x="4238" y="454"/>
                    <a:pt x="4238" y="454"/>
                    <a:pt x="4238" y="467"/>
                  </a:cubicBezTo>
                  <a:cubicBezTo>
                    <a:pt x="4238" y="467"/>
                    <a:pt x="4225" y="467"/>
                    <a:pt x="4225" y="454"/>
                  </a:cubicBezTo>
                  <a:cubicBezTo>
                    <a:pt x="4225" y="467"/>
                    <a:pt x="4225" y="467"/>
                    <a:pt x="4225" y="467"/>
                  </a:cubicBezTo>
                  <a:cubicBezTo>
                    <a:pt x="4211" y="467"/>
                    <a:pt x="4211" y="467"/>
                    <a:pt x="4211" y="467"/>
                  </a:cubicBezTo>
                  <a:cubicBezTo>
                    <a:pt x="4211" y="480"/>
                    <a:pt x="4211" y="480"/>
                    <a:pt x="4211" y="493"/>
                  </a:cubicBezTo>
                  <a:cubicBezTo>
                    <a:pt x="4211" y="493"/>
                    <a:pt x="4211" y="506"/>
                    <a:pt x="4198" y="506"/>
                  </a:cubicBezTo>
                  <a:cubicBezTo>
                    <a:pt x="4198" y="506"/>
                    <a:pt x="4198" y="506"/>
                    <a:pt x="4185" y="506"/>
                  </a:cubicBezTo>
                  <a:cubicBezTo>
                    <a:pt x="4185" y="506"/>
                    <a:pt x="4185" y="506"/>
                    <a:pt x="4185" y="519"/>
                  </a:cubicBezTo>
                  <a:cubicBezTo>
                    <a:pt x="4185" y="519"/>
                    <a:pt x="4185" y="532"/>
                    <a:pt x="4198" y="532"/>
                  </a:cubicBezTo>
                  <a:cubicBezTo>
                    <a:pt x="4185" y="545"/>
                    <a:pt x="4185" y="558"/>
                    <a:pt x="4185" y="571"/>
                  </a:cubicBezTo>
                  <a:cubicBezTo>
                    <a:pt x="4185" y="571"/>
                    <a:pt x="4185" y="571"/>
                    <a:pt x="4185" y="584"/>
                  </a:cubicBezTo>
                  <a:cubicBezTo>
                    <a:pt x="4185" y="597"/>
                    <a:pt x="4185" y="597"/>
                    <a:pt x="4185" y="597"/>
                  </a:cubicBezTo>
                  <a:cubicBezTo>
                    <a:pt x="4185" y="597"/>
                    <a:pt x="4172" y="597"/>
                    <a:pt x="4172" y="584"/>
                  </a:cubicBezTo>
                  <a:cubicBezTo>
                    <a:pt x="4172" y="597"/>
                    <a:pt x="4172" y="597"/>
                    <a:pt x="4172" y="597"/>
                  </a:cubicBezTo>
                  <a:cubicBezTo>
                    <a:pt x="4172" y="597"/>
                    <a:pt x="4172" y="597"/>
                    <a:pt x="4172" y="610"/>
                  </a:cubicBezTo>
                  <a:cubicBezTo>
                    <a:pt x="4172" y="629"/>
                    <a:pt x="4172" y="642"/>
                    <a:pt x="4172" y="668"/>
                  </a:cubicBezTo>
                  <a:cubicBezTo>
                    <a:pt x="4172" y="668"/>
                    <a:pt x="4172" y="668"/>
                    <a:pt x="4172" y="681"/>
                  </a:cubicBezTo>
                  <a:cubicBezTo>
                    <a:pt x="4172" y="694"/>
                    <a:pt x="4172" y="694"/>
                    <a:pt x="4172" y="694"/>
                  </a:cubicBezTo>
                  <a:cubicBezTo>
                    <a:pt x="4172" y="694"/>
                    <a:pt x="4172" y="694"/>
                    <a:pt x="4185" y="694"/>
                  </a:cubicBezTo>
                  <a:cubicBezTo>
                    <a:pt x="4185" y="707"/>
                    <a:pt x="4185" y="707"/>
                    <a:pt x="4185" y="707"/>
                  </a:cubicBezTo>
                  <a:cubicBezTo>
                    <a:pt x="4172" y="707"/>
                    <a:pt x="4172" y="707"/>
                    <a:pt x="4172" y="720"/>
                  </a:cubicBezTo>
                  <a:cubicBezTo>
                    <a:pt x="4172" y="720"/>
                    <a:pt x="4159" y="720"/>
                    <a:pt x="4159" y="733"/>
                  </a:cubicBezTo>
                  <a:cubicBezTo>
                    <a:pt x="4159" y="733"/>
                    <a:pt x="4159" y="733"/>
                    <a:pt x="4146" y="733"/>
                  </a:cubicBezTo>
                  <a:cubicBezTo>
                    <a:pt x="4146" y="733"/>
                    <a:pt x="4146" y="733"/>
                    <a:pt x="4146" y="746"/>
                  </a:cubicBezTo>
                  <a:cubicBezTo>
                    <a:pt x="4159" y="746"/>
                    <a:pt x="4172" y="733"/>
                    <a:pt x="4185" y="720"/>
                  </a:cubicBezTo>
                  <a:cubicBezTo>
                    <a:pt x="4185" y="720"/>
                    <a:pt x="4185" y="720"/>
                    <a:pt x="4185" y="707"/>
                  </a:cubicBezTo>
                  <a:cubicBezTo>
                    <a:pt x="4198" y="707"/>
                    <a:pt x="4198" y="707"/>
                    <a:pt x="4198" y="707"/>
                  </a:cubicBezTo>
                  <a:cubicBezTo>
                    <a:pt x="4198" y="707"/>
                    <a:pt x="4198" y="707"/>
                    <a:pt x="4211" y="707"/>
                  </a:cubicBezTo>
                  <a:cubicBezTo>
                    <a:pt x="4211" y="720"/>
                    <a:pt x="4225" y="720"/>
                    <a:pt x="4225" y="733"/>
                  </a:cubicBezTo>
                  <a:cubicBezTo>
                    <a:pt x="4225" y="733"/>
                    <a:pt x="4225" y="733"/>
                    <a:pt x="4238" y="733"/>
                  </a:cubicBezTo>
                  <a:cubicBezTo>
                    <a:pt x="4238" y="733"/>
                    <a:pt x="4238" y="733"/>
                    <a:pt x="4238" y="746"/>
                  </a:cubicBezTo>
                  <a:cubicBezTo>
                    <a:pt x="4238" y="746"/>
                    <a:pt x="4238" y="746"/>
                    <a:pt x="4238" y="759"/>
                  </a:cubicBezTo>
                  <a:cubicBezTo>
                    <a:pt x="4251" y="759"/>
                    <a:pt x="4251" y="759"/>
                    <a:pt x="4251" y="759"/>
                  </a:cubicBezTo>
                  <a:cubicBezTo>
                    <a:pt x="4257" y="772"/>
                    <a:pt x="4257" y="772"/>
                    <a:pt x="4257" y="772"/>
                  </a:cubicBezTo>
                  <a:cubicBezTo>
                    <a:pt x="4257" y="785"/>
                    <a:pt x="4257" y="785"/>
                    <a:pt x="4257" y="798"/>
                  </a:cubicBezTo>
                  <a:cubicBezTo>
                    <a:pt x="4251" y="798"/>
                    <a:pt x="4251" y="798"/>
                    <a:pt x="4251" y="798"/>
                  </a:cubicBezTo>
                  <a:cubicBezTo>
                    <a:pt x="4251" y="811"/>
                    <a:pt x="4251" y="811"/>
                    <a:pt x="4238" y="811"/>
                  </a:cubicBezTo>
                  <a:cubicBezTo>
                    <a:pt x="4238" y="824"/>
                    <a:pt x="4225" y="824"/>
                    <a:pt x="4211" y="837"/>
                  </a:cubicBezTo>
                  <a:cubicBezTo>
                    <a:pt x="4211" y="837"/>
                    <a:pt x="4211" y="837"/>
                    <a:pt x="4198" y="824"/>
                  </a:cubicBezTo>
                  <a:cubicBezTo>
                    <a:pt x="4185" y="824"/>
                    <a:pt x="4185" y="824"/>
                    <a:pt x="4185" y="824"/>
                  </a:cubicBezTo>
                  <a:cubicBezTo>
                    <a:pt x="4185" y="824"/>
                    <a:pt x="4185" y="811"/>
                    <a:pt x="4172" y="811"/>
                  </a:cubicBezTo>
                  <a:cubicBezTo>
                    <a:pt x="4172" y="811"/>
                    <a:pt x="4172" y="811"/>
                    <a:pt x="4172" y="824"/>
                  </a:cubicBezTo>
                  <a:cubicBezTo>
                    <a:pt x="4172" y="824"/>
                    <a:pt x="4172" y="824"/>
                    <a:pt x="4159" y="811"/>
                  </a:cubicBezTo>
                  <a:cubicBezTo>
                    <a:pt x="4159" y="811"/>
                    <a:pt x="4159" y="811"/>
                    <a:pt x="4146" y="811"/>
                  </a:cubicBezTo>
                  <a:cubicBezTo>
                    <a:pt x="4133" y="811"/>
                    <a:pt x="4133" y="811"/>
                    <a:pt x="4133" y="811"/>
                  </a:cubicBezTo>
                  <a:cubicBezTo>
                    <a:pt x="4133" y="811"/>
                    <a:pt x="4133" y="811"/>
                    <a:pt x="4133" y="824"/>
                  </a:cubicBezTo>
                  <a:cubicBezTo>
                    <a:pt x="4133" y="824"/>
                    <a:pt x="4133" y="824"/>
                    <a:pt x="4146" y="824"/>
                  </a:cubicBezTo>
                  <a:cubicBezTo>
                    <a:pt x="4146" y="824"/>
                    <a:pt x="4159" y="824"/>
                    <a:pt x="4172" y="837"/>
                  </a:cubicBezTo>
                  <a:cubicBezTo>
                    <a:pt x="4172" y="837"/>
                    <a:pt x="4172" y="837"/>
                    <a:pt x="4172" y="850"/>
                  </a:cubicBezTo>
                  <a:cubicBezTo>
                    <a:pt x="4172" y="837"/>
                    <a:pt x="4172" y="837"/>
                    <a:pt x="4185" y="837"/>
                  </a:cubicBezTo>
                  <a:cubicBezTo>
                    <a:pt x="4185" y="837"/>
                    <a:pt x="4185" y="837"/>
                    <a:pt x="4198" y="837"/>
                  </a:cubicBezTo>
                  <a:cubicBezTo>
                    <a:pt x="4198" y="837"/>
                    <a:pt x="4205" y="837"/>
                    <a:pt x="4211" y="837"/>
                  </a:cubicBezTo>
                  <a:cubicBezTo>
                    <a:pt x="4211" y="837"/>
                    <a:pt x="4217" y="837"/>
                    <a:pt x="4223" y="837"/>
                  </a:cubicBezTo>
                  <a:cubicBezTo>
                    <a:pt x="4222" y="835"/>
                    <a:pt x="4222" y="833"/>
                    <a:pt x="4222" y="831"/>
                  </a:cubicBezTo>
                  <a:cubicBezTo>
                    <a:pt x="4222" y="831"/>
                    <a:pt x="4231" y="831"/>
                    <a:pt x="4239" y="831"/>
                  </a:cubicBezTo>
                  <a:cubicBezTo>
                    <a:pt x="4239" y="831"/>
                    <a:pt x="4239" y="831"/>
                    <a:pt x="4239" y="848"/>
                  </a:cubicBezTo>
                  <a:cubicBezTo>
                    <a:pt x="4239" y="848"/>
                    <a:pt x="4230" y="848"/>
                    <a:pt x="4225" y="841"/>
                  </a:cubicBezTo>
                  <a:cubicBezTo>
                    <a:pt x="4225" y="850"/>
                    <a:pt x="4225" y="850"/>
                    <a:pt x="4225" y="850"/>
                  </a:cubicBezTo>
                  <a:cubicBezTo>
                    <a:pt x="4225" y="863"/>
                    <a:pt x="4225" y="863"/>
                    <a:pt x="4211" y="863"/>
                  </a:cubicBezTo>
                  <a:cubicBezTo>
                    <a:pt x="4211" y="876"/>
                    <a:pt x="4211" y="876"/>
                    <a:pt x="4211" y="876"/>
                  </a:cubicBezTo>
                  <a:cubicBezTo>
                    <a:pt x="4211" y="876"/>
                    <a:pt x="4211" y="876"/>
                    <a:pt x="4198" y="876"/>
                  </a:cubicBezTo>
                  <a:cubicBezTo>
                    <a:pt x="4198" y="876"/>
                    <a:pt x="4198" y="876"/>
                    <a:pt x="4198" y="863"/>
                  </a:cubicBezTo>
                  <a:cubicBezTo>
                    <a:pt x="4198" y="863"/>
                    <a:pt x="4198" y="863"/>
                    <a:pt x="4185" y="863"/>
                  </a:cubicBezTo>
                  <a:cubicBezTo>
                    <a:pt x="4185" y="876"/>
                    <a:pt x="4185" y="876"/>
                    <a:pt x="4185" y="876"/>
                  </a:cubicBezTo>
                  <a:cubicBezTo>
                    <a:pt x="4185" y="889"/>
                    <a:pt x="4172" y="889"/>
                    <a:pt x="4172" y="889"/>
                  </a:cubicBezTo>
                  <a:cubicBezTo>
                    <a:pt x="4172" y="889"/>
                    <a:pt x="4159" y="889"/>
                    <a:pt x="4159" y="902"/>
                  </a:cubicBezTo>
                  <a:cubicBezTo>
                    <a:pt x="4159" y="902"/>
                    <a:pt x="4159" y="902"/>
                    <a:pt x="4146" y="902"/>
                  </a:cubicBezTo>
                  <a:cubicBezTo>
                    <a:pt x="4146" y="902"/>
                    <a:pt x="4146" y="902"/>
                    <a:pt x="4133" y="902"/>
                  </a:cubicBezTo>
                  <a:cubicBezTo>
                    <a:pt x="4133" y="902"/>
                    <a:pt x="4133" y="902"/>
                    <a:pt x="4120" y="902"/>
                  </a:cubicBezTo>
                  <a:cubicBezTo>
                    <a:pt x="4120" y="902"/>
                    <a:pt x="4120" y="902"/>
                    <a:pt x="4120" y="915"/>
                  </a:cubicBezTo>
                  <a:cubicBezTo>
                    <a:pt x="4120" y="915"/>
                    <a:pt x="4133" y="915"/>
                    <a:pt x="4146" y="915"/>
                  </a:cubicBezTo>
                  <a:cubicBezTo>
                    <a:pt x="4146" y="928"/>
                    <a:pt x="4146" y="928"/>
                    <a:pt x="4146" y="928"/>
                  </a:cubicBezTo>
                  <a:cubicBezTo>
                    <a:pt x="4146" y="928"/>
                    <a:pt x="4146" y="928"/>
                    <a:pt x="4133" y="928"/>
                  </a:cubicBezTo>
                  <a:cubicBezTo>
                    <a:pt x="4133" y="928"/>
                    <a:pt x="4133" y="928"/>
                    <a:pt x="4146" y="941"/>
                  </a:cubicBezTo>
                  <a:cubicBezTo>
                    <a:pt x="4146" y="941"/>
                    <a:pt x="4146" y="941"/>
                    <a:pt x="4146" y="954"/>
                  </a:cubicBezTo>
                  <a:cubicBezTo>
                    <a:pt x="4146" y="954"/>
                    <a:pt x="4146" y="954"/>
                    <a:pt x="4146" y="960"/>
                  </a:cubicBezTo>
                  <a:cubicBezTo>
                    <a:pt x="4146" y="960"/>
                    <a:pt x="4146" y="960"/>
                    <a:pt x="4146" y="973"/>
                  </a:cubicBezTo>
                  <a:cubicBezTo>
                    <a:pt x="4146" y="973"/>
                    <a:pt x="4146" y="973"/>
                    <a:pt x="4133" y="973"/>
                  </a:cubicBezTo>
                  <a:cubicBezTo>
                    <a:pt x="4133" y="986"/>
                    <a:pt x="4133" y="986"/>
                    <a:pt x="4133" y="986"/>
                  </a:cubicBezTo>
                  <a:cubicBezTo>
                    <a:pt x="4133" y="986"/>
                    <a:pt x="4133" y="986"/>
                    <a:pt x="4133" y="999"/>
                  </a:cubicBezTo>
                  <a:cubicBezTo>
                    <a:pt x="4133" y="999"/>
                    <a:pt x="4133" y="999"/>
                    <a:pt x="4133" y="1012"/>
                  </a:cubicBezTo>
                  <a:cubicBezTo>
                    <a:pt x="4133" y="1012"/>
                    <a:pt x="4133" y="1012"/>
                    <a:pt x="4133" y="1025"/>
                  </a:cubicBezTo>
                  <a:cubicBezTo>
                    <a:pt x="4133" y="1025"/>
                    <a:pt x="4133" y="1025"/>
                    <a:pt x="4133" y="1038"/>
                  </a:cubicBezTo>
                  <a:cubicBezTo>
                    <a:pt x="4133" y="1051"/>
                    <a:pt x="4133" y="1051"/>
                    <a:pt x="4133" y="1051"/>
                  </a:cubicBezTo>
                  <a:cubicBezTo>
                    <a:pt x="4133" y="1064"/>
                    <a:pt x="4120" y="1064"/>
                    <a:pt x="4120" y="1064"/>
                  </a:cubicBezTo>
                  <a:cubicBezTo>
                    <a:pt x="4120" y="1077"/>
                    <a:pt x="4120" y="1077"/>
                    <a:pt x="4120" y="1090"/>
                  </a:cubicBezTo>
                  <a:cubicBezTo>
                    <a:pt x="4120" y="1103"/>
                    <a:pt x="4107" y="1129"/>
                    <a:pt x="4093" y="1142"/>
                  </a:cubicBezTo>
                  <a:cubicBezTo>
                    <a:pt x="4080" y="1142"/>
                    <a:pt x="4080" y="1142"/>
                    <a:pt x="4080" y="1142"/>
                  </a:cubicBezTo>
                  <a:cubicBezTo>
                    <a:pt x="4067" y="1142"/>
                    <a:pt x="4067" y="1142"/>
                    <a:pt x="4067" y="1142"/>
                  </a:cubicBezTo>
                  <a:cubicBezTo>
                    <a:pt x="4067" y="1142"/>
                    <a:pt x="4067" y="1142"/>
                    <a:pt x="4054" y="1142"/>
                  </a:cubicBezTo>
                  <a:cubicBezTo>
                    <a:pt x="4054" y="1142"/>
                    <a:pt x="4054" y="1142"/>
                    <a:pt x="4041" y="1142"/>
                  </a:cubicBezTo>
                  <a:cubicBezTo>
                    <a:pt x="4041" y="1142"/>
                    <a:pt x="4041" y="1142"/>
                    <a:pt x="4028" y="1142"/>
                  </a:cubicBezTo>
                  <a:cubicBezTo>
                    <a:pt x="4028" y="1142"/>
                    <a:pt x="4028" y="1142"/>
                    <a:pt x="4028" y="1155"/>
                  </a:cubicBezTo>
                  <a:cubicBezTo>
                    <a:pt x="4028" y="1155"/>
                    <a:pt x="4028" y="1155"/>
                    <a:pt x="4015" y="1155"/>
                  </a:cubicBezTo>
                  <a:cubicBezTo>
                    <a:pt x="4015" y="1155"/>
                    <a:pt x="4015" y="1168"/>
                    <a:pt x="4002" y="1181"/>
                  </a:cubicBezTo>
                  <a:cubicBezTo>
                    <a:pt x="4002" y="1181"/>
                    <a:pt x="4002" y="1181"/>
                    <a:pt x="4015" y="1194"/>
                  </a:cubicBezTo>
                  <a:cubicBezTo>
                    <a:pt x="4015" y="1194"/>
                    <a:pt x="4015" y="1194"/>
                    <a:pt x="4002" y="1207"/>
                  </a:cubicBezTo>
                  <a:cubicBezTo>
                    <a:pt x="4002" y="1207"/>
                    <a:pt x="4002" y="1207"/>
                    <a:pt x="3989" y="1207"/>
                  </a:cubicBezTo>
                  <a:cubicBezTo>
                    <a:pt x="3989" y="1207"/>
                    <a:pt x="3989" y="1207"/>
                    <a:pt x="3976" y="1207"/>
                  </a:cubicBezTo>
                  <a:cubicBezTo>
                    <a:pt x="3962" y="1207"/>
                    <a:pt x="3962" y="1207"/>
                    <a:pt x="3962" y="1220"/>
                  </a:cubicBezTo>
                  <a:cubicBezTo>
                    <a:pt x="3949" y="1220"/>
                    <a:pt x="3949" y="1207"/>
                    <a:pt x="3949" y="1207"/>
                  </a:cubicBezTo>
                  <a:cubicBezTo>
                    <a:pt x="3943" y="1207"/>
                    <a:pt x="3943" y="1207"/>
                    <a:pt x="3943" y="1207"/>
                  </a:cubicBezTo>
                  <a:cubicBezTo>
                    <a:pt x="3943" y="1207"/>
                    <a:pt x="3943" y="1207"/>
                    <a:pt x="3943" y="1194"/>
                  </a:cubicBezTo>
                  <a:cubicBezTo>
                    <a:pt x="3936" y="1187"/>
                    <a:pt x="3936" y="1187"/>
                    <a:pt x="3936" y="1187"/>
                  </a:cubicBezTo>
                  <a:cubicBezTo>
                    <a:pt x="3936" y="1174"/>
                    <a:pt x="3936" y="1161"/>
                    <a:pt x="3930" y="1155"/>
                  </a:cubicBezTo>
                  <a:cubicBezTo>
                    <a:pt x="3930" y="1148"/>
                    <a:pt x="3930" y="1148"/>
                    <a:pt x="3930" y="1148"/>
                  </a:cubicBezTo>
                  <a:cubicBezTo>
                    <a:pt x="3930" y="1148"/>
                    <a:pt x="3930" y="1148"/>
                    <a:pt x="3917" y="1135"/>
                  </a:cubicBezTo>
                  <a:cubicBezTo>
                    <a:pt x="3917" y="1129"/>
                    <a:pt x="3917" y="1129"/>
                    <a:pt x="3917" y="1129"/>
                  </a:cubicBezTo>
                  <a:cubicBezTo>
                    <a:pt x="3930" y="1129"/>
                    <a:pt x="3930" y="1129"/>
                    <a:pt x="3930" y="1129"/>
                  </a:cubicBezTo>
                  <a:cubicBezTo>
                    <a:pt x="3930" y="1129"/>
                    <a:pt x="3930" y="1129"/>
                    <a:pt x="3930" y="1116"/>
                  </a:cubicBezTo>
                  <a:cubicBezTo>
                    <a:pt x="3930" y="1116"/>
                    <a:pt x="3930" y="1116"/>
                    <a:pt x="3943" y="1116"/>
                  </a:cubicBezTo>
                  <a:cubicBezTo>
                    <a:pt x="3943" y="1116"/>
                    <a:pt x="3943" y="1116"/>
                    <a:pt x="3943" y="1103"/>
                  </a:cubicBezTo>
                  <a:cubicBezTo>
                    <a:pt x="3943" y="1103"/>
                    <a:pt x="3943" y="1103"/>
                    <a:pt x="3943" y="1090"/>
                  </a:cubicBezTo>
                  <a:cubicBezTo>
                    <a:pt x="3930" y="1090"/>
                    <a:pt x="3930" y="1090"/>
                    <a:pt x="3930" y="1090"/>
                  </a:cubicBezTo>
                  <a:cubicBezTo>
                    <a:pt x="3930" y="1090"/>
                    <a:pt x="3930" y="1090"/>
                    <a:pt x="3917" y="1077"/>
                  </a:cubicBezTo>
                  <a:cubicBezTo>
                    <a:pt x="3917" y="1077"/>
                    <a:pt x="3917" y="1077"/>
                    <a:pt x="3903" y="1064"/>
                  </a:cubicBezTo>
                  <a:cubicBezTo>
                    <a:pt x="3903" y="1051"/>
                    <a:pt x="3903" y="1038"/>
                    <a:pt x="3890" y="1025"/>
                  </a:cubicBezTo>
                  <a:cubicBezTo>
                    <a:pt x="3890" y="1025"/>
                    <a:pt x="3890" y="1025"/>
                    <a:pt x="3890" y="1012"/>
                  </a:cubicBezTo>
                  <a:cubicBezTo>
                    <a:pt x="3890" y="1012"/>
                    <a:pt x="3890" y="1012"/>
                    <a:pt x="3890" y="999"/>
                  </a:cubicBezTo>
                  <a:cubicBezTo>
                    <a:pt x="3890" y="986"/>
                    <a:pt x="3890" y="986"/>
                    <a:pt x="3890" y="986"/>
                  </a:cubicBezTo>
                  <a:cubicBezTo>
                    <a:pt x="3890" y="986"/>
                    <a:pt x="3890" y="986"/>
                    <a:pt x="3877" y="986"/>
                  </a:cubicBezTo>
                  <a:cubicBezTo>
                    <a:pt x="3877" y="973"/>
                    <a:pt x="3877" y="973"/>
                    <a:pt x="3877" y="973"/>
                  </a:cubicBezTo>
                  <a:cubicBezTo>
                    <a:pt x="3877" y="960"/>
                    <a:pt x="3877" y="960"/>
                    <a:pt x="3877" y="960"/>
                  </a:cubicBezTo>
                  <a:cubicBezTo>
                    <a:pt x="3877" y="960"/>
                    <a:pt x="3864" y="960"/>
                    <a:pt x="3864" y="954"/>
                  </a:cubicBezTo>
                  <a:cubicBezTo>
                    <a:pt x="3864" y="954"/>
                    <a:pt x="3864" y="954"/>
                    <a:pt x="3877" y="954"/>
                  </a:cubicBezTo>
                  <a:cubicBezTo>
                    <a:pt x="3877" y="954"/>
                    <a:pt x="3877" y="954"/>
                    <a:pt x="3877" y="941"/>
                  </a:cubicBezTo>
                  <a:cubicBezTo>
                    <a:pt x="3877" y="941"/>
                    <a:pt x="3877" y="941"/>
                    <a:pt x="3864" y="928"/>
                  </a:cubicBezTo>
                  <a:cubicBezTo>
                    <a:pt x="3864" y="928"/>
                    <a:pt x="3864" y="928"/>
                    <a:pt x="3851" y="928"/>
                  </a:cubicBezTo>
                  <a:cubicBezTo>
                    <a:pt x="3851" y="915"/>
                    <a:pt x="3851" y="889"/>
                    <a:pt x="3851" y="876"/>
                  </a:cubicBezTo>
                  <a:cubicBezTo>
                    <a:pt x="3851" y="876"/>
                    <a:pt x="3851" y="876"/>
                    <a:pt x="3851" y="863"/>
                  </a:cubicBezTo>
                  <a:cubicBezTo>
                    <a:pt x="3838" y="850"/>
                    <a:pt x="3838" y="850"/>
                    <a:pt x="3838" y="850"/>
                  </a:cubicBezTo>
                  <a:cubicBezTo>
                    <a:pt x="3838" y="850"/>
                    <a:pt x="3838" y="850"/>
                    <a:pt x="3825" y="850"/>
                  </a:cubicBezTo>
                  <a:cubicBezTo>
                    <a:pt x="3825" y="837"/>
                    <a:pt x="3825" y="811"/>
                    <a:pt x="3825" y="798"/>
                  </a:cubicBezTo>
                  <a:cubicBezTo>
                    <a:pt x="3825" y="785"/>
                    <a:pt x="3825" y="785"/>
                    <a:pt x="3825" y="785"/>
                  </a:cubicBezTo>
                  <a:cubicBezTo>
                    <a:pt x="3825" y="785"/>
                    <a:pt x="3825" y="785"/>
                    <a:pt x="3812" y="785"/>
                  </a:cubicBezTo>
                  <a:cubicBezTo>
                    <a:pt x="3812" y="798"/>
                    <a:pt x="3812" y="798"/>
                    <a:pt x="3812" y="798"/>
                  </a:cubicBezTo>
                  <a:cubicBezTo>
                    <a:pt x="3812" y="798"/>
                    <a:pt x="3812" y="798"/>
                    <a:pt x="3799" y="798"/>
                  </a:cubicBezTo>
                  <a:cubicBezTo>
                    <a:pt x="3799" y="798"/>
                    <a:pt x="3799" y="798"/>
                    <a:pt x="3799" y="811"/>
                  </a:cubicBezTo>
                  <a:cubicBezTo>
                    <a:pt x="3799" y="811"/>
                    <a:pt x="3799" y="811"/>
                    <a:pt x="3799" y="824"/>
                  </a:cubicBezTo>
                  <a:cubicBezTo>
                    <a:pt x="3812" y="824"/>
                    <a:pt x="3812" y="837"/>
                    <a:pt x="3812" y="837"/>
                  </a:cubicBezTo>
                  <a:cubicBezTo>
                    <a:pt x="3812" y="837"/>
                    <a:pt x="3812" y="837"/>
                    <a:pt x="3812" y="850"/>
                  </a:cubicBezTo>
                  <a:cubicBezTo>
                    <a:pt x="3812" y="850"/>
                    <a:pt x="3812" y="850"/>
                    <a:pt x="3799" y="850"/>
                  </a:cubicBezTo>
                  <a:cubicBezTo>
                    <a:pt x="3799" y="850"/>
                    <a:pt x="3799" y="850"/>
                    <a:pt x="3799" y="863"/>
                  </a:cubicBezTo>
                  <a:cubicBezTo>
                    <a:pt x="3799" y="876"/>
                    <a:pt x="3799" y="876"/>
                    <a:pt x="3799" y="876"/>
                  </a:cubicBezTo>
                  <a:cubicBezTo>
                    <a:pt x="3785" y="876"/>
                    <a:pt x="3785" y="876"/>
                    <a:pt x="3785" y="876"/>
                  </a:cubicBezTo>
                  <a:cubicBezTo>
                    <a:pt x="3772" y="876"/>
                    <a:pt x="3772" y="863"/>
                    <a:pt x="3772" y="863"/>
                  </a:cubicBezTo>
                  <a:cubicBezTo>
                    <a:pt x="3772" y="863"/>
                    <a:pt x="3772" y="863"/>
                    <a:pt x="3772" y="876"/>
                  </a:cubicBezTo>
                  <a:cubicBezTo>
                    <a:pt x="3759" y="876"/>
                    <a:pt x="3759" y="889"/>
                    <a:pt x="3746" y="889"/>
                  </a:cubicBezTo>
                  <a:cubicBezTo>
                    <a:pt x="3746" y="889"/>
                    <a:pt x="3746" y="889"/>
                    <a:pt x="3746" y="902"/>
                  </a:cubicBezTo>
                  <a:cubicBezTo>
                    <a:pt x="3746" y="902"/>
                    <a:pt x="3746" y="902"/>
                    <a:pt x="3746" y="915"/>
                  </a:cubicBezTo>
                  <a:cubicBezTo>
                    <a:pt x="3733" y="915"/>
                    <a:pt x="3733" y="915"/>
                    <a:pt x="3733" y="915"/>
                  </a:cubicBezTo>
                  <a:cubicBezTo>
                    <a:pt x="3720" y="928"/>
                    <a:pt x="3720" y="941"/>
                    <a:pt x="3707" y="941"/>
                  </a:cubicBezTo>
                  <a:cubicBezTo>
                    <a:pt x="3707" y="954"/>
                    <a:pt x="3694" y="954"/>
                    <a:pt x="3694" y="954"/>
                  </a:cubicBezTo>
                  <a:cubicBezTo>
                    <a:pt x="3681" y="954"/>
                    <a:pt x="3681" y="954"/>
                    <a:pt x="3681" y="941"/>
                  </a:cubicBezTo>
                  <a:cubicBezTo>
                    <a:pt x="3681" y="954"/>
                    <a:pt x="3681" y="954"/>
                    <a:pt x="3681" y="954"/>
                  </a:cubicBezTo>
                  <a:cubicBezTo>
                    <a:pt x="3668" y="960"/>
                    <a:pt x="3668" y="960"/>
                    <a:pt x="3668" y="960"/>
                  </a:cubicBezTo>
                  <a:cubicBezTo>
                    <a:pt x="3668" y="960"/>
                    <a:pt x="3668" y="960"/>
                    <a:pt x="3654" y="960"/>
                  </a:cubicBezTo>
                  <a:cubicBezTo>
                    <a:pt x="3641" y="960"/>
                    <a:pt x="3641" y="960"/>
                    <a:pt x="3641" y="960"/>
                  </a:cubicBezTo>
                  <a:cubicBezTo>
                    <a:pt x="3641" y="960"/>
                    <a:pt x="3641" y="960"/>
                    <a:pt x="3641" y="954"/>
                  </a:cubicBezTo>
                  <a:cubicBezTo>
                    <a:pt x="3641" y="954"/>
                    <a:pt x="3641" y="954"/>
                    <a:pt x="3628" y="954"/>
                  </a:cubicBezTo>
                  <a:cubicBezTo>
                    <a:pt x="3628" y="960"/>
                    <a:pt x="3628" y="960"/>
                    <a:pt x="3628" y="960"/>
                  </a:cubicBezTo>
                  <a:cubicBezTo>
                    <a:pt x="3628" y="960"/>
                    <a:pt x="3628" y="960"/>
                    <a:pt x="3622" y="960"/>
                  </a:cubicBezTo>
                  <a:cubicBezTo>
                    <a:pt x="3622" y="954"/>
                    <a:pt x="3622" y="941"/>
                    <a:pt x="3622" y="941"/>
                  </a:cubicBezTo>
                  <a:cubicBezTo>
                    <a:pt x="3622" y="941"/>
                    <a:pt x="3609" y="941"/>
                    <a:pt x="3609" y="954"/>
                  </a:cubicBezTo>
                  <a:cubicBezTo>
                    <a:pt x="3609" y="954"/>
                    <a:pt x="3609" y="954"/>
                    <a:pt x="3595" y="954"/>
                  </a:cubicBezTo>
                  <a:cubicBezTo>
                    <a:pt x="3582" y="928"/>
                    <a:pt x="3569" y="915"/>
                    <a:pt x="3556" y="902"/>
                  </a:cubicBezTo>
                  <a:cubicBezTo>
                    <a:pt x="3556" y="889"/>
                    <a:pt x="3556" y="889"/>
                    <a:pt x="3556" y="876"/>
                  </a:cubicBezTo>
                  <a:cubicBezTo>
                    <a:pt x="3556" y="876"/>
                    <a:pt x="3556" y="876"/>
                    <a:pt x="3569" y="876"/>
                  </a:cubicBezTo>
                  <a:cubicBezTo>
                    <a:pt x="3569" y="876"/>
                    <a:pt x="3569" y="876"/>
                    <a:pt x="3582" y="876"/>
                  </a:cubicBezTo>
                  <a:cubicBezTo>
                    <a:pt x="3582" y="863"/>
                    <a:pt x="3582" y="863"/>
                    <a:pt x="3582" y="863"/>
                  </a:cubicBezTo>
                  <a:cubicBezTo>
                    <a:pt x="3582" y="863"/>
                    <a:pt x="3582" y="850"/>
                    <a:pt x="3595" y="850"/>
                  </a:cubicBezTo>
                  <a:cubicBezTo>
                    <a:pt x="3595" y="850"/>
                    <a:pt x="3595" y="850"/>
                    <a:pt x="3595" y="837"/>
                  </a:cubicBezTo>
                  <a:cubicBezTo>
                    <a:pt x="3582" y="837"/>
                    <a:pt x="3582" y="837"/>
                    <a:pt x="3582" y="837"/>
                  </a:cubicBezTo>
                  <a:cubicBezTo>
                    <a:pt x="3595" y="837"/>
                    <a:pt x="3595" y="824"/>
                    <a:pt x="3595" y="824"/>
                  </a:cubicBezTo>
                  <a:cubicBezTo>
                    <a:pt x="3595" y="824"/>
                    <a:pt x="3595" y="824"/>
                    <a:pt x="3582" y="824"/>
                  </a:cubicBezTo>
                  <a:cubicBezTo>
                    <a:pt x="3582" y="824"/>
                    <a:pt x="3582" y="837"/>
                    <a:pt x="3569" y="837"/>
                  </a:cubicBezTo>
                  <a:cubicBezTo>
                    <a:pt x="3569" y="837"/>
                    <a:pt x="3569" y="837"/>
                    <a:pt x="3556" y="837"/>
                  </a:cubicBezTo>
                  <a:cubicBezTo>
                    <a:pt x="3556" y="837"/>
                    <a:pt x="3556" y="837"/>
                    <a:pt x="3548" y="837"/>
                  </a:cubicBezTo>
                  <a:cubicBezTo>
                    <a:pt x="3548" y="854"/>
                    <a:pt x="3548" y="855"/>
                    <a:pt x="3548" y="866"/>
                  </a:cubicBezTo>
                  <a:cubicBezTo>
                    <a:pt x="3548" y="866"/>
                    <a:pt x="3548" y="866"/>
                    <a:pt x="3530" y="866"/>
                  </a:cubicBezTo>
                  <a:cubicBezTo>
                    <a:pt x="3530" y="855"/>
                    <a:pt x="3530" y="854"/>
                    <a:pt x="3543" y="837"/>
                  </a:cubicBezTo>
                  <a:cubicBezTo>
                    <a:pt x="3543" y="837"/>
                    <a:pt x="3543" y="837"/>
                    <a:pt x="3543" y="837"/>
                  </a:cubicBezTo>
                  <a:cubicBezTo>
                    <a:pt x="3543" y="837"/>
                    <a:pt x="3543" y="837"/>
                    <a:pt x="3543" y="824"/>
                  </a:cubicBezTo>
                  <a:cubicBezTo>
                    <a:pt x="3543" y="824"/>
                    <a:pt x="3543" y="811"/>
                    <a:pt x="3556" y="811"/>
                  </a:cubicBezTo>
                  <a:cubicBezTo>
                    <a:pt x="3556" y="811"/>
                    <a:pt x="3556" y="811"/>
                    <a:pt x="3569" y="811"/>
                  </a:cubicBezTo>
                  <a:cubicBezTo>
                    <a:pt x="3569" y="811"/>
                    <a:pt x="3569" y="811"/>
                    <a:pt x="3569" y="798"/>
                  </a:cubicBezTo>
                  <a:cubicBezTo>
                    <a:pt x="3582" y="798"/>
                    <a:pt x="3582" y="798"/>
                    <a:pt x="3582" y="798"/>
                  </a:cubicBezTo>
                  <a:cubicBezTo>
                    <a:pt x="3582" y="798"/>
                    <a:pt x="3595" y="798"/>
                    <a:pt x="3595" y="785"/>
                  </a:cubicBezTo>
                  <a:cubicBezTo>
                    <a:pt x="3582" y="785"/>
                    <a:pt x="3582" y="798"/>
                    <a:pt x="3569" y="798"/>
                  </a:cubicBezTo>
                  <a:cubicBezTo>
                    <a:pt x="3569" y="785"/>
                    <a:pt x="3569" y="785"/>
                    <a:pt x="3569" y="785"/>
                  </a:cubicBezTo>
                  <a:cubicBezTo>
                    <a:pt x="3569" y="785"/>
                    <a:pt x="3582" y="772"/>
                    <a:pt x="3582" y="759"/>
                  </a:cubicBezTo>
                  <a:cubicBezTo>
                    <a:pt x="3595" y="759"/>
                    <a:pt x="3595" y="759"/>
                    <a:pt x="3595" y="759"/>
                  </a:cubicBezTo>
                  <a:cubicBezTo>
                    <a:pt x="3595" y="746"/>
                    <a:pt x="3595" y="746"/>
                    <a:pt x="3595" y="746"/>
                  </a:cubicBezTo>
                  <a:cubicBezTo>
                    <a:pt x="3595" y="746"/>
                    <a:pt x="3609" y="733"/>
                    <a:pt x="3609" y="720"/>
                  </a:cubicBezTo>
                  <a:cubicBezTo>
                    <a:pt x="3609" y="733"/>
                    <a:pt x="3609" y="733"/>
                    <a:pt x="3609" y="733"/>
                  </a:cubicBezTo>
                  <a:cubicBezTo>
                    <a:pt x="3622" y="733"/>
                    <a:pt x="3622" y="720"/>
                    <a:pt x="3622" y="720"/>
                  </a:cubicBezTo>
                  <a:cubicBezTo>
                    <a:pt x="3622" y="720"/>
                    <a:pt x="3622" y="720"/>
                    <a:pt x="3628" y="720"/>
                  </a:cubicBezTo>
                  <a:cubicBezTo>
                    <a:pt x="3628" y="707"/>
                    <a:pt x="3628" y="707"/>
                    <a:pt x="3622" y="707"/>
                  </a:cubicBezTo>
                  <a:cubicBezTo>
                    <a:pt x="3622" y="707"/>
                    <a:pt x="3622" y="720"/>
                    <a:pt x="3609" y="720"/>
                  </a:cubicBezTo>
                  <a:cubicBezTo>
                    <a:pt x="3609" y="720"/>
                    <a:pt x="3609" y="720"/>
                    <a:pt x="3609" y="707"/>
                  </a:cubicBezTo>
                  <a:cubicBezTo>
                    <a:pt x="3609" y="707"/>
                    <a:pt x="3595" y="707"/>
                    <a:pt x="3595" y="720"/>
                  </a:cubicBezTo>
                  <a:cubicBezTo>
                    <a:pt x="3595" y="720"/>
                    <a:pt x="3582" y="733"/>
                    <a:pt x="3582" y="746"/>
                  </a:cubicBezTo>
                  <a:cubicBezTo>
                    <a:pt x="3582" y="746"/>
                    <a:pt x="3582" y="746"/>
                    <a:pt x="3569" y="746"/>
                  </a:cubicBezTo>
                  <a:cubicBezTo>
                    <a:pt x="3569" y="759"/>
                    <a:pt x="3569" y="759"/>
                    <a:pt x="3569" y="759"/>
                  </a:cubicBezTo>
                  <a:cubicBezTo>
                    <a:pt x="3556" y="759"/>
                    <a:pt x="3556" y="759"/>
                    <a:pt x="3556" y="746"/>
                  </a:cubicBezTo>
                  <a:cubicBezTo>
                    <a:pt x="3543" y="746"/>
                    <a:pt x="3543" y="759"/>
                    <a:pt x="3543" y="759"/>
                  </a:cubicBezTo>
                  <a:cubicBezTo>
                    <a:pt x="3543" y="746"/>
                    <a:pt x="3543" y="746"/>
                    <a:pt x="3543" y="746"/>
                  </a:cubicBezTo>
                  <a:cubicBezTo>
                    <a:pt x="3530" y="746"/>
                    <a:pt x="3530" y="733"/>
                    <a:pt x="3530" y="733"/>
                  </a:cubicBezTo>
                  <a:cubicBezTo>
                    <a:pt x="3530" y="733"/>
                    <a:pt x="3530" y="733"/>
                    <a:pt x="3543" y="733"/>
                  </a:cubicBezTo>
                  <a:cubicBezTo>
                    <a:pt x="3543" y="733"/>
                    <a:pt x="3543" y="720"/>
                    <a:pt x="3556" y="720"/>
                  </a:cubicBezTo>
                  <a:cubicBezTo>
                    <a:pt x="3543" y="720"/>
                    <a:pt x="3543" y="720"/>
                    <a:pt x="3543" y="720"/>
                  </a:cubicBezTo>
                  <a:cubicBezTo>
                    <a:pt x="3550" y="713"/>
                    <a:pt x="3550" y="713"/>
                    <a:pt x="3556" y="707"/>
                  </a:cubicBezTo>
                  <a:cubicBezTo>
                    <a:pt x="3563" y="700"/>
                    <a:pt x="3563" y="700"/>
                    <a:pt x="3569" y="694"/>
                  </a:cubicBezTo>
                  <a:cubicBezTo>
                    <a:pt x="3563" y="700"/>
                    <a:pt x="3556" y="700"/>
                    <a:pt x="3556" y="707"/>
                  </a:cubicBezTo>
                  <a:cubicBezTo>
                    <a:pt x="3556" y="707"/>
                    <a:pt x="3556" y="707"/>
                    <a:pt x="3543" y="707"/>
                  </a:cubicBezTo>
                  <a:cubicBezTo>
                    <a:pt x="3543" y="707"/>
                    <a:pt x="3543" y="707"/>
                    <a:pt x="3530" y="707"/>
                  </a:cubicBezTo>
                  <a:cubicBezTo>
                    <a:pt x="3530" y="707"/>
                    <a:pt x="3530" y="707"/>
                    <a:pt x="3530" y="694"/>
                  </a:cubicBezTo>
                  <a:cubicBezTo>
                    <a:pt x="3543" y="694"/>
                    <a:pt x="3543" y="694"/>
                    <a:pt x="3543" y="694"/>
                  </a:cubicBezTo>
                  <a:cubicBezTo>
                    <a:pt x="3543" y="694"/>
                    <a:pt x="3543" y="694"/>
                    <a:pt x="3543" y="681"/>
                  </a:cubicBezTo>
                  <a:cubicBezTo>
                    <a:pt x="3530" y="681"/>
                    <a:pt x="3530" y="681"/>
                    <a:pt x="3530" y="681"/>
                  </a:cubicBezTo>
                  <a:cubicBezTo>
                    <a:pt x="3530" y="681"/>
                    <a:pt x="3530" y="681"/>
                    <a:pt x="3530" y="668"/>
                  </a:cubicBezTo>
                  <a:cubicBezTo>
                    <a:pt x="3530" y="668"/>
                    <a:pt x="3530" y="668"/>
                    <a:pt x="3543" y="655"/>
                  </a:cubicBezTo>
                  <a:cubicBezTo>
                    <a:pt x="3543" y="668"/>
                    <a:pt x="3543" y="668"/>
                    <a:pt x="3556" y="668"/>
                  </a:cubicBezTo>
                  <a:cubicBezTo>
                    <a:pt x="3556" y="668"/>
                    <a:pt x="3556" y="655"/>
                    <a:pt x="3569" y="655"/>
                  </a:cubicBezTo>
                  <a:cubicBezTo>
                    <a:pt x="3582" y="655"/>
                    <a:pt x="3582" y="655"/>
                    <a:pt x="3582" y="655"/>
                  </a:cubicBezTo>
                  <a:cubicBezTo>
                    <a:pt x="3582" y="655"/>
                    <a:pt x="3582" y="655"/>
                    <a:pt x="3595" y="655"/>
                  </a:cubicBezTo>
                  <a:cubicBezTo>
                    <a:pt x="3595" y="655"/>
                    <a:pt x="3595" y="655"/>
                    <a:pt x="3609" y="655"/>
                  </a:cubicBezTo>
                  <a:cubicBezTo>
                    <a:pt x="3609" y="655"/>
                    <a:pt x="3609" y="655"/>
                    <a:pt x="3622" y="655"/>
                  </a:cubicBezTo>
                  <a:cubicBezTo>
                    <a:pt x="3622" y="668"/>
                    <a:pt x="3628" y="668"/>
                    <a:pt x="3628" y="668"/>
                  </a:cubicBezTo>
                  <a:cubicBezTo>
                    <a:pt x="3628" y="668"/>
                    <a:pt x="3628" y="668"/>
                    <a:pt x="3628" y="681"/>
                  </a:cubicBezTo>
                  <a:cubicBezTo>
                    <a:pt x="3628" y="681"/>
                    <a:pt x="3628" y="668"/>
                    <a:pt x="3641" y="668"/>
                  </a:cubicBezTo>
                  <a:cubicBezTo>
                    <a:pt x="3641" y="668"/>
                    <a:pt x="3641" y="668"/>
                    <a:pt x="3628" y="668"/>
                  </a:cubicBezTo>
                  <a:cubicBezTo>
                    <a:pt x="3628" y="655"/>
                    <a:pt x="3628" y="655"/>
                    <a:pt x="3628" y="655"/>
                  </a:cubicBezTo>
                  <a:cubicBezTo>
                    <a:pt x="3641" y="655"/>
                    <a:pt x="3641" y="655"/>
                    <a:pt x="3654" y="655"/>
                  </a:cubicBezTo>
                  <a:cubicBezTo>
                    <a:pt x="3654" y="642"/>
                    <a:pt x="3654" y="642"/>
                    <a:pt x="3668" y="642"/>
                  </a:cubicBezTo>
                  <a:cubicBezTo>
                    <a:pt x="3668" y="642"/>
                    <a:pt x="3654" y="642"/>
                    <a:pt x="3654" y="629"/>
                  </a:cubicBezTo>
                  <a:cubicBezTo>
                    <a:pt x="3654" y="623"/>
                    <a:pt x="3654" y="623"/>
                    <a:pt x="3654" y="623"/>
                  </a:cubicBezTo>
                  <a:cubicBezTo>
                    <a:pt x="3654" y="610"/>
                    <a:pt x="3654" y="610"/>
                    <a:pt x="3654" y="610"/>
                  </a:cubicBezTo>
                  <a:cubicBezTo>
                    <a:pt x="3654" y="610"/>
                    <a:pt x="3654" y="623"/>
                    <a:pt x="3641" y="623"/>
                  </a:cubicBezTo>
                  <a:cubicBezTo>
                    <a:pt x="3641" y="623"/>
                    <a:pt x="3641" y="623"/>
                    <a:pt x="3641" y="629"/>
                  </a:cubicBezTo>
                  <a:cubicBezTo>
                    <a:pt x="3641" y="642"/>
                    <a:pt x="3628" y="642"/>
                    <a:pt x="3628" y="642"/>
                  </a:cubicBezTo>
                  <a:cubicBezTo>
                    <a:pt x="3628" y="642"/>
                    <a:pt x="3628" y="642"/>
                    <a:pt x="3622" y="642"/>
                  </a:cubicBezTo>
                  <a:cubicBezTo>
                    <a:pt x="3622" y="642"/>
                    <a:pt x="3622" y="642"/>
                    <a:pt x="3609" y="642"/>
                  </a:cubicBezTo>
                  <a:cubicBezTo>
                    <a:pt x="3609" y="642"/>
                    <a:pt x="3609" y="642"/>
                    <a:pt x="3609" y="629"/>
                  </a:cubicBezTo>
                  <a:cubicBezTo>
                    <a:pt x="3609" y="629"/>
                    <a:pt x="3609" y="629"/>
                    <a:pt x="3609" y="623"/>
                  </a:cubicBezTo>
                  <a:cubicBezTo>
                    <a:pt x="3609" y="629"/>
                    <a:pt x="3595" y="642"/>
                    <a:pt x="3595" y="642"/>
                  </a:cubicBezTo>
                  <a:cubicBezTo>
                    <a:pt x="3595" y="642"/>
                    <a:pt x="3595" y="642"/>
                    <a:pt x="3582" y="642"/>
                  </a:cubicBezTo>
                  <a:cubicBezTo>
                    <a:pt x="3569" y="642"/>
                    <a:pt x="3556" y="655"/>
                    <a:pt x="3543" y="655"/>
                  </a:cubicBezTo>
                  <a:cubicBezTo>
                    <a:pt x="3543" y="655"/>
                    <a:pt x="3543" y="655"/>
                    <a:pt x="3530" y="655"/>
                  </a:cubicBezTo>
                  <a:cubicBezTo>
                    <a:pt x="3530" y="655"/>
                    <a:pt x="3530" y="655"/>
                    <a:pt x="3530" y="642"/>
                  </a:cubicBezTo>
                  <a:cubicBezTo>
                    <a:pt x="3530" y="642"/>
                    <a:pt x="3530" y="642"/>
                    <a:pt x="3530" y="629"/>
                  </a:cubicBezTo>
                  <a:cubicBezTo>
                    <a:pt x="3530" y="623"/>
                    <a:pt x="3543" y="623"/>
                    <a:pt x="3543" y="623"/>
                  </a:cubicBezTo>
                  <a:cubicBezTo>
                    <a:pt x="3543" y="610"/>
                    <a:pt x="3543" y="610"/>
                    <a:pt x="3543" y="610"/>
                  </a:cubicBezTo>
                  <a:cubicBezTo>
                    <a:pt x="3543" y="610"/>
                    <a:pt x="3543" y="610"/>
                    <a:pt x="3530" y="597"/>
                  </a:cubicBezTo>
                  <a:cubicBezTo>
                    <a:pt x="3530" y="597"/>
                    <a:pt x="3530" y="597"/>
                    <a:pt x="3543" y="597"/>
                  </a:cubicBezTo>
                  <a:cubicBezTo>
                    <a:pt x="3543" y="597"/>
                    <a:pt x="3543" y="597"/>
                    <a:pt x="3543" y="584"/>
                  </a:cubicBezTo>
                  <a:cubicBezTo>
                    <a:pt x="3543" y="584"/>
                    <a:pt x="3543" y="584"/>
                    <a:pt x="3556" y="584"/>
                  </a:cubicBezTo>
                  <a:cubicBezTo>
                    <a:pt x="3569" y="584"/>
                    <a:pt x="3582" y="584"/>
                    <a:pt x="3595" y="584"/>
                  </a:cubicBezTo>
                  <a:cubicBezTo>
                    <a:pt x="3595" y="584"/>
                    <a:pt x="3595" y="571"/>
                    <a:pt x="3609" y="571"/>
                  </a:cubicBezTo>
                  <a:cubicBezTo>
                    <a:pt x="3595" y="571"/>
                    <a:pt x="3595" y="571"/>
                    <a:pt x="3595" y="571"/>
                  </a:cubicBezTo>
                  <a:cubicBezTo>
                    <a:pt x="3589" y="571"/>
                    <a:pt x="3582" y="571"/>
                    <a:pt x="3582" y="571"/>
                  </a:cubicBezTo>
                  <a:cubicBezTo>
                    <a:pt x="3563" y="571"/>
                    <a:pt x="3550" y="571"/>
                    <a:pt x="3543" y="571"/>
                  </a:cubicBezTo>
                  <a:cubicBezTo>
                    <a:pt x="3543" y="571"/>
                    <a:pt x="3543" y="571"/>
                    <a:pt x="3543" y="558"/>
                  </a:cubicBezTo>
                  <a:cubicBezTo>
                    <a:pt x="3543" y="558"/>
                    <a:pt x="3543" y="558"/>
                    <a:pt x="3530" y="545"/>
                  </a:cubicBezTo>
                  <a:cubicBezTo>
                    <a:pt x="3530" y="545"/>
                    <a:pt x="3530" y="545"/>
                    <a:pt x="3543" y="545"/>
                  </a:cubicBezTo>
                  <a:cubicBezTo>
                    <a:pt x="3543" y="545"/>
                    <a:pt x="3543" y="558"/>
                    <a:pt x="3556" y="558"/>
                  </a:cubicBezTo>
                  <a:cubicBezTo>
                    <a:pt x="3556" y="545"/>
                    <a:pt x="3556" y="545"/>
                    <a:pt x="3556" y="545"/>
                  </a:cubicBezTo>
                  <a:cubicBezTo>
                    <a:pt x="3556" y="545"/>
                    <a:pt x="3556" y="545"/>
                    <a:pt x="3569" y="545"/>
                  </a:cubicBezTo>
                  <a:cubicBezTo>
                    <a:pt x="3582" y="545"/>
                    <a:pt x="3582" y="545"/>
                    <a:pt x="3582" y="558"/>
                  </a:cubicBezTo>
                  <a:cubicBezTo>
                    <a:pt x="3582" y="558"/>
                    <a:pt x="3582" y="558"/>
                    <a:pt x="3582" y="545"/>
                  </a:cubicBezTo>
                  <a:cubicBezTo>
                    <a:pt x="3582" y="545"/>
                    <a:pt x="3582" y="532"/>
                    <a:pt x="3595" y="532"/>
                  </a:cubicBezTo>
                  <a:cubicBezTo>
                    <a:pt x="3595" y="532"/>
                    <a:pt x="3595" y="532"/>
                    <a:pt x="3595" y="519"/>
                  </a:cubicBezTo>
                  <a:cubicBezTo>
                    <a:pt x="3595" y="532"/>
                    <a:pt x="3595" y="532"/>
                    <a:pt x="3609" y="532"/>
                  </a:cubicBezTo>
                  <a:cubicBezTo>
                    <a:pt x="3609" y="525"/>
                    <a:pt x="3609" y="525"/>
                    <a:pt x="3609" y="519"/>
                  </a:cubicBezTo>
                  <a:cubicBezTo>
                    <a:pt x="3609" y="519"/>
                    <a:pt x="3609" y="519"/>
                    <a:pt x="3609" y="506"/>
                  </a:cubicBezTo>
                  <a:cubicBezTo>
                    <a:pt x="3609" y="519"/>
                    <a:pt x="3609" y="519"/>
                    <a:pt x="3595" y="519"/>
                  </a:cubicBezTo>
                  <a:cubicBezTo>
                    <a:pt x="3595" y="506"/>
                    <a:pt x="3595" y="506"/>
                    <a:pt x="3595" y="506"/>
                  </a:cubicBezTo>
                  <a:cubicBezTo>
                    <a:pt x="3595" y="493"/>
                    <a:pt x="3609" y="493"/>
                    <a:pt x="3609" y="493"/>
                  </a:cubicBezTo>
                  <a:cubicBezTo>
                    <a:pt x="3609" y="493"/>
                    <a:pt x="3609" y="493"/>
                    <a:pt x="3622" y="493"/>
                  </a:cubicBezTo>
                  <a:cubicBezTo>
                    <a:pt x="3628" y="493"/>
                    <a:pt x="3641" y="493"/>
                    <a:pt x="3654" y="493"/>
                  </a:cubicBezTo>
                  <a:cubicBezTo>
                    <a:pt x="3654" y="493"/>
                    <a:pt x="3654" y="493"/>
                    <a:pt x="3654" y="480"/>
                  </a:cubicBezTo>
                  <a:cubicBezTo>
                    <a:pt x="3641" y="480"/>
                    <a:pt x="3641" y="480"/>
                    <a:pt x="3641" y="480"/>
                  </a:cubicBezTo>
                  <a:cubicBezTo>
                    <a:pt x="3641" y="480"/>
                    <a:pt x="3641" y="480"/>
                    <a:pt x="3628" y="480"/>
                  </a:cubicBezTo>
                  <a:cubicBezTo>
                    <a:pt x="3628" y="480"/>
                    <a:pt x="3628" y="480"/>
                    <a:pt x="3641" y="467"/>
                  </a:cubicBezTo>
                  <a:cubicBezTo>
                    <a:pt x="3628" y="467"/>
                    <a:pt x="3628" y="467"/>
                    <a:pt x="3628" y="467"/>
                  </a:cubicBezTo>
                  <a:cubicBezTo>
                    <a:pt x="3628" y="467"/>
                    <a:pt x="3628" y="467"/>
                    <a:pt x="3628" y="454"/>
                  </a:cubicBezTo>
                  <a:cubicBezTo>
                    <a:pt x="3628" y="454"/>
                    <a:pt x="3628" y="454"/>
                    <a:pt x="3641" y="454"/>
                  </a:cubicBezTo>
                  <a:cubicBezTo>
                    <a:pt x="3654" y="454"/>
                    <a:pt x="3654" y="454"/>
                    <a:pt x="3654" y="454"/>
                  </a:cubicBezTo>
                  <a:cubicBezTo>
                    <a:pt x="3654" y="454"/>
                    <a:pt x="3654" y="441"/>
                    <a:pt x="3654" y="428"/>
                  </a:cubicBezTo>
                  <a:cubicBezTo>
                    <a:pt x="3668" y="428"/>
                    <a:pt x="3668" y="428"/>
                    <a:pt x="3681" y="428"/>
                  </a:cubicBezTo>
                  <a:cubicBezTo>
                    <a:pt x="3681" y="428"/>
                    <a:pt x="3681" y="428"/>
                    <a:pt x="3681" y="415"/>
                  </a:cubicBezTo>
                  <a:cubicBezTo>
                    <a:pt x="3681" y="415"/>
                    <a:pt x="3681" y="415"/>
                    <a:pt x="3694" y="415"/>
                  </a:cubicBezTo>
                  <a:cubicBezTo>
                    <a:pt x="3694" y="415"/>
                    <a:pt x="3694" y="415"/>
                    <a:pt x="3694" y="428"/>
                  </a:cubicBezTo>
                  <a:cubicBezTo>
                    <a:pt x="3694" y="428"/>
                    <a:pt x="3694" y="428"/>
                    <a:pt x="3707" y="428"/>
                  </a:cubicBezTo>
                  <a:cubicBezTo>
                    <a:pt x="3707" y="415"/>
                    <a:pt x="3707" y="415"/>
                    <a:pt x="3707" y="415"/>
                  </a:cubicBezTo>
                  <a:cubicBezTo>
                    <a:pt x="3707" y="415"/>
                    <a:pt x="3707" y="415"/>
                    <a:pt x="3707" y="402"/>
                  </a:cubicBezTo>
                  <a:cubicBezTo>
                    <a:pt x="3720" y="402"/>
                    <a:pt x="3720" y="402"/>
                    <a:pt x="3720" y="402"/>
                  </a:cubicBezTo>
                  <a:cubicBezTo>
                    <a:pt x="3720" y="395"/>
                    <a:pt x="3726" y="395"/>
                    <a:pt x="3733" y="389"/>
                  </a:cubicBezTo>
                  <a:cubicBezTo>
                    <a:pt x="3740" y="389"/>
                    <a:pt x="3740" y="389"/>
                    <a:pt x="3746" y="389"/>
                  </a:cubicBezTo>
                  <a:cubicBezTo>
                    <a:pt x="3746" y="389"/>
                    <a:pt x="3746" y="389"/>
                    <a:pt x="3746" y="402"/>
                  </a:cubicBezTo>
                  <a:cubicBezTo>
                    <a:pt x="3759" y="402"/>
                    <a:pt x="3759" y="402"/>
                    <a:pt x="3759" y="402"/>
                  </a:cubicBezTo>
                  <a:cubicBezTo>
                    <a:pt x="3759" y="402"/>
                    <a:pt x="3759" y="402"/>
                    <a:pt x="3759" y="389"/>
                  </a:cubicBezTo>
                  <a:cubicBezTo>
                    <a:pt x="3759" y="376"/>
                    <a:pt x="3759" y="376"/>
                    <a:pt x="3759" y="376"/>
                  </a:cubicBezTo>
                  <a:cubicBezTo>
                    <a:pt x="3759" y="376"/>
                    <a:pt x="3759" y="376"/>
                    <a:pt x="3772" y="376"/>
                  </a:cubicBezTo>
                  <a:cubicBezTo>
                    <a:pt x="3772" y="376"/>
                    <a:pt x="3772" y="376"/>
                    <a:pt x="3785" y="376"/>
                  </a:cubicBezTo>
                  <a:cubicBezTo>
                    <a:pt x="3785" y="376"/>
                    <a:pt x="3785" y="376"/>
                    <a:pt x="3785" y="389"/>
                  </a:cubicBezTo>
                  <a:cubicBezTo>
                    <a:pt x="3785" y="389"/>
                    <a:pt x="3785" y="389"/>
                    <a:pt x="3785" y="402"/>
                  </a:cubicBezTo>
                  <a:cubicBezTo>
                    <a:pt x="3799" y="402"/>
                    <a:pt x="3799" y="402"/>
                    <a:pt x="3799" y="402"/>
                  </a:cubicBezTo>
                  <a:cubicBezTo>
                    <a:pt x="3799" y="402"/>
                    <a:pt x="3799" y="402"/>
                    <a:pt x="3799" y="389"/>
                  </a:cubicBezTo>
                  <a:cubicBezTo>
                    <a:pt x="3812" y="389"/>
                    <a:pt x="3812" y="389"/>
                    <a:pt x="3812" y="389"/>
                  </a:cubicBezTo>
                  <a:cubicBezTo>
                    <a:pt x="3825" y="389"/>
                    <a:pt x="3825" y="389"/>
                    <a:pt x="3825" y="389"/>
                  </a:cubicBezTo>
                  <a:cubicBezTo>
                    <a:pt x="3838" y="376"/>
                    <a:pt x="3838" y="376"/>
                    <a:pt x="3838" y="376"/>
                  </a:cubicBezTo>
                  <a:cubicBezTo>
                    <a:pt x="3825" y="376"/>
                    <a:pt x="3825" y="376"/>
                    <a:pt x="3825" y="376"/>
                  </a:cubicBezTo>
                  <a:cubicBezTo>
                    <a:pt x="3831" y="369"/>
                    <a:pt x="3831" y="369"/>
                    <a:pt x="3831" y="369"/>
                  </a:cubicBezTo>
                  <a:cubicBezTo>
                    <a:pt x="3818" y="376"/>
                    <a:pt x="3812" y="382"/>
                    <a:pt x="3799" y="389"/>
                  </a:cubicBezTo>
                  <a:cubicBezTo>
                    <a:pt x="3799" y="376"/>
                    <a:pt x="3799" y="376"/>
                    <a:pt x="3799" y="376"/>
                  </a:cubicBezTo>
                  <a:cubicBezTo>
                    <a:pt x="3799" y="376"/>
                    <a:pt x="3785" y="376"/>
                    <a:pt x="3785" y="363"/>
                  </a:cubicBezTo>
                  <a:cubicBezTo>
                    <a:pt x="3785" y="363"/>
                    <a:pt x="3785" y="363"/>
                    <a:pt x="3799" y="350"/>
                  </a:cubicBezTo>
                  <a:cubicBezTo>
                    <a:pt x="3785" y="350"/>
                    <a:pt x="3785" y="363"/>
                    <a:pt x="3785" y="363"/>
                  </a:cubicBezTo>
                  <a:cubicBezTo>
                    <a:pt x="3785" y="363"/>
                    <a:pt x="3785" y="363"/>
                    <a:pt x="3772" y="350"/>
                  </a:cubicBezTo>
                  <a:cubicBezTo>
                    <a:pt x="3785" y="337"/>
                    <a:pt x="3785" y="337"/>
                    <a:pt x="3799" y="337"/>
                  </a:cubicBezTo>
                  <a:cubicBezTo>
                    <a:pt x="3799" y="337"/>
                    <a:pt x="3799" y="337"/>
                    <a:pt x="3799" y="324"/>
                  </a:cubicBezTo>
                  <a:cubicBezTo>
                    <a:pt x="3799" y="311"/>
                    <a:pt x="3812" y="298"/>
                    <a:pt x="3825" y="285"/>
                  </a:cubicBezTo>
                  <a:cubicBezTo>
                    <a:pt x="3825" y="285"/>
                    <a:pt x="3825" y="285"/>
                    <a:pt x="3825" y="279"/>
                  </a:cubicBezTo>
                  <a:cubicBezTo>
                    <a:pt x="3825" y="279"/>
                    <a:pt x="3825" y="279"/>
                    <a:pt x="3838" y="279"/>
                  </a:cubicBezTo>
                  <a:cubicBezTo>
                    <a:pt x="3838" y="266"/>
                    <a:pt x="3838" y="266"/>
                    <a:pt x="3838" y="266"/>
                  </a:cubicBezTo>
                  <a:cubicBezTo>
                    <a:pt x="3838" y="266"/>
                    <a:pt x="3838" y="266"/>
                    <a:pt x="3851" y="266"/>
                  </a:cubicBezTo>
                  <a:cubicBezTo>
                    <a:pt x="3851" y="266"/>
                    <a:pt x="3851" y="266"/>
                    <a:pt x="3864" y="279"/>
                  </a:cubicBezTo>
                  <a:cubicBezTo>
                    <a:pt x="3864" y="279"/>
                    <a:pt x="3864" y="279"/>
                    <a:pt x="3864" y="266"/>
                  </a:cubicBezTo>
                  <a:cubicBezTo>
                    <a:pt x="3877" y="266"/>
                    <a:pt x="3877" y="266"/>
                    <a:pt x="3877" y="266"/>
                  </a:cubicBezTo>
                  <a:cubicBezTo>
                    <a:pt x="3877" y="266"/>
                    <a:pt x="3877" y="266"/>
                    <a:pt x="3877" y="253"/>
                  </a:cubicBezTo>
                  <a:cubicBezTo>
                    <a:pt x="3877" y="253"/>
                    <a:pt x="3877" y="253"/>
                    <a:pt x="3877" y="240"/>
                  </a:cubicBezTo>
                  <a:cubicBezTo>
                    <a:pt x="3877" y="240"/>
                    <a:pt x="3877" y="240"/>
                    <a:pt x="3890" y="240"/>
                  </a:cubicBezTo>
                  <a:cubicBezTo>
                    <a:pt x="3890" y="240"/>
                    <a:pt x="3890" y="240"/>
                    <a:pt x="3890" y="227"/>
                  </a:cubicBezTo>
                  <a:cubicBezTo>
                    <a:pt x="3877" y="240"/>
                    <a:pt x="3877" y="240"/>
                    <a:pt x="3877" y="240"/>
                  </a:cubicBezTo>
                  <a:cubicBezTo>
                    <a:pt x="3877" y="240"/>
                    <a:pt x="3877" y="240"/>
                    <a:pt x="3864" y="240"/>
                  </a:cubicBezTo>
                  <a:cubicBezTo>
                    <a:pt x="3864" y="240"/>
                    <a:pt x="3864" y="240"/>
                    <a:pt x="3864" y="227"/>
                  </a:cubicBezTo>
                  <a:cubicBezTo>
                    <a:pt x="3877" y="227"/>
                    <a:pt x="3877" y="214"/>
                    <a:pt x="3877" y="214"/>
                  </a:cubicBezTo>
                  <a:cubicBezTo>
                    <a:pt x="3877" y="214"/>
                    <a:pt x="3877" y="214"/>
                    <a:pt x="3890" y="214"/>
                  </a:cubicBezTo>
                  <a:cubicBezTo>
                    <a:pt x="3890" y="214"/>
                    <a:pt x="3890" y="214"/>
                    <a:pt x="3890" y="201"/>
                  </a:cubicBezTo>
                  <a:cubicBezTo>
                    <a:pt x="3890" y="201"/>
                    <a:pt x="3890" y="201"/>
                    <a:pt x="3903" y="201"/>
                  </a:cubicBezTo>
                  <a:cubicBezTo>
                    <a:pt x="3903" y="201"/>
                    <a:pt x="3903" y="201"/>
                    <a:pt x="3903" y="188"/>
                  </a:cubicBezTo>
                  <a:cubicBezTo>
                    <a:pt x="3917" y="188"/>
                    <a:pt x="3917" y="188"/>
                    <a:pt x="3917" y="201"/>
                  </a:cubicBezTo>
                  <a:cubicBezTo>
                    <a:pt x="3917" y="188"/>
                    <a:pt x="3917" y="188"/>
                    <a:pt x="3930" y="188"/>
                  </a:cubicBezTo>
                  <a:cubicBezTo>
                    <a:pt x="3930" y="188"/>
                    <a:pt x="3930" y="188"/>
                    <a:pt x="3917" y="188"/>
                  </a:cubicBezTo>
                  <a:cubicBezTo>
                    <a:pt x="3917" y="175"/>
                    <a:pt x="3930" y="175"/>
                    <a:pt x="3930" y="175"/>
                  </a:cubicBezTo>
                  <a:cubicBezTo>
                    <a:pt x="3925" y="175"/>
                    <a:pt x="3922" y="173"/>
                    <a:pt x="3920" y="171"/>
                  </a:cubicBezTo>
                  <a:cubicBezTo>
                    <a:pt x="3920" y="176"/>
                    <a:pt x="3920" y="176"/>
                    <a:pt x="3920" y="176"/>
                  </a:cubicBezTo>
                  <a:cubicBezTo>
                    <a:pt x="3902" y="176"/>
                    <a:pt x="3902" y="176"/>
                    <a:pt x="3902" y="176"/>
                  </a:cubicBezTo>
                  <a:cubicBezTo>
                    <a:pt x="3902" y="176"/>
                    <a:pt x="3902" y="176"/>
                    <a:pt x="3902" y="159"/>
                  </a:cubicBezTo>
                  <a:cubicBezTo>
                    <a:pt x="3910" y="159"/>
                    <a:pt x="3914" y="159"/>
                    <a:pt x="3917" y="159"/>
                  </a:cubicBezTo>
                  <a:cubicBezTo>
                    <a:pt x="3917" y="149"/>
                    <a:pt x="3917" y="148"/>
                    <a:pt x="3917" y="136"/>
                  </a:cubicBezTo>
                  <a:cubicBezTo>
                    <a:pt x="3917" y="149"/>
                    <a:pt x="3917" y="149"/>
                    <a:pt x="3930" y="149"/>
                  </a:cubicBezTo>
                  <a:cubicBezTo>
                    <a:pt x="3930" y="149"/>
                    <a:pt x="3930" y="149"/>
                    <a:pt x="3930" y="162"/>
                  </a:cubicBezTo>
                  <a:cubicBezTo>
                    <a:pt x="3930" y="162"/>
                    <a:pt x="3930" y="162"/>
                    <a:pt x="3943" y="162"/>
                  </a:cubicBezTo>
                  <a:cubicBezTo>
                    <a:pt x="3943" y="162"/>
                    <a:pt x="3943" y="162"/>
                    <a:pt x="3943" y="149"/>
                  </a:cubicBezTo>
                  <a:cubicBezTo>
                    <a:pt x="3930" y="149"/>
                    <a:pt x="3930" y="149"/>
                    <a:pt x="3930" y="136"/>
                  </a:cubicBezTo>
                  <a:cubicBezTo>
                    <a:pt x="3930" y="123"/>
                    <a:pt x="3930" y="123"/>
                    <a:pt x="3930" y="123"/>
                  </a:cubicBezTo>
                  <a:cubicBezTo>
                    <a:pt x="3930" y="123"/>
                    <a:pt x="3930" y="123"/>
                    <a:pt x="3943" y="123"/>
                  </a:cubicBezTo>
                  <a:cubicBezTo>
                    <a:pt x="3943" y="110"/>
                    <a:pt x="3943" y="110"/>
                    <a:pt x="3943" y="110"/>
                  </a:cubicBezTo>
                  <a:cubicBezTo>
                    <a:pt x="3943" y="97"/>
                    <a:pt x="3943" y="97"/>
                    <a:pt x="3943" y="97"/>
                  </a:cubicBezTo>
                  <a:cubicBezTo>
                    <a:pt x="3949" y="97"/>
                    <a:pt x="3949" y="97"/>
                    <a:pt x="3962" y="97"/>
                  </a:cubicBezTo>
                  <a:cubicBezTo>
                    <a:pt x="3962" y="97"/>
                    <a:pt x="3949" y="97"/>
                    <a:pt x="3949" y="84"/>
                  </a:cubicBezTo>
                  <a:cubicBezTo>
                    <a:pt x="3949" y="84"/>
                    <a:pt x="3949" y="84"/>
                    <a:pt x="3943" y="84"/>
                  </a:cubicBezTo>
                  <a:cubicBezTo>
                    <a:pt x="3943" y="84"/>
                    <a:pt x="3943" y="84"/>
                    <a:pt x="3943" y="71"/>
                  </a:cubicBezTo>
                  <a:cubicBezTo>
                    <a:pt x="3943" y="71"/>
                    <a:pt x="3943" y="71"/>
                    <a:pt x="3949" y="71"/>
                  </a:cubicBezTo>
                  <a:cubicBezTo>
                    <a:pt x="3949" y="71"/>
                    <a:pt x="3949" y="71"/>
                    <a:pt x="3949" y="58"/>
                  </a:cubicBezTo>
                  <a:cubicBezTo>
                    <a:pt x="3962" y="58"/>
                    <a:pt x="3962" y="45"/>
                    <a:pt x="3976" y="45"/>
                  </a:cubicBezTo>
                  <a:cubicBezTo>
                    <a:pt x="3976" y="45"/>
                    <a:pt x="3976" y="45"/>
                    <a:pt x="3976" y="32"/>
                  </a:cubicBezTo>
                  <a:cubicBezTo>
                    <a:pt x="3976" y="45"/>
                    <a:pt x="3962" y="45"/>
                    <a:pt x="3962" y="45"/>
                  </a:cubicBezTo>
                  <a:cubicBezTo>
                    <a:pt x="3962" y="45"/>
                    <a:pt x="3962" y="45"/>
                    <a:pt x="3962" y="32"/>
                  </a:cubicBezTo>
                  <a:cubicBezTo>
                    <a:pt x="3962" y="32"/>
                    <a:pt x="3962" y="32"/>
                    <a:pt x="3962" y="19"/>
                  </a:cubicBezTo>
                  <a:cubicBezTo>
                    <a:pt x="3976" y="19"/>
                    <a:pt x="3976" y="19"/>
                    <a:pt x="3976" y="19"/>
                  </a:cubicBezTo>
                  <a:cubicBezTo>
                    <a:pt x="3976" y="19"/>
                    <a:pt x="3976" y="6"/>
                    <a:pt x="3962" y="6"/>
                  </a:cubicBezTo>
                  <a:cubicBezTo>
                    <a:pt x="3962" y="6"/>
                    <a:pt x="3976" y="6"/>
                    <a:pt x="3976" y="0"/>
                  </a:cubicBezTo>
                  <a:cubicBezTo>
                    <a:pt x="4166" y="6"/>
                    <a:pt x="4349" y="26"/>
                    <a:pt x="4533" y="51"/>
                  </a:cubicBezTo>
                  <a:cubicBezTo>
                    <a:pt x="4533" y="52"/>
                    <a:pt x="4533" y="52"/>
                    <a:pt x="4534" y="53"/>
                  </a:cubicBezTo>
                  <a:cubicBezTo>
                    <a:pt x="4737" y="86"/>
                    <a:pt x="4928" y="132"/>
                    <a:pt x="5118" y="197"/>
                  </a:cubicBezTo>
                  <a:cubicBezTo>
                    <a:pt x="5118" y="204"/>
                    <a:pt x="5125" y="210"/>
                    <a:pt x="5125" y="217"/>
                  </a:cubicBezTo>
                  <a:cubicBezTo>
                    <a:pt x="5125" y="217"/>
                    <a:pt x="5125" y="217"/>
                    <a:pt x="5125" y="230"/>
                  </a:cubicBezTo>
                  <a:cubicBezTo>
                    <a:pt x="5125" y="230"/>
                    <a:pt x="5138" y="230"/>
                    <a:pt x="5138" y="243"/>
                  </a:cubicBezTo>
                  <a:cubicBezTo>
                    <a:pt x="5138" y="256"/>
                    <a:pt x="5138" y="256"/>
                    <a:pt x="5138" y="269"/>
                  </a:cubicBezTo>
                  <a:cubicBezTo>
                    <a:pt x="5138" y="283"/>
                    <a:pt x="5125" y="283"/>
                    <a:pt x="5125" y="283"/>
                  </a:cubicBezTo>
                  <a:cubicBezTo>
                    <a:pt x="5125" y="283"/>
                    <a:pt x="5125" y="283"/>
                    <a:pt x="5125" y="289"/>
                  </a:cubicBezTo>
                  <a:cubicBezTo>
                    <a:pt x="5125" y="283"/>
                    <a:pt x="5138" y="283"/>
                    <a:pt x="5138" y="283"/>
                  </a:cubicBezTo>
                  <a:cubicBezTo>
                    <a:pt x="5138" y="283"/>
                    <a:pt x="5138" y="283"/>
                    <a:pt x="5138" y="289"/>
                  </a:cubicBezTo>
                  <a:cubicBezTo>
                    <a:pt x="5151" y="289"/>
                    <a:pt x="5151" y="302"/>
                    <a:pt x="5164" y="302"/>
                  </a:cubicBezTo>
                  <a:cubicBezTo>
                    <a:pt x="5164" y="302"/>
                    <a:pt x="5164" y="302"/>
                    <a:pt x="5177" y="302"/>
                  </a:cubicBezTo>
                  <a:cubicBezTo>
                    <a:pt x="5177" y="302"/>
                    <a:pt x="5177" y="302"/>
                    <a:pt x="5191" y="302"/>
                  </a:cubicBezTo>
                  <a:cubicBezTo>
                    <a:pt x="5191" y="302"/>
                    <a:pt x="5191" y="302"/>
                    <a:pt x="5191" y="315"/>
                  </a:cubicBezTo>
                  <a:cubicBezTo>
                    <a:pt x="5204" y="315"/>
                    <a:pt x="5204" y="315"/>
                    <a:pt x="5204" y="315"/>
                  </a:cubicBezTo>
                  <a:cubicBezTo>
                    <a:pt x="5204" y="329"/>
                    <a:pt x="5204" y="329"/>
                    <a:pt x="5210" y="342"/>
                  </a:cubicBezTo>
                  <a:cubicBezTo>
                    <a:pt x="5224" y="342"/>
                    <a:pt x="5250" y="355"/>
                    <a:pt x="5276" y="368"/>
                  </a:cubicBezTo>
                  <a:cubicBezTo>
                    <a:pt x="5276" y="368"/>
                    <a:pt x="5276" y="368"/>
                    <a:pt x="5276" y="355"/>
                  </a:cubicBezTo>
                  <a:cubicBezTo>
                    <a:pt x="5289" y="355"/>
                    <a:pt x="5289" y="355"/>
                    <a:pt x="5303" y="342"/>
                  </a:cubicBezTo>
                  <a:cubicBezTo>
                    <a:pt x="5303" y="355"/>
                    <a:pt x="5303" y="355"/>
                    <a:pt x="5316" y="355"/>
                  </a:cubicBezTo>
                  <a:cubicBezTo>
                    <a:pt x="5316" y="355"/>
                    <a:pt x="5316" y="355"/>
                    <a:pt x="5316" y="342"/>
                  </a:cubicBezTo>
                  <a:cubicBezTo>
                    <a:pt x="5303" y="329"/>
                    <a:pt x="5303" y="302"/>
                    <a:pt x="5303" y="289"/>
                  </a:cubicBezTo>
                  <a:cubicBezTo>
                    <a:pt x="5289" y="289"/>
                    <a:pt x="5276" y="289"/>
                    <a:pt x="5263" y="302"/>
                  </a:cubicBezTo>
                  <a:cubicBezTo>
                    <a:pt x="5263" y="289"/>
                    <a:pt x="5250" y="289"/>
                    <a:pt x="5250" y="283"/>
                  </a:cubicBezTo>
                  <a:cubicBezTo>
                    <a:pt x="5250" y="283"/>
                    <a:pt x="5250" y="283"/>
                    <a:pt x="5237" y="269"/>
                  </a:cubicBezTo>
                  <a:cubicBezTo>
                    <a:pt x="5237" y="269"/>
                    <a:pt x="5237" y="269"/>
                    <a:pt x="5237" y="256"/>
                  </a:cubicBezTo>
                  <a:cubicBezTo>
                    <a:pt x="5224" y="256"/>
                    <a:pt x="5224" y="243"/>
                    <a:pt x="5224" y="243"/>
                  </a:cubicBezTo>
                  <a:cubicBezTo>
                    <a:pt x="5224" y="237"/>
                    <a:pt x="5224" y="237"/>
                    <a:pt x="5224" y="237"/>
                  </a:cubicBezTo>
                  <a:cubicBezTo>
                    <a:pt x="6566" y="729"/>
                    <a:pt x="7554" y="1958"/>
                    <a:pt x="7698" y="3430"/>
                  </a:cubicBezTo>
                  <a:close/>
                  <a:moveTo>
                    <a:pt x="3864" y="350"/>
                  </a:moveTo>
                  <a:cubicBezTo>
                    <a:pt x="3864" y="350"/>
                    <a:pt x="3858" y="350"/>
                    <a:pt x="3851" y="356"/>
                  </a:cubicBezTo>
                  <a:cubicBezTo>
                    <a:pt x="3844" y="363"/>
                    <a:pt x="3844" y="363"/>
                    <a:pt x="3838" y="363"/>
                  </a:cubicBezTo>
                  <a:cubicBezTo>
                    <a:pt x="3844" y="363"/>
                    <a:pt x="3844" y="363"/>
                    <a:pt x="3851" y="363"/>
                  </a:cubicBezTo>
                  <a:cubicBezTo>
                    <a:pt x="3851" y="363"/>
                    <a:pt x="3851" y="363"/>
                    <a:pt x="3851" y="356"/>
                  </a:cubicBezTo>
                  <a:cubicBezTo>
                    <a:pt x="3858" y="356"/>
                    <a:pt x="3858" y="356"/>
                    <a:pt x="3864" y="350"/>
                  </a:cubicBezTo>
                  <a:close/>
                  <a:moveTo>
                    <a:pt x="4133" y="746"/>
                  </a:moveTo>
                  <a:cubicBezTo>
                    <a:pt x="4120" y="746"/>
                    <a:pt x="4120" y="746"/>
                    <a:pt x="4120" y="746"/>
                  </a:cubicBezTo>
                  <a:cubicBezTo>
                    <a:pt x="4120" y="759"/>
                    <a:pt x="4120" y="759"/>
                    <a:pt x="4133" y="759"/>
                  </a:cubicBezTo>
                  <a:cubicBezTo>
                    <a:pt x="4133" y="759"/>
                    <a:pt x="4133" y="759"/>
                    <a:pt x="4133" y="746"/>
                  </a:cubicBezTo>
                  <a:close/>
                  <a:moveTo>
                    <a:pt x="4552" y="97"/>
                  </a:moveTo>
                  <a:cubicBezTo>
                    <a:pt x="4549" y="90"/>
                    <a:pt x="4547" y="84"/>
                    <a:pt x="4545" y="79"/>
                  </a:cubicBezTo>
                  <a:cubicBezTo>
                    <a:pt x="4546" y="85"/>
                    <a:pt x="4546" y="92"/>
                    <a:pt x="4546" y="97"/>
                  </a:cubicBezTo>
                  <a:cubicBezTo>
                    <a:pt x="4546" y="97"/>
                    <a:pt x="4546" y="97"/>
                    <a:pt x="4552" y="97"/>
                  </a:cubicBezTo>
                  <a:close/>
                  <a:moveTo>
                    <a:pt x="4559" y="99"/>
                  </a:moveTo>
                  <a:cubicBezTo>
                    <a:pt x="4559" y="99"/>
                    <a:pt x="4559" y="99"/>
                    <a:pt x="4552" y="99"/>
                  </a:cubicBezTo>
                  <a:cubicBezTo>
                    <a:pt x="4552" y="103"/>
                    <a:pt x="4553" y="104"/>
                    <a:pt x="4559" y="110"/>
                  </a:cubicBezTo>
                  <a:lnTo>
                    <a:pt x="4559" y="99"/>
                  </a:lnTo>
                  <a:close/>
                  <a:moveTo>
                    <a:pt x="4467" y="2515"/>
                  </a:moveTo>
                  <a:cubicBezTo>
                    <a:pt x="4470" y="2523"/>
                    <a:pt x="4480" y="2523"/>
                    <a:pt x="4480" y="2523"/>
                  </a:cubicBezTo>
                  <a:cubicBezTo>
                    <a:pt x="4480" y="2523"/>
                    <a:pt x="4480" y="2523"/>
                    <a:pt x="4491" y="2523"/>
                  </a:cubicBezTo>
                  <a:cubicBezTo>
                    <a:pt x="4491" y="2515"/>
                    <a:pt x="4491" y="2515"/>
                    <a:pt x="4491" y="2515"/>
                  </a:cubicBezTo>
                  <a:cubicBezTo>
                    <a:pt x="4477" y="2515"/>
                    <a:pt x="4477" y="2515"/>
                    <a:pt x="4477" y="2515"/>
                  </a:cubicBezTo>
                  <a:lnTo>
                    <a:pt x="4467" y="2515"/>
                  </a:lnTo>
                  <a:close/>
                  <a:moveTo>
                    <a:pt x="4430" y="2531"/>
                  </a:moveTo>
                  <a:cubicBezTo>
                    <a:pt x="4427" y="2528"/>
                    <a:pt x="4427" y="2523"/>
                    <a:pt x="4427" y="2523"/>
                  </a:cubicBezTo>
                  <a:cubicBezTo>
                    <a:pt x="4427" y="2523"/>
                    <a:pt x="4427" y="2523"/>
                    <a:pt x="4414" y="2523"/>
                  </a:cubicBezTo>
                  <a:cubicBezTo>
                    <a:pt x="4410" y="2523"/>
                    <a:pt x="4408" y="2523"/>
                    <a:pt x="4406" y="2523"/>
                  </a:cubicBezTo>
                  <a:cubicBezTo>
                    <a:pt x="4414" y="2524"/>
                    <a:pt x="4422" y="2528"/>
                    <a:pt x="4430" y="2531"/>
                  </a:cubicBezTo>
                  <a:close/>
                  <a:moveTo>
                    <a:pt x="4453" y="2537"/>
                  </a:moveTo>
                  <a:cubicBezTo>
                    <a:pt x="4451" y="2537"/>
                    <a:pt x="4450" y="2537"/>
                    <a:pt x="4448" y="2537"/>
                  </a:cubicBezTo>
                  <a:cubicBezTo>
                    <a:pt x="4448" y="2537"/>
                    <a:pt x="4448" y="2537"/>
                    <a:pt x="4448" y="2538"/>
                  </a:cubicBezTo>
                  <a:cubicBezTo>
                    <a:pt x="4451" y="2537"/>
                    <a:pt x="4453" y="2537"/>
                    <a:pt x="4453" y="2537"/>
                  </a:cubicBezTo>
                  <a:close/>
                  <a:moveTo>
                    <a:pt x="4414" y="2484"/>
                  </a:moveTo>
                  <a:cubicBezTo>
                    <a:pt x="4414" y="2484"/>
                    <a:pt x="4414" y="2484"/>
                    <a:pt x="4427" y="2497"/>
                  </a:cubicBezTo>
                  <a:cubicBezTo>
                    <a:pt x="4427" y="2497"/>
                    <a:pt x="4440" y="2497"/>
                    <a:pt x="4453" y="2510"/>
                  </a:cubicBezTo>
                  <a:cubicBezTo>
                    <a:pt x="4453" y="2510"/>
                    <a:pt x="4453" y="2510"/>
                    <a:pt x="4463" y="2510"/>
                  </a:cubicBezTo>
                  <a:cubicBezTo>
                    <a:pt x="4463" y="2501"/>
                    <a:pt x="4463" y="2501"/>
                    <a:pt x="4463" y="2501"/>
                  </a:cubicBezTo>
                  <a:cubicBezTo>
                    <a:pt x="4463" y="2501"/>
                    <a:pt x="4463" y="2501"/>
                    <a:pt x="4449" y="2488"/>
                  </a:cubicBezTo>
                  <a:cubicBezTo>
                    <a:pt x="4435" y="2488"/>
                    <a:pt x="4435" y="2488"/>
                    <a:pt x="4435" y="2488"/>
                  </a:cubicBezTo>
                  <a:cubicBezTo>
                    <a:pt x="4435" y="2487"/>
                    <a:pt x="4435" y="2485"/>
                    <a:pt x="4435" y="2484"/>
                  </a:cubicBezTo>
                  <a:cubicBezTo>
                    <a:pt x="4427" y="2484"/>
                    <a:pt x="4425" y="2484"/>
                    <a:pt x="4414" y="2484"/>
                  </a:cubicBezTo>
                  <a:close/>
                  <a:moveTo>
                    <a:pt x="5408" y="2267"/>
                  </a:moveTo>
                  <a:cubicBezTo>
                    <a:pt x="5408" y="2254"/>
                    <a:pt x="5408" y="2241"/>
                    <a:pt x="5395" y="2241"/>
                  </a:cubicBezTo>
                  <a:cubicBezTo>
                    <a:pt x="5395" y="2228"/>
                    <a:pt x="5395" y="2228"/>
                    <a:pt x="5395" y="2228"/>
                  </a:cubicBezTo>
                  <a:cubicBezTo>
                    <a:pt x="5381" y="2215"/>
                    <a:pt x="5381" y="2215"/>
                    <a:pt x="5368" y="2201"/>
                  </a:cubicBezTo>
                  <a:cubicBezTo>
                    <a:pt x="5368" y="2201"/>
                    <a:pt x="5355" y="2201"/>
                    <a:pt x="5342" y="2201"/>
                  </a:cubicBezTo>
                  <a:cubicBezTo>
                    <a:pt x="5342" y="2188"/>
                    <a:pt x="5329" y="2188"/>
                    <a:pt x="5329" y="2175"/>
                  </a:cubicBezTo>
                  <a:cubicBezTo>
                    <a:pt x="5316" y="2175"/>
                    <a:pt x="5316" y="2175"/>
                    <a:pt x="5316" y="2162"/>
                  </a:cubicBezTo>
                  <a:cubicBezTo>
                    <a:pt x="5316" y="2162"/>
                    <a:pt x="5316" y="2162"/>
                    <a:pt x="5303" y="2162"/>
                  </a:cubicBezTo>
                  <a:cubicBezTo>
                    <a:pt x="5303" y="2162"/>
                    <a:pt x="5303" y="2149"/>
                    <a:pt x="5289" y="2149"/>
                  </a:cubicBezTo>
                  <a:cubicBezTo>
                    <a:pt x="5263" y="2123"/>
                    <a:pt x="5237" y="2109"/>
                    <a:pt x="5210" y="2083"/>
                  </a:cubicBezTo>
                  <a:cubicBezTo>
                    <a:pt x="5210" y="2083"/>
                    <a:pt x="5210" y="2083"/>
                    <a:pt x="5210" y="2096"/>
                  </a:cubicBezTo>
                  <a:cubicBezTo>
                    <a:pt x="5204" y="2096"/>
                    <a:pt x="5204" y="2096"/>
                    <a:pt x="5204" y="2096"/>
                  </a:cubicBezTo>
                  <a:cubicBezTo>
                    <a:pt x="5204" y="2083"/>
                    <a:pt x="5204" y="2083"/>
                    <a:pt x="5191" y="2083"/>
                  </a:cubicBezTo>
                  <a:cubicBezTo>
                    <a:pt x="5191" y="2070"/>
                    <a:pt x="5191" y="2070"/>
                    <a:pt x="5191" y="2070"/>
                  </a:cubicBezTo>
                  <a:cubicBezTo>
                    <a:pt x="5177" y="2057"/>
                    <a:pt x="5177" y="2057"/>
                    <a:pt x="5164" y="2057"/>
                  </a:cubicBezTo>
                  <a:cubicBezTo>
                    <a:pt x="5164" y="2044"/>
                    <a:pt x="5177" y="2044"/>
                    <a:pt x="5177" y="2044"/>
                  </a:cubicBezTo>
                  <a:cubicBezTo>
                    <a:pt x="5177" y="2044"/>
                    <a:pt x="5177" y="2044"/>
                    <a:pt x="5177" y="2031"/>
                  </a:cubicBezTo>
                  <a:cubicBezTo>
                    <a:pt x="5191" y="2031"/>
                    <a:pt x="5204" y="2044"/>
                    <a:pt x="5204" y="2044"/>
                  </a:cubicBezTo>
                  <a:cubicBezTo>
                    <a:pt x="5210" y="2017"/>
                    <a:pt x="5224" y="2004"/>
                    <a:pt x="5237" y="1991"/>
                  </a:cubicBezTo>
                  <a:cubicBezTo>
                    <a:pt x="5237" y="1991"/>
                    <a:pt x="5250" y="1991"/>
                    <a:pt x="5250" y="1978"/>
                  </a:cubicBezTo>
                  <a:cubicBezTo>
                    <a:pt x="5250" y="1978"/>
                    <a:pt x="5250" y="1991"/>
                    <a:pt x="5263" y="1991"/>
                  </a:cubicBezTo>
                  <a:cubicBezTo>
                    <a:pt x="5250" y="1978"/>
                    <a:pt x="5250" y="1971"/>
                    <a:pt x="5250" y="1971"/>
                  </a:cubicBezTo>
                  <a:cubicBezTo>
                    <a:pt x="5237" y="1971"/>
                    <a:pt x="5237" y="1971"/>
                    <a:pt x="5237" y="1971"/>
                  </a:cubicBezTo>
                  <a:cubicBezTo>
                    <a:pt x="5237" y="1958"/>
                    <a:pt x="5224" y="1958"/>
                    <a:pt x="5224" y="1958"/>
                  </a:cubicBezTo>
                  <a:cubicBezTo>
                    <a:pt x="5224" y="1958"/>
                    <a:pt x="5224" y="1958"/>
                    <a:pt x="5224" y="1945"/>
                  </a:cubicBezTo>
                  <a:cubicBezTo>
                    <a:pt x="5237" y="1945"/>
                    <a:pt x="5250" y="1945"/>
                    <a:pt x="5250" y="1945"/>
                  </a:cubicBezTo>
                  <a:cubicBezTo>
                    <a:pt x="5250" y="1945"/>
                    <a:pt x="5250" y="1945"/>
                    <a:pt x="5263" y="1945"/>
                  </a:cubicBezTo>
                  <a:cubicBezTo>
                    <a:pt x="5263" y="1932"/>
                    <a:pt x="5263" y="1932"/>
                    <a:pt x="5263" y="1932"/>
                  </a:cubicBezTo>
                  <a:cubicBezTo>
                    <a:pt x="5276" y="1932"/>
                    <a:pt x="5289" y="1919"/>
                    <a:pt x="5303" y="1919"/>
                  </a:cubicBezTo>
                  <a:cubicBezTo>
                    <a:pt x="5303" y="1919"/>
                    <a:pt x="5303" y="1919"/>
                    <a:pt x="5316" y="1919"/>
                  </a:cubicBezTo>
                  <a:cubicBezTo>
                    <a:pt x="5316" y="1919"/>
                    <a:pt x="5316" y="1919"/>
                    <a:pt x="5316" y="1906"/>
                  </a:cubicBezTo>
                  <a:cubicBezTo>
                    <a:pt x="5303" y="1906"/>
                    <a:pt x="5303" y="1906"/>
                    <a:pt x="5303" y="1906"/>
                  </a:cubicBezTo>
                  <a:cubicBezTo>
                    <a:pt x="5289" y="1906"/>
                    <a:pt x="5289" y="1906"/>
                    <a:pt x="5289" y="1906"/>
                  </a:cubicBezTo>
                  <a:cubicBezTo>
                    <a:pt x="5276" y="1906"/>
                    <a:pt x="5276" y="1906"/>
                    <a:pt x="5276" y="1906"/>
                  </a:cubicBezTo>
                  <a:cubicBezTo>
                    <a:pt x="5276" y="1906"/>
                    <a:pt x="5276" y="1906"/>
                    <a:pt x="5263" y="1906"/>
                  </a:cubicBezTo>
                  <a:cubicBezTo>
                    <a:pt x="5263" y="1906"/>
                    <a:pt x="5263" y="1906"/>
                    <a:pt x="5250" y="1906"/>
                  </a:cubicBezTo>
                  <a:cubicBezTo>
                    <a:pt x="5237" y="1919"/>
                    <a:pt x="5224" y="1919"/>
                    <a:pt x="5224" y="1919"/>
                  </a:cubicBezTo>
                  <a:cubicBezTo>
                    <a:pt x="5210" y="1919"/>
                    <a:pt x="5210" y="1919"/>
                    <a:pt x="5210" y="1932"/>
                  </a:cubicBezTo>
                  <a:cubicBezTo>
                    <a:pt x="5210" y="1932"/>
                    <a:pt x="5210" y="1932"/>
                    <a:pt x="5204" y="1932"/>
                  </a:cubicBezTo>
                  <a:cubicBezTo>
                    <a:pt x="5204" y="1932"/>
                    <a:pt x="5204" y="1932"/>
                    <a:pt x="5191" y="1932"/>
                  </a:cubicBezTo>
                  <a:cubicBezTo>
                    <a:pt x="5191" y="1932"/>
                    <a:pt x="5191" y="1932"/>
                    <a:pt x="5191" y="1945"/>
                  </a:cubicBezTo>
                  <a:cubicBezTo>
                    <a:pt x="5177" y="1945"/>
                    <a:pt x="5177" y="1945"/>
                    <a:pt x="5177" y="1932"/>
                  </a:cubicBezTo>
                  <a:cubicBezTo>
                    <a:pt x="5164" y="1945"/>
                    <a:pt x="5164" y="1945"/>
                    <a:pt x="5151" y="1945"/>
                  </a:cubicBezTo>
                  <a:cubicBezTo>
                    <a:pt x="5138" y="1945"/>
                    <a:pt x="5138" y="1945"/>
                    <a:pt x="5138" y="1958"/>
                  </a:cubicBezTo>
                  <a:cubicBezTo>
                    <a:pt x="5138" y="1958"/>
                    <a:pt x="5138" y="1958"/>
                    <a:pt x="5125" y="1958"/>
                  </a:cubicBezTo>
                  <a:cubicBezTo>
                    <a:pt x="5125" y="1958"/>
                    <a:pt x="5112" y="1958"/>
                    <a:pt x="5112" y="1971"/>
                  </a:cubicBezTo>
                  <a:cubicBezTo>
                    <a:pt x="5098" y="1971"/>
                    <a:pt x="5098" y="1978"/>
                    <a:pt x="5098" y="1978"/>
                  </a:cubicBezTo>
                  <a:cubicBezTo>
                    <a:pt x="5098" y="1978"/>
                    <a:pt x="5098" y="1978"/>
                    <a:pt x="5098" y="1971"/>
                  </a:cubicBezTo>
                  <a:cubicBezTo>
                    <a:pt x="5098" y="1971"/>
                    <a:pt x="5098" y="1971"/>
                    <a:pt x="5098" y="1958"/>
                  </a:cubicBezTo>
                  <a:cubicBezTo>
                    <a:pt x="5098" y="1971"/>
                    <a:pt x="5085" y="1971"/>
                    <a:pt x="5085" y="1971"/>
                  </a:cubicBezTo>
                  <a:cubicBezTo>
                    <a:pt x="5085" y="1973"/>
                    <a:pt x="5085" y="1974"/>
                    <a:pt x="5085" y="1975"/>
                  </a:cubicBezTo>
                  <a:cubicBezTo>
                    <a:pt x="5091" y="1982"/>
                    <a:pt x="5091" y="1985"/>
                    <a:pt x="5091" y="1998"/>
                  </a:cubicBezTo>
                  <a:cubicBezTo>
                    <a:pt x="5073" y="1998"/>
                    <a:pt x="5073" y="1998"/>
                    <a:pt x="5073" y="1998"/>
                  </a:cubicBezTo>
                  <a:cubicBezTo>
                    <a:pt x="5073" y="1980"/>
                    <a:pt x="5073" y="1980"/>
                    <a:pt x="5073" y="1980"/>
                  </a:cubicBezTo>
                  <a:cubicBezTo>
                    <a:pt x="5073" y="1979"/>
                    <a:pt x="5073" y="1979"/>
                    <a:pt x="5073" y="1978"/>
                  </a:cubicBezTo>
                  <a:cubicBezTo>
                    <a:pt x="5073" y="1978"/>
                    <a:pt x="5073" y="1978"/>
                    <a:pt x="5072" y="1978"/>
                  </a:cubicBezTo>
                  <a:cubicBezTo>
                    <a:pt x="5072" y="1978"/>
                    <a:pt x="5059" y="1978"/>
                    <a:pt x="5059" y="1991"/>
                  </a:cubicBezTo>
                  <a:cubicBezTo>
                    <a:pt x="5059" y="1978"/>
                    <a:pt x="5059" y="1978"/>
                    <a:pt x="5059" y="1978"/>
                  </a:cubicBezTo>
                  <a:cubicBezTo>
                    <a:pt x="5059" y="1978"/>
                    <a:pt x="5059" y="1978"/>
                    <a:pt x="5046" y="1978"/>
                  </a:cubicBezTo>
                  <a:cubicBezTo>
                    <a:pt x="5046" y="1978"/>
                    <a:pt x="5046" y="1978"/>
                    <a:pt x="5046" y="1971"/>
                  </a:cubicBezTo>
                  <a:cubicBezTo>
                    <a:pt x="5046" y="1971"/>
                    <a:pt x="5046" y="1971"/>
                    <a:pt x="5033" y="1978"/>
                  </a:cubicBezTo>
                  <a:cubicBezTo>
                    <a:pt x="5033" y="1978"/>
                    <a:pt x="5033" y="1978"/>
                    <a:pt x="5033" y="1991"/>
                  </a:cubicBezTo>
                  <a:cubicBezTo>
                    <a:pt x="5033" y="1991"/>
                    <a:pt x="5033" y="2004"/>
                    <a:pt x="5046" y="2004"/>
                  </a:cubicBezTo>
                  <a:cubicBezTo>
                    <a:pt x="5046" y="1991"/>
                    <a:pt x="5046" y="1991"/>
                    <a:pt x="5046" y="1991"/>
                  </a:cubicBezTo>
                  <a:cubicBezTo>
                    <a:pt x="5059" y="1991"/>
                    <a:pt x="5059" y="1991"/>
                    <a:pt x="5059" y="1991"/>
                  </a:cubicBezTo>
                  <a:cubicBezTo>
                    <a:pt x="5059" y="2004"/>
                    <a:pt x="5059" y="2004"/>
                    <a:pt x="5059" y="2004"/>
                  </a:cubicBezTo>
                  <a:cubicBezTo>
                    <a:pt x="5059" y="2004"/>
                    <a:pt x="5059" y="2004"/>
                    <a:pt x="5072" y="2004"/>
                  </a:cubicBezTo>
                  <a:cubicBezTo>
                    <a:pt x="5072" y="2017"/>
                    <a:pt x="5072" y="2017"/>
                    <a:pt x="5059" y="2017"/>
                  </a:cubicBezTo>
                  <a:cubicBezTo>
                    <a:pt x="5072" y="2017"/>
                    <a:pt x="5072" y="2017"/>
                    <a:pt x="5072" y="2017"/>
                  </a:cubicBezTo>
                  <a:cubicBezTo>
                    <a:pt x="5085" y="2017"/>
                    <a:pt x="5085" y="2017"/>
                    <a:pt x="5085" y="2017"/>
                  </a:cubicBezTo>
                  <a:cubicBezTo>
                    <a:pt x="5085" y="2031"/>
                    <a:pt x="5085" y="2031"/>
                    <a:pt x="5085" y="2044"/>
                  </a:cubicBezTo>
                  <a:cubicBezTo>
                    <a:pt x="5098" y="2044"/>
                    <a:pt x="5098" y="2044"/>
                    <a:pt x="5112" y="2044"/>
                  </a:cubicBezTo>
                  <a:cubicBezTo>
                    <a:pt x="5125" y="2044"/>
                    <a:pt x="5125" y="2044"/>
                    <a:pt x="5125" y="2031"/>
                  </a:cubicBezTo>
                  <a:cubicBezTo>
                    <a:pt x="5125" y="2031"/>
                    <a:pt x="5125" y="2031"/>
                    <a:pt x="5138" y="2031"/>
                  </a:cubicBezTo>
                  <a:cubicBezTo>
                    <a:pt x="5151" y="2031"/>
                    <a:pt x="5151" y="2031"/>
                    <a:pt x="5151" y="2031"/>
                  </a:cubicBezTo>
                  <a:cubicBezTo>
                    <a:pt x="5164" y="2031"/>
                    <a:pt x="5164" y="2031"/>
                    <a:pt x="5164" y="2031"/>
                  </a:cubicBezTo>
                  <a:cubicBezTo>
                    <a:pt x="5164" y="2031"/>
                    <a:pt x="5164" y="2031"/>
                    <a:pt x="5164" y="2044"/>
                  </a:cubicBezTo>
                  <a:cubicBezTo>
                    <a:pt x="5164" y="2057"/>
                    <a:pt x="5164" y="2057"/>
                    <a:pt x="5164" y="2057"/>
                  </a:cubicBezTo>
                  <a:cubicBezTo>
                    <a:pt x="5151" y="2057"/>
                    <a:pt x="5151" y="2057"/>
                    <a:pt x="5138" y="2057"/>
                  </a:cubicBezTo>
                  <a:cubicBezTo>
                    <a:pt x="5138" y="2070"/>
                    <a:pt x="5138" y="2070"/>
                    <a:pt x="5138" y="2070"/>
                  </a:cubicBezTo>
                  <a:cubicBezTo>
                    <a:pt x="5125" y="2057"/>
                    <a:pt x="5112" y="2057"/>
                    <a:pt x="5112" y="2057"/>
                  </a:cubicBezTo>
                  <a:cubicBezTo>
                    <a:pt x="5098" y="2070"/>
                    <a:pt x="5085" y="2070"/>
                    <a:pt x="5085" y="2083"/>
                  </a:cubicBezTo>
                  <a:cubicBezTo>
                    <a:pt x="5072" y="2083"/>
                    <a:pt x="5072" y="2083"/>
                    <a:pt x="5072" y="2083"/>
                  </a:cubicBezTo>
                  <a:cubicBezTo>
                    <a:pt x="5059" y="2083"/>
                    <a:pt x="5059" y="2083"/>
                    <a:pt x="5059" y="2083"/>
                  </a:cubicBezTo>
                  <a:cubicBezTo>
                    <a:pt x="5046" y="2096"/>
                    <a:pt x="5046" y="2096"/>
                    <a:pt x="5046" y="2096"/>
                  </a:cubicBezTo>
                  <a:cubicBezTo>
                    <a:pt x="5046" y="2096"/>
                    <a:pt x="5046" y="2109"/>
                    <a:pt x="5033" y="2109"/>
                  </a:cubicBezTo>
                  <a:cubicBezTo>
                    <a:pt x="5033" y="2109"/>
                    <a:pt x="5033" y="2109"/>
                    <a:pt x="5019" y="2109"/>
                  </a:cubicBezTo>
                  <a:cubicBezTo>
                    <a:pt x="5019" y="2109"/>
                    <a:pt x="5019" y="2109"/>
                    <a:pt x="5006" y="2109"/>
                  </a:cubicBezTo>
                  <a:cubicBezTo>
                    <a:pt x="5006" y="2109"/>
                    <a:pt x="5006" y="2096"/>
                    <a:pt x="4993" y="2096"/>
                  </a:cubicBezTo>
                  <a:cubicBezTo>
                    <a:pt x="4993" y="2096"/>
                    <a:pt x="4993" y="2096"/>
                    <a:pt x="5006" y="2096"/>
                  </a:cubicBezTo>
                  <a:cubicBezTo>
                    <a:pt x="5006" y="2083"/>
                    <a:pt x="5006" y="2070"/>
                    <a:pt x="5006" y="2070"/>
                  </a:cubicBezTo>
                  <a:cubicBezTo>
                    <a:pt x="5006" y="2057"/>
                    <a:pt x="5006" y="2057"/>
                    <a:pt x="4993" y="2057"/>
                  </a:cubicBezTo>
                  <a:cubicBezTo>
                    <a:pt x="4993" y="2057"/>
                    <a:pt x="4993" y="2057"/>
                    <a:pt x="4980" y="2057"/>
                  </a:cubicBezTo>
                  <a:cubicBezTo>
                    <a:pt x="4980" y="2044"/>
                    <a:pt x="4980" y="2044"/>
                    <a:pt x="4967" y="2044"/>
                  </a:cubicBezTo>
                  <a:cubicBezTo>
                    <a:pt x="4967" y="2044"/>
                    <a:pt x="4967" y="2044"/>
                    <a:pt x="4954" y="2044"/>
                  </a:cubicBezTo>
                  <a:cubicBezTo>
                    <a:pt x="4954" y="2044"/>
                    <a:pt x="4954" y="2044"/>
                    <a:pt x="4954" y="2031"/>
                  </a:cubicBezTo>
                  <a:cubicBezTo>
                    <a:pt x="4954" y="2031"/>
                    <a:pt x="4954" y="2031"/>
                    <a:pt x="4967" y="2031"/>
                  </a:cubicBezTo>
                  <a:cubicBezTo>
                    <a:pt x="4967" y="2017"/>
                    <a:pt x="4980" y="2017"/>
                    <a:pt x="4993" y="2004"/>
                  </a:cubicBezTo>
                  <a:cubicBezTo>
                    <a:pt x="4993" y="2004"/>
                    <a:pt x="5006" y="2004"/>
                    <a:pt x="5019" y="2004"/>
                  </a:cubicBezTo>
                  <a:cubicBezTo>
                    <a:pt x="5019" y="2004"/>
                    <a:pt x="5019" y="2004"/>
                    <a:pt x="5019" y="1991"/>
                  </a:cubicBezTo>
                  <a:cubicBezTo>
                    <a:pt x="5006" y="1991"/>
                    <a:pt x="5006" y="1978"/>
                    <a:pt x="5006" y="1978"/>
                  </a:cubicBezTo>
                  <a:cubicBezTo>
                    <a:pt x="5006" y="1978"/>
                    <a:pt x="5006" y="1978"/>
                    <a:pt x="5006" y="1991"/>
                  </a:cubicBezTo>
                  <a:cubicBezTo>
                    <a:pt x="4993" y="1991"/>
                    <a:pt x="4993" y="1978"/>
                    <a:pt x="4993" y="1978"/>
                  </a:cubicBezTo>
                  <a:cubicBezTo>
                    <a:pt x="4993" y="1978"/>
                    <a:pt x="4993" y="1978"/>
                    <a:pt x="4980" y="1978"/>
                  </a:cubicBezTo>
                  <a:cubicBezTo>
                    <a:pt x="4980" y="1991"/>
                    <a:pt x="4967" y="1991"/>
                    <a:pt x="4954" y="1991"/>
                  </a:cubicBezTo>
                  <a:cubicBezTo>
                    <a:pt x="4954" y="1991"/>
                    <a:pt x="4954" y="1991"/>
                    <a:pt x="4940" y="1978"/>
                  </a:cubicBezTo>
                  <a:cubicBezTo>
                    <a:pt x="4940" y="1978"/>
                    <a:pt x="4940" y="1978"/>
                    <a:pt x="4927" y="1978"/>
                  </a:cubicBezTo>
                  <a:cubicBezTo>
                    <a:pt x="4927" y="1978"/>
                    <a:pt x="4927" y="1978"/>
                    <a:pt x="4914" y="1978"/>
                  </a:cubicBezTo>
                  <a:cubicBezTo>
                    <a:pt x="4914" y="1971"/>
                    <a:pt x="4927" y="1971"/>
                    <a:pt x="4927" y="1971"/>
                  </a:cubicBezTo>
                  <a:cubicBezTo>
                    <a:pt x="4927" y="1971"/>
                    <a:pt x="4927" y="1971"/>
                    <a:pt x="4914" y="1958"/>
                  </a:cubicBezTo>
                  <a:cubicBezTo>
                    <a:pt x="4921" y="1958"/>
                    <a:pt x="4927" y="1958"/>
                    <a:pt x="4927" y="1958"/>
                  </a:cubicBezTo>
                  <a:cubicBezTo>
                    <a:pt x="4927" y="1945"/>
                    <a:pt x="4927" y="1945"/>
                    <a:pt x="4927" y="1932"/>
                  </a:cubicBezTo>
                  <a:cubicBezTo>
                    <a:pt x="4927" y="1945"/>
                    <a:pt x="4927" y="1945"/>
                    <a:pt x="4914" y="1945"/>
                  </a:cubicBezTo>
                  <a:cubicBezTo>
                    <a:pt x="4914" y="1945"/>
                    <a:pt x="4914" y="1945"/>
                    <a:pt x="4901" y="1945"/>
                  </a:cubicBezTo>
                  <a:cubicBezTo>
                    <a:pt x="4901" y="1945"/>
                    <a:pt x="4894" y="1945"/>
                    <a:pt x="4894" y="1958"/>
                  </a:cubicBezTo>
                  <a:cubicBezTo>
                    <a:pt x="4881" y="1958"/>
                    <a:pt x="4881" y="1958"/>
                    <a:pt x="4868" y="1958"/>
                  </a:cubicBezTo>
                  <a:cubicBezTo>
                    <a:pt x="4868" y="1958"/>
                    <a:pt x="4868" y="1958"/>
                    <a:pt x="4868" y="1971"/>
                  </a:cubicBezTo>
                  <a:cubicBezTo>
                    <a:pt x="4855" y="1971"/>
                    <a:pt x="4855" y="1978"/>
                    <a:pt x="4855" y="1978"/>
                  </a:cubicBezTo>
                  <a:cubicBezTo>
                    <a:pt x="4842" y="1978"/>
                    <a:pt x="4842" y="1978"/>
                    <a:pt x="4842" y="1971"/>
                  </a:cubicBezTo>
                  <a:cubicBezTo>
                    <a:pt x="4842" y="1978"/>
                    <a:pt x="4842" y="1978"/>
                    <a:pt x="4842" y="1978"/>
                  </a:cubicBezTo>
                  <a:cubicBezTo>
                    <a:pt x="4842" y="1978"/>
                    <a:pt x="4842" y="1978"/>
                    <a:pt x="4842" y="1991"/>
                  </a:cubicBezTo>
                  <a:cubicBezTo>
                    <a:pt x="4842" y="1991"/>
                    <a:pt x="4842" y="2004"/>
                    <a:pt x="4829" y="2004"/>
                  </a:cubicBezTo>
                  <a:cubicBezTo>
                    <a:pt x="4829" y="2004"/>
                    <a:pt x="4829" y="2004"/>
                    <a:pt x="4815" y="2004"/>
                  </a:cubicBezTo>
                  <a:cubicBezTo>
                    <a:pt x="4815" y="2004"/>
                    <a:pt x="4815" y="2004"/>
                    <a:pt x="4815" y="2017"/>
                  </a:cubicBezTo>
                  <a:cubicBezTo>
                    <a:pt x="4815" y="2017"/>
                    <a:pt x="4815" y="2017"/>
                    <a:pt x="4802" y="2017"/>
                  </a:cubicBezTo>
                  <a:cubicBezTo>
                    <a:pt x="4802" y="2024"/>
                    <a:pt x="4802" y="2031"/>
                    <a:pt x="4802" y="2031"/>
                  </a:cubicBezTo>
                  <a:cubicBezTo>
                    <a:pt x="4802" y="2044"/>
                    <a:pt x="4802" y="2044"/>
                    <a:pt x="4802" y="2044"/>
                  </a:cubicBezTo>
                  <a:cubicBezTo>
                    <a:pt x="4802" y="2057"/>
                    <a:pt x="4802" y="2057"/>
                    <a:pt x="4802" y="2070"/>
                  </a:cubicBezTo>
                  <a:cubicBezTo>
                    <a:pt x="4802" y="2070"/>
                    <a:pt x="4802" y="2083"/>
                    <a:pt x="4789" y="2083"/>
                  </a:cubicBezTo>
                  <a:cubicBezTo>
                    <a:pt x="4776" y="2096"/>
                    <a:pt x="4763" y="2096"/>
                    <a:pt x="4763" y="2109"/>
                  </a:cubicBezTo>
                  <a:cubicBezTo>
                    <a:pt x="4763" y="2109"/>
                    <a:pt x="4763" y="2096"/>
                    <a:pt x="4750" y="2096"/>
                  </a:cubicBezTo>
                  <a:cubicBezTo>
                    <a:pt x="4750" y="2123"/>
                    <a:pt x="4750" y="2136"/>
                    <a:pt x="4750" y="2162"/>
                  </a:cubicBezTo>
                  <a:cubicBezTo>
                    <a:pt x="4750" y="2162"/>
                    <a:pt x="4750" y="2162"/>
                    <a:pt x="4736" y="2175"/>
                  </a:cubicBezTo>
                  <a:cubicBezTo>
                    <a:pt x="4736" y="2175"/>
                    <a:pt x="4736" y="2175"/>
                    <a:pt x="4736" y="2188"/>
                  </a:cubicBezTo>
                  <a:cubicBezTo>
                    <a:pt x="4736" y="2188"/>
                    <a:pt x="4736" y="2188"/>
                    <a:pt x="4723" y="2188"/>
                  </a:cubicBezTo>
                  <a:cubicBezTo>
                    <a:pt x="4710" y="2188"/>
                    <a:pt x="4710" y="2201"/>
                    <a:pt x="4710" y="2201"/>
                  </a:cubicBezTo>
                  <a:cubicBezTo>
                    <a:pt x="4710" y="2215"/>
                    <a:pt x="4710" y="2215"/>
                    <a:pt x="4710" y="2228"/>
                  </a:cubicBezTo>
                  <a:cubicBezTo>
                    <a:pt x="4697" y="2228"/>
                    <a:pt x="4697" y="2228"/>
                    <a:pt x="4697" y="2228"/>
                  </a:cubicBezTo>
                  <a:cubicBezTo>
                    <a:pt x="4697" y="2228"/>
                    <a:pt x="4697" y="2228"/>
                    <a:pt x="4697" y="2241"/>
                  </a:cubicBezTo>
                  <a:cubicBezTo>
                    <a:pt x="4684" y="2241"/>
                    <a:pt x="4684" y="2241"/>
                    <a:pt x="4684" y="2241"/>
                  </a:cubicBezTo>
                  <a:cubicBezTo>
                    <a:pt x="4684" y="2254"/>
                    <a:pt x="4684" y="2254"/>
                    <a:pt x="4684" y="2254"/>
                  </a:cubicBezTo>
                  <a:cubicBezTo>
                    <a:pt x="4697" y="2267"/>
                    <a:pt x="4697" y="2267"/>
                    <a:pt x="4710" y="2280"/>
                  </a:cubicBezTo>
                  <a:cubicBezTo>
                    <a:pt x="4710" y="2280"/>
                    <a:pt x="4710" y="2280"/>
                    <a:pt x="4710" y="2293"/>
                  </a:cubicBezTo>
                  <a:cubicBezTo>
                    <a:pt x="4710" y="2293"/>
                    <a:pt x="4710" y="2293"/>
                    <a:pt x="4710" y="2307"/>
                  </a:cubicBezTo>
                  <a:cubicBezTo>
                    <a:pt x="4710" y="2307"/>
                    <a:pt x="4710" y="2307"/>
                    <a:pt x="4723" y="2313"/>
                  </a:cubicBezTo>
                  <a:cubicBezTo>
                    <a:pt x="4736" y="2313"/>
                    <a:pt x="4736" y="2326"/>
                    <a:pt x="4750" y="2326"/>
                  </a:cubicBezTo>
                  <a:cubicBezTo>
                    <a:pt x="4750" y="2326"/>
                    <a:pt x="4750" y="2326"/>
                    <a:pt x="4763" y="2326"/>
                  </a:cubicBezTo>
                  <a:cubicBezTo>
                    <a:pt x="4776" y="2326"/>
                    <a:pt x="4776" y="2326"/>
                    <a:pt x="4776" y="2326"/>
                  </a:cubicBezTo>
                  <a:cubicBezTo>
                    <a:pt x="4789" y="2339"/>
                    <a:pt x="4789" y="2339"/>
                    <a:pt x="4789" y="2339"/>
                  </a:cubicBezTo>
                  <a:cubicBezTo>
                    <a:pt x="4802" y="2339"/>
                    <a:pt x="4815" y="2339"/>
                    <a:pt x="4842" y="2339"/>
                  </a:cubicBezTo>
                  <a:cubicBezTo>
                    <a:pt x="4855" y="2339"/>
                    <a:pt x="4855" y="2339"/>
                    <a:pt x="4868" y="2339"/>
                  </a:cubicBezTo>
                  <a:cubicBezTo>
                    <a:pt x="4868" y="2339"/>
                    <a:pt x="4868" y="2339"/>
                    <a:pt x="4881" y="2339"/>
                  </a:cubicBezTo>
                  <a:cubicBezTo>
                    <a:pt x="4881" y="2326"/>
                    <a:pt x="4881" y="2326"/>
                    <a:pt x="4894" y="2326"/>
                  </a:cubicBezTo>
                  <a:cubicBezTo>
                    <a:pt x="4914" y="2313"/>
                    <a:pt x="4954" y="2293"/>
                    <a:pt x="4980" y="2280"/>
                  </a:cubicBezTo>
                  <a:cubicBezTo>
                    <a:pt x="5006" y="2280"/>
                    <a:pt x="5033" y="2280"/>
                    <a:pt x="5059" y="2280"/>
                  </a:cubicBezTo>
                  <a:cubicBezTo>
                    <a:pt x="5059" y="2280"/>
                    <a:pt x="5059" y="2280"/>
                    <a:pt x="5072" y="2280"/>
                  </a:cubicBezTo>
                  <a:cubicBezTo>
                    <a:pt x="5072" y="2280"/>
                    <a:pt x="5072" y="2280"/>
                    <a:pt x="5085" y="2280"/>
                  </a:cubicBezTo>
                  <a:cubicBezTo>
                    <a:pt x="5085" y="2293"/>
                    <a:pt x="5085" y="2293"/>
                    <a:pt x="5085" y="2293"/>
                  </a:cubicBezTo>
                  <a:cubicBezTo>
                    <a:pt x="5098" y="2307"/>
                    <a:pt x="5098" y="2307"/>
                    <a:pt x="5112" y="2307"/>
                  </a:cubicBezTo>
                  <a:cubicBezTo>
                    <a:pt x="5112" y="2307"/>
                    <a:pt x="5112" y="2307"/>
                    <a:pt x="5125" y="2307"/>
                  </a:cubicBezTo>
                  <a:cubicBezTo>
                    <a:pt x="5125" y="2307"/>
                    <a:pt x="5138" y="2313"/>
                    <a:pt x="5138" y="2326"/>
                  </a:cubicBezTo>
                  <a:cubicBezTo>
                    <a:pt x="5151" y="2326"/>
                    <a:pt x="5151" y="2326"/>
                    <a:pt x="5164" y="2326"/>
                  </a:cubicBezTo>
                  <a:cubicBezTo>
                    <a:pt x="5177" y="2339"/>
                    <a:pt x="5177" y="2339"/>
                    <a:pt x="5191" y="2353"/>
                  </a:cubicBezTo>
                  <a:cubicBezTo>
                    <a:pt x="5204" y="2339"/>
                    <a:pt x="5204" y="2339"/>
                    <a:pt x="5204" y="2339"/>
                  </a:cubicBezTo>
                  <a:cubicBezTo>
                    <a:pt x="5210" y="2339"/>
                    <a:pt x="5210" y="2353"/>
                    <a:pt x="5224" y="2353"/>
                  </a:cubicBezTo>
                  <a:cubicBezTo>
                    <a:pt x="5237" y="2353"/>
                    <a:pt x="5263" y="2339"/>
                    <a:pt x="5289" y="2339"/>
                  </a:cubicBezTo>
                  <a:cubicBezTo>
                    <a:pt x="5289" y="2339"/>
                    <a:pt x="5303" y="2339"/>
                    <a:pt x="5316" y="2353"/>
                  </a:cubicBezTo>
                  <a:cubicBezTo>
                    <a:pt x="5329" y="2353"/>
                    <a:pt x="5329" y="2353"/>
                    <a:pt x="5342" y="2353"/>
                  </a:cubicBezTo>
                  <a:cubicBezTo>
                    <a:pt x="5355" y="2339"/>
                    <a:pt x="5381" y="2326"/>
                    <a:pt x="5395" y="2313"/>
                  </a:cubicBezTo>
                  <a:cubicBezTo>
                    <a:pt x="5395" y="2313"/>
                    <a:pt x="5395" y="2313"/>
                    <a:pt x="5395" y="2307"/>
                  </a:cubicBezTo>
                  <a:cubicBezTo>
                    <a:pt x="5395" y="2307"/>
                    <a:pt x="5395" y="2307"/>
                    <a:pt x="5408" y="2307"/>
                  </a:cubicBezTo>
                  <a:cubicBezTo>
                    <a:pt x="5408" y="2293"/>
                    <a:pt x="5408" y="2280"/>
                    <a:pt x="5408" y="2280"/>
                  </a:cubicBezTo>
                  <a:cubicBezTo>
                    <a:pt x="5408" y="2280"/>
                    <a:pt x="5408" y="2280"/>
                    <a:pt x="5408" y="2267"/>
                  </a:cubicBezTo>
                  <a:close/>
                  <a:moveTo>
                    <a:pt x="6092" y="2044"/>
                  </a:moveTo>
                  <a:cubicBezTo>
                    <a:pt x="6106" y="2044"/>
                    <a:pt x="6106" y="2044"/>
                    <a:pt x="6106" y="2044"/>
                  </a:cubicBezTo>
                  <a:cubicBezTo>
                    <a:pt x="6106" y="2044"/>
                    <a:pt x="6092" y="2031"/>
                    <a:pt x="6092" y="2017"/>
                  </a:cubicBezTo>
                  <a:cubicBezTo>
                    <a:pt x="6092" y="2017"/>
                    <a:pt x="6092" y="2017"/>
                    <a:pt x="6079" y="2017"/>
                  </a:cubicBezTo>
                  <a:cubicBezTo>
                    <a:pt x="6079" y="2017"/>
                    <a:pt x="6079" y="2017"/>
                    <a:pt x="6079" y="2004"/>
                  </a:cubicBezTo>
                  <a:cubicBezTo>
                    <a:pt x="6079" y="2004"/>
                    <a:pt x="6079" y="2004"/>
                    <a:pt x="6066" y="2004"/>
                  </a:cubicBezTo>
                  <a:cubicBezTo>
                    <a:pt x="6066" y="2004"/>
                    <a:pt x="6066" y="1991"/>
                    <a:pt x="6053" y="1991"/>
                  </a:cubicBezTo>
                  <a:cubicBezTo>
                    <a:pt x="6053" y="1978"/>
                    <a:pt x="6053" y="1978"/>
                    <a:pt x="6053" y="1971"/>
                  </a:cubicBezTo>
                  <a:cubicBezTo>
                    <a:pt x="6040" y="1958"/>
                    <a:pt x="6040" y="1958"/>
                    <a:pt x="6040" y="1945"/>
                  </a:cubicBezTo>
                  <a:cubicBezTo>
                    <a:pt x="6027" y="1932"/>
                    <a:pt x="6027" y="1932"/>
                    <a:pt x="6013" y="1919"/>
                  </a:cubicBezTo>
                  <a:cubicBezTo>
                    <a:pt x="6013" y="1919"/>
                    <a:pt x="6013" y="1919"/>
                    <a:pt x="6000" y="1919"/>
                  </a:cubicBezTo>
                  <a:cubicBezTo>
                    <a:pt x="6000" y="1919"/>
                    <a:pt x="6000" y="1919"/>
                    <a:pt x="5987" y="1919"/>
                  </a:cubicBezTo>
                  <a:cubicBezTo>
                    <a:pt x="5987" y="1919"/>
                    <a:pt x="5974" y="1919"/>
                    <a:pt x="5961" y="1932"/>
                  </a:cubicBezTo>
                  <a:cubicBezTo>
                    <a:pt x="5961" y="1919"/>
                    <a:pt x="5961" y="1919"/>
                    <a:pt x="5961" y="1919"/>
                  </a:cubicBezTo>
                  <a:cubicBezTo>
                    <a:pt x="5948" y="1919"/>
                    <a:pt x="5934" y="1906"/>
                    <a:pt x="5921" y="1906"/>
                  </a:cubicBezTo>
                  <a:cubicBezTo>
                    <a:pt x="5908" y="1919"/>
                    <a:pt x="5895" y="1932"/>
                    <a:pt x="5882" y="1945"/>
                  </a:cubicBezTo>
                  <a:cubicBezTo>
                    <a:pt x="5849" y="1945"/>
                    <a:pt x="5822" y="1958"/>
                    <a:pt x="5796" y="1958"/>
                  </a:cubicBezTo>
                  <a:cubicBezTo>
                    <a:pt x="5796" y="1958"/>
                    <a:pt x="5796" y="1958"/>
                    <a:pt x="5809" y="1971"/>
                  </a:cubicBezTo>
                  <a:cubicBezTo>
                    <a:pt x="5809" y="1971"/>
                    <a:pt x="5809" y="1971"/>
                    <a:pt x="5796" y="1978"/>
                  </a:cubicBezTo>
                  <a:cubicBezTo>
                    <a:pt x="5783" y="1991"/>
                    <a:pt x="5783" y="1991"/>
                    <a:pt x="5783" y="2004"/>
                  </a:cubicBezTo>
                  <a:cubicBezTo>
                    <a:pt x="5770" y="2004"/>
                    <a:pt x="5770" y="2004"/>
                    <a:pt x="5770" y="2004"/>
                  </a:cubicBezTo>
                  <a:cubicBezTo>
                    <a:pt x="5770" y="2004"/>
                    <a:pt x="5770" y="2004"/>
                    <a:pt x="5757" y="2004"/>
                  </a:cubicBezTo>
                  <a:cubicBezTo>
                    <a:pt x="5757" y="2004"/>
                    <a:pt x="5757" y="1991"/>
                    <a:pt x="5757" y="1978"/>
                  </a:cubicBezTo>
                  <a:cubicBezTo>
                    <a:pt x="5744" y="1978"/>
                    <a:pt x="5744" y="1978"/>
                    <a:pt x="5730" y="1971"/>
                  </a:cubicBezTo>
                  <a:cubicBezTo>
                    <a:pt x="5730" y="1978"/>
                    <a:pt x="5730" y="1978"/>
                    <a:pt x="5744" y="1991"/>
                  </a:cubicBezTo>
                  <a:cubicBezTo>
                    <a:pt x="5744" y="1991"/>
                    <a:pt x="5730" y="2004"/>
                    <a:pt x="5730" y="2017"/>
                  </a:cubicBezTo>
                  <a:cubicBezTo>
                    <a:pt x="5717" y="2031"/>
                    <a:pt x="5717" y="2031"/>
                    <a:pt x="5717" y="2044"/>
                  </a:cubicBezTo>
                  <a:cubicBezTo>
                    <a:pt x="5717" y="2044"/>
                    <a:pt x="5717" y="2044"/>
                    <a:pt x="5704" y="2057"/>
                  </a:cubicBezTo>
                  <a:cubicBezTo>
                    <a:pt x="5704" y="2057"/>
                    <a:pt x="5704" y="2057"/>
                    <a:pt x="5704" y="2070"/>
                  </a:cubicBezTo>
                  <a:cubicBezTo>
                    <a:pt x="5691" y="2070"/>
                    <a:pt x="5691" y="2070"/>
                    <a:pt x="5691" y="2070"/>
                  </a:cubicBezTo>
                  <a:cubicBezTo>
                    <a:pt x="5691" y="2083"/>
                    <a:pt x="5691" y="2083"/>
                    <a:pt x="5691" y="2083"/>
                  </a:cubicBezTo>
                  <a:cubicBezTo>
                    <a:pt x="5691" y="2096"/>
                    <a:pt x="5678" y="2096"/>
                    <a:pt x="5678" y="2096"/>
                  </a:cubicBezTo>
                  <a:cubicBezTo>
                    <a:pt x="5678" y="2109"/>
                    <a:pt x="5678" y="2109"/>
                    <a:pt x="5678" y="2109"/>
                  </a:cubicBezTo>
                  <a:cubicBezTo>
                    <a:pt x="5691" y="2109"/>
                    <a:pt x="5691" y="2109"/>
                    <a:pt x="5691" y="2109"/>
                  </a:cubicBezTo>
                  <a:cubicBezTo>
                    <a:pt x="5704" y="2123"/>
                    <a:pt x="5704" y="2136"/>
                    <a:pt x="5717" y="2149"/>
                  </a:cubicBezTo>
                  <a:cubicBezTo>
                    <a:pt x="5717" y="2149"/>
                    <a:pt x="5717" y="2149"/>
                    <a:pt x="5717" y="2162"/>
                  </a:cubicBezTo>
                  <a:cubicBezTo>
                    <a:pt x="5717" y="2162"/>
                    <a:pt x="5717" y="2162"/>
                    <a:pt x="5717" y="2175"/>
                  </a:cubicBezTo>
                  <a:cubicBezTo>
                    <a:pt x="5717" y="2162"/>
                    <a:pt x="5717" y="2162"/>
                    <a:pt x="5730" y="2149"/>
                  </a:cubicBezTo>
                  <a:cubicBezTo>
                    <a:pt x="5730" y="2149"/>
                    <a:pt x="5730" y="2149"/>
                    <a:pt x="5730" y="2162"/>
                  </a:cubicBezTo>
                  <a:cubicBezTo>
                    <a:pt x="5717" y="2175"/>
                    <a:pt x="5717" y="2175"/>
                    <a:pt x="5717" y="2188"/>
                  </a:cubicBezTo>
                  <a:cubicBezTo>
                    <a:pt x="5717" y="2188"/>
                    <a:pt x="5717" y="2188"/>
                    <a:pt x="5717" y="2201"/>
                  </a:cubicBezTo>
                  <a:cubicBezTo>
                    <a:pt x="5730" y="2241"/>
                    <a:pt x="5744" y="2267"/>
                    <a:pt x="5757" y="2293"/>
                  </a:cubicBezTo>
                  <a:cubicBezTo>
                    <a:pt x="5770" y="2313"/>
                    <a:pt x="5796" y="2339"/>
                    <a:pt x="5809" y="2366"/>
                  </a:cubicBezTo>
                  <a:cubicBezTo>
                    <a:pt x="5809" y="2379"/>
                    <a:pt x="5809" y="2379"/>
                    <a:pt x="5809" y="2379"/>
                  </a:cubicBezTo>
                  <a:cubicBezTo>
                    <a:pt x="5822" y="2379"/>
                    <a:pt x="5822" y="2379"/>
                    <a:pt x="5822" y="2366"/>
                  </a:cubicBezTo>
                  <a:cubicBezTo>
                    <a:pt x="5836" y="2379"/>
                    <a:pt x="5836" y="2379"/>
                    <a:pt x="5836" y="2379"/>
                  </a:cubicBezTo>
                  <a:cubicBezTo>
                    <a:pt x="5849" y="2379"/>
                    <a:pt x="5849" y="2392"/>
                    <a:pt x="5849" y="2392"/>
                  </a:cubicBezTo>
                  <a:cubicBezTo>
                    <a:pt x="5849" y="2392"/>
                    <a:pt x="5849" y="2392"/>
                    <a:pt x="5836" y="2392"/>
                  </a:cubicBezTo>
                  <a:cubicBezTo>
                    <a:pt x="5836" y="2392"/>
                    <a:pt x="5836" y="2392"/>
                    <a:pt x="5822" y="2392"/>
                  </a:cubicBezTo>
                  <a:cubicBezTo>
                    <a:pt x="5822" y="2392"/>
                    <a:pt x="5822" y="2392"/>
                    <a:pt x="5809" y="2392"/>
                  </a:cubicBezTo>
                  <a:cubicBezTo>
                    <a:pt x="5809" y="2392"/>
                    <a:pt x="5809" y="2392"/>
                    <a:pt x="5809" y="2405"/>
                  </a:cubicBezTo>
                  <a:cubicBezTo>
                    <a:pt x="5796" y="2431"/>
                    <a:pt x="5796" y="2458"/>
                    <a:pt x="5783" y="2484"/>
                  </a:cubicBezTo>
                  <a:cubicBezTo>
                    <a:pt x="5783" y="2471"/>
                    <a:pt x="5770" y="2471"/>
                    <a:pt x="5770" y="2471"/>
                  </a:cubicBezTo>
                  <a:cubicBezTo>
                    <a:pt x="5757" y="2484"/>
                    <a:pt x="5757" y="2497"/>
                    <a:pt x="5757" y="2510"/>
                  </a:cubicBezTo>
                  <a:cubicBezTo>
                    <a:pt x="5757" y="2537"/>
                    <a:pt x="5770" y="2550"/>
                    <a:pt x="5770" y="2576"/>
                  </a:cubicBezTo>
                  <a:cubicBezTo>
                    <a:pt x="5783" y="2589"/>
                    <a:pt x="5783" y="2589"/>
                    <a:pt x="5796" y="2589"/>
                  </a:cubicBezTo>
                  <a:cubicBezTo>
                    <a:pt x="5809" y="2589"/>
                    <a:pt x="5809" y="2589"/>
                    <a:pt x="5822" y="2589"/>
                  </a:cubicBezTo>
                  <a:cubicBezTo>
                    <a:pt x="5822" y="2602"/>
                    <a:pt x="5836" y="2602"/>
                    <a:pt x="5836" y="2602"/>
                  </a:cubicBezTo>
                  <a:cubicBezTo>
                    <a:pt x="5836" y="2615"/>
                    <a:pt x="5849" y="2629"/>
                    <a:pt x="5855" y="2629"/>
                  </a:cubicBezTo>
                  <a:cubicBezTo>
                    <a:pt x="5869" y="2629"/>
                    <a:pt x="5882" y="2642"/>
                    <a:pt x="5895" y="2642"/>
                  </a:cubicBezTo>
                  <a:cubicBezTo>
                    <a:pt x="5934" y="2629"/>
                    <a:pt x="5961" y="2629"/>
                    <a:pt x="5987" y="2615"/>
                  </a:cubicBezTo>
                  <a:cubicBezTo>
                    <a:pt x="5987" y="2629"/>
                    <a:pt x="5974" y="2629"/>
                    <a:pt x="5974" y="2629"/>
                  </a:cubicBezTo>
                  <a:cubicBezTo>
                    <a:pt x="5974" y="2629"/>
                    <a:pt x="5974" y="2629"/>
                    <a:pt x="5987" y="2629"/>
                  </a:cubicBezTo>
                  <a:cubicBezTo>
                    <a:pt x="6000" y="2629"/>
                    <a:pt x="6000" y="2629"/>
                    <a:pt x="6013" y="2629"/>
                  </a:cubicBezTo>
                  <a:cubicBezTo>
                    <a:pt x="6013" y="2615"/>
                    <a:pt x="6013" y="2615"/>
                    <a:pt x="6013" y="2602"/>
                  </a:cubicBezTo>
                  <a:cubicBezTo>
                    <a:pt x="6013" y="2602"/>
                    <a:pt x="6013" y="2602"/>
                    <a:pt x="6013" y="2589"/>
                  </a:cubicBezTo>
                  <a:cubicBezTo>
                    <a:pt x="6013" y="2563"/>
                    <a:pt x="6013" y="2537"/>
                    <a:pt x="6013" y="2523"/>
                  </a:cubicBezTo>
                  <a:cubicBezTo>
                    <a:pt x="6013" y="2510"/>
                    <a:pt x="6013" y="2510"/>
                    <a:pt x="6013" y="2497"/>
                  </a:cubicBezTo>
                  <a:cubicBezTo>
                    <a:pt x="6013" y="2497"/>
                    <a:pt x="6013" y="2497"/>
                    <a:pt x="6027" y="2484"/>
                  </a:cubicBezTo>
                  <a:cubicBezTo>
                    <a:pt x="6027" y="2484"/>
                    <a:pt x="6027" y="2484"/>
                    <a:pt x="6013" y="2484"/>
                  </a:cubicBezTo>
                  <a:cubicBezTo>
                    <a:pt x="6013" y="2471"/>
                    <a:pt x="6000" y="2471"/>
                    <a:pt x="6000" y="2458"/>
                  </a:cubicBezTo>
                  <a:cubicBezTo>
                    <a:pt x="6000" y="2458"/>
                    <a:pt x="6000" y="2458"/>
                    <a:pt x="5987" y="2458"/>
                  </a:cubicBezTo>
                  <a:cubicBezTo>
                    <a:pt x="6000" y="2458"/>
                    <a:pt x="6013" y="2445"/>
                    <a:pt x="6027" y="2445"/>
                  </a:cubicBezTo>
                  <a:cubicBezTo>
                    <a:pt x="6013" y="2445"/>
                    <a:pt x="6013" y="2445"/>
                    <a:pt x="6000" y="2431"/>
                  </a:cubicBezTo>
                  <a:cubicBezTo>
                    <a:pt x="6000" y="2431"/>
                    <a:pt x="6000" y="2418"/>
                    <a:pt x="6013" y="2418"/>
                  </a:cubicBezTo>
                  <a:cubicBezTo>
                    <a:pt x="6013" y="2418"/>
                    <a:pt x="6013" y="2431"/>
                    <a:pt x="6027" y="2431"/>
                  </a:cubicBezTo>
                  <a:cubicBezTo>
                    <a:pt x="6027" y="2431"/>
                    <a:pt x="6027" y="2431"/>
                    <a:pt x="6013" y="2418"/>
                  </a:cubicBezTo>
                  <a:cubicBezTo>
                    <a:pt x="6013" y="2418"/>
                    <a:pt x="6000" y="2418"/>
                    <a:pt x="6000" y="2405"/>
                  </a:cubicBezTo>
                  <a:cubicBezTo>
                    <a:pt x="5987" y="2418"/>
                    <a:pt x="5987" y="2418"/>
                    <a:pt x="5987" y="2418"/>
                  </a:cubicBezTo>
                  <a:cubicBezTo>
                    <a:pt x="5974" y="2418"/>
                    <a:pt x="5974" y="2418"/>
                    <a:pt x="5974" y="2418"/>
                  </a:cubicBezTo>
                  <a:cubicBezTo>
                    <a:pt x="5974" y="2418"/>
                    <a:pt x="5961" y="2405"/>
                    <a:pt x="5961" y="2392"/>
                  </a:cubicBezTo>
                  <a:cubicBezTo>
                    <a:pt x="5961" y="2392"/>
                    <a:pt x="5961" y="2379"/>
                    <a:pt x="5974" y="2379"/>
                  </a:cubicBezTo>
                  <a:cubicBezTo>
                    <a:pt x="5974" y="2379"/>
                    <a:pt x="5974" y="2379"/>
                    <a:pt x="5974" y="2366"/>
                  </a:cubicBezTo>
                  <a:cubicBezTo>
                    <a:pt x="5974" y="2366"/>
                    <a:pt x="5974" y="2353"/>
                    <a:pt x="5974" y="2339"/>
                  </a:cubicBezTo>
                  <a:cubicBezTo>
                    <a:pt x="5974" y="2353"/>
                    <a:pt x="5987" y="2353"/>
                    <a:pt x="5987" y="2366"/>
                  </a:cubicBezTo>
                  <a:cubicBezTo>
                    <a:pt x="5987" y="2366"/>
                    <a:pt x="5987" y="2366"/>
                    <a:pt x="6000" y="2366"/>
                  </a:cubicBezTo>
                  <a:cubicBezTo>
                    <a:pt x="6013" y="2366"/>
                    <a:pt x="6013" y="2366"/>
                    <a:pt x="6027" y="2366"/>
                  </a:cubicBezTo>
                  <a:cubicBezTo>
                    <a:pt x="6027" y="2366"/>
                    <a:pt x="6027" y="2366"/>
                    <a:pt x="6040" y="2366"/>
                  </a:cubicBezTo>
                  <a:cubicBezTo>
                    <a:pt x="6040" y="2366"/>
                    <a:pt x="6040" y="2379"/>
                    <a:pt x="6053" y="2379"/>
                  </a:cubicBezTo>
                  <a:cubicBezTo>
                    <a:pt x="6053" y="2379"/>
                    <a:pt x="6053" y="2379"/>
                    <a:pt x="6053" y="2366"/>
                  </a:cubicBezTo>
                  <a:cubicBezTo>
                    <a:pt x="6053" y="2366"/>
                    <a:pt x="6053" y="2366"/>
                    <a:pt x="6066" y="2366"/>
                  </a:cubicBezTo>
                  <a:cubicBezTo>
                    <a:pt x="6066" y="2353"/>
                    <a:pt x="6066" y="2353"/>
                    <a:pt x="6079" y="2339"/>
                  </a:cubicBezTo>
                  <a:cubicBezTo>
                    <a:pt x="6066" y="2326"/>
                    <a:pt x="6053" y="2326"/>
                    <a:pt x="6040" y="2313"/>
                  </a:cubicBezTo>
                  <a:cubicBezTo>
                    <a:pt x="6040" y="2307"/>
                    <a:pt x="6040" y="2307"/>
                    <a:pt x="6040" y="2293"/>
                  </a:cubicBezTo>
                  <a:cubicBezTo>
                    <a:pt x="6040" y="2293"/>
                    <a:pt x="6027" y="2293"/>
                    <a:pt x="6027" y="2280"/>
                  </a:cubicBezTo>
                  <a:cubicBezTo>
                    <a:pt x="6027" y="2280"/>
                    <a:pt x="6027" y="2280"/>
                    <a:pt x="6013" y="2280"/>
                  </a:cubicBezTo>
                  <a:cubicBezTo>
                    <a:pt x="6000" y="2293"/>
                    <a:pt x="6000" y="2293"/>
                    <a:pt x="5987" y="2293"/>
                  </a:cubicBezTo>
                  <a:cubicBezTo>
                    <a:pt x="5974" y="2293"/>
                    <a:pt x="5974" y="2307"/>
                    <a:pt x="5974" y="2307"/>
                  </a:cubicBezTo>
                  <a:cubicBezTo>
                    <a:pt x="5974" y="2307"/>
                    <a:pt x="5974" y="2307"/>
                    <a:pt x="5974" y="2313"/>
                  </a:cubicBezTo>
                  <a:cubicBezTo>
                    <a:pt x="5974" y="2326"/>
                    <a:pt x="5974" y="2326"/>
                    <a:pt x="5974" y="2339"/>
                  </a:cubicBezTo>
                  <a:cubicBezTo>
                    <a:pt x="5974" y="2326"/>
                    <a:pt x="5961" y="2313"/>
                    <a:pt x="5961" y="2313"/>
                  </a:cubicBezTo>
                  <a:cubicBezTo>
                    <a:pt x="5961" y="2307"/>
                    <a:pt x="5961" y="2307"/>
                    <a:pt x="5961" y="2293"/>
                  </a:cubicBezTo>
                  <a:cubicBezTo>
                    <a:pt x="5961" y="2293"/>
                    <a:pt x="5961" y="2280"/>
                    <a:pt x="5961" y="2267"/>
                  </a:cubicBezTo>
                  <a:cubicBezTo>
                    <a:pt x="5961" y="2254"/>
                    <a:pt x="5974" y="2254"/>
                    <a:pt x="5974" y="2254"/>
                  </a:cubicBezTo>
                  <a:cubicBezTo>
                    <a:pt x="5974" y="2241"/>
                    <a:pt x="5974" y="2241"/>
                    <a:pt x="5974" y="2228"/>
                  </a:cubicBezTo>
                  <a:cubicBezTo>
                    <a:pt x="5974" y="2228"/>
                    <a:pt x="5974" y="2228"/>
                    <a:pt x="5961" y="2228"/>
                  </a:cubicBezTo>
                  <a:cubicBezTo>
                    <a:pt x="5948" y="2228"/>
                    <a:pt x="5948" y="2228"/>
                    <a:pt x="5934" y="2215"/>
                  </a:cubicBezTo>
                  <a:cubicBezTo>
                    <a:pt x="5934" y="2215"/>
                    <a:pt x="5934" y="2215"/>
                    <a:pt x="5934" y="2201"/>
                  </a:cubicBezTo>
                  <a:cubicBezTo>
                    <a:pt x="5921" y="2201"/>
                    <a:pt x="5921" y="2201"/>
                    <a:pt x="5908" y="2201"/>
                  </a:cubicBezTo>
                  <a:cubicBezTo>
                    <a:pt x="5908" y="2188"/>
                    <a:pt x="5908" y="2175"/>
                    <a:pt x="5908" y="2162"/>
                  </a:cubicBezTo>
                  <a:cubicBezTo>
                    <a:pt x="5908" y="2162"/>
                    <a:pt x="5908" y="2149"/>
                    <a:pt x="5895" y="2149"/>
                  </a:cubicBezTo>
                  <a:cubicBezTo>
                    <a:pt x="5895" y="2136"/>
                    <a:pt x="5895" y="2136"/>
                    <a:pt x="5882" y="2123"/>
                  </a:cubicBezTo>
                  <a:cubicBezTo>
                    <a:pt x="5882" y="2123"/>
                    <a:pt x="5882" y="2123"/>
                    <a:pt x="5869" y="2123"/>
                  </a:cubicBezTo>
                  <a:cubicBezTo>
                    <a:pt x="5869" y="2109"/>
                    <a:pt x="5855" y="2109"/>
                    <a:pt x="5855" y="2109"/>
                  </a:cubicBezTo>
                  <a:cubicBezTo>
                    <a:pt x="5855" y="2096"/>
                    <a:pt x="5855" y="2096"/>
                    <a:pt x="5869" y="2096"/>
                  </a:cubicBezTo>
                  <a:cubicBezTo>
                    <a:pt x="5869" y="2096"/>
                    <a:pt x="5869" y="2096"/>
                    <a:pt x="5882" y="2096"/>
                  </a:cubicBezTo>
                  <a:cubicBezTo>
                    <a:pt x="5895" y="2096"/>
                    <a:pt x="5895" y="2109"/>
                    <a:pt x="5908" y="2109"/>
                  </a:cubicBezTo>
                  <a:cubicBezTo>
                    <a:pt x="5921" y="2109"/>
                    <a:pt x="5921" y="2109"/>
                    <a:pt x="5921" y="2109"/>
                  </a:cubicBezTo>
                  <a:cubicBezTo>
                    <a:pt x="5921" y="2096"/>
                    <a:pt x="5921" y="2096"/>
                    <a:pt x="5921" y="2083"/>
                  </a:cubicBezTo>
                  <a:cubicBezTo>
                    <a:pt x="5921" y="2083"/>
                    <a:pt x="5921" y="2083"/>
                    <a:pt x="5921" y="2070"/>
                  </a:cubicBezTo>
                  <a:cubicBezTo>
                    <a:pt x="5921" y="2070"/>
                    <a:pt x="5921" y="2070"/>
                    <a:pt x="5921" y="2057"/>
                  </a:cubicBezTo>
                  <a:cubicBezTo>
                    <a:pt x="5934" y="2057"/>
                    <a:pt x="5934" y="2057"/>
                    <a:pt x="5934" y="2057"/>
                  </a:cubicBezTo>
                  <a:cubicBezTo>
                    <a:pt x="5934" y="2057"/>
                    <a:pt x="5934" y="2057"/>
                    <a:pt x="5948" y="2057"/>
                  </a:cubicBezTo>
                  <a:cubicBezTo>
                    <a:pt x="5948" y="2057"/>
                    <a:pt x="5948" y="2057"/>
                    <a:pt x="5961" y="2057"/>
                  </a:cubicBezTo>
                  <a:cubicBezTo>
                    <a:pt x="5961" y="2044"/>
                    <a:pt x="5961" y="2044"/>
                    <a:pt x="5974" y="2044"/>
                  </a:cubicBezTo>
                  <a:cubicBezTo>
                    <a:pt x="5974" y="2044"/>
                    <a:pt x="5974" y="2044"/>
                    <a:pt x="5987" y="2044"/>
                  </a:cubicBezTo>
                  <a:cubicBezTo>
                    <a:pt x="6000" y="2044"/>
                    <a:pt x="6000" y="2057"/>
                    <a:pt x="6013" y="2057"/>
                  </a:cubicBezTo>
                  <a:cubicBezTo>
                    <a:pt x="6027" y="2057"/>
                    <a:pt x="6027" y="2057"/>
                    <a:pt x="6027" y="2057"/>
                  </a:cubicBezTo>
                  <a:cubicBezTo>
                    <a:pt x="6040" y="2057"/>
                    <a:pt x="6040" y="2044"/>
                    <a:pt x="6040" y="2044"/>
                  </a:cubicBezTo>
                  <a:cubicBezTo>
                    <a:pt x="6053" y="2044"/>
                    <a:pt x="6053" y="2057"/>
                    <a:pt x="6053" y="2057"/>
                  </a:cubicBezTo>
                  <a:cubicBezTo>
                    <a:pt x="6053" y="2057"/>
                    <a:pt x="6066" y="2057"/>
                    <a:pt x="6079" y="2070"/>
                  </a:cubicBezTo>
                  <a:cubicBezTo>
                    <a:pt x="6079" y="2070"/>
                    <a:pt x="6079" y="2057"/>
                    <a:pt x="6092" y="2057"/>
                  </a:cubicBezTo>
                  <a:cubicBezTo>
                    <a:pt x="6092" y="2070"/>
                    <a:pt x="6092" y="2070"/>
                    <a:pt x="6106" y="2070"/>
                  </a:cubicBezTo>
                  <a:cubicBezTo>
                    <a:pt x="6106" y="2057"/>
                    <a:pt x="6106" y="2057"/>
                    <a:pt x="6106" y="2057"/>
                  </a:cubicBezTo>
                  <a:cubicBezTo>
                    <a:pt x="6106" y="2057"/>
                    <a:pt x="6106" y="2044"/>
                    <a:pt x="6092" y="2044"/>
                  </a:cubicBezTo>
                  <a:close/>
                  <a:moveTo>
                    <a:pt x="3941" y="2524"/>
                  </a:moveTo>
                  <a:cubicBezTo>
                    <a:pt x="3928" y="2524"/>
                    <a:pt x="3928" y="2524"/>
                    <a:pt x="3915" y="2524"/>
                  </a:cubicBezTo>
                  <a:cubicBezTo>
                    <a:pt x="3915" y="2524"/>
                    <a:pt x="3915" y="2524"/>
                    <a:pt x="3902" y="2524"/>
                  </a:cubicBezTo>
                  <a:cubicBezTo>
                    <a:pt x="3902" y="2524"/>
                    <a:pt x="3902" y="2524"/>
                    <a:pt x="3902" y="2539"/>
                  </a:cubicBezTo>
                  <a:cubicBezTo>
                    <a:pt x="3902" y="2553"/>
                    <a:pt x="3902" y="2553"/>
                    <a:pt x="3902" y="2553"/>
                  </a:cubicBezTo>
                  <a:cubicBezTo>
                    <a:pt x="3902" y="2567"/>
                    <a:pt x="3902" y="2567"/>
                    <a:pt x="3902" y="2567"/>
                  </a:cubicBezTo>
                  <a:cubicBezTo>
                    <a:pt x="3915" y="2567"/>
                    <a:pt x="3928" y="2567"/>
                    <a:pt x="3928" y="2567"/>
                  </a:cubicBezTo>
                  <a:cubicBezTo>
                    <a:pt x="3941" y="2574"/>
                    <a:pt x="3960" y="2574"/>
                    <a:pt x="3960" y="2588"/>
                  </a:cubicBezTo>
                  <a:cubicBezTo>
                    <a:pt x="3973" y="2588"/>
                    <a:pt x="3985" y="2588"/>
                    <a:pt x="3998" y="2602"/>
                  </a:cubicBezTo>
                  <a:cubicBezTo>
                    <a:pt x="4011" y="2616"/>
                    <a:pt x="4011" y="2616"/>
                    <a:pt x="4011" y="2616"/>
                  </a:cubicBezTo>
                  <a:cubicBezTo>
                    <a:pt x="4024" y="2616"/>
                    <a:pt x="4024" y="2616"/>
                    <a:pt x="4037" y="2616"/>
                  </a:cubicBezTo>
                  <a:cubicBezTo>
                    <a:pt x="4037" y="2602"/>
                    <a:pt x="4037" y="2602"/>
                    <a:pt x="4037" y="2602"/>
                  </a:cubicBezTo>
                  <a:cubicBezTo>
                    <a:pt x="4037" y="2588"/>
                    <a:pt x="4037" y="2588"/>
                    <a:pt x="4037" y="2574"/>
                  </a:cubicBezTo>
                  <a:cubicBezTo>
                    <a:pt x="4037" y="2567"/>
                    <a:pt x="4043" y="2546"/>
                    <a:pt x="4056" y="2532"/>
                  </a:cubicBezTo>
                  <a:cubicBezTo>
                    <a:pt x="4056" y="2524"/>
                    <a:pt x="4056" y="2524"/>
                    <a:pt x="4056" y="2524"/>
                  </a:cubicBezTo>
                  <a:cubicBezTo>
                    <a:pt x="4056" y="2517"/>
                    <a:pt x="4056" y="2517"/>
                    <a:pt x="4062" y="2510"/>
                  </a:cubicBezTo>
                  <a:cubicBezTo>
                    <a:pt x="4049" y="2524"/>
                    <a:pt x="4049" y="2524"/>
                    <a:pt x="4049" y="2524"/>
                  </a:cubicBezTo>
                  <a:cubicBezTo>
                    <a:pt x="4037" y="2524"/>
                    <a:pt x="4037" y="2524"/>
                    <a:pt x="4037" y="2524"/>
                  </a:cubicBezTo>
                  <a:cubicBezTo>
                    <a:pt x="4024" y="2524"/>
                    <a:pt x="4024" y="2524"/>
                    <a:pt x="4024" y="2524"/>
                  </a:cubicBezTo>
                  <a:cubicBezTo>
                    <a:pt x="4011" y="2524"/>
                    <a:pt x="4011" y="2524"/>
                    <a:pt x="4011" y="2524"/>
                  </a:cubicBezTo>
                  <a:cubicBezTo>
                    <a:pt x="3998" y="2539"/>
                    <a:pt x="3985" y="2539"/>
                    <a:pt x="3960" y="2539"/>
                  </a:cubicBezTo>
                  <a:cubicBezTo>
                    <a:pt x="3960" y="2539"/>
                    <a:pt x="3960" y="2539"/>
                    <a:pt x="3960" y="2524"/>
                  </a:cubicBezTo>
                  <a:cubicBezTo>
                    <a:pt x="3941" y="2524"/>
                    <a:pt x="3941" y="2524"/>
                    <a:pt x="3941" y="2524"/>
                  </a:cubicBezTo>
                  <a:close/>
                  <a:moveTo>
                    <a:pt x="4275" y="2422"/>
                  </a:moveTo>
                  <a:cubicBezTo>
                    <a:pt x="4275" y="2431"/>
                    <a:pt x="4275" y="2431"/>
                    <a:pt x="4284" y="2431"/>
                  </a:cubicBezTo>
                  <a:cubicBezTo>
                    <a:pt x="4284" y="2440"/>
                    <a:pt x="4284" y="2440"/>
                    <a:pt x="4284" y="2440"/>
                  </a:cubicBezTo>
                  <a:cubicBezTo>
                    <a:pt x="4284" y="2440"/>
                    <a:pt x="4284" y="2440"/>
                    <a:pt x="4293" y="2440"/>
                  </a:cubicBezTo>
                  <a:cubicBezTo>
                    <a:pt x="4284" y="2435"/>
                    <a:pt x="4284" y="2431"/>
                    <a:pt x="4284" y="2426"/>
                  </a:cubicBezTo>
                  <a:cubicBezTo>
                    <a:pt x="4284" y="2426"/>
                    <a:pt x="4284" y="2426"/>
                    <a:pt x="4279" y="2426"/>
                  </a:cubicBezTo>
                  <a:cubicBezTo>
                    <a:pt x="4279" y="2422"/>
                    <a:pt x="4279" y="2422"/>
                    <a:pt x="4279" y="2422"/>
                  </a:cubicBezTo>
                  <a:cubicBezTo>
                    <a:pt x="4275" y="2422"/>
                    <a:pt x="4275" y="2422"/>
                    <a:pt x="4275" y="2422"/>
                  </a:cubicBezTo>
                  <a:close/>
                  <a:moveTo>
                    <a:pt x="4701" y="2387"/>
                  </a:moveTo>
                  <a:cubicBezTo>
                    <a:pt x="4701" y="2369"/>
                    <a:pt x="4701" y="2369"/>
                    <a:pt x="4701" y="2369"/>
                  </a:cubicBezTo>
                  <a:cubicBezTo>
                    <a:pt x="4701" y="2369"/>
                    <a:pt x="4701" y="2369"/>
                    <a:pt x="4683" y="2369"/>
                  </a:cubicBezTo>
                  <a:cubicBezTo>
                    <a:pt x="4683" y="2369"/>
                    <a:pt x="4701" y="2369"/>
                    <a:pt x="4701" y="2387"/>
                  </a:cubicBezTo>
                  <a:close/>
                  <a:moveTo>
                    <a:pt x="4328" y="2510"/>
                  </a:moveTo>
                  <a:cubicBezTo>
                    <a:pt x="4310" y="2510"/>
                    <a:pt x="4310" y="2510"/>
                    <a:pt x="4310" y="2528"/>
                  </a:cubicBezTo>
                  <a:cubicBezTo>
                    <a:pt x="4328" y="2528"/>
                    <a:pt x="4328" y="2528"/>
                    <a:pt x="4328" y="2528"/>
                  </a:cubicBezTo>
                  <a:cubicBezTo>
                    <a:pt x="4328" y="2510"/>
                    <a:pt x="4328" y="2510"/>
                    <a:pt x="4328" y="2510"/>
                  </a:cubicBezTo>
                  <a:close/>
                  <a:moveTo>
                    <a:pt x="5401" y="5198"/>
                  </a:moveTo>
                  <a:cubicBezTo>
                    <a:pt x="5401" y="5211"/>
                    <a:pt x="5401" y="5211"/>
                    <a:pt x="5401" y="5211"/>
                  </a:cubicBezTo>
                  <a:cubicBezTo>
                    <a:pt x="5388" y="5211"/>
                    <a:pt x="5388" y="5211"/>
                    <a:pt x="5388" y="5211"/>
                  </a:cubicBezTo>
                  <a:cubicBezTo>
                    <a:pt x="5401" y="5224"/>
                    <a:pt x="5401" y="5224"/>
                    <a:pt x="5401" y="5224"/>
                  </a:cubicBezTo>
                  <a:cubicBezTo>
                    <a:pt x="5388" y="5237"/>
                    <a:pt x="5388" y="5250"/>
                    <a:pt x="5388" y="5250"/>
                  </a:cubicBezTo>
                  <a:cubicBezTo>
                    <a:pt x="5388" y="5263"/>
                    <a:pt x="5374" y="5263"/>
                    <a:pt x="5374" y="5263"/>
                  </a:cubicBezTo>
                  <a:cubicBezTo>
                    <a:pt x="5361" y="5276"/>
                    <a:pt x="5361" y="5276"/>
                    <a:pt x="5361" y="5290"/>
                  </a:cubicBezTo>
                  <a:cubicBezTo>
                    <a:pt x="5361" y="5276"/>
                    <a:pt x="5361" y="5276"/>
                    <a:pt x="5348" y="5276"/>
                  </a:cubicBezTo>
                  <a:cubicBezTo>
                    <a:pt x="5348" y="5290"/>
                    <a:pt x="5348" y="5290"/>
                    <a:pt x="5348" y="5290"/>
                  </a:cubicBezTo>
                  <a:cubicBezTo>
                    <a:pt x="5348" y="5303"/>
                    <a:pt x="5348" y="5303"/>
                    <a:pt x="5348" y="5303"/>
                  </a:cubicBezTo>
                  <a:cubicBezTo>
                    <a:pt x="5334" y="5303"/>
                    <a:pt x="5334" y="5303"/>
                    <a:pt x="5334" y="5303"/>
                  </a:cubicBezTo>
                  <a:cubicBezTo>
                    <a:pt x="5334" y="5316"/>
                    <a:pt x="5334" y="5316"/>
                    <a:pt x="5334" y="5316"/>
                  </a:cubicBezTo>
                  <a:cubicBezTo>
                    <a:pt x="5334" y="5329"/>
                    <a:pt x="5334" y="5329"/>
                    <a:pt x="5334" y="5329"/>
                  </a:cubicBezTo>
                  <a:cubicBezTo>
                    <a:pt x="5334" y="5329"/>
                    <a:pt x="5334" y="5329"/>
                    <a:pt x="5321" y="5329"/>
                  </a:cubicBezTo>
                  <a:cubicBezTo>
                    <a:pt x="5321" y="5329"/>
                    <a:pt x="5321" y="5334"/>
                    <a:pt x="5321" y="5339"/>
                  </a:cubicBezTo>
                  <a:cubicBezTo>
                    <a:pt x="5319" y="5339"/>
                    <a:pt x="5311" y="5339"/>
                    <a:pt x="5304" y="5339"/>
                  </a:cubicBezTo>
                  <a:cubicBezTo>
                    <a:pt x="5304" y="5339"/>
                    <a:pt x="5304" y="5339"/>
                    <a:pt x="5304" y="5346"/>
                  </a:cubicBezTo>
                  <a:cubicBezTo>
                    <a:pt x="5294" y="5355"/>
                    <a:pt x="5294" y="5355"/>
                    <a:pt x="5294" y="5355"/>
                  </a:cubicBezTo>
                  <a:cubicBezTo>
                    <a:pt x="5294" y="5368"/>
                    <a:pt x="5294" y="5368"/>
                    <a:pt x="5294" y="5368"/>
                  </a:cubicBezTo>
                  <a:cubicBezTo>
                    <a:pt x="5281" y="5355"/>
                    <a:pt x="5281" y="5355"/>
                    <a:pt x="5281" y="5355"/>
                  </a:cubicBezTo>
                  <a:cubicBezTo>
                    <a:pt x="5281" y="5355"/>
                    <a:pt x="5281" y="5368"/>
                    <a:pt x="5267" y="5368"/>
                  </a:cubicBezTo>
                  <a:cubicBezTo>
                    <a:pt x="5267" y="5368"/>
                    <a:pt x="5267" y="5368"/>
                    <a:pt x="5267" y="5375"/>
                  </a:cubicBezTo>
                  <a:cubicBezTo>
                    <a:pt x="5254" y="5375"/>
                    <a:pt x="5254" y="5375"/>
                    <a:pt x="5254" y="5375"/>
                  </a:cubicBezTo>
                  <a:cubicBezTo>
                    <a:pt x="5267" y="5388"/>
                    <a:pt x="5267" y="5388"/>
                    <a:pt x="5267" y="5388"/>
                  </a:cubicBezTo>
                  <a:cubicBezTo>
                    <a:pt x="5267" y="5388"/>
                    <a:pt x="5267" y="5388"/>
                    <a:pt x="5267" y="5401"/>
                  </a:cubicBezTo>
                  <a:cubicBezTo>
                    <a:pt x="5254" y="5401"/>
                    <a:pt x="5254" y="5401"/>
                    <a:pt x="5254" y="5401"/>
                  </a:cubicBezTo>
                  <a:cubicBezTo>
                    <a:pt x="5254" y="5388"/>
                    <a:pt x="5254" y="5388"/>
                    <a:pt x="5254" y="5388"/>
                  </a:cubicBezTo>
                  <a:cubicBezTo>
                    <a:pt x="5254" y="5388"/>
                    <a:pt x="5254" y="5388"/>
                    <a:pt x="5254" y="5375"/>
                  </a:cubicBezTo>
                  <a:cubicBezTo>
                    <a:pt x="5240" y="5375"/>
                    <a:pt x="5240" y="5375"/>
                    <a:pt x="5240" y="5375"/>
                  </a:cubicBezTo>
                  <a:cubicBezTo>
                    <a:pt x="5234" y="5375"/>
                    <a:pt x="5234" y="5388"/>
                    <a:pt x="5234" y="5388"/>
                  </a:cubicBezTo>
                  <a:cubicBezTo>
                    <a:pt x="5234" y="5388"/>
                    <a:pt x="5234" y="5388"/>
                    <a:pt x="5220" y="5401"/>
                  </a:cubicBezTo>
                  <a:cubicBezTo>
                    <a:pt x="5220" y="5401"/>
                    <a:pt x="5220" y="5401"/>
                    <a:pt x="5207" y="5401"/>
                  </a:cubicBezTo>
                  <a:cubicBezTo>
                    <a:pt x="5194" y="5401"/>
                    <a:pt x="5194" y="5401"/>
                    <a:pt x="5194" y="5401"/>
                  </a:cubicBezTo>
                  <a:cubicBezTo>
                    <a:pt x="5194" y="5401"/>
                    <a:pt x="5194" y="5401"/>
                    <a:pt x="5180" y="5401"/>
                  </a:cubicBezTo>
                  <a:cubicBezTo>
                    <a:pt x="5180" y="5414"/>
                    <a:pt x="5180" y="5414"/>
                    <a:pt x="5180" y="5427"/>
                  </a:cubicBezTo>
                  <a:cubicBezTo>
                    <a:pt x="5167" y="5440"/>
                    <a:pt x="5153" y="5453"/>
                    <a:pt x="5140" y="5479"/>
                  </a:cubicBezTo>
                  <a:cubicBezTo>
                    <a:pt x="5140" y="5479"/>
                    <a:pt x="5153" y="5479"/>
                    <a:pt x="5153" y="5493"/>
                  </a:cubicBezTo>
                  <a:cubicBezTo>
                    <a:pt x="5153" y="5493"/>
                    <a:pt x="5153" y="5506"/>
                    <a:pt x="5140" y="5519"/>
                  </a:cubicBezTo>
                  <a:cubicBezTo>
                    <a:pt x="5153" y="5532"/>
                    <a:pt x="5153" y="5558"/>
                    <a:pt x="5153" y="5584"/>
                  </a:cubicBezTo>
                  <a:cubicBezTo>
                    <a:pt x="5153" y="5597"/>
                    <a:pt x="5153" y="5597"/>
                    <a:pt x="5153" y="5597"/>
                  </a:cubicBezTo>
                  <a:cubicBezTo>
                    <a:pt x="5140" y="5597"/>
                    <a:pt x="5140" y="5597"/>
                    <a:pt x="5140" y="5610"/>
                  </a:cubicBezTo>
                  <a:cubicBezTo>
                    <a:pt x="5127" y="5637"/>
                    <a:pt x="5113" y="5650"/>
                    <a:pt x="5100" y="5663"/>
                  </a:cubicBezTo>
                  <a:cubicBezTo>
                    <a:pt x="5100" y="5676"/>
                    <a:pt x="5100" y="5676"/>
                    <a:pt x="5100" y="5676"/>
                  </a:cubicBezTo>
                  <a:cubicBezTo>
                    <a:pt x="5087" y="5689"/>
                    <a:pt x="5087" y="5689"/>
                    <a:pt x="5073" y="5702"/>
                  </a:cubicBezTo>
                  <a:cubicBezTo>
                    <a:pt x="5073" y="5709"/>
                    <a:pt x="5073" y="5722"/>
                    <a:pt x="5073" y="5735"/>
                  </a:cubicBezTo>
                  <a:cubicBezTo>
                    <a:pt x="5073" y="5748"/>
                    <a:pt x="5073" y="5748"/>
                    <a:pt x="5073" y="5761"/>
                  </a:cubicBezTo>
                  <a:cubicBezTo>
                    <a:pt x="5087" y="5774"/>
                    <a:pt x="5087" y="5774"/>
                    <a:pt x="5087" y="5787"/>
                  </a:cubicBezTo>
                  <a:cubicBezTo>
                    <a:pt x="5073" y="5800"/>
                    <a:pt x="5073" y="5800"/>
                    <a:pt x="5073" y="5800"/>
                  </a:cubicBezTo>
                  <a:cubicBezTo>
                    <a:pt x="5073" y="5813"/>
                    <a:pt x="5073" y="5827"/>
                    <a:pt x="5073" y="5840"/>
                  </a:cubicBezTo>
                  <a:cubicBezTo>
                    <a:pt x="5073" y="5853"/>
                    <a:pt x="5087" y="5853"/>
                    <a:pt x="5087" y="5866"/>
                  </a:cubicBezTo>
                  <a:cubicBezTo>
                    <a:pt x="5100" y="5879"/>
                    <a:pt x="5113" y="5892"/>
                    <a:pt x="5127" y="5905"/>
                  </a:cubicBezTo>
                  <a:cubicBezTo>
                    <a:pt x="5127" y="5892"/>
                    <a:pt x="5127" y="5892"/>
                    <a:pt x="5127" y="5892"/>
                  </a:cubicBezTo>
                  <a:cubicBezTo>
                    <a:pt x="5140" y="5892"/>
                    <a:pt x="5153" y="5879"/>
                    <a:pt x="5153" y="5879"/>
                  </a:cubicBezTo>
                  <a:cubicBezTo>
                    <a:pt x="5167" y="5879"/>
                    <a:pt x="5180" y="5879"/>
                    <a:pt x="5180" y="5866"/>
                  </a:cubicBezTo>
                  <a:cubicBezTo>
                    <a:pt x="5180" y="5879"/>
                    <a:pt x="5194" y="5879"/>
                    <a:pt x="5194" y="5879"/>
                  </a:cubicBezTo>
                  <a:cubicBezTo>
                    <a:pt x="5194" y="5866"/>
                    <a:pt x="5194" y="5866"/>
                    <a:pt x="5194" y="5866"/>
                  </a:cubicBezTo>
                  <a:cubicBezTo>
                    <a:pt x="5207" y="5866"/>
                    <a:pt x="5207" y="5866"/>
                    <a:pt x="5207" y="5866"/>
                  </a:cubicBezTo>
                  <a:cubicBezTo>
                    <a:pt x="5240" y="5761"/>
                    <a:pt x="5294" y="5663"/>
                    <a:pt x="5348" y="5558"/>
                  </a:cubicBezTo>
                  <a:cubicBezTo>
                    <a:pt x="5361" y="5519"/>
                    <a:pt x="5374" y="5479"/>
                    <a:pt x="5374" y="5453"/>
                  </a:cubicBezTo>
                  <a:cubicBezTo>
                    <a:pt x="5388" y="5440"/>
                    <a:pt x="5388" y="5427"/>
                    <a:pt x="5401" y="5427"/>
                  </a:cubicBezTo>
                  <a:cubicBezTo>
                    <a:pt x="5401" y="5414"/>
                    <a:pt x="5401" y="5414"/>
                    <a:pt x="5401" y="5401"/>
                  </a:cubicBezTo>
                  <a:cubicBezTo>
                    <a:pt x="5401" y="5388"/>
                    <a:pt x="5401" y="5375"/>
                    <a:pt x="5415" y="5368"/>
                  </a:cubicBezTo>
                  <a:cubicBezTo>
                    <a:pt x="5415" y="5368"/>
                    <a:pt x="5415" y="5375"/>
                    <a:pt x="5415" y="5388"/>
                  </a:cubicBezTo>
                  <a:cubicBezTo>
                    <a:pt x="5428" y="5388"/>
                    <a:pt x="5428" y="5388"/>
                    <a:pt x="5428" y="5388"/>
                  </a:cubicBezTo>
                  <a:cubicBezTo>
                    <a:pt x="5428" y="5375"/>
                    <a:pt x="5428" y="5375"/>
                    <a:pt x="5428" y="5375"/>
                  </a:cubicBezTo>
                  <a:cubicBezTo>
                    <a:pt x="5428" y="5329"/>
                    <a:pt x="5428" y="5276"/>
                    <a:pt x="5428" y="5224"/>
                  </a:cubicBezTo>
                  <a:cubicBezTo>
                    <a:pt x="5428" y="5224"/>
                    <a:pt x="5415" y="5211"/>
                    <a:pt x="5415" y="5198"/>
                  </a:cubicBezTo>
                  <a:cubicBezTo>
                    <a:pt x="5415" y="5198"/>
                    <a:pt x="5415" y="5198"/>
                    <a:pt x="5401" y="5198"/>
                  </a:cubicBezTo>
                  <a:close/>
                  <a:moveTo>
                    <a:pt x="3690" y="2342"/>
                  </a:moveTo>
                  <a:cubicBezTo>
                    <a:pt x="3690" y="2356"/>
                    <a:pt x="3690" y="2356"/>
                    <a:pt x="3690" y="2356"/>
                  </a:cubicBezTo>
                  <a:cubicBezTo>
                    <a:pt x="3690" y="2369"/>
                    <a:pt x="3690" y="2369"/>
                    <a:pt x="3690" y="2369"/>
                  </a:cubicBezTo>
                  <a:cubicBezTo>
                    <a:pt x="3702" y="2369"/>
                    <a:pt x="3702" y="2382"/>
                    <a:pt x="3702" y="2382"/>
                  </a:cubicBezTo>
                  <a:cubicBezTo>
                    <a:pt x="3702" y="2395"/>
                    <a:pt x="3702" y="2395"/>
                    <a:pt x="3702" y="2409"/>
                  </a:cubicBezTo>
                  <a:cubicBezTo>
                    <a:pt x="3702" y="2409"/>
                    <a:pt x="3702" y="2409"/>
                    <a:pt x="3702" y="2422"/>
                  </a:cubicBezTo>
                  <a:cubicBezTo>
                    <a:pt x="3702" y="2435"/>
                    <a:pt x="3702" y="2435"/>
                    <a:pt x="3702" y="2435"/>
                  </a:cubicBezTo>
                  <a:cubicBezTo>
                    <a:pt x="3702" y="2448"/>
                    <a:pt x="3702" y="2448"/>
                    <a:pt x="3702" y="2448"/>
                  </a:cubicBezTo>
                  <a:cubicBezTo>
                    <a:pt x="3702" y="2462"/>
                    <a:pt x="3702" y="2462"/>
                    <a:pt x="3702" y="2462"/>
                  </a:cubicBezTo>
                  <a:cubicBezTo>
                    <a:pt x="3715" y="2475"/>
                    <a:pt x="3715" y="2475"/>
                    <a:pt x="3715" y="2475"/>
                  </a:cubicBezTo>
                  <a:cubicBezTo>
                    <a:pt x="3715" y="2475"/>
                    <a:pt x="3715" y="2475"/>
                    <a:pt x="3722" y="2475"/>
                  </a:cubicBezTo>
                  <a:cubicBezTo>
                    <a:pt x="3722" y="2462"/>
                    <a:pt x="3722" y="2462"/>
                    <a:pt x="3722" y="2462"/>
                  </a:cubicBezTo>
                  <a:cubicBezTo>
                    <a:pt x="3735" y="2462"/>
                    <a:pt x="3735" y="2462"/>
                    <a:pt x="3735" y="2462"/>
                  </a:cubicBezTo>
                  <a:cubicBezTo>
                    <a:pt x="3735" y="2462"/>
                    <a:pt x="3735" y="2462"/>
                    <a:pt x="3748" y="2462"/>
                  </a:cubicBezTo>
                  <a:cubicBezTo>
                    <a:pt x="3748" y="2448"/>
                    <a:pt x="3748" y="2448"/>
                    <a:pt x="3748" y="2448"/>
                  </a:cubicBezTo>
                  <a:cubicBezTo>
                    <a:pt x="3760" y="2422"/>
                    <a:pt x="3760" y="2382"/>
                    <a:pt x="3760" y="2356"/>
                  </a:cubicBezTo>
                  <a:cubicBezTo>
                    <a:pt x="3748" y="2342"/>
                    <a:pt x="3748" y="2329"/>
                    <a:pt x="3748" y="2329"/>
                  </a:cubicBezTo>
                  <a:cubicBezTo>
                    <a:pt x="3748" y="2329"/>
                    <a:pt x="3748" y="2329"/>
                    <a:pt x="3735" y="2316"/>
                  </a:cubicBezTo>
                  <a:cubicBezTo>
                    <a:pt x="3735" y="2316"/>
                    <a:pt x="3735" y="2316"/>
                    <a:pt x="3722" y="2316"/>
                  </a:cubicBezTo>
                  <a:cubicBezTo>
                    <a:pt x="3722" y="2316"/>
                    <a:pt x="3722" y="2316"/>
                    <a:pt x="3722" y="2329"/>
                  </a:cubicBezTo>
                  <a:cubicBezTo>
                    <a:pt x="3715" y="2329"/>
                    <a:pt x="3715" y="2342"/>
                    <a:pt x="3702" y="2342"/>
                  </a:cubicBezTo>
                  <a:cubicBezTo>
                    <a:pt x="3702" y="2342"/>
                    <a:pt x="3702" y="2342"/>
                    <a:pt x="3690" y="2342"/>
                  </a:cubicBezTo>
                  <a:close/>
                  <a:moveTo>
                    <a:pt x="4483" y="2687"/>
                  </a:moveTo>
                  <a:cubicBezTo>
                    <a:pt x="4483" y="2687"/>
                    <a:pt x="4483" y="2687"/>
                    <a:pt x="4470" y="2687"/>
                  </a:cubicBezTo>
                  <a:cubicBezTo>
                    <a:pt x="4470" y="2705"/>
                    <a:pt x="4470" y="2705"/>
                    <a:pt x="4470" y="2722"/>
                  </a:cubicBezTo>
                  <a:cubicBezTo>
                    <a:pt x="4470" y="2722"/>
                    <a:pt x="4483" y="2722"/>
                    <a:pt x="4496" y="2722"/>
                  </a:cubicBezTo>
                  <a:cubicBezTo>
                    <a:pt x="4509" y="2722"/>
                    <a:pt x="4509" y="2722"/>
                    <a:pt x="4509" y="2722"/>
                  </a:cubicBezTo>
                  <a:cubicBezTo>
                    <a:pt x="4509" y="2722"/>
                    <a:pt x="4509" y="2722"/>
                    <a:pt x="4522" y="2722"/>
                  </a:cubicBezTo>
                  <a:cubicBezTo>
                    <a:pt x="4522" y="2740"/>
                    <a:pt x="4522" y="2740"/>
                    <a:pt x="4522" y="2740"/>
                  </a:cubicBezTo>
                  <a:cubicBezTo>
                    <a:pt x="4548" y="2740"/>
                    <a:pt x="4575" y="2740"/>
                    <a:pt x="4581" y="2740"/>
                  </a:cubicBezTo>
                  <a:cubicBezTo>
                    <a:pt x="4594" y="2740"/>
                    <a:pt x="4594" y="2740"/>
                    <a:pt x="4594" y="2740"/>
                  </a:cubicBezTo>
                  <a:cubicBezTo>
                    <a:pt x="4594" y="2722"/>
                    <a:pt x="4594" y="2722"/>
                    <a:pt x="4594" y="2722"/>
                  </a:cubicBezTo>
                  <a:cubicBezTo>
                    <a:pt x="4594" y="2722"/>
                    <a:pt x="4594" y="2722"/>
                    <a:pt x="4594" y="2705"/>
                  </a:cubicBezTo>
                  <a:cubicBezTo>
                    <a:pt x="4594" y="2722"/>
                    <a:pt x="4581" y="2722"/>
                    <a:pt x="4581" y="2722"/>
                  </a:cubicBezTo>
                  <a:cubicBezTo>
                    <a:pt x="4581" y="2722"/>
                    <a:pt x="4581" y="2722"/>
                    <a:pt x="4575" y="2722"/>
                  </a:cubicBezTo>
                  <a:cubicBezTo>
                    <a:pt x="4575" y="2705"/>
                    <a:pt x="4575" y="2705"/>
                    <a:pt x="4575" y="2705"/>
                  </a:cubicBezTo>
                  <a:cubicBezTo>
                    <a:pt x="4562" y="2705"/>
                    <a:pt x="4562" y="2705"/>
                    <a:pt x="4548" y="2705"/>
                  </a:cubicBezTo>
                  <a:cubicBezTo>
                    <a:pt x="4535" y="2705"/>
                    <a:pt x="4535" y="2705"/>
                    <a:pt x="4535" y="2705"/>
                  </a:cubicBezTo>
                  <a:cubicBezTo>
                    <a:pt x="4522" y="2705"/>
                    <a:pt x="4522" y="2705"/>
                    <a:pt x="4509" y="2705"/>
                  </a:cubicBezTo>
                  <a:cubicBezTo>
                    <a:pt x="4509" y="2705"/>
                    <a:pt x="4509" y="2705"/>
                    <a:pt x="4496" y="2705"/>
                  </a:cubicBezTo>
                  <a:cubicBezTo>
                    <a:pt x="4496" y="2687"/>
                    <a:pt x="4496" y="2687"/>
                    <a:pt x="4496" y="2687"/>
                  </a:cubicBezTo>
                  <a:cubicBezTo>
                    <a:pt x="4496" y="2687"/>
                    <a:pt x="4496" y="2687"/>
                    <a:pt x="4483" y="2687"/>
                  </a:cubicBezTo>
                  <a:close/>
                  <a:moveTo>
                    <a:pt x="4523" y="2546"/>
                  </a:moveTo>
                  <a:cubicBezTo>
                    <a:pt x="4523" y="2546"/>
                    <a:pt x="4523" y="2546"/>
                    <a:pt x="4523" y="2546"/>
                  </a:cubicBezTo>
                  <a:cubicBezTo>
                    <a:pt x="4523" y="2546"/>
                    <a:pt x="4523" y="2546"/>
                    <a:pt x="4523" y="2563"/>
                  </a:cubicBezTo>
                  <a:cubicBezTo>
                    <a:pt x="4523" y="2563"/>
                    <a:pt x="4523" y="2563"/>
                    <a:pt x="4541" y="2563"/>
                  </a:cubicBezTo>
                  <a:cubicBezTo>
                    <a:pt x="4541" y="2546"/>
                    <a:pt x="4541" y="2546"/>
                    <a:pt x="4541" y="2546"/>
                  </a:cubicBezTo>
                  <a:cubicBezTo>
                    <a:pt x="4541" y="2528"/>
                    <a:pt x="4523" y="2528"/>
                    <a:pt x="4523" y="2528"/>
                  </a:cubicBezTo>
                  <a:cubicBezTo>
                    <a:pt x="4523" y="2528"/>
                    <a:pt x="4523" y="2528"/>
                    <a:pt x="4506" y="2528"/>
                  </a:cubicBezTo>
                  <a:cubicBezTo>
                    <a:pt x="4506" y="2546"/>
                    <a:pt x="4506" y="2546"/>
                    <a:pt x="4506" y="2546"/>
                  </a:cubicBezTo>
                  <a:cubicBezTo>
                    <a:pt x="4523" y="2546"/>
                    <a:pt x="4523" y="2546"/>
                    <a:pt x="4523" y="2546"/>
                  </a:cubicBezTo>
                  <a:close/>
                  <a:moveTo>
                    <a:pt x="3401" y="2418"/>
                  </a:moveTo>
                  <a:cubicBezTo>
                    <a:pt x="3388" y="2433"/>
                    <a:pt x="3388" y="2433"/>
                    <a:pt x="3388" y="2433"/>
                  </a:cubicBezTo>
                  <a:cubicBezTo>
                    <a:pt x="3401" y="2433"/>
                    <a:pt x="3401" y="2433"/>
                    <a:pt x="3401" y="2433"/>
                  </a:cubicBezTo>
                  <a:cubicBezTo>
                    <a:pt x="3401" y="2433"/>
                    <a:pt x="3401" y="2433"/>
                    <a:pt x="3415" y="2433"/>
                  </a:cubicBezTo>
                  <a:cubicBezTo>
                    <a:pt x="3415" y="2440"/>
                    <a:pt x="3415" y="2440"/>
                    <a:pt x="3415" y="2440"/>
                  </a:cubicBezTo>
                  <a:cubicBezTo>
                    <a:pt x="3428" y="2440"/>
                    <a:pt x="3428" y="2440"/>
                    <a:pt x="3428" y="2440"/>
                  </a:cubicBezTo>
                  <a:cubicBezTo>
                    <a:pt x="3441" y="2440"/>
                    <a:pt x="3441" y="2440"/>
                    <a:pt x="3441" y="2440"/>
                  </a:cubicBezTo>
                  <a:cubicBezTo>
                    <a:pt x="3441" y="2433"/>
                    <a:pt x="3441" y="2433"/>
                    <a:pt x="3441" y="2433"/>
                  </a:cubicBezTo>
                  <a:cubicBezTo>
                    <a:pt x="3441" y="2418"/>
                    <a:pt x="3441" y="2418"/>
                    <a:pt x="3441" y="2418"/>
                  </a:cubicBezTo>
                  <a:cubicBezTo>
                    <a:pt x="3428" y="2418"/>
                    <a:pt x="3428" y="2418"/>
                    <a:pt x="3428" y="2418"/>
                  </a:cubicBezTo>
                  <a:cubicBezTo>
                    <a:pt x="3428" y="2404"/>
                    <a:pt x="3428" y="2404"/>
                    <a:pt x="3428" y="2404"/>
                  </a:cubicBezTo>
                  <a:cubicBezTo>
                    <a:pt x="3428" y="2404"/>
                    <a:pt x="3415" y="2418"/>
                    <a:pt x="3401" y="2418"/>
                  </a:cubicBezTo>
                  <a:close/>
                  <a:moveTo>
                    <a:pt x="3860" y="1189"/>
                  </a:moveTo>
                  <a:cubicBezTo>
                    <a:pt x="3849" y="1189"/>
                    <a:pt x="3849" y="1189"/>
                    <a:pt x="3849" y="1189"/>
                  </a:cubicBezTo>
                  <a:cubicBezTo>
                    <a:pt x="3849" y="1202"/>
                    <a:pt x="3849" y="1202"/>
                    <a:pt x="3849" y="1202"/>
                  </a:cubicBezTo>
                  <a:cubicBezTo>
                    <a:pt x="3849" y="1215"/>
                    <a:pt x="3849" y="1215"/>
                    <a:pt x="3849" y="1228"/>
                  </a:cubicBezTo>
                  <a:cubicBezTo>
                    <a:pt x="3860" y="1228"/>
                    <a:pt x="3860" y="1228"/>
                    <a:pt x="3860" y="1228"/>
                  </a:cubicBezTo>
                  <a:cubicBezTo>
                    <a:pt x="3860" y="1242"/>
                    <a:pt x="3860" y="1242"/>
                    <a:pt x="3860" y="1242"/>
                  </a:cubicBezTo>
                  <a:cubicBezTo>
                    <a:pt x="3860" y="1242"/>
                    <a:pt x="3860" y="1242"/>
                    <a:pt x="3871" y="1242"/>
                  </a:cubicBezTo>
                  <a:cubicBezTo>
                    <a:pt x="3871" y="1242"/>
                    <a:pt x="3871" y="1242"/>
                    <a:pt x="3882" y="1242"/>
                  </a:cubicBezTo>
                  <a:cubicBezTo>
                    <a:pt x="3882" y="1255"/>
                    <a:pt x="3882" y="1255"/>
                    <a:pt x="3882" y="1255"/>
                  </a:cubicBezTo>
                  <a:cubicBezTo>
                    <a:pt x="3882" y="1255"/>
                    <a:pt x="3882" y="1255"/>
                    <a:pt x="3893" y="1255"/>
                  </a:cubicBezTo>
                  <a:cubicBezTo>
                    <a:pt x="3904" y="1255"/>
                    <a:pt x="3904" y="1255"/>
                    <a:pt x="3904" y="1255"/>
                  </a:cubicBezTo>
                  <a:cubicBezTo>
                    <a:pt x="3904" y="1255"/>
                    <a:pt x="3904" y="1242"/>
                    <a:pt x="3893" y="1242"/>
                  </a:cubicBezTo>
                  <a:cubicBezTo>
                    <a:pt x="3893" y="1242"/>
                    <a:pt x="3893" y="1242"/>
                    <a:pt x="3904" y="1242"/>
                  </a:cubicBezTo>
                  <a:cubicBezTo>
                    <a:pt x="3904" y="1242"/>
                    <a:pt x="3904" y="1242"/>
                    <a:pt x="3915" y="1242"/>
                  </a:cubicBezTo>
                  <a:cubicBezTo>
                    <a:pt x="3915" y="1228"/>
                    <a:pt x="3915" y="1228"/>
                    <a:pt x="3915" y="1228"/>
                  </a:cubicBezTo>
                  <a:cubicBezTo>
                    <a:pt x="3904" y="1215"/>
                    <a:pt x="3904" y="1215"/>
                    <a:pt x="3904" y="1215"/>
                  </a:cubicBezTo>
                  <a:cubicBezTo>
                    <a:pt x="3904" y="1202"/>
                    <a:pt x="3904" y="1202"/>
                    <a:pt x="3904" y="1202"/>
                  </a:cubicBezTo>
                  <a:cubicBezTo>
                    <a:pt x="3915" y="1202"/>
                    <a:pt x="3915" y="1202"/>
                    <a:pt x="3915" y="1202"/>
                  </a:cubicBezTo>
                  <a:cubicBezTo>
                    <a:pt x="3915" y="1202"/>
                    <a:pt x="3915" y="1202"/>
                    <a:pt x="3920" y="1202"/>
                  </a:cubicBezTo>
                  <a:cubicBezTo>
                    <a:pt x="3920" y="1189"/>
                    <a:pt x="3915" y="1189"/>
                    <a:pt x="3915" y="1189"/>
                  </a:cubicBezTo>
                  <a:cubicBezTo>
                    <a:pt x="3915" y="1189"/>
                    <a:pt x="3915" y="1189"/>
                    <a:pt x="3915" y="1175"/>
                  </a:cubicBezTo>
                  <a:cubicBezTo>
                    <a:pt x="3915" y="1169"/>
                    <a:pt x="3915" y="1169"/>
                    <a:pt x="3915" y="1169"/>
                  </a:cubicBezTo>
                  <a:cubicBezTo>
                    <a:pt x="3909" y="1162"/>
                    <a:pt x="3904" y="1162"/>
                    <a:pt x="3904" y="1155"/>
                  </a:cubicBezTo>
                  <a:cubicBezTo>
                    <a:pt x="3904" y="1149"/>
                    <a:pt x="3904" y="1149"/>
                    <a:pt x="3904" y="1149"/>
                  </a:cubicBezTo>
                  <a:cubicBezTo>
                    <a:pt x="3893" y="1149"/>
                    <a:pt x="3893" y="1149"/>
                    <a:pt x="3893" y="1162"/>
                  </a:cubicBezTo>
                  <a:cubicBezTo>
                    <a:pt x="3893" y="1175"/>
                    <a:pt x="3893" y="1175"/>
                    <a:pt x="3893" y="1175"/>
                  </a:cubicBezTo>
                  <a:cubicBezTo>
                    <a:pt x="3882" y="1175"/>
                    <a:pt x="3882" y="1175"/>
                    <a:pt x="3882" y="1175"/>
                  </a:cubicBezTo>
                  <a:cubicBezTo>
                    <a:pt x="3882" y="1175"/>
                    <a:pt x="3882" y="1175"/>
                    <a:pt x="3882" y="1162"/>
                  </a:cubicBezTo>
                  <a:cubicBezTo>
                    <a:pt x="3871" y="1162"/>
                    <a:pt x="3871" y="1162"/>
                    <a:pt x="3860" y="1162"/>
                  </a:cubicBezTo>
                  <a:cubicBezTo>
                    <a:pt x="3871" y="1175"/>
                    <a:pt x="3871" y="1175"/>
                    <a:pt x="3871" y="1175"/>
                  </a:cubicBezTo>
                  <a:cubicBezTo>
                    <a:pt x="3860" y="1175"/>
                    <a:pt x="3860" y="1175"/>
                    <a:pt x="3860" y="1175"/>
                  </a:cubicBezTo>
                  <a:cubicBezTo>
                    <a:pt x="3860" y="1189"/>
                    <a:pt x="3860" y="1189"/>
                    <a:pt x="3860" y="1189"/>
                  </a:cubicBezTo>
                  <a:close/>
                  <a:moveTo>
                    <a:pt x="5676" y="5615"/>
                  </a:moveTo>
                  <a:cubicBezTo>
                    <a:pt x="5676" y="5615"/>
                    <a:pt x="5676" y="5615"/>
                    <a:pt x="5676" y="5622"/>
                  </a:cubicBezTo>
                  <a:cubicBezTo>
                    <a:pt x="5694" y="5622"/>
                    <a:pt x="5694" y="5622"/>
                    <a:pt x="5694" y="5622"/>
                  </a:cubicBezTo>
                  <a:cubicBezTo>
                    <a:pt x="5694" y="5615"/>
                    <a:pt x="5694" y="5615"/>
                    <a:pt x="5694" y="5615"/>
                  </a:cubicBezTo>
                  <a:cubicBezTo>
                    <a:pt x="5694" y="5605"/>
                    <a:pt x="5694" y="5605"/>
                    <a:pt x="5694" y="5605"/>
                  </a:cubicBezTo>
                  <a:cubicBezTo>
                    <a:pt x="5676" y="5605"/>
                    <a:pt x="5676" y="5615"/>
                    <a:pt x="5676" y="5615"/>
                  </a:cubicBezTo>
                  <a:close/>
                  <a:moveTo>
                    <a:pt x="5584" y="5640"/>
                  </a:moveTo>
                  <a:cubicBezTo>
                    <a:pt x="5570" y="5640"/>
                    <a:pt x="5570" y="5654"/>
                    <a:pt x="5570" y="5654"/>
                  </a:cubicBezTo>
                  <a:cubicBezTo>
                    <a:pt x="5570" y="5675"/>
                    <a:pt x="5570" y="5675"/>
                    <a:pt x="5570" y="5675"/>
                  </a:cubicBezTo>
                  <a:cubicBezTo>
                    <a:pt x="5584" y="5675"/>
                    <a:pt x="5584" y="5675"/>
                    <a:pt x="5584" y="5675"/>
                  </a:cubicBezTo>
                  <a:cubicBezTo>
                    <a:pt x="5584" y="5675"/>
                    <a:pt x="5584" y="5675"/>
                    <a:pt x="5605" y="5654"/>
                  </a:cubicBezTo>
                  <a:cubicBezTo>
                    <a:pt x="5584" y="5654"/>
                    <a:pt x="5584" y="5654"/>
                    <a:pt x="5584" y="5654"/>
                  </a:cubicBezTo>
                  <a:cubicBezTo>
                    <a:pt x="5584" y="5640"/>
                    <a:pt x="5584" y="5640"/>
                    <a:pt x="5584" y="5640"/>
                  </a:cubicBezTo>
                  <a:close/>
                  <a:moveTo>
                    <a:pt x="7082" y="4167"/>
                  </a:moveTo>
                  <a:cubicBezTo>
                    <a:pt x="7082" y="4167"/>
                    <a:pt x="7082" y="4167"/>
                    <a:pt x="7082" y="4154"/>
                  </a:cubicBezTo>
                  <a:cubicBezTo>
                    <a:pt x="7082" y="4154"/>
                    <a:pt x="7082" y="4154"/>
                    <a:pt x="7069" y="4154"/>
                  </a:cubicBezTo>
                  <a:cubicBezTo>
                    <a:pt x="7069" y="4141"/>
                    <a:pt x="7069" y="4141"/>
                    <a:pt x="7069" y="4141"/>
                  </a:cubicBezTo>
                  <a:cubicBezTo>
                    <a:pt x="7069" y="4128"/>
                    <a:pt x="7069" y="4128"/>
                    <a:pt x="7069" y="4128"/>
                  </a:cubicBezTo>
                  <a:cubicBezTo>
                    <a:pt x="7055" y="4115"/>
                    <a:pt x="7055" y="4115"/>
                    <a:pt x="7055" y="4102"/>
                  </a:cubicBezTo>
                  <a:cubicBezTo>
                    <a:pt x="7042" y="4102"/>
                    <a:pt x="7042" y="4102"/>
                    <a:pt x="7042" y="4102"/>
                  </a:cubicBezTo>
                  <a:cubicBezTo>
                    <a:pt x="7042" y="4102"/>
                    <a:pt x="7042" y="4102"/>
                    <a:pt x="7029" y="4102"/>
                  </a:cubicBezTo>
                  <a:cubicBezTo>
                    <a:pt x="7042" y="4102"/>
                    <a:pt x="7042" y="4115"/>
                    <a:pt x="7042" y="4115"/>
                  </a:cubicBezTo>
                  <a:cubicBezTo>
                    <a:pt x="7042" y="4115"/>
                    <a:pt x="7029" y="4115"/>
                    <a:pt x="7029" y="4128"/>
                  </a:cubicBezTo>
                  <a:cubicBezTo>
                    <a:pt x="7029" y="4141"/>
                    <a:pt x="7015" y="4141"/>
                    <a:pt x="7015" y="4141"/>
                  </a:cubicBezTo>
                  <a:cubicBezTo>
                    <a:pt x="7015" y="4154"/>
                    <a:pt x="7002" y="4167"/>
                    <a:pt x="7002" y="4180"/>
                  </a:cubicBezTo>
                  <a:cubicBezTo>
                    <a:pt x="6989" y="4206"/>
                    <a:pt x="6989" y="4233"/>
                    <a:pt x="6989" y="4246"/>
                  </a:cubicBezTo>
                  <a:cubicBezTo>
                    <a:pt x="6989" y="4252"/>
                    <a:pt x="6989" y="4265"/>
                    <a:pt x="6989" y="4278"/>
                  </a:cubicBezTo>
                  <a:cubicBezTo>
                    <a:pt x="7002" y="4278"/>
                    <a:pt x="7015" y="4278"/>
                    <a:pt x="7015" y="4278"/>
                  </a:cubicBezTo>
                  <a:cubicBezTo>
                    <a:pt x="7029" y="4278"/>
                    <a:pt x="7055" y="4265"/>
                    <a:pt x="7069" y="4265"/>
                  </a:cubicBezTo>
                  <a:cubicBezTo>
                    <a:pt x="7069" y="4252"/>
                    <a:pt x="7069" y="4252"/>
                    <a:pt x="7082" y="4252"/>
                  </a:cubicBezTo>
                  <a:cubicBezTo>
                    <a:pt x="7082" y="4233"/>
                    <a:pt x="7082" y="4220"/>
                    <a:pt x="7095" y="4206"/>
                  </a:cubicBezTo>
                  <a:cubicBezTo>
                    <a:pt x="7082" y="4206"/>
                    <a:pt x="7082" y="4206"/>
                    <a:pt x="7082" y="4206"/>
                  </a:cubicBezTo>
                  <a:cubicBezTo>
                    <a:pt x="7082" y="4193"/>
                    <a:pt x="7082" y="4180"/>
                    <a:pt x="7082" y="4167"/>
                  </a:cubicBezTo>
                  <a:close/>
                  <a:moveTo>
                    <a:pt x="3707" y="4429"/>
                  </a:moveTo>
                  <a:cubicBezTo>
                    <a:pt x="3707" y="4429"/>
                    <a:pt x="3707" y="4429"/>
                    <a:pt x="3707" y="4420"/>
                  </a:cubicBezTo>
                  <a:cubicBezTo>
                    <a:pt x="3707" y="4420"/>
                    <a:pt x="3707" y="4420"/>
                    <a:pt x="3690" y="4420"/>
                  </a:cubicBezTo>
                  <a:cubicBezTo>
                    <a:pt x="3690" y="4420"/>
                    <a:pt x="3690" y="4429"/>
                    <a:pt x="3672" y="4429"/>
                  </a:cubicBezTo>
                  <a:cubicBezTo>
                    <a:pt x="3672" y="4438"/>
                    <a:pt x="3672" y="4438"/>
                    <a:pt x="3672" y="4438"/>
                  </a:cubicBezTo>
                  <a:cubicBezTo>
                    <a:pt x="3690" y="4438"/>
                    <a:pt x="3690" y="4438"/>
                    <a:pt x="3690" y="4438"/>
                  </a:cubicBezTo>
                  <a:cubicBezTo>
                    <a:pt x="3707" y="4438"/>
                    <a:pt x="3707" y="4438"/>
                    <a:pt x="3707" y="4438"/>
                  </a:cubicBezTo>
                  <a:cubicBezTo>
                    <a:pt x="3707" y="4429"/>
                    <a:pt x="3707" y="4429"/>
                    <a:pt x="3707" y="4429"/>
                  </a:cubicBezTo>
                  <a:close/>
                  <a:moveTo>
                    <a:pt x="3353" y="2457"/>
                  </a:moveTo>
                  <a:cubicBezTo>
                    <a:pt x="3335" y="2466"/>
                    <a:pt x="3335" y="2466"/>
                    <a:pt x="3335" y="2466"/>
                  </a:cubicBezTo>
                  <a:cubicBezTo>
                    <a:pt x="3335" y="2475"/>
                    <a:pt x="3335" y="2475"/>
                    <a:pt x="3335" y="2475"/>
                  </a:cubicBezTo>
                  <a:cubicBezTo>
                    <a:pt x="3335" y="2466"/>
                    <a:pt x="3353" y="2466"/>
                    <a:pt x="3353" y="2466"/>
                  </a:cubicBezTo>
                  <a:cubicBezTo>
                    <a:pt x="3353" y="2466"/>
                    <a:pt x="3353" y="2466"/>
                    <a:pt x="3353" y="2457"/>
                  </a:cubicBezTo>
                  <a:close/>
                  <a:moveTo>
                    <a:pt x="5747" y="3271"/>
                  </a:moveTo>
                  <a:cubicBezTo>
                    <a:pt x="5747" y="3271"/>
                    <a:pt x="5747" y="3271"/>
                    <a:pt x="5783" y="3271"/>
                  </a:cubicBezTo>
                  <a:cubicBezTo>
                    <a:pt x="5783" y="3253"/>
                    <a:pt x="5783" y="3253"/>
                    <a:pt x="5783" y="3253"/>
                  </a:cubicBezTo>
                  <a:cubicBezTo>
                    <a:pt x="5747" y="3253"/>
                    <a:pt x="5747" y="3253"/>
                    <a:pt x="5747" y="3253"/>
                  </a:cubicBezTo>
                  <a:cubicBezTo>
                    <a:pt x="5747" y="3253"/>
                    <a:pt x="5747" y="3253"/>
                    <a:pt x="5747" y="3271"/>
                  </a:cubicBezTo>
                  <a:close/>
                  <a:moveTo>
                    <a:pt x="3716" y="2285"/>
                  </a:moveTo>
                  <a:cubicBezTo>
                    <a:pt x="3716" y="2285"/>
                    <a:pt x="3725" y="2285"/>
                    <a:pt x="3725" y="2298"/>
                  </a:cubicBezTo>
                  <a:cubicBezTo>
                    <a:pt x="3734" y="2298"/>
                    <a:pt x="3734" y="2298"/>
                    <a:pt x="3734" y="2298"/>
                  </a:cubicBezTo>
                  <a:cubicBezTo>
                    <a:pt x="3734" y="2285"/>
                    <a:pt x="3743" y="2258"/>
                    <a:pt x="3743" y="2245"/>
                  </a:cubicBezTo>
                  <a:cubicBezTo>
                    <a:pt x="3743" y="2232"/>
                    <a:pt x="3743" y="2205"/>
                    <a:pt x="3743" y="2192"/>
                  </a:cubicBezTo>
                  <a:cubicBezTo>
                    <a:pt x="3743" y="2192"/>
                    <a:pt x="3743" y="2192"/>
                    <a:pt x="3734" y="2192"/>
                  </a:cubicBezTo>
                  <a:cubicBezTo>
                    <a:pt x="3734" y="2192"/>
                    <a:pt x="3734" y="2192"/>
                    <a:pt x="3734" y="2205"/>
                  </a:cubicBezTo>
                  <a:cubicBezTo>
                    <a:pt x="3734" y="2205"/>
                    <a:pt x="3734" y="2205"/>
                    <a:pt x="3725" y="2205"/>
                  </a:cubicBezTo>
                  <a:cubicBezTo>
                    <a:pt x="3725" y="2219"/>
                    <a:pt x="3725" y="2219"/>
                    <a:pt x="3725" y="2219"/>
                  </a:cubicBezTo>
                  <a:cubicBezTo>
                    <a:pt x="3716" y="2219"/>
                    <a:pt x="3716" y="2219"/>
                    <a:pt x="3716" y="2219"/>
                  </a:cubicBezTo>
                  <a:cubicBezTo>
                    <a:pt x="3716" y="2219"/>
                    <a:pt x="3716" y="2232"/>
                    <a:pt x="3707" y="2232"/>
                  </a:cubicBezTo>
                  <a:cubicBezTo>
                    <a:pt x="3707" y="2245"/>
                    <a:pt x="3707" y="2245"/>
                    <a:pt x="3707" y="2245"/>
                  </a:cubicBezTo>
                  <a:cubicBezTo>
                    <a:pt x="3716" y="2245"/>
                    <a:pt x="3716" y="2245"/>
                    <a:pt x="3716" y="2245"/>
                  </a:cubicBezTo>
                  <a:cubicBezTo>
                    <a:pt x="3716" y="2258"/>
                    <a:pt x="3716" y="2272"/>
                    <a:pt x="3716" y="2272"/>
                  </a:cubicBezTo>
                  <a:lnTo>
                    <a:pt x="3716" y="2285"/>
                  </a:lnTo>
                  <a:close/>
                  <a:moveTo>
                    <a:pt x="3849" y="1279"/>
                  </a:moveTo>
                  <a:cubicBezTo>
                    <a:pt x="3849" y="1279"/>
                    <a:pt x="3849" y="1279"/>
                    <a:pt x="3862" y="1279"/>
                  </a:cubicBezTo>
                  <a:cubicBezTo>
                    <a:pt x="3862" y="1290"/>
                    <a:pt x="3862" y="1290"/>
                    <a:pt x="3862" y="1290"/>
                  </a:cubicBezTo>
                  <a:cubicBezTo>
                    <a:pt x="3876" y="1290"/>
                    <a:pt x="3876" y="1290"/>
                    <a:pt x="3876" y="1290"/>
                  </a:cubicBezTo>
                  <a:cubicBezTo>
                    <a:pt x="3876" y="1290"/>
                    <a:pt x="3876" y="1290"/>
                    <a:pt x="3882" y="1290"/>
                  </a:cubicBezTo>
                  <a:cubicBezTo>
                    <a:pt x="3902" y="1290"/>
                    <a:pt x="3902" y="1290"/>
                    <a:pt x="3902" y="1290"/>
                  </a:cubicBezTo>
                  <a:cubicBezTo>
                    <a:pt x="3902" y="1279"/>
                    <a:pt x="3902" y="1279"/>
                    <a:pt x="3902" y="1279"/>
                  </a:cubicBezTo>
                  <a:cubicBezTo>
                    <a:pt x="3902" y="1273"/>
                    <a:pt x="3902" y="1273"/>
                    <a:pt x="3902" y="1273"/>
                  </a:cubicBezTo>
                  <a:cubicBezTo>
                    <a:pt x="3902" y="1273"/>
                    <a:pt x="3902" y="1273"/>
                    <a:pt x="3882" y="1273"/>
                  </a:cubicBezTo>
                  <a:cubicBezTo>
                    <a:pt x="3882" y="1279"/>
                    <a:pt x="3882" y="1279"/>
                    <a:pt x="3882" y="1279"/>
                  </a:cubicBezTo>
                  <a:cubicBezTo>
                    <a:pt x="3876" y="1273"/>
                    <a:pt x="3876" y="1273"/>
                    <a:pt x="3876" y="1273"/>
                  </a:cubicBezTo>
                  <a:cubicBezTo>
                    <a:pt x="3862" y="1273"/>
                    <a:pt x="3862" y="1273"/>
                    <a:pt x="3862" y="1273"/>
                  </a:cubicBezTo>
                  <a:cubicBezTo>
                    <a:pt x="3849" y="1273"/>
                    <a:pt x="3849" y="1273"/>
                    <a:pt x="3849" y="1273"/>
                  </a:cubicBezTo>
                  <a:cubicBezTo>
                    <a:pt x="3849" y="1273"/>
                    <a:pt x="3849" y="1273"/>
                    <a:pt x="3849" y="1279"/>
                  </a:cubicBezTo>
                  <a:close/>
                  <a:moveTo>
                    <a:pt x="4133" y="1078"/>
                  </a:moveTo>
                  <a:cubicBezTo>
                    <a:pt x="4139" y="1066"/>
                    <a:pt x="4145" y="1055"/>
                    <a:pt x="4151" y="1043"/>
                  </a:cubicBezTo>
                  <a:cubicBezTo>
                    <a:pt x="4145" y="1049"/>
                    <a:pt x="4139" y="1066"/>
                    <a:pt x="4133" y="1078"/>
                  </a:cubicBezTo>
                  <a:close/>
                  <a:moveTo>
                    <a:pt x="4243" y="1037"/>
                  </a:moveTo>
                  <a:cubicBezTo>
                    <a:pt x="4243" y="1037"/>
                    <a:pt x="4243" y="1037"/>
                    <a:pt x="4243" y="1031"/>
                  </a:cubicBezTo>
                  <a:cubicBezTo>
                    <a:pt x="4243" y="1031"/>
                    <a:pt x="4243" y="1031"/>
                    <a:pt x="4257" y="1031"/>
                  </a:cubicBezTo>
                  <a:cubicBezTo>
                    <a:pt x="4257" y="1019"/>
                    <a:pt x="4257" y="1007"/>
                    <a:pt x="4257" y="1007"/>
                  </a:cubicBezTo>
                  <a:cubicBezTo>
                    <a:pt x="4257" y="996"/>
                    <a:pt x="4257" y="996"/>
                    <a:pt x="4257" y="996"/>
                  </a:cubicBezTo>
                  <a:cubicBezTo>
                    <a:pt x="4257" y="990"/>
                    <a:pt x="4257" y="990"/>
                    <a:pt x="4257" y="990"/>
                  </a:cubicBezTo>
                  <a:cubicBezTo>
                    <a:pt x="4257" y="990"/>
                    <a:pt x="4257" y="990"/>
                    <a:pt x="4243" y="990"/>
                  </a:cubicBezTo>
                  <a:cubicBezTo>
                    <a:pt x="4229" y="996"/>
                    <a:pt x="4222" y="1007"/>
                    <a:pt x="4222" y="1019"/>
                  </a:cubicBezTo>
                  <a:cubicBezTo>
                    <a:pt x="4222" y="1031"/>
                    <a:pt x="4222" y="1031"/>
                    <a:pt x="4222" y="1037"/>
                  </a:cubicBezTo>
                  <a:cubicBezTo>
                    <a:pt x="4222" y="1037"/>
                    <a:pt x="4222" y="1037"/>
                    <a:pt x="4222" y="1049"/>
                  </a:cubicBezTo>
                  <a:cubicBezTo>
                    <a:pt x="4222" y="1049"/>
                    <a:pt x="4222" y="1049"/>
                    <a:pt x="4222" y="1060"/>
                  </a:cubicBezTo>
                  <a:cubicBezTo>
                    <a:pt x="4229" y="1049"/>
                    <a:pt x="4229" y="1049"/>
                    <a:pt x="4229" y="1049"/>
                  </a:cubicBezTo>
                  <a:cubicBezTo>
                    <a:pt x="4229" y="1037"/>
                    <a:pt x="4243" y="1037"/>
                    <a:pt x="4243" y="1037"/>
                  </a:cubicBezTo>
                  <a:close/>
                  <a:moveTo>
                    <a:pt x="4115" y="1131"/>
                  </a:moveTo>
                  <a:cubicBezTo>
                    <a:pt x="4129" y="1131"/>
                    <a:pt x="4129" y="1131"/>
                    <a:pt x="4129" y="1131"/>
                  </a:cubicBezTo>
                  <a:cubicBezTo>
                    <a:pt x="4129" y="1116"/>
                    <a:pt x="4129" y="1102"/>
                    <a:pt x="4130" y="1090"/>
                  </a:cubicBezTo>
                  <a:cubicBezTo>
                    <a:pt x="4127" y="1105"/>
                    <a:pt x="4122" y="1120"/>
                    <a:pt x="4115" y="1131"/>
                  </a:cubicBezTo>
                  <a:close/>
                  <a:moveTo>
                    <a:pt x="4130" y="1090"/>
                  </a:moveTo>
                  <a:cubicBezTo>
                    <a:pt x="4131" y="1086"/>
                    <a:pt x="4132" y="1082"/>
                    <a:pt x="4133" y="1078"/>
                  </a:cubicBezTo>
                  <a:cubicBezTo>
                    <a:pt x="4132" y="1082"/>
                    <a:pt x="4131" y="1085"/>
                    <a:pt x="4130" y="1090"/>
                  </a:cubicBezTo>
                  <a:close/>
                  <a:moveTo>
                    <a:pt x="4328" y="760"/>
                  </a:moveTo>
                  <a:cubicBezTo>
                    <a:pt x="4328" y="748"/>
                    <a:pt x="4328" y="748"/>
                    <a:pt x="4328" y="748"/>
                  </a:cubicBezTo>
                  <a:cubicBezTo>
                    <a:pt x="4328" y="736"/>
                    <a:pt x="4328" y="736"/>
                    <a:pt x="4328" y="736"/>
                  </a:cubicBezTo>
                  <a:cubicBezTo>
                    <a:pt x="4328" y="724"/>
                    <a:pt x="4328" y="724"/>
                    <a:pt x="4328" y="724"/>
                  </a:cubicBezTo>
                  <a:cubicBezTo>
                    <a:pt x="4328" y="724"/>
                    <a:pt x="4328" y="724"/>
                    <a:pt x="4310" y="724"/>
                  </a:cubicBezTo>
                  <a:cubicBezTo>
                    <a:pt x="4310" y="724"/>
                    <a:pt x="4310" y="724"/>
                    <a:pt x="4310" y="736"/>
                  </a:cubicBezTo>
                  <a:cubicBezTo>
                    <a:pt x="4310" y="724"/>
                    <a:pt x="4310" y="724"/>
                    <a:pt x="4293" y="724"/>
                  </a:cubicBezTo>
                  <a:cubicBezTo>
                    <a:pt x="4293" y="736"/>
                    <a:pt x="4293" y="736"/>
                    <a:pt x="4293" y="748"/>
                  </a:cubicBezTo>
                  <a:cubicBezTo>
                    <a:pt x="4310" y="748"/>
                    <a:pt x="4310" y="748"/>
                    <a:pt x="4310" y="748"/>
                  </a:cubicBezTo>
                  <a:cubicBezTo>
                    <a:pt x="4328" y="748"/>
                    <a:pt x="4328" y="748"/>
                    <a:pt x="4328" y="760"/>
                  </a:cubicBezTo>
                  <a:close/>
                  <a:moveTo>
                    <a:pt x="4429" y="958"/>
                  </a:moveTo>
                  <a:cubicBezTo>
                    <a:pt x="4429" y="977"/>
                    <a:pt x="4429" y="977"/>
                    <a:pt x="4429" y="977"/>
                  </a:cubicBezTo>
                  <a:cubicBezTo>
                    <a:pt x="4429" y="977"/>
                    <a:pt x="4429" y="977"/>
                    <a:pt x="4429" y="990"/>
                  </a:cubicBezTo>
                  <a:cubicBezTo>
                    <a:pt x="4429" y="977"/>
                    <a:pt x="4440" y="958"/>
                    <a:pt x="4440" y="958"/>
                  </a:cubicBezTo>
                  <a:cubicBezTo>
                    <a:pt x="4440" y="945"/>
                    <a:pt x="4440" y="945"/>
                    <a:pt x="4440" y="945"/>
                  </a:cubicBezTo>
                  <a:cubicBezTo>
                    <a:pt x="4452" y="945"/>
                    <a:pt x="4452" y="945"/>
                    <a:pt x="4452" y="945"/>
                  </a:cubicBezTo>
                  <a:cubicBezTo>
                    <a:pt x="4464" y="945"/>
                    <a:pt x="4464" y="945"/>
                    <a:pt x="4464" y="945"/>
                  </a:cubicBezTo>
                  <a:cubicBezTo>
                    <a:pt x="4476" y="945"/>
                    <a:pt x="4476" y="932"/>
                    <a:pt x="4476" y="932"/>
                  </a:cubicBezTo>
                  <a:cubicBezTo>
                    <a:pt x="4488" y="932"/>
                    <a:pt x="4488" y="932"/>
                    <a:pt x="4488" y="932"/>
                  </a:cubicBezTo>
                  <a:cubicBezTo>
                    <a:pt x="4488" y="919"/>
                    <a:pt x="4488" y="919"/>
                    <a:pt x="4476" y="919"/>
                  </a:cubicBezTo>
                  <a:cubicBezTo>
                    <a:pt x="4464" y="919"/>
                    <a:pt x="4452" y="919"/>
                    <a:pt x="4440" y="919"/>
                  </a:cubicBezTo>
                  <a:cubicBezTo>
                    <a:pt x="4429" y="919"/>
                    <a:pt x="4429" y="932"/>
                    <a:pt x="4429" y="932"/>
                  </a:cubicBezTo>
                  <a:cubicBezTo>
                    <a:pt x="4429" y="919"/>
                    <a:pt x="4429" y="919"/>
                    <a:pt x="4429" y="919"/>
                  </a:cubicBezTo>
                  <a:cubicBezTo>
                    <a:pt x="4417" y="932"/>
                    <a:pt x="4417" y="945"/>
                    <a:pt x="4417" y="945"/>
                  </a:cubicBezTo>
                  <a:cubicBezTo>
                    <a:pt x="4429" y="945"/>
                    <a:pt x="4429" y="945"/>
                    <a:pt x="4429" y="958"/>
                  </a:cubicBezTo>
                  <a:close/>
                  <a:moveTo>
                    <a:pt x="106" y="4044"/>
                  </a:moveTo>
                  <a:cubicBezTo>
                    <a:pt x="107" y="4044"/>
                    <a:pt x="107" y="4044"/>
                    <a:pt x="107" y="4044"/>
                  </a:cubicBezTo>
                  <a:cubicBezTo>
                    <a:pt x="107" y="4040"/>
                    <a:pt x="107" y="4035"/>
                    <a:pt x="106" y="4031"/>
                  </a:cubicBezTo>
                  <a:cubicBezTo>
                    <a:pt x="106" y="4031"/>
                    <a:pt x="106" y="4031"/>
                    <a:pt x="106" y="4044"/>
                  </a:cubicBezTo>
                  <a:close/>
                  <a:moveTo>
                    <a:pt x="1761" y="4872"/>
                  </a:moveTo>
                  <a:cubicBezTo>
                    <a:pt x="1761" y="4885"/>
                    <a:pt x="1774" y="4898"/>
                    <a:pt x="1774" y="4925"/>
                  </a:cubicBezTo>
                  <a:cubicBezTo>
                    <a:pt x="1774" y="4951"/>
                    <a:pt x="1774" y="4990"/>
                    <a:pt x="1774" y="5023"/>
                  </a:cubicBezTo>
                  <a:cubicBezTo>
                    <a:pt x="1734" y="5089"/>
                    <a:pt x="1708" y="5155"/>
                    <a:pt x="1675" y="5220"/>
                  </a:cubicBezTo>
                  <a:cubicBezTo>
                    <a:pt x="1675" y="5220"/>
                    <a:pt x="1675" y="5220"/>
                    <a:pt x="1662" y="5220"/>
                  </a:cubicBezTo>
                  <a:cubicBezTo>
                    <a:pt x="1662" y="5220"/>
                    <a:pt x="1662" y="5233"/>
                    <a:pt x="1649" y="5233"/>
                  </a:cubicBezTo>
                  <a:cubicBezTo>
                    <a:pt x="1662" y="5312"/>
                    <a:pt x="1675" y="5385"/>
                    <a:pt x="1675" y="5463"/>
                  </a:cubicBezTo>
                  <a:cubicBezTo>
                    <a:pt x="1675" y="5477"/>
                    <a:pt x="1675" y="5477"/>
                    <a:pt x="1675" y="5490"/>
                  </a:cubicBezTo>
                  <a:cubicBezTo>
                    <a:pt x="1675" y="5503"/>
                    <a:pt x="1675" y="5529"/>
                    <a:pt x="1675" y="5555"/>
                  </a:cubicBezTo>
                  <a:cubicBezTo>
                    <a:pt x="1662" y="5582"/>
                    <a:pt x="1649" y="5608"/>
                    <a:pt x="1649" y="5647"/>
                  </a:cubicBezTo>
                  <a:cubicBezTo>
                    <a:pt x="1649" y="5661"/>
                    <a:pt x="1649" y="5674"/>
                    <a:pt x="1649" y="5680"/>
                  </a:cubicBezTo>
                  <a:cubicBezTo>
                    <a:pt x="1649" y="5680"/>
                    <a:pt x="1649" y="5680"/>
                    <a:pt x="1635" y="5680"/>
                  </a:cubicBezTo>
                  <a:cubicBezTo>
                    <a:pt x="1635" y="5693"/>
                    <a:pt x="1622" y="5693"/>
                    <a:pt x="1622" y="5707"/>
                  </a:cubicBezTo>
                  <a:cubicBezTo>
                    <a:pt x="1609" y="5707"/>
                    <a:pt x="1609" y="5720"/>
                    <a:pt x="1609" y="5720"/>
                  </a:cubicBezTo>
                  <a:cubicBezTo>
                    <a:pt x="1596" y="5720"/>
                    <a:pt x="1596" y="5720"/>
                    <a:pt x="1583" y="5720"/>
                  </a:cubicBezTo>
                  <a:cubicBezTo>
                    <a:pt x="1569" y="5720"/>
                    <a:pt x="1569" y="5720"/>
                    <a:pt x="1569" y="5720"/>
                  </a:cubicBezTo>
                  <a:cubicBezTo>
                    <a:pt x="1569" y="5720"/>
                    <a:pt x="1569" y="5720"/>
                    <a:pt x="1556" y="5720"/>
                  </a:cubicBezTo>
                  <a:cubicBezTo>
                    <a:pt x="1556" y="5720"/>
                    <a:pt x="1556" y="5720"/>
                    <a:pt x="1543" y="5720"/>
                  </a:cubicBezTo>
                  <a:cubicBezTo>
                    <a:pt x="1530" y="5720"/>
                    <a:pt x="1530" y="5720"/>
                    <a:pt x="1530" y="5720"/>
                  </a:cubicBezTo>
                  <a:cubicBezTo>
                    <a:pt x="1530" y="5720"/>
                    <a:pt x="1530" y="5720"/>
                    <a:pt x="1517" y="5720"/>
                  </a:cubicBezTo>
                  <a:cubicBezTo>
                    <a:pt x="1517" y="5720"/>
                    <a:pt x="1517" y="5720"/>
                    <a:pt x="1517" y="5733"/>
                  </a:cubicBezTo>
                  <a:cubicBezTo>
                    <a:pt x="1517" y="5733"/>
                    <a:pt x="1517" y="5733"/>
                    <a:pt x="1504" y="5733"/>
                  </a:cubicBezTo>
                  <a:cubicBezTo>
                    <a:pt x="1504" y="5746"/>
                    <a:pt x="1504" y="5746"/>
                    <a:pt x="1504" y="5746"/>
                  </a:cubicBezTo>
                  <a:cubicBezTo>
                    <a:pt x="1490" y="5746"/>
                    <a:pt x="1490" y="5746"/>
                    <a:pt x="1490" y="5746"/>
                  </a:cubicBezTo>
                  <a:cubicBezTo>
                    <a:pt x="1490" y="5746"/>
                    <a:pt x="1490" y="5746"/>
                    <a:pt x="1490" y="5759"/>
                  </a:cubicBezTo>
                  <a:cubicBezTo>
                    <a:pt x="1477" y="5759"/>
                    <a:pt x="1477" y="5759"/>
                    <a:pt x="1464" y="5759"/>
                  </a:cubicBezTo>
                  <a:cubicBezTo>
                    <a:pt x="1464" y="5759"/>
                    <a:pt x="1464" y="5759"/>
                    <a:pt x="1464" y="5772"/>
                  </a:cubicBezTo>
                  <a:cubicBezTo>
                    <a:pt x="1451" y="5772"/>
                    <a:pt x="1451" y="5772"/>
                    <a:pt x="1451" y="5772"/>
                  </a:cubicBezTo>
                  <a:cubicBezTo>
                    <a:pt x="1438" y="5785"/>
                    <a:pt x="1424" y="5799"/>
                    <a:pt x="1411" y="5825"/>
                  </a:cubicBezTo>
                  <a:cubicBezTo>
                    <a:pt x="1398" y="5838"/>
                    <a:pt x="1398" y="5851"/>
                    <a:pt x="1385" y="5864"/>
                  </a:cubicBezTo>
                  <a:cubicBezTo>
                    <a:pt x="1385" y="5877"/>
                    <a:pt x="1385" y="5877"/>
                    <a:pt x="1385" y="5891"/>
                  </a:cubicBezTo>
                  <a:cubicBezTo>
                    <a:pt x="1385" y="5891"/>
                    <a:pt x="1385" y="5891"/>
                    <a:pt x="1385" y="5904"/>
                  </a:cubicBezTo>
                  <a:cubicBezTo>
                    <a:pt x="1398" y="5904"/>
                    <a:pt x="1398" y="5904"/>
                    <a:pt x="1398" y="5917"/>
                  </a:cubicBezTo>
                  <a:cubicBezTo>
                    <a:pt x="1398" y="5917"/>
                    <a:pt x="1398" y="5917"/>
                    <a:pt x="1398" y="5930"/>
                  </a:cubicBezTo>
                  <a:cubicBezTo>
                    <a:pt x="1398" y="5930"/>
                    <a:pt x="1398" y="5930"/>
                    <a:pt x="1411" y="5943"/>
                  </a:cubicBezTo>
                  <a:cubicBezTo>
                    <a:pt x="1411" y="5956"/>
                    <a:pt x="1411" y="5956"/>
                    <a:pt x="1411" y="5956"/>
                  </a:cubicBezTo>
                  <a:cubicBezTo>
                    <a:pt x="1411" y="5969"/>
                    <a:pt x="1411" y="5983"/>
                    <a:pt x="1411" y="6009"/>
                  </a:cubicBezTo>
                  <a:cubicBezTo>
                    <a:pt x="1411" y="6015"/>
                    <a:pt x="1411" y="6015"/>
                    <a:pt x="1411" y="6015"/>
                  </a:cubicBezTo>
                  <a:cubicBezTo>
                    <a:pt x="1411" y="6015"/>
                    <a:pt x="1411" y="6015"/>
                    <a:pt x="1398" y="6029"/>
                  </a:cubicBezTo>
                  <a:cubicBezTo>
                    <a:pt x="1385" y="6081"/>
                    <a:pt x="1378" y="6134"/>
                    <a:pt x="1365" y="6186"/>
                  </a:cubicBezTo>
                  <a:cubicBezTo>
                    <a:pt x="1365" y="6199"/>
                    <a:pt x="1352" y="6213"/>
                    <a:pt x="1339" y="6226"/>
                  </a:cubicBezTo>
                  <a:cubicBezTo>
                    <a:pt x="1339" y="6226"/>
                    <a:pt x="1339" y="6239"/>
                    <a:pt x="1339" y="6252"/>
                  </a:cubicBezTo>
                  <a:cubicBezTo>
                    <a:pt x="1339" y="6265"/>
                    <a:pt x="1339" y="6265"/>
                    <a:pt x="1326" y="6278"/>
                  </a:cubicBezTo>
                  <a:cubicBezTo>
                    <a:pt x="1326" y="6278"/>
                    <a:pt x="1326" y="6291"/>
                    <a:pt x="1312" y="6291"/>
                  </a:cubicBezTo>
                  <a:cubicBezTo>
                    <a:pt x="1312" y="6291"/>
                    <a:pt x="1312" y="6291"/>
                    <a:pt x="1312" y="6305"/>
                  </a:cubicBezTo>
                  <a:cubicBezTo>
                    <a:pt x="1312" y="6305"/>
                    <a:pt x="1312" y="6305"/>
                    <a:pt x="1312" y="6318"/>
                  </a:cubicBezTo>
                  <a:cubicBezTo>
                    <a:pt x="1312" y="6318"/>
                    <a:pt x="1312" y="6318"/>
                    <a:pt x="1312" y="6331"/>
                  </a:cubicBezTo>
                  <a:cubicBezTo>
                    <a:pt x="1312" y="6331"/>
                    <a:pt x="1312" y="6331"/>
                    <a:pt x="1312" y="6344"/>
                  </a:cubicBezTo>
                  <a:cubicBezTo>
                    <a:pt x="1312" y="6344"/>
                    <a:pt x="1312" y="6344"/>
                    <a:pt x="1299" y="6351"/>
                  </a:cubicBezTo>
                  <a:cubicBezTo>
                    <a:pt x="1299" y="6351"/>
                    <a:pt x="1286" y="6351"/>
                    <a:pt x="1286" y="6364"/>
                  </a:cubicBezTo>
                  <a:cubicBezTo>
                    <a:pt x="1273" y="6351"/>
                    <a:pt x="1260" y="6351"/>
                    <a:pt x="1260" y="6351"/>
                  </a:cubicBezTo>
                  <a:cubicBezTo>
                    <a:pt x="1247" y="6351"/>
                    <a:pt x="1233" y="6351"/>
                    <a:pt x="1233" y="6351"/>
                  </a:cubicBezTo>
                  <a:cubicBezTo>
                    <a:pt x="1220" y="6344"/>
                    <a:pt x="1194" y="6344"/>
                    <a:pt x="1181" y="6331"/>
                  </a:cubicBezTo>
                  <a:cubicBezTo>
                    <a:pt x="1181" y="6331"/>
                    <a:pt x="1167" y="6331"/>
                    <a:pt x="1154" y="6331"/>
                  </a:cubicBezTo>
                  <a:cubicBezTo>
                    <a:pt x="1154" y="6331"/>
                    <a:pt x="1154" y="6331"/>
                    <a:pt x="1154" y="6318"/>
                  </a:cubicBezTo>
                  <a:cubicBezTo>
                    <a:pt x="1141" y="6318"/>
                    <a:pt x="1141" y="6305"/>
                    <a:pt x="1128" y="6305"/>
                  </a:cubicBezTo>
                  <a:cubicBezTo>
                    <a:pt x="1128" y="6305"/>
                    <a:pt x="1128" y="6305"/>
                    <a:pt x="1128" y="6318"/>
                  </a:cubicBezTo>
                  <a:cubicBezTo>
                    <a:pt x="1141" y="6331"/>
                    <a:pt x="1141" y="6331"/>
                    <a:pt x="1141" y="6331"/>
                  </a:cubicBezTo>
                  <a:cubicBezTo>
                    <a:pt x="1167" y="6351"/>
                    <a:pt x="1181" y="6364"/>
                    <a:pt x="1194" y="6377"/>
                  </a:cubicBezTo>
                  <a:cubicBezTo>
                    <a:pt x="1207" y="6377"/>
                    <a:pt x="1207" y="6377"/>
                    <a:pt x="1207" y="6390"/>
                  </a:cubicBezTo>
                  <a:cubicBezTo>
                    <a:pt x="1207" y="6390"/>
                    <a:pt x="1207" y="6390"/>
                    <a:pt x="1207" y="6403"/>
                  </a:cubicBezTo>
                  <a:cubicBezTo>
                    <a:pt x="1207" y="6416"/>
                    <a:pt x="1207" y="6416"/>
                    <a:pt x="1207" y="6416"/>
                  </a:cubicBezTo>
                  <a:cubicBezTo>
                    <a:pt x="1207" y="6429"/>
                    <a:pt x="1220" y="6429"/>
                    <a:pt x="1220" y="6429"/>
                  </a:cubicBezTo>
                  <a:cubicBezTo>
                    <a:pt x="1220" y="6429"/>
                    <a:pt x="1233" y="6429"/>
                    <a:pt x="1233" y="6443"/>
                  </a:cubicBezTo>
                  <a:cubicBezTo>
                    <a:pt x="1247" y="6443"/>
                    <a:pt x="1247" y="6456"/>
                    <a:pt x="1247" y="6469"/>
                  </a:cubicBezTo>
                  <a:cubicBezTo>
                    <a:pt x="1247" y="6475"/>
                    <a:pt x="1247" y="6482"/>
                    <a:pt x="1247" y="6489"/>
                  </a:cubicBezTo>
                  <a:cubicBezTo>
                    <a:pt x="597" y="5861"/>
                    <a:pt x="176" y="5005"/>
                    <a:pt x="107" y="4044"/>
                  </a:cubicBezTo>
                  <a:cubicBezTo>
                    <a:pt x="146" y="4044"/>
                    <a:pt x="173" y="4044"/>
                    <a:pt x="199" y="4031"/>
                  </a:cubicBezTo>
                  <a:cubicBezTo>
                    <a:pt x="199" y="4044"/>
                    <a:pt x="199" y="4044"/>
                    <a:pt x="199" y="4044"/>
                  </a:cubicBezTo>
                  <a:cubicBezTo>
                    <a:pt x="199" y="4044"/>
                    <a:pt x="199" y="4044"/>
                    <a:pt x="212" y="4044"/>
                  </a:cubicBezTo>
                  <a:cubicBezTo>
                    <a:pt x="212" y="4044"/>
                    <a:pt x="212" y="4044"/>
                    <a:pt x="212" y="4057"/>
                  </a:cubicBezTo>
                  <a:cubicBezTo>
                    <a:pt x="225" y="4057"/>
                    <a:pt x="225" y="4057"/>
                    <a:pt x="238" y="4057"/>
                  </a:cubicBezTo>
                  <a:cubicBezTo>
                    <a:pt x="251" y="4057"/>
                    <a:pt x="265" y="4057"/>
                    <a:pt x="278" y="4057"/>
                  </a:cubicBezTo>
                  <a:cubicBezTo>
                    <a:pt x="278" y="4057"/>
                    <a:pt x="278" y="4057"/>
                    <a:pt x="291" y="4044"/>
                  </a:cubicBezTo>
                  <a:cubicBezTo>
                    <a:pt x="291" y="4044"/>
                    <a:pt x="291" y="4044"/>
                    <a:pt x="291" y="4031"/>
                  </a:cubicBezTo>
                  <a:cubicBezTo>
                    <a:pt x="330" y="4031"/>
                    <a:pt x="357" y="4031"/>
                    <a:pt x="396" y="4044"/>
                  </a:cubicBezTo>
                  <a:cubicBezTo>
                    <a:pt x="383" y="4044"/>
                    <a:pt x="383" y="4044"/>
                    <a:pt x="383" y="4044"/>
                  </a:cubicBezTo>
                  <a:cubicBezTo>
                    <a:pt x="383" y="4044"/>
                    <a:pt x="383" y="4044"/>
                    <a:pt x="370" y="4044"/>
                  </a:cubicBezTo>
                  <a:cubicBezTo>
                    <a:pt x="357" y="4044"/>
                    <a:pt x="357" y="4044"/>
                    <a:pt x="357" y="4044"/>
                  </a:cubicBezTo>
                  <a:cubicBezTo>
                    <a:pt x="357" y="4044"/>
                    <a:pt x="357" y="4044"/>
                    <a:pt x="357" y="4057"/>
                  </a:cubicBezTo>
                  <a:cubicBezTo>
                    <a:pt x="357" y="4057"/>
                    <a:pt x="357" y="4057"/>
                    <a:pt x="370" y="4057"/>
                  </a:cubicBezTo>
                  <a:cubicBezTo>
                    <a:pt x="370" y="4057"/>
                    <a:pt x="370" y="4057"/>
                    <a:pt x="370" y="4070"/>
                  </a:cubicBezTo>
                  <a:cubicBezTo>
                    <a:pt x="383" y="4070"/>
                    <a:pt x="383" y="4070"/>
                    <a:pt x="383" y="4070"/>
                  </a:cubicBezTo>
                  <a:cubicBezTo>
                    <a:pt x="383" y="4070"/>
                    <a:pt x="383" y="4070"/>
                    <a:pt x="383" y="4083"/>
                  </a:cubicBezTo>
                  <a:cubicBezTo>
                    <a:pt x="396" y="4083"/>
                    <a:pt x="396" y="4083"/>
                    <a:pt x="396" y="4083"/>
                  </a:cubicBezTo>
                  <a:cubicBezTo>
                    <a:pt x="410" y="4083"/>
                    <a:pt x="410" y="4083"/>
                    <a:pt x="416" y="4083"/>
                  </a:cubicBezTo>
                  <a:cubicBezTo>
                    <a:pt x="416" y="4083"/>
                    <a:pt x="416" y="4083"/>
                    <a:pt x="429" y="4097"/>
                  </a:cubicBezTo>
                  <a:cubicBezTo>
                    <a:pt x="443" y="4097"/>
                    <a:pt x="443" y="4097"/>
                    <a:pt x="443" y="4097"/>
                  </a:cubicBezTo>
                  <a:cubicBezTo>
                    <a:pt x="443" y="4097"/>
                    <a:pt x="443" y="4097"/>
                    <a:pt x="456" y="4110"/>
                  </a:cubicBezTo>
                  <a:cubicBezTo>
                    <a:pt x="456" y="4110"/>
                    <a:pt x="456" y="4110"/>
                    <a:pt x="469" y="4123"/>
                  </a:cubicBezTo>
                  <a:cubicBezTo>
                    <a:pt x="469" y="4123"/>
                    <a:pt x="469" y="4123"/>
                    <a:pt x="469" y="4136"/>
                  </a:cubicBezTo>
                  <a:cubicBezTo>
                    <a:pt x="469" y="4149"/>
                    <a:pt x="456" y="4149"/>
                    <a:pt x="456" y="4149"/>
                  </a:cubicBezTo>
                  <a:cubicBezTo>
                    <a:pt x="469" y="4149"/>
                    <a:pt x="469" y="4149"/>
                    <a:pt x="482" y="4149"/>
                  </a:cubicBezTo>
                  <a:cubicBezTo>
                    <a:pt x="495" y="4149"/>
                    <a:pt x="495" y="4149"/>
                    <a:pt x="495" y="4149"/>
                  </a:cubicBezTo>
                  <a:cubicBezTo>
                    <a:pt x="495" y="4149"/>
                    <a:pt x="495" y="4149"/>
                    <a:pt x="508" y="4149"/>
                  </a:cubicBezTo>
                  <a:cubicBezTo>
                    <a:pt x="508" y="4149"/>
                    <a:pt x="508" y="4149"/>
                    <a:pt x="522" y="4162"/>
                  </a:cubicBezTo>
                  <a:cubicBezTo>
                    <a:pt x="522" y="4162"/>
                    <a:pt x="522" y="4162"/>
                    <a:pt x="535" y="4162"/>
                  </a:cubicBezTo>
                  <a:cubicBezTo>
                    <a:pt x="548" y="4175"/>
                    <a:pt x="561" y="4189"/>
                    <a:pt x="574" y="4202"/>
                  </a:cubicBezTo>
                  <a:cubicBezTo>
                    <a:pt x="574" y="4202"/>
                    <a:pt x="574" y="4202"/>
                    <a:pt x="588" y="4202"/>
                  </a:cubicBezTo>
                  <a:cubicBezTo>
                    <a:pt x="588" y="4215"/>
                    <a:pt x="588" y="4228"/>
                    <a:pt x="601" y="4228"/>
                  </a:cubicBezTo>
                  <a:cubicBezTo>
                    <a:pt x="601" y="4241"/>
                    <a:pt x="614" y="4241"/>
                    <a:pt x="627" y="4241"/>
                  </a:cubicBezTo>
                  <a:cubicBezTo>
                    <a:pt x="627" y="4241"/>
                    <a:pt x="627" y="4241"/>
                    <a:pt x="640" y="4241"/>
                  </a:cubicBezTo>
                  <a:cubicBezTo>
                    <a:pt x="640" y="4254"/>
                    <a:pt x="640" y="4254"/>
                    <a:pt x="653" y="4267"/>
                  </a:cubicBezTo>
                  <a:cubicBezTo>
                    <a:pt x="653" y="4267"/>
                    <a:pt x="653" y="4267"/>
                    <a:pt x="667" y="4267"/>
                  </a:cubicBezTo>
                  <a:cubicBezTo>
                    <a:pt x="667" y="4267"/>
                    <a:pt x="667" y="4267"/>
                    <a:pt x="667" y="4281"/>
                  </a:cubicBezTo>
                  <a:cubicBezTo>
                    <a:pt x="667" y="4281"/>
                    <a:pt x="667" y="4281"/>
                    <a:pt x="680" y="4281"/>
                  </a:cubicBezTo>
                  <a:cubicBezTo>
                    <a:pt x="693" y="4281"/>
                    <a:pt x="693" y="4281"/>
                    <a:pt x="706" y="4281"/>
                  </a:cubicBezTo>
                  <a:cubicBezTo>
                    <a:pt x="719" y="4281"/>
                    <a:pt x="739" y="4281"/>
                    <a:pt x="752" y="4281"/>
                  </a:cubicBezTo>
                  <a:cubicBezTo>
                    <a:pt x="765" y="4281"/>
                    <a:pt x="765" y="4281"/>
                    <a:pt x="765" y="4281"/>
                  </a:cubicBezTo>
                  <a:cubicBezTo>
                    <a:pt x="779" y="4281"/>
                    <a:pt x="792" y="4294"/>
                    <a:pt x="805" y="4294"/>
                  </a:cubicBezTo>
                  <a:cubicBezTo>
                    <a:pt x="818" y="4294"/>
                    <a:pt x="818" y="4294"/>
                    <a:pt x="818" y="4307"/>
                  </a:cubicBezTo>
                  <a:cubicBezTo>
                    <a:pt x="818" y="4307"/>
                    <a:pt x="818" y="4307"/>
                    <a:pt x="818" y="4294"/>
                  </a:cubicBezTo>
                  <a:cubicBezTo>
                    <a:pt x="831" y="4307"/>
                    <a:pt x="845" y="4307"/>
                    <a:pt x="858" y="4320"/>
                  </a:cubicBezTo>
                  <a:cubicBezTo>
                    <a:pt x="858" y="4320"/>
                    <a:pt x="858" y="4320"/>
                    <a:pt x="871" y="4320"/>
                  </a:cubicBezTo>
                  <a:cubicBezTo>
                    <a:pt x="897" y="4327"/>
                    <a:pt x="910" y="4340"/>
                    <a:pt x="937" y="4366"/>
                  </a:cubicBezTo>
                  <a:cubicBezTo>
                    <a:pt x="937" y="4366"/>
                    <a:pt x="937" y="4366"/>
                    <a:pt x="950" y="4366"/>
                  </a:cubicBezTo>
                  <a:cubicBezTo>
                    <a:pt x="963" y="4379"/>
                    <a:pt x="963" y="4379"/>
                    <a:pt x="976" y="4392"/>
                  </a:cubicBezTo>
                  <a:cubicBezTo>
                    <a:pt x="990" y="4419"/>
                    <a:pt x="1003" y="4458"/>
                    <a:pt x="1016" y="4484"/>
                  </a:cubicBezTo>
                  <a:cubicBezTo>
                    <a:pt x="1016" y="4484"/>
                    <a:pt x="1016" y="4484"/>
                    <a:pt x="1029" y="4484"/>
                  </a:cubicBezTo>
                  <a:cubicBezTo>
                    <a:pt x="1029" y="4484"/>
                    <a:pt x="1029" y="4484"/>
                    <a:pt x="1042" y="4484"/>
                  </a:cubicBezTo>
                  <a:cubicBezTo>
                    <a:pt x="1042" y="4497"/>
                    <a:pt x="1042" y="4497"/>
                    <a:pt x="1042" y="4497"/>
                  </a:cubicBezTo>
                  <a:cubicBezTo>
                    <a:pt x="1042" y="4511"/>
                    <a:pt x="1042" y="4511"/>
                    <a:pt x="1042" y="4524"/>
                  </a:cubicBezTo>
                  <a:cubicBezTo>
                    <a:pt x="1042" y="4524"/>
                    <a:pt x="1042" y="4524"/>
                    <a:pt x="1042" y="4537"/>
                  </a:cubicBezTo>
                  <a:cubicBezTo>
                    <a:pt x="1029" y="4537"/>
                    <a:pt x="1029" y="4537"/>
                    <a:pt x="1029" y="4537"/>
                  </a:cubicBezTo>
                  <a:cubicBezTo>
                    <a:pt x="1016" y="4550"/>
                    <a:pt x="1003" y="4576"/>
                    <a:pt x="990" y="4589"/>
                  </a:cubicBezTo>
                  <a:cubicBezTo>
                    <a:pt x="990" y="4589"/>
                    <a:pt x="990" y="4589"/>
                    <a:pt x="990" y="4603"/>
                  </a:cubicBezTo>
                  <a:cubicBezTo>
                    <a:pt x="1003" y="4603"/>
                    <a:pt x="1003" y="4603"/>
                    <a:pt x="1003" y="4616"/>
                  </a:cubicBezTo>
                  <a:cubicBezTo>
                    <a:pt x="1003" y="4616"/>
                    <a:pt x="1003" y="4616"/>
                    <a:pt x="1003" y="4629"/>
                  </a:cubicBezTo>
                  <a:cubicBezTo>
                    <a:pt x="1003" y="4629"/>
                    <a:pt x="1003" y="4629"/>
                    <a:pt x="1016" y="4629"/>
                  </a:cubicBezTo>
                  <a:cubicBezTo>
                    <a:pt x="1016" y="4616"/>
                    <a:pt x="1016" y="4616"/>
                    <a:pt x="1016" y="4616"/>
                  </a:cubicBezTo>
                  <a:cubicBezTo>
                    <a:pt x="1016" y="4616"/>
                    <a:pt x="1016" y="4616"/>
                    <a:pt x="1029" y="4616"/>
                  </a:cubicBezTo>
                  <a:cubicBezTo>
                    <a:pt x="1029" y="4616"/>
                    <a:pt x="1029" y="4616"/>
                    <a:pt x="1029" y="4629"/>
                  </a:cubicBezTo>
                  <a:cubicBezTo>
                    <a:pt x="1029" y="4629"/>
                    <a:pt x="1029" y="4629"/>
                    <a:pt x="1029" y="4642"/>
                  </a:cubicBezTo>
                  <a:cubicBezTo>
                    <a:pt x="1029" y="4642"/>
                    <a:pt x="1029" y="4642"/>
                    <a:pt x="1042" y="4642"/>
                  </a:cubicBezTo>
                  <a:cubicBezTo>
                    <a:pt x="1042" y="4619"/>
                    <a:pt x="1040" y="4607"/>
                    <a:pt x="1029" y="4594"/>
                  </a:cubicBezTo>
                  <a:cubicBezTo>
                    <a:pt x="1029" y="4596"/>
                    <a:pt x="1029" y="4598"/>
                    <a:pt x="1029" y="4603"/>
                  </a:cubicBezTo>
                  <a:cubicBezTo>
                    <a:pt x="1029" y="4603"/>
                    <a:pt x="1011" y="4603"/>
                    <a:pt x="1011" y="4614"/>
                  </a:cubicBezTo>
                  <a:cubicBezTo>
                    <a:pt x="1011" y="4603"/>
                    <a:pt x="1011" y="4603"/>
                    <a:pt x="1011" y="4603"/>
                  </a:cubicBezTo>
                  <a:cubicBezTo>
                    <a:pt x="1011" y="4603"/>
                    <a:pt x="1011" y="4603"/>
                    <a:pt x="993" y="4603"/>
                  </a:cubicBezTo>
                  <a:cubicBezTo>
                    <a:pt x="993" y="4603"/>
                    <a:pt x="993" y="4603"/>
                    <a:pt x="993" y="4591"/>
                  </a:cubicBezTo>
                  <a:cubicBezTo>
                    <a:pt x="993" y="4591"/>
                    <a:pt x="993" y="4591"/>
                    <a:pt x="1011" y="4591"/>
                  </a:cubicBezTo>
                  <a:cubicBezTo>
                    <a:pt x="1029" y="4591"/>
                    <a:pt x="1029" y="4591"/>
                    <a:pt x="1029" y="4591"/>
                  </a:cubicBezTo>
                  <a:cubicBezTo>
                    <a:pt x="1029" y="4589"/>
                    <a:pt x="1029" y="4585"/>
                    <a:pt x="1029" y="4579"/>
                  </a:cubicBezTo>
                  <a:cubicBezTo>
                    <a:pt x="1033" y="4579"/>
                    <a:pt x="1036" y="4579"/>
                    <a:pt x="1038" y="4579"/>
                  </a:cubicBezTo>
                  <a:cubicBezTo>
                    <a:pt x="1038" y="4561"/>
                    <a:pt x="1038" y="4561"/>
                    <a:pt x="1029" y="4561"/>
                  </a:cubicBezTo>
                  <a:cubicBezTo>
                    <a:pt x="1029" y="4544"/>
                    <a:pt x="1038" y="4544"/>
                    <a:pt x="1038" y="4544"/>
                  </a:cubicBezTo>
                  <a:cubicBezTo>
                    <a:pt x="1038" y="4544"/>
                    <a:pt x="1038" y="4544"/>
                    <a:pt x="1038" y="4561"/>
                  </a:cubicBezTo>
                  <a:cubicBezTo>
                    <a:pt x="1038" y="4561"/>
                    <a:pt x="1038" y="4561"/>
                    <a:pt x="1047" y="4561"/>
                  </a:cubicBezTo>
                  <a:cubicBezTo>
                    <a:pt x="1047" y="4561"/>
                    <a:pt x="1047" y="4561"/>
                    <a:pt x="1047" y="4579"/>
                  </a:cubicBezTo>
                  <a:cubicBezTo>
                    <a:pt x="1048" y="4579"/>
                    <a:pt x="1051" y="4579"/>
                    <a:pt x="1055" y="4579"/>
                  </a:cubicBezTo>
                  <a:cubicBezTo>
                    <a:pt x="1055" y="4579"/>
                    <a:pt x="1055" y="4579"/>
                    <a:pt x="1064" y="4579"/>
                  </a:cubicBezTo>
                  <a:cubicBezTo>
                    <a:pt x="1066" y="4579"/>
                    <a:pt x="1067" y="4579"/>
                    <a:pt x="1069" y="4579"/>
                  </a:cubicBezTo>
                  <a:cubicBezTo>
                    <a:pt x="1082" y="4579"/>
                    <a:pt x="1082" y="4579"/>
                    <a:pt x="1082" y="4579"/>
                  </a:cubicBezTo>
                  <a:cubicBezTo>
                    <a:pt x="1082" y="4579"/>
                    <a:pt x="1082" y="4579"/>
                    <a:pt x="1082" y="4579"/>
                  </a:cubicBezTo>
                  <a:cubicBezTo>
                    <a:pt x="1082" y="4579"/>
                    <a:pt x="1095" y="4579"/>
                    <a:pt x="1109" y="4579"/>
                  </a:cubicBezTo>
                  <a:cubicBezTo>
                    <a:pt x="1109" y="4579"/>
                    <a:pt x="1109" y="4579"/>
                    <a:pt x="1122" y="4579"/>
                  </a:cubicBezTo>
                  <a:cubicBezTo>
                    <a:pt x="1135" y="4594"/>
                    <a:pt x="1135" y="4609"/>
                    <a:pt x="1135" y="4609"/>
                  </a:cubicBezTo>
                  <a:cubicBezTo>
                    <a:pt x="1135" y="4623"/>
                    <a:pt x="1122" y="4638"/>
                    <a:pt x="1122" y="4638"/>
                  </a:cubicBezTo>
                  <a:cubicBezTo>
                    <a:pt x="1109" y="4638"/>
                    <a:pt x="1109" y="4653"/>
                    <a:pt x="1095" y="4653"/>
                  </a:cubicBezTo>
                  <a:cubicBezTo>
                    <a:pt x="1095" y="4653"/>
                    <a:pt x="1095" y="4653"/>
                    <a:pt x="1087" y="4662"/>
                  </a:cubicBezTo>
                  <a:cubicBezTo>
                    <a:pt x="1088" y="4662"/>
                    <a:pt x="1088" y="4662"/>
                    <a:pt x="1088" y="4662"/>
                  </a:cubicBezTo>
                  <a:cubicBezTo>
                    <a:pt x="1088" y="4662"/>
                    <a:pt x="1088" y="4662"/>
                    <a:pt x="1102" y="4662"/>
                  </a:cubicBezTo>
                  <a:cubicBezTo>
                    <a:pt x="1102" y="4662"/>
                    <a:pt x="1102" y="4662"/>
                    <a:pt x="1102" y="4675"/>
                  </a:cubicBezTo>
                  <a:cubicBezTo>
                    <a:pt x="1115" y="4675"/>
                    <a:pt x="1115" y="4662"/>
                    <a:pt x="1115" y="4655"/>
                  </a:cubicBezTo>
                  <a:cubicBezTo>
                    <a:pt x="1115" y="4655"/>
                    <a:pt x="1115" y="4655"/>
                    <a:pt x="1128" y="4655"/>
                  </a:cubicBezTo>
                  <a:cubicBezTo>
                    <a:pt x="1128" y="4642"/>
                    <a:pt x="1141" y="4642"/>
                    <a:pt x="1141" y="4629"/>
                  </a:cubicBezTo>
                  <a:cubicBezTo>
                    <a:pt x="1141" y="4616"/>
                    <a:pt x="1141" y="4616"/>
                    <a:pt x="1141" y="4616"/>
                  </a:cubicBezTo>
                  <a:cubicBezTo>
                    <a:pt x="1141" y="4616"/>
                    <a:pt x="1154" y="4616"/>
                    <a:pt x="1154" y="4603"/>
                  </a:cubicBezTo>
                  <a:cubicBezTo>
                    <a:pt x="1154" y="4603"/>
                    <a:pt x="1167" y="4603"/>
                    <a:pt x="1181" y="4603"/>
                  </a:cubicBezTo>
                  <a:cubicBezTo>
                    <a:pt x="1194" y="4616"/>
                    <a:pt x="1207" y="4616"/>
                    <a:pt x="1220" y="4629"/>
                  </a:cubicBezTo>
                  <a:cubicBezTo>
                    <a:pt x="1220" y="4629"/>
                    <a:pt x="1220" y="4629"/>
                    <a:pt x="1233" y="4629"/>
                  </a:cubicBezTo>
                  <a:cubicBezTo>
                    <a:pt x="1233" y="4629"/>
                    <a:pt x="1247" y="4629"/>
                    <a:pt x="1247" y="4642"/>
                  </a:cubicBezTo>
                  <a:cubicBezTo>
                    <a:pt x="1247" y="4642"/>
                    <a:pt x="1247" y="4642"/>
                    <a:pt x="1260" y="4642"/>
                  </a:cubicBezTo>
                  <a:cubicBezTo>
                    <a:pt x="1273" y="4642"/>
                    <a:pt x="1273" y="4655"/>
                    <a:pt x="1273" y="4655"/>
                  </a:cubicBezTo>
                  <a:cubicBezTo>
                    <a:pt x="1273" y="4655"/>
                    <a:pt x="1273" y="4655"/>
                    <a:pt x="1273" y="4662"/>
                  </a:cubicBezTo>
                  <a:cubicBezTo>
                    <a:pt x="1273" y="4662"/>
                    <a:pt x="1273" y="4662"/>
                    <a:pt x="1286" y="4662"/>
                  </a:cubicBezTo>
                  <a:cubicBezTo>
                    <a:pt x="1286" y="4655"/>
                    <a:pt x="1286" y="4655"/>
                    <a:pt x="1286" y="4655"/>
                  </a:cubicBezTo>
                  <a:cubicBezTo>
                    <a:pt x="1286" y="4655"/>
                    <a:pt x="1286" y="4655"/>
                    <a:pt x="1299" y="4655"/>
                  </a:cubicBezTo>
                  <a:cubicBezTo>
                    <a:pt x="1299" y="4655"/>
                    <a:pt x="1299" y="4655"/>
                    <a:pt x="1312" y="4662"/>
                  </a:cubicBezTo>
                  <a:cubicBezTo>
                    <a:pt x="1312" y="4675"/>
                    <a:pt x="1312" y="4675"/>
                    <a:pt x="1312" y="4675"/>
                  </a:cubicBezTo>
                  <a:cubicBezTo>
                    <a:pt x="1312" y="4675"/>
                    <a:pt x="1312" y="4675"/>
                    <a:pt x="1312" y="4688"/>
                  </a:cubicBezTo>
                  <a:cubicBezTo>
                    <a:pt x="1326" y="4688"/>
                    <a:pt x="1326" y="4688"/>
                    <a:pt x="1326" y="4688"/>
                  </a:cubicBezTo>
                  <a:cubicBezTo>
                    <a:pt x="1326" y="4701"/>
                    <a:pt x="1326" y="4701"/>
                    <a:pt x="1326" y="4701"/>
                  </a:cubicBezTo>
                  <a:cubicBezTo>
                    <a:pt x="1326" y="4701"/>
                    <a:pt x="1326" y="4701"/>
                    <a:pt x="1326" y="4714"/>
                  </a:cubicBezTo>
                  <a:cubicBezTo>
                    <a:pt x="1326" y="4714"/>
                    <a:pt x="1326" y="4714"/>
                    <a:pt x="1339" y="4714"/>
                  </a:cubicBezTo>
                  <a:cubicBezTo>
                    <a:pt x="1339" y="4701"/>
                    <a:pt x="1352" y="4701"/>
                    <a:pt x="1365" y="4688"/>
                  </a:cubicBezTo>
                  <a:cubicBezTo>
                    <a:pt x="1365" y="4688"/>
                    <a:pt x="1365" y="4688"/>
                    <a:pt x="1365" y="4701"/>
                  </a:cubicBezTo>
                  <a:cubicBezTo>
                    <a:pt x="1378" y="4701"/>
                    <a:pt x="1378" y="4701"/>
                    <a:pt x="1378" y="4701"/>
                  </a:cubicBezTo>
                  <a:cubicBezTo>
                    <a:pt x="1398" y="4701"/>
                    <a:pt x="1424" y="4714"/>
                    <a:pt x="1438" y="4727"/>
                  </a:cubicBezTo>
                  <a:cubicBezTo>
                    <a:pt x="1477" y="4727"/>
                    <a:pt x="1504" y="4727"/>
                    <a:pt x="1530" y="4727"/>
                  </a:cubicBezTo>
                  <a:cubicBezTo>
                    <a:pt x="1569" y="4767"/>
                    <a:pt x="1622" y="4793"/>
                    <a:pt x="1675" y="4833"/>
                  </a:cubicBezTo>
                  <a:cubicBezTo>
                    <a:pt x="1675" y="4833"/>
                    <a:pt x="1675" y="4833"/>
                    <a:pt x="1688" y="4833"/>
                  </a:cubicBezTo>
                  <a:cubicBezTo>
                    <a:pt x="1695" y="4833"/>
                    <a:pt x="1708" y="4846"/>
                    <a:pt x="1734" y="4846"/>
                  </a:cubicBezTo>
                  <a:cubicBezTo>
                    <a:pt x="1747" y="4859"/>
                    <a:pt x="1747" y="4859"/>
                    <a:pt x="1761" y="4872"/>
                  </a:cubicBezTo>
                  <a:close/>
                  <a:moveTo>
                    <a:pt x="1016" y="4655"/>
                  </a:moveTo>
                  <a:cubicBezTo>
                    <a:pt x="1016" y="4655"/>
                    <a:pt x="1016" y="4655"/>
                    <a:pt x="1003" y="4655"/>
                  </a:cubicBezTo>
                  <a:cubicBezTo>
                    <a:pt x="1003" y="4662"/>
                    <a:pt x="1003" y="4662"/>
                    <a:pt x="1003" y="4662"/>
                  </a:cubicBezTo>
                  <a:cubicBezTo>
                    <a:pt x="1003" y="4662"/>
                    <a:pt x="1003" y="4662"/>
                    <a:pt x="1003" y="4675"/>
                  </a:cubicBezTo>
                  <a:cubicBezTo>
                    <a:pt x="1003" y="4662"/>
                    <a:pt x="1016" y="4662"/>
                    <a:pt x="1016" y="4662"/>
                  </a:cubicBezTo>
                  <a:cubicBezTo>
                    <a:pt x="1016" y="4662"/>
                    <a:pt x="1016" y="4662"/>
                    <a:pt x="1016" y="4655"/>
                  </a:cubicBezTo>
                  <a:close/>
                  <a:moveTo>
                    <a:pt x="1055" y="4653"/>
                  </a:moveTo>
                  <a:cubicBezTo>
                    <a:pt x="1055" y="4653"/>
                    <a:pt x="1055" y="4653"/>
                    <a:pt x="1042" y="4653"/>
                  </a:cubicBezTo>
                  <a:cubicBezTo>
                    <a:pt x="1042" y="4654"/>
                    <a:pt x="1042" y="4654"/>
                    <a:pt x="1042" y="4655"/>
                  </a:cubicBezTo>
                  <a:cubicBezTo>
                    <a:pt x="1042" y="4655"/>
                    <a:pt x="1042" y="4655"/>
                    <a:pt x="1042" y="4662"/>
                  </a:cubicBezTo>
                  <a:cubicBezTo>
                    <a:pt x="1054" y="4662"/>
                    <a:pt x="1055" y="4662"/>
                    <a:pt x="1055" y="4662"/>
                  </a:cubicBezTo>
                  <a:cubicBezTo>
                    <a:pt x="1055" y="4653"/>
                    <a:pt x="1055" y="4653"/>
                    <a:pt x="1055" y="4653"/>
                  </a:cubicBezTo>
                  <a:close/>
                  <a:moveTo>
                    <a:pt x="4443" y="901"/>
                  </a:moveTo>
                  <a:cubicBezTo>
                    <a:pt x="4457" y="887"/>
                    <a:pt x="4457" y="887"/>
                    <a:pt x="4457" y="887"/>
                  </a:cubicBezTo>
                  <a:cubicBezTo>
                    <a:pt x="4470" y="887"/>
                    <a:pt x="4470" y="887"/>
                    <a:pt x="4470" y="887"/>
                  </a:cubicBezTo>
                  <a:cubicBezTo>
                    <a:pt x="4470" y="880"/>
                    <a:pt x="4470" y="880"/>
                    <a:pt x="4470" y="880"/>
                  </a:cubicBezTo>
                  <a:cubicBezTo>
                    <a:pt x="4457" y="866"/>
                    <a:pt x="4457" y="866"/>
                    <a:pt x="4457" y="866"/>
                  </a:cubicBezTo>
                  <a:cubicBezTo>
                    <a:pt x="4457" y="866"/>
                    <a:pt x="4457" y="866"/>
                    <a:pt x="4443" y="866"/>
                  </a:cubicBezTo>
                  <a:cubicBezTo>
                    <a:pt x="4443" y="866"/>
                    <a:pt x="4443" y="866"/>
                    <a:pt x="4443" y="880"/>
                  </a:cubicBezTo>
                  <a:cubicBezTo>
                    <a:pt x="4430" y="880"/>
                    <a:pt x="4430" y="880"/>
                    <a:pt x="4430" y="880"/>
                  </a:cubicBezTo>
                  <a:cubicBezTo>
                    <a:pt x="4417" y="880"/>
                    <a:pt x="4417" y="880"/>
                    <a:pt x="4417" y="880"/>
                  </a:cubicBezTo>
                  <a:cubicBezTo>
                    <a:pt x="4417" y="880"/>
                    <a:pt x="4417" y="880"/>
                    <a:pt x="4430" y="887"/>
                  </a:cubicBezTo>
                  <a:cubicBezTo>
                    <a:pt x="4430" y="887"/>
                    <a:pt x="4443" y="887"/>
                    <a:pt x="4443" y="901"/>
                  </a:cubicBezTo>
                  <a:close/>
                  <a:moveTo>
                    <a:pt x="4576" y="2493"/>
                  </a:moveTo>
                  <a:cubicBezTo>
                    <a:pt x="4594" y="2493"/>
                    <a:pt x="4594" y="2510"/>
                    <a:pt x="4594" y="2510"/>
                  </a:cubicBezTo>
                  <a:cubicBezTo>
                    <a:pt x="4594" y="2510"/>
                    <a:pt x="4594" y="2510"/>
                    <a:pt x="4594" y="2493"/>
                  </a:cubicBezTo>
                  <a:cubicBezTo>
                    <a:pt x="4594" y="2493"/>
                    <a:pt x="4594" y="2493"/>
                    <a:pt x="4576" y="2493"/>
                  </a:cubicBezTo>
                  <a:close/>
                  <a:moveTo>
                    <a:pt x="4576" y="2581"/>
                  </a:moveTo>
                  <a:cubicBezTo>
                    <a:pt x="4559" y="2581"/>
                    <a:pt x="4559" y="2599"/>
                    <a:pt x="4559" y="2599"/>
                  </a:cubicBezTo>
                  <a:cubicBezTo>
                    <a:pt x="4576" y="2599"/>
                    <a:pt x="4576" y="2599"/>
                    <a:pt x="4576" y="2599"/>
                  </a:cubicBezTo>
                  <a:cubicBezTo>
                    <a:pt x="4576" y="2599"/>
                    <a:pt x="4576" y="2599"/>
                    <a:pt x="4576" y="2581"/>
                  </a:cubicBezTo>
                  <a:close/>
                  <a:moveTo>
                    <a:pt x="4576" y="2528"/>
                  </a:moveTo>
                  <a:cubicBezTo>
                    <a:pt x="4594" y="2528"/>
                    <a:pt x="4594" y="2528"/>
                    <a:pt x="4594" y="2528"/>
                  </a:cubicBezTo>
                  <a:cubicBezTo>
                    <a:pt x="4594" y="2528"/>
                    <a:pt x="4594" y="2528"/>
                    <a:pt x="4594" y="2510"/>
                  </a:cubicBezTo>
                  <a:cubicBezTo>
                    <a:pt x="4594" y="2510"/>
                    <a:pt x="4594" y="2510"/>
                    <a:pt x="4576" y="2510"/>
                  </a:cubicBezTo>
                  <a:lnTo>
                    <a:pt x="4576" y="2528"/>
                  </a:lnTo>
                  <a:close/>
                  <a:moveTo>
                    <a:pt x="4920" y="2744"/>
                  </a:moveTo>
                  <a:cubicBezTo>
                    <a:pt x="4920" y="2744"/>
                    <a:pt x="4920" y="2744"/>
                    <a:pt x="4932" y="2758"/>
                  </a:cubicBezTo>
                  <a:cubicBezTo>
                    <a:pt x="4932" y="2758"/>
                    <a:pt x="4932" y="2758"/>
                    <a:pt x="4945" y="2758"/>
                  </a:cubicBezTo>
                  <a:cubicBezTo>
                    <a:pt x="4945" y="2744"/>
                    <a:pt x="4945" y="2744"/>
                    <a:pt x="4957" y="2744"/>
                  </a:cubicBezTo>
                  <a:cubicBezTo>
                    <a:pt x="4957" y="2744"/>
                    <a:pt x="4957" y="2744"/>
                    <a:pt x="4970" y="2744"/>
                  </a:cubicBezTo>
                  <a:cubicBezTo>
                    <a:pt x="4970" y="2744"/>
                    <a:pt x="4970" y="2731"/>
                    <a:pt x="4982" y="2731"/>
                  </a:cubicBezTo>
                  <a:cubicBezTo>
                    <a:pt x="4982" y="2731"/>
                    <a:pt x="4982" y="2731"/>
                    <a:pt x="4995" y="2731"/>
                  </a:cubicBezTo>
                  <a:cubicBezTo>
                    <a:pt x="4995" y="2731"/>
                    <a:pt x="4995" y="2731"/>
                    <a:pt x="4995" y="2717"/>
                  </a:cubicBezTo>
                  <a:cubicBezTo>
                    <a:pt x="4995" y="2717"/>
                    <a:pt x="4995" y="2703"/>
                    <a:pt x="5007" y="2703"/>
                  </a:cubicBezTo>
                  <a:cubicBezTo>
                    <a:pt x="5007" y="2683"/>
                    <a:pt x="5020" y="2683"/>
                    <a:pt x="5020" y="2683"/>
                  </a:cubicBezTo>
                  <a:cubicBezTo>
                    <a:pt x="5020" y="2669"/>
                    <a:pt x="5020" y="2669"/>
                    <a:pt x="5020" y="2669"/>
                  </a:cubicBezTo>
                  <a:cubicBezTo>
                    <a:pt x="5007" y="2683"/>
                    <a:pt x="4995" y="2683"/>
                    <a:pt x="4995" y="2683"/>
                  </a:cubicBezTo>
                  <a:cubicBezTo>
                    <a:pt x="4982" y="2703"/>
                    <a:pt x="4957" y="2703"/>
                    <a:pt x="4945" y="2703"/>
                  </a:cubicBezTo>
                  <a:cubicBezTo>
                    <a:pt x="4945" y="2703"/>
                    <a:pt x="4945" y="2703"/>
                    <a:pt x="4945" y="2717"/>
                  </a:cubicBezTo>
                  <a:cubicBezTo>
                    <a:pt x="4932" y="2717"/>
                    <a:pt x="4920" y="2717"/>
                    <a:pt x="4913" y="2731"/>
                  </a:cubicBezTo>
                  <a:cubicBezTo>
                    <a:pt x="4913" y="2731"/>
                    <a:pt x="4913" y="2744"/>
                    <a:pt x="4920" y="2744"/>
                  </a:cubicBezTo>
                  <a:close/>
                  <a:moveTo>
                    <a:pt x="3459" y="2387"/>
                  </a:moveTo>
                  <a:cubicBezTo>
                    <a:pt x="3459" y="2404"/>
                    <a:pt x="3459" y="2404"/>
                    <a:pt x="3459" y="2404"/>
                  </a:cubicBezTo>
                  <a:cubicBezTo>
                    <a:pt x="3477" y="2404"/>
                    <a:pt x="3477" y="2404"/>
                    <a:pt x="3477" y="2422"/>
                  </a:cubicBezTo>
                  <a:cubicBezTo>
                    <a:pt x="3477" y="2422"/>
                    <a:pt x="3477" y="2422"/>
                    <a:pt x="3494" y="2422"/>
                  </a:cubicBezTo>
                  <a:cubicBezTo>
                    <a:pt x="3477" y="2404"/>
                    <a:pt x="3477" y="2404"/>
                    <a:pt x="3477" y="2404"/>
                  </a:cubicBezTo>
                  <a:cubicBezTo>
                    <a:pt x="3477" y="2404"/>
                    <a:pt x="3477" y="2404"/>
                    <a:pt x="3477" y="2387"/>
                  </a:cubicBezTo>
                  <a:lnTo>
                    <a:pt x="3459" y="2387"/>
                  </a:lnTo>
                  <a:close/>
                  <a:moveTo>
                    <a:pt x="2732" y="1556"/>
                  </a:moveTo>
                  <a:cubicBezTo>
                    <a:pt x="2741" y="1556"/>
                    <a:pt x="2741" y="1538"/>
                    <a:pt x="2749" y="1538"/>
                  </a:cubicBezTo>
                  <a:cubicBezTo>
                    <a:pt x="2741" y="1538"/>
                    <a:pt x="2732" y="1538"/>
                    <a:pt x="2732" y="1556"/>
                  </a:cubicBezTo>
                  <a:close/>
                  <a:moveTo>
                    <a:pt x="3033" y="1326"/>
                  </a:moveTo>
                  <a:cubicBezTo>
                    <a:pt x="3033" y="1326"/>
                    <a:pt x="3033" y="1326"/>
                    <a:pt x="3033" y="1308"/>
                  </a:cubicBezTo>
                  <a:cubicBezTo>
                    <a:pt x="3015" y="1326"/>
                    <a:pt x="3015" y="1343"/>
                    <a:pt x="2998" y="1343"/>
                  </a:cubicBezTo>
                  <a:cubicBezTo>
                    <a:pt x="3015" y="1343"/>
                    <a:pt x="3015" y="1343"/>
                    <a:pt x="3015" y="1343"/>
                  </a:cubicBezTo>
                  <a:cubicBezTo>
                    <a:pt x="3015" y="1343"/>
                    <a:pt x="3015" y="1343"/>
                    <a:pt x="3033" y="1343"/>
                  </a:cubicBezTo>
                  <a:lnTo>
                    <a:pt x="3033" y="1326"/>
                  </a:lnTo>
                  <a:close/>
                  <a:moveTo>
                    <a:pt x="3583" y="512"/>
                  </a:moveTo>
                  <a:cubicBezTo>
                    <a:pt x="3565" y="512"/>
                    <a:pt x="3565" y="512"/>
                    <a:pt x="3565" y="512"/>
                  </a:cubicBezTo>
                  <a:cubicBezTo>
                    <a:pt x="3565" y="530"/>
                    <a:pt x="3565" y="530"/>
                    <a:pt x="3565" y="530"/>
                  </a:cubicBezTo>
                  <a:cubicBezTo>
                    <a:pt x="3583" y="530"/>
                    <a:pt x="3583" y="530"/>
                    <a:pt x="3583" y="512"/>
                  </a:cubicBezTo>
                  <a:close/>
                  <a:moveTo>
                    <a:pt x="3530" y="1414"/>
                  </a:moveTo>
                  <a:cubicBezTo>
                    <a:pt x="3530" y="1414"/>
                    <a:pt x="3521" y="1423"/>
                    <a:pt x="3512" y="1432"/>
                  </a:cubicBezTo>
                  <a:cubicBezTo>
                    <a:pt x="3521" y="1432"/>
                    <a:pt x="3521" y="1432"/>
                    <a:pt x="3530" y="1432"/>
                  </a:cubicBezTo>
                  <a:cubicBezTo>
                    <a:pt x="3530" y="1432"/>
                    <a:pt x="3530" y="1432"/>
                    <a:pt x="3530" y="1414"/>
                  </a:cubicBezTo>
                  <a:close/>
                  <a:moveTo>
                    <a:pt x="2887" y="963"/>
                  </a:moveTo>
                  <a:cubicBezTo>
                    <a:pt x="2887" y="963"/>
                    <a:pt x="2887" y="963"/>
                    <a:pt x="2874" y="963"/>
                  </a:cubicBezTo>
                  <a:cubicBezTo>
                    <a:pt x="2874" y="976"/>
                    <a:pt x="2874" y="976"/>
                    <a:pt x="2874" y="976"/>
                  </a:cubicBezTo>
                  <a:cubicBezTo>
                    <a:pt x="2887" y="990"/>
                    <a:pt x="2887" y="990"/>
                    <a:pt x="2887" y="990"/>
                  </a:cubicBezTo>
                  <a:cubicBezTo>
                    <a:pt x="2884" y="990"/>
                    <a:pt x="2880" y="990"/>
                    <a:pt x="2874" y="990"/>
                  </a:cubicBezTo>
                  <a:cubicBezTo>
                    <a:pt x="2874" y="990"/>
                    <a:pt x="2874" y="990"/>
                    <a:pt x="2874" y="1007"/>
                  </a:cubicBezTo>
                  <a:cubicBezTo>
                    <a:pt x="2874" y="1007"/>
                    <a:pt x="2874" y="1007"/>
                    <a:pt x="2891" y="1007"/>
                  </a:cubicBezTo>
                  <a:cubicBezTo>
                    <a:pt x="2891" y="990"/>
                    <a:pt x="2891" y="990"/>
                    <a:pt x="2891" y="990"/>
                  </a:cubicBezTo>
                  <a:cubicBezTo>
                    <a:pt x="2900" y="990"/>
                    <a:pt x="2900" y="990"/>
                    <a:pt x="2900" y="990"/>
                  </a:cubicBezTo>
                  <a:cubicBezTo>
                    <a:pt x="2913" y="976"/>
                    <a:pt x="2913" y="976"/>
                    <a:pt x="2913" y="976"/>
                  </a:cubicBezTo>
                  <a:cubicBezTo>
                    <a:pt x="2913" y="963"/>
                    <a:pt x="2913" y="963"/>
                    <a:pt x="2913" y="963"/>
                  </a:cubicBezTo>
                  <a:cubicBezTo>
                    <a:pt x="2913" y="963"/>
                    <a:pt x="2913" y="963"/>
                    <a:pt x="2927" y="963"/>
                  </a:cubicBezTo>
                  <a:cubicBezTo>
                    <a:pt x="2927" y="950"/>
                    <a:pt x="2927" y="950"/>
                    <a:pt x="2927" y="950"/>
                  </a:cubicBezTo>
                  <a:cubicBezTo>
                    <a:pt x="2927" y="950"/>
                    <a:pt x="2927" y="950"/>
                    <a:pt x="2913" y="950"/>
                  </a:cubicBezTo>
                  <a:cubicBezTo>
                    <a:pt x="2927" y="950"/>
                    <a:pt x="2927" y="937"/>
                    <a:pt x="2927" y="937"/>
                  </a:cubicBezTo>
                  <a:cubicBezTo>
                    <a:pt x="2913" y="937"/>
                    <a:pt x="2913" y="937"/>
                    <a:pt x="2913" y="937"/>
                  </a:cubicBezTo>
                  <a:cubicBezTo>
                    <a:pt x="2913" y="937"/>
                    <a:pt x="2900" y="950"/>
                    <a:pt x="2887" y="950"/>
                  </a:cubicBezTo>
                  <a:cubicBezTo>
                    <a:pt x="2887" y="963"/>
                    <a:pt x="2887" y="963"/>
                    <a:pt x="2887" y="963"/>
                  </a:cubicBezTo>
                  <a:close/>
                  <a:moveTo>
                    <a:pt x="2714" y="1529"/>
                  </a:moveTo>
                  <a:cubicBezTo>
                    <a:pt x="2714" y="1529"/>
                    <a:pt x="2714" y="1529"/>
                    <a:pt x="2727" y="1529"/>
                  </a:cubicBezTo>
                  <a:cubicBezTo>
                    <a:pt x="2727" y="1542"/>
                    <a:pt x="2727" y="1542"/>
                    <a:pt x="2727" y="1542"/>
                  </a:cubicBezTo>
                  <a:cubicBezTo>
                    <a:pt x="2727" y="1542"/>
                    <a:pt x="2741" y="1529"/>
                    <a:pt x="2754" y="1529"/>
                  </a:cubicBezTo>
                  <a:cubicBezTo>
                    <a:pt x="2754" y="1529"/>
                    <a:pt x="2754" y="1529"/>
                    <a:pt x="2754" y="1542"/>
                  </a:cubicBezTo>
                  <a:cubicBezTo>
                    <a:pt x="2754" y="1556"/>
                    <a:pt x="2754" y="1556"/>
                    <a:pt x="2754" y="1556"/>
                  </a:cubicBezTo>
                  <a:cubicBezTo>
                    <a:pt x="2749" y="1556"/>
                    <a:pt x="2749" y="1556"/>
                    <a:pt x="2749" y="1556"/>
                  </a:cubicBezTo>
                  <a:cubicBezTo>
                    <a:pt x="2749" y="1556"/>
                    <a:pt x="2749" y="1556"/>
                    <a:pt x="2749" y="1573"/>
                  </a:cubicBezTo>
                  <a:cubicBezTo>
                    <a:pt x="2767" y="1556"/>
                    <a:pt x="2767" y="1556"/>
                    <a:pt x="2767" y="1556"/>
                  </a:cubicBezTo>
                  <a:cubicBezTo>
                    <a:pt x="2767" y="1556"/>
                    <a:pt x="2767" y="1556"/>
                    <a:pt x="2768" y="1556"/>
                  </a:cubicBezTo>
                  <a:cubicBezTo>
                    <a:pt x="2781" y="1556"/>
                    <a:pt x="2781" y="1556"/>
                    <a:pt x="2781" y="1556"/>
                  </a:cubicBezTo>
                  <a:cubicBezTo>
                    <a:pt x="2794" y="1556"/>
                    <a:pt x="2808" y="1556"/>
                    <a:pt x="2808" y="1542"/>
                  </a:cubicBezTo>
                  <a:cubicBezTo>
                    <a:pt x="2821" y="1542"/>
                    <a:pt x="2821" y="1542"/>
                    <a:pt x="2821" y="1542"/>
                  </a:cubicBezTo>
                  <a:cubicBezTo>
                    <a:pt x="2821" y="1529"/>
                    <a:pt x="2821" y="1529"/>
                    <a:pt x="2821" y="1529"/>
                  </a:cubicBezTo>
                  <a:cubicBezTo>
                    <a:pt x="2835" y="1529"/>
                    <a:pt x="2835" y="1529"/>
                    <a:pt x="2835" y="1529"/>
                  </a:cubicBezTo>
                  <a:cubicBezTo>
                    <a:pt x="2835" y="1529"/>
                    <a:pt x="2835" y="1529"/>
                    <a:pt x="2841" y="1529"/>
                  </a:cubicBezTo>
                  <a:cubicBezTo>
                    <a:pt x="2855" y="1516"/>
                    <a:pt x="2855" y="1516"/>
                    <a:pt x="2855" y="1516"/>
                  </a:cubicBezTo>
                  <a:cubicBezTo>
                    <a:pt x="2868" y="1502"/>
                    <a:pt x="2882" y="1502"/>
                    <a:pt x="2909" y="1502"/>
                  </a:cubicBezTo>
                  <a:cubicBezTo>
                    <a:pt x="2922" y="1502"/>
                    <a:pt x="2922" y="1502"/>
                    <a:pt x="2922" y="1502"/>
                  </a:cubicBezTo>
                  <a:cubicBezTo>
                    <a:pt x="2922" y="1489"/>
                    <a:pt x="2922" y="1489"/>
                    <a:pt x="2922" y="1489"/>
                  </a:cubicBezTo>
                  <a:cubicBezTo>
                    <a:pt x="2922" y="1476"/>
                    <a:pt x="2935" y="1456"/>
                    <a:pt x="2935" y="1443"/>
                  </a:cubicBezTo>
                  <a:cubicBezTo>
                    <a:pt x="2935" y="1430"/>
                    <a:pt x="2935" y="1416"/>
                    <a:pt x="2922" y="1403"/>
                  </a:cubicBezTo>
                  <a:cubicBezTo>
                    <a:pt x="2935" y="1403"/>
                    <a:pt x="2935" y="1403"/>
                    <a:pt x="2935" y="1403"/>
                  </a:cubicBezTo>
                  <a:cubicBezTo>
                    <a:pt x="2935" y="1390"/>
                    <a:pt x="2935" y="1390"/>
                    <a:pt x="2935" y="1390"/>
                  </a:cubicBezTo>
                  <a:cubicBezTo>
                    <a:pt x="2922" y="1376"/>
                    <a:pt x="2922" y="1363"/>
                    <a:pt x="2922" y="1363"/>
                  </a:cubicBezTo>
                  <a:cubicBezTo>
                    <a:pt x="2922" y="1350"/>
                    <a:pt x="2922" y="1350"/>
                    <a:pt x="2922" y="1350"/>
                  </a:cubicBezTo>
                  <a:cubicBezTo>
                    <a:pt x="2935" y="1350"/>
                    <a:pt x="2935" y="1337"/>
                    <a:pt x="2935" y="1337"/>
                  </a:cubicBezTo>
                  <a:cubicBezTo>
                    <a:pt x="2935" y="1337"/>
                    <a:pt x="2949" y="1337"/>
                    <a:pt x="2949" y="1323"/>
                  </a:cubicBezTo>
                  <a:cubicBezTo>
                    <a:pt x="2949" y="1323"/>
                    <a:pt x="2949" y="1323"/>
                    <a:pt x="2962" y="1323"/>
                  </a:cubicBezTo>
                  <a:cubicBezTo>
                    <a:pt x="2962" y="1310"/>
                    <a:pt x="2962" y="1310"/>
                    <a:pt x="2949" y="1297"/>
                  </a:cubicBezTo>
                  <a:cubicBezTo>
                    <a:pt x="2962" y="1310"/>
                    <a:pt x="2962" y="1310"/>
                    <a:pt x="2962" y="1310"/>
                  </a:cubicBezTo>
                  <a:cubicBezTo>
                    <a:pt x="2962" y="1310"/>
                    <a:pt x="2962" y="1310"/>
                    <a:pt x="2962" y="1297"/>
                  </a:cubicBezTo>
                  <a:cubicBezTo>
                    <a:pt x="2962" y="1290"/>
                    <a:pt x="2962" y="1290"/>
                    <a:pt x="2949" y="1290"/>
                  </a:cubicBezTo>
                  <a:cubicBezTo>
                    <a:pt x="2949" y="1277"/>
                    <a:pt x="2949" y="1277"/>
                    <a:pt x="2949" y="1264"/>
                  </a:cubicBezTo>
                  <a:cubicBezTo>
                    <a:pt x="2935" y="1264"/>
                    <a:pt x="2935" y="1251"/>
                    <a:pt x="2922" y="1251"/>
                  </a:cubicBezTo>
                  <a:cubicBezTo>
                    <a:pt x="2922" y="1251"/>
                    <a:pt x="2922" y="1237"/>
                    <a:pt x="2909" y="1237"/>
                  </a:cubicBezTo>
                  <a:cubicBezTo>
                    <a:pt x="2909" y="1237"/>
                    <a:pt x="2895" y="1251"/>
                    <a:pt x="2882" y="1251"/>
                  </a:cubicBezTo>
                  <a:cubicBezTo>
                    <a:pt x="2882" y="1251"/>
                    <a:pt x="2882" y="1251"/>
                    <a:pt x="2868" y="1264"/>
                  </a:cubicBezTo>
                  <a:cubicBezTo>
                    <a:pt x="2868" y="1251"/>
                    <a:pt x="2868" y="1251"/>
                    <a:pt x="2868" y="1251"/>
                  </a:cubicBezTo>
                  <a:cubicBezTo>
                    <a:pt x="2868" y="1251"/>
                    <a:pt x="2882" y="1251"/>
                    <a:pt x="2882" y="1237"/>
                  </a:cubicBezTo>
                  <a:cubicBezTo>
                    <a:pt x="2868" y="1237"/>
                    <a:pt x="2868" y="1237"/>
                    <a:pt x="2868" y="1237"/>
                  </a:cubicBezTo>
                  <a:cubicBezTo>
                    <a:pt x="2855" y="1237"/>
                    <a:pt x="2855" y="1237"/>
                    <a:pt x="2855" y="1237"/>
                  </a:cubicBezTo>
                  <a:cubicBezTo>
                    <a:pt x="2841" y="1237"/>
                    <a:pt x="2841" y="1237"/>
                    <a:pt x="2841" y="1237"/>
                  </a:cubicBezTo>
                  <a:cubicBezTo>
                    <a:pt x="2841" y="1237"/>
                    <a:pt x="2841" y="1251"/>
                    <a:pt x="2835" y="1251"/>
                  </a:cubicBezTo>
                  <a:cubicBezTo>
                    <a:pt x="2835" y="1251"/>
                    <a:pt x="2821" y="1251"/>
                    <a:pt x="2821" y="1264"/>
                  </a:cubicBezTo>
                  <a:cubicBezTo>
                    <a:pt x="2808" y="1264"/>
                    <a:pt x="2808" y="1264"/>
                    <a:pt x="2808" y="1264"/>
                  </a:cubicBezTo>
                  <a:cubicBezTo>
                    <a:pt x="2808" y="1277"/>
                    <a:pt x="2808" y="1277"/>
                    <a:pt x="2808" y="1277"/>
                  </a:cubicBezTo>
                  <a:cubicBezTo>
                    <a:pt x="2794" y="1290"/>
                    <a:pt x="2794" y="1290"/>
                    <a:pt x="2794" y="1290"/>
                  </a:cubicBezTo>
                  <a:cubicBezTo>
                    <a:pt x="2794" y="1290"/>
                    <a:pt x="2794" y="1290"/>
                    <a:pt x="2794" y="1297"/>
                  </a:cubicBezTo>
                  <a:cubicBezTo>
                    <a:pt x="2794" y="1297"/>
                    <a:pt x="2794" y="1297"/>
                    <a:pt x="2808" y="1297"/>
                  </a:cubicBezTo>
                  <a:cubicBezTo>
                    <a:pt x="2808" y="1297"/>
                    <a:pt x="2808" y="1297"/>
                    <a:pt x="2821" y="1297"/>
                  </a:cubicBezTo>
                  <a:cubicBezTo>
                    <a:pt x="2821" y="1297"/>
                    <a:pt x="2821" y="1297"/>
                    <a:pt x="2821" y="1310"/>
                  </a:cubicBezTo>
                  <a:cubicBezTo>
                    <a:pt x="2808" y="1310"/>
                    <a:pt x="2808" y="1310"/>
                    <a:pt x="2808" y="1310"/>
                  </a:cubicBezTo>
                  <a:cubicBezTo>
                    <a:pt x="2808" y="1323"/>
                    <a:pt x="2808" y="1323"/>
                    <a:pt x="2808" y="1323"/>
                  </a:cubicBezTo>
                  <a:cubicBezTo>
                    <a:pt x="2794" y="1323"/>
                    <a:pt x="2781" y="1323"/>
                    <a:pt x="2768" y="1323"/>
                  </a:cubicBezTo>
                  <a:cubicBezTo>
                    <a:pt x="2754" y="1323"/>
                    <a:pt x="2754" y="1323"/>
                    <a:pt x="2741" y="1323"/>
                  </a:cubicBezTo>
                  <a:cubicBezTo>
                    <a:pt x="2741" y="1323"/>
                    <a:pt x="2741" y="1337"/>
                    <a:pt x="2727" y="1337"/>
                  </a:cubicBezTo>
                  <a:cubicBezTo>
                    <a:pt x="2727" y="1337"/>
                    <a:pt x="2727" y="1350"/>
                    <a:pt x="2741" y="1350"/>
                  </a:cubicBezTo>
                  <a:cubicBezTo>
                    <a:pt x="2727" y="1350"/>
                    <a:pt x="2727" y="1350"/>
                    <a:pt x="2727" y="1350"/>
                  </a:cubicBezTo>
                  <a:cubicBezTo>
                    <a:pt x="2727" y="1350"/>
                    <a:pt x="2727" y="1350"/>
                    <a:pt x="2714" y="1350"/>
                  </a:cubicBezTo>
                  <a:cubicBezTo>
                    <a:pt x="2727" y="1350"/>
                    <a:pt x="2727" y="1363"/>
                    <a:pt x="2727" y="1363"/>
                  </a:cubicBezTo>
                  <a:cubicBezTo>
                    <a:pt x="2741" y="1363"/>
                    <a:pt x="2741" y="1363"/>
                    <a:pt x="2754" y="1363"/>
                  </a:cubicBezTo>
                  <a:cubicBezTo>
                    <a:pt x="2741" y="1376"/>
                    <a:pt x="2741" y="1376"/>
                    <a:pt x="2741" y="1376"/>
                  </a:cubicBezTo>
                  <a:cubicBezTo>
                    <a:pt x="2727" y="1376"/>
                    <a:pt x="2727" y="1376"/>
                    <a:pt x="2727" y="1390"/>
                  </a:cubicBezTo>
                  <a:cubicBezTo>
                    <a:pt x="2727" y="1390"/>
                    <a:pt x="2727" y="1390"/>
                    <a:pt x="2727" y="1403"/>
                  </a:cubicBezTo>
                  <a:cubicBezTo>
                    <a:pt x="2727" y="1403"/>
                    <a:pt x="2727" y="1403"/>
                    <a:pt x="2741" y="1403"/>
                  </a:cubicBezTo>
                  <a:cubicBezTo>
                    <a:pt x="2741" y="1403"/>
                    <a:pt x="2741" y="1403"/>
                    <a:pt x="2754" y="1403"/>
                  </a:cubicBezTo>
                  <a:cubicBezTo>
                    <a:pt x="2754" y="1416"/>
                    <a:pt x="2754" y="1416"/>
                    <a:pt x="2754" y="1416"/>
                  </a:cubicBezTo>
                  <a:cubicBezTo>
                    <a:pt x="2754" y="1416"/>
                    <a:pt x="2768" y="1416"/>
                    <a:pt x="2781" y="1416"/>
                  </a:cubicBezTo>
                  <a:cubicBezTo>
                    <a:pt x="2781" y="1430"/>
                    <a:pt x="2781" y="1430"/>
                    <a:pt x="2781" y="1430"/>
                  </a:cubicBezTo>
                  <a:cubicBezTo>
                    <a:pt x="2768" y="1430"/>
                    <a:pt x="2768" y="1430"/>
                    <a:pt x="2768" y="1430"/>
                  </a:cubicBezTo>
                  <a:cubicBezTo>
                    <a:pt x="2768" y="1430"/>
                    <a:pt x="2768" y="1430"/>
                    <a:pt x="2768" y="1443"/>
                  </a:cubicBezTo>
                  <a:cubicBezTo>
                    <a:pt x="2768" y="1443"/>
                    <a:pt x="2754" y="1443"/>
                    <a:pt x="2754" y="1456"/>
                  </a:cubicBezTo>
                  <a:cubicBezTo>
                    <a:pt x="2754" y="1463"/>
                    <a:pt x="2741" y="1463"/>
                    <a:pt x="2741" y="1463"/>
                  </a:cubicBezTo>
                  <a:cubicBezTo>
                    <a:pt x="2754" y="1463"/>
                    <a:pt x="2768" y="1463"/>
                    <a:pt x="2768" y="1463"/>
                  </a:cubicBezTo>
                  <a:cubicBezTo>
                    <a:pt x="2781" y="1463"/>
                    <a:pt x="2781" y="1456"/>
                    <a:pt x="2794" y="1456"/>
                  </a:cubicBezTo>
                  <a:cubicBezTo>
                    <a:pt x="2794" y="1456"/>
                    <a:pt x="2794" y="1456"/>
                    <a:pt x="2794" y="1463"/>
                  </a:cubicBezTo>
                  <a:cubicBezTo>
                    <a:pt x="2781" y="1463"/>
                    <a:pt x="2768" y="1463"/>
                    <a:pt x="2754" y="1476"/>
                  </a:cubicBezTo>
                  <a:cubicBezTo>
                    <a:pt x="2741" y="1476"/>
                    <a:pt x="2741" y="1476"/>
                    <a:pt x="2741" y="1489"/>
                  </a:cubicBezTo>
                  <a:cubicBezTo>
                    <a:pt x="2741" y="1502"/>
                    <a:pt x="2741" y="1502"/>
                    <a:pt x="2741" y="1502"/>
                  </a:cubicBezTo>
                  <a:cubicBezTo>
                    <a:pt x="2727" y="1502"/>
                    <a:pt x="2727" y="1502"/>
                    <a:pt x="2727" y="1502"/>
                  </a:cubicBezTo>
                  <a:cubicBezTo>
                    <a:pt x="2727" y="1502"/>
                    <a:pt x="2727" y="1502"/>
                    <a:pt x="2727" y="1502"/>
                  </a:cubicBezTo>
                  <a:cubicBezTo>
                    <a:pt x="2714" y="1502"/>
                    <a:pt x="2714" y="1502"/>
                    <a:pt x="2714" y="1502"/>
                  </a:cubicBezTo>
                  <a:cubicBezTo>
                    <a:pt x="2714" y="1502"/>
                    <a:pt x="2714" y="1502"/>
                    <a:pt x="2714" y="1520"/>
                  </a:cubicBezTo>
                  <a:cubicBezTo>
                    <a:pt x="2723" y="1511"/>
                    <a:pt x="2727" y="1507"/>
                    <a:pt x="2730" y="1505"/>
                  </a:cubicBezTo>
                  <a:cubicBezTo>
                    <a:pt x="2741" y="1516"/>
                    <a:pt x="2741" y="1516"/>
                    <a:pt x="2741" y="1516"/>
                  </a:cubicBezTo>
                  <a:cubicBezTo>
                    <a:pt x="2727" y="1516"/>
                    <a:pt x="2727" y="1516"/>
                    <a:pt x="2727" y="1516"/>
                  </a:cubicBezTo>
                  <a:cubicBezTo>
                    <a:pt x="2714" y="1529"/>
                    <a:pt x="2714" y="1529"/>
                    <a:pt x="2714" y="1529"/>
                  </a:cubicBezTo>
                  <a:close/>
                  <a:moveTo>
                    <a:pt x="3193" y="747"/>
                  </a:moveTo>
                  <a:cubicBezTo>
                    <a:pt x="3193" y="733"/>
                    <a:pt x="3193" y="733"/>
                    <a:pt x="3193" y="733"/>
                  </a:cubicBezTo>
                  <a:cubicBezTo>
                    <a:pt x="3175" y="733"/>
                    <a:pt x="3175" y="733"/>
                    <a:pt x="3175" y="720"/>
                  </a:cubicBezTo>
                  <a:cubicBezTo>
                    <a:pt x="3175" y="707"/>
                    <a:pt x="3175" y="707"/>
                    <a:pt x="3175" y="707"/>
                  </a:cubicBezTo>
                  <a:cubicBezTo>
                    <a:pt x="3175" y="707"/>
                    <a:pt x="3175" y="707"/>
                    <a:pt x="3157" y="707"/>
                  </a:cubicBezTo>
                  <a:cubicBezTo>
                    <a:pt x="3157" y="720"/>
                    <a:pt x="3157" y="720"/>
                    <a:pt x="3157" y="720"/>
                  </a:cubicBezTo>
                  <a:cubicBezTo>
                    <a:pt x="3157" y="733"/>
                    <a:pt x="3157" y="733"/>
                    <a:pt x="3157" y="733"/>
                  </a:cubicBezTo>
                  <a:cubicBezTo>
                    <a:pt x="3157" y="747"/>
                    <a:pt x="3157" y="747"/>
                    <a:pt x="3157" y="747"/>
                  </a:cubicBezTo>
                  <a:cubicBezTo>
                    <a:pt x="3157" y="747"/>
                    <a:pt x="3157" y="747"/>
                    <a:pt x="3157" y="760"/>
                  </a:cubicBezTo>
                  <a:cubicBezTo>
                    <a:pt x="3157" y="760"/>
                    <a:pt x="3157" y="760"/>
                    <a:pt x="3175" y="747"/>
                  </a:cubicBezTo>
                  <a:cubicBezTo>
                    <a:pt x="3193" y="747"/>
                    <a:pt x="3193" y="747"/>
                    <a:pt x="3193" y="747"/>
                  </a:cubicBezTo>
                  <a:close/>
                  <a:moveTo>
                    <a:pt x="3104" y="875"/>
                  </a:moveTo>
                  <a:cubicBezTo>
                    <a:pt x="3104" y="875"/>
                    <a:pt x="3104" y="875"/>
                    <a:pt x="3104" y="866"/>
                  </a:cubicBezTo>
                  <a:cubicBezTo>
                    <a:pt x="3086" y="866"/>
                    <a:pt x="3086" y="866"/>
                    <a:pt x="3086" y="866"/>
                  </a:cubicBezTo>
                  <a:cubicBezTo>
                    <a:pt x="3086" y="875"/>
                    <a:pt x="3086" y="875"/>
                    <a:pt x="3086" y="875"/>
                  </a:cubicBezTo>
                  <a:cubicBezTo>
                    <a:pt x="3086" y="875"/>
                    <a:pt x="3086" y="875"/>
                    <a:pt x="3086" y="884"/>
                  </a:cubicBezTo>
                  <a:cubicBezTo>
                    <a:pt x="3086" y="884"/>
                    <a:pt x="3104" y="884"/>
                    <a:pt x="3104" y="875"/>
                  </a:cubicBezTo>
                  <a:close/>
                  <a:moveTo>
                    <a:pt x="3122" y="884"/>
                  </a:moveTo>
                  <a:cubicBezTo>
                    <a:pt x="3122" y="866"/>
                    <a:pt x="3122" y="866"/>
                    <a:pt x="3122" y="866"/>
                  </a:cubicBezTo>
                  <a:cubicBezTo>
                    <a:pt x="3104" y="866"/>
                    <a:pt x="3104" y="866"/>
                    <a:pt x="3104" y="866"/>
                  </a:cubicBezTo>
                  <a:cubicBezTo>
                    <a:pt x="3104" y="884"/>
                    <a:pt x="3122" y="884"/>
                    <a:pt x="3122" y="884"/>
                  </a:cubicBezTo>
                  <a:close/>
                  <a:moveTo>
                    <a:pt x="2909" y="530"/>
                  </a:moveTo>
                  <a:cubicBezTo>
                    <a:pt x="2874" y="530"/>
                    <a:pt x="2874" y="530"/>
                    <a:pt x="2874" y="530"/>
                  </a:cubicBezTo>
                  <a:cubicBezTo>
                    <a:pt x="2874" y="548"/>
                    <a:pt x="2874" y="548"/>
                    <a:pt x="2874" y="548"/>
                  </a:cubicBezTo>
                  <a:cubicBezTo>
                    <a:pt x="2909" y="548"/>
                    <a:pt x="2909" y="548"/>
                    <a:pt x="2909" y="548"/>
                  </a:cubicBezTo>
                  <a:lnTo>
                    <a:pt x="2909" y="530"/>
                  </a:lnTo>
                  <a:close/>
                  <a:moveTo>
                    <a:pt x="2412" y="293"/>
                  </a:moveTo>
                  <a:cubicBezTo>
                    <a:pt x="2419" y="293"/>
                    <a:pt x="2419" y="293"/>
                    <a:pt x="2419" y="293"/>
                  </a:cubicBezTo>
                  <a:cubicBezTo>
                    <a:pt x="2419" y="300"/>
                    <a:pt x="2419" y="300"/>
                    <a:pt x="2419" y="300"/>
                  </a:cubicBezTo>
                  <a:cubicBezTo>
                    <a:pt x="2432" y="300"/>
                    <a:pt x="2432" y="300"/>
                    <a:pt x="2432" y="300"/>
                  </a:cubicBezTo>
                  <a:cubicBezTo>
                    <a:pt x="2432" y="300"/>
                    <a:pt x="2432" y="300"/>
                    <a:pt x="2446" y="293"/>
                  </a:cubicBezTo>
                  <a:cubicBezTo>
                    <a:pt x="2446" y="293"/>
                    <a:pt x="2446" y="293"/>
                    <a:pt x="2459" y="293"/>
                  </a:cubicBezTo>
                  <a:cubicBezTo>
                    <a:pt x="2459" y="290"/>
                    <a:pt x="2466" y="286"/>
                    <a:pt x="2466" y="282"/>
                  </a:cubicBezTo>
                  <a:cubicBezTo>
                    <a:pt x="2452" y="286"/>
                    <a:pt x="2432" y="290"/>
                    <a:pt x="2412" y="293"/>
                  </a:cubicBezTo>
                  <a:close/>
                  <a:moveTo>
                    <a:pt x="2189" y="411"/>
                  </a:moveTo>
                  <a:cubicBezTo>
                    <a:pt x="2202" y="411"/>
                    <a:pt x="2202" y="411"/>
                    <a:pt x="2202" y="411"/>
                  </a:cubicBezTo>
                  <a:cubicBezTo>
                    <a:pt x="2216" y="411"/>
                    <a:pt x="2216" y="411"/>
                    <a:pt x="2216" y="424"/>
                  </a:cubicBezTo>
                  <a:cubicBezTo>
                    <a:pt x="2216" y="411"/>
                    <a:pt x="2229" y="411"/>
                    <a:pt x="2229" y="411"/>
                  </a:cubicBezTo>
                  <a:cubicBezTo>
                    <a:pt x="2229" y="411"/>
                    <a:pt x="2229" y="411"/>
                    <a:pt x="2243" y="424"/>
                  </a:cubicBezTo>
                  <a:cubicBezTo>
                    <a:pt x="2243" y="411"/>
                    <a:pt x="2243" y="411"/>
                    <a:pt x="2243" y="411"/>
                  </a:cubicBezTo>
                  <a:cubicBezTo>
                    <a:pt x="2256" y="411"/>
                    <a:pt x="2270" y="411"/>
                    <a:pt x="2270" y="411"/>
                  </a:cubicBezTo>
                  <a:cubicBezTo>
                    <a:pt x="2284" y="398"/>
                    <a:pt x="2297" y="385"/>
                    <a:pt x="2297" y="372"/>
                  </a:cubicBezTo>
                  <a:cubicBezTo>
                    <a:pt x="2311" y="372"/>
                    <a:pt x="2311" y="372"/>
                    <a:pt x="2324" y="372"/>
                  </a:cubicBezTo>
                  <a:cubicBezTo>
                    <a:pt x="2324" y="359"/>
                    <a:pt x="2324" y="359"/>
                    <a:pt x="2324" y="359"/>
                  </a:cubicBezTo>
                  <a:cubicBezTo>
                    <a:pt x="2324" y="359"/>
                    <a:pt x="2324" y="359"/>
                    <a:pt x="2338" y="359"/>
                  </a:cubicBezTo>
                  <a:cubicBezTo>
                    <a:pt x="2345" y="359"/>
                    <a:pt x="2345" y="359"/>
                    <a:pt x="2345" y="359"/>
                  </a:cubicBezTo>
                  <a:cubicBezTo>
                    <a:pt x="2372" y="333"/>
                    <a:pt x="2399" y="320"/>
                    <a:pt x="2412" y="307"/>
                  </a:cubicBezTo>
                  <a:cubicBezTo>
                    <a:pt x="2412" y="300"/>
                    <a:pt x="2412" y="300"/>
                    <a:pt x="2412" y="300"/>
                  </a:cubicBezTo>
                  <a:cubicBezTo>
                    <a:pt x="2338" y="333"/>
                    <a:pt x="2256" y="365"/>
                    <a:pt x="2182" y="404"/>
                  </a:cubicBezTo>
                  <a:cubicBezTo>
                    <a:pt x="2189" y="411"/>
                    <a:pt x="2189" y="411"/>
                    <a:pt x="2189" y="411"/>
                  </a:cubicBezTo>
                  <a:close/>
                  <a:moveTo>
                    <a:pt x="2933" y="1007"/>
                  </a:moveTo>
                  <a:cubicBezTo>
                    <a:pt x="2933" y="1007"/>
                    <a:pt x="2933" y="1007"/>
                    <a:pt x="2933" y="1021"/>
                  </a:cubicBezTo>
                  <a:cubicBezTo>
                    <a:pt x="2933" y="1021"/>
                    <a:pt x="2933" y="1034"/>
                    <a:pt x="2945" y="1034"/>
                  </a:cubicBezTo>
                  <a:cubicBezTo>
                    <a:pt x="2945" y="1035"/>
                    <a:pt x="2945" y="1035"/>
                    <a:pt x="2945" y="1036"/>
                  </a:cubicBezTo>
                  <a:cubicBezTo>
                    <a:pt x="2953" y="1036"/>
                    <a:pt x="2953" y="1036"/>
                    <a:pt x="2953" y="1036"/>
                  </a:cubicBezTo>
                  <a:cubicBezTo>
                    <a:pt x="2953" y="1036"/>
                    <a:pt x="2953" y="1036"/>
                    <a:pt x="2953" y="1023"/>
                  </a:cubicBezTo>
                  <a:cubicBezTo>
                    <a:pt x="2953" y="1023"/>
                    <a:pt x="2953" y="1023"/>
                    <a:pt x="2953" y="1010"/>
                  </a:cubicBezTo>
                  <a:cubicBezTo>
                    <a:pt x="2953" y="997"/>
                    <a:pt x="2966" y="997"/>
                    <a:pt x="2979" y="997"/>
                  </a:cubicBezTo>
                  <a:cubicBezTo>
                    <a:pt x="2979" y="984"/>
                    <a:pt x="2966" y="984"/>
                    <a:pt x="2966" y="984"/>
                  </a:cubicBezTo>
                  <a:cubicBezTo>
                    <a:pt x="2966" y="984"/>
                    <a:pt x="2966" y="984"/>
                    <a:pt x="2966" y="971"/>
                  </a:cubicBezTo>
                  <a:cubicBezTo>
                    <a:pt x="2966" y="971"/>
                    <a:pt x="2966" y="971"/>
                    <a:pt x="2966" y="958"/>
                  </a:cubicBezTo>
                  <a:cubicBezTo>
                    <a:pt x="2979" y="958"/>
                    <a:pt x="2979" y="958"/>
                    <a:pt x="2979" y="958"/>
                  </a:cubicBezTo>
                  <a:cubicBezTo>
                    <a:pt x="2979" y="958"/>
                    <a:pt x="2979" y="958"/>
                    <a:pt x="2979" y="945"/>
                  </a:cubicBezTo>
                  <a:cubicBezTo>
                    <a:pt x="2992" y="945"/>
                    <a:pt x="2992" y="932"/>
                    <a:pt x="2992" y="932"/>
                  </a:cubicBezTo>
                  <a:cubicBezTo>
                    <a:pt x="2992" y="932"/>
                    <a:pt x="2992" y="932"/>
                    <a:pt x="3005" y="932"/>
                  </a:cubicBezTo>
                  <a:cubicBezTo>
                    <a:pt x="3005" y="932"/>
                    <a:pt x="3005" y="932"/>
                    <a:pt x="3018" y="932"/>
                  </a:cubicBezTo>
                  <a:cubicBezTo>
                    <a:pt x="3045" y="932"/>
                    <a:pt x="3058" y="919"/>
                    <a:pt x="3084" y="919"/>
                  </a:cubicBezTo>
                  <a:cubicBezTo>
                    <a:pt x="3084" y="919"/>
                    <a:pt x="3084" y="919"/>
                    <a:pt x="3097" y="919"/>
                  </a:cubicBezTo>
                  <a:cubicBezTo>
                    <a:pt x="3084" y="932"/>
                    <a:pt x="3084" y="945"/>
                    <a:pt x="3084" y="945"/>
                  </a:cubicBezTo>
                  <a:cubicBezTo>
                    <a:pt x="3084" y="958"/>
                    <a:pt x="3084" y="958"/>
                    <a:pt x="3071" y="958"/>
                  </a:cubicBezTo>
                  <a:cubicBezTo>
                    <a:pt x="3071" y="958"/>
                    <a:pt x="3071" y="958"/>
                    <a:pt x="3071" y="971"/>
                  </a:cubicBezTo>
                  <a:cubicBezTo>
                    <a:pt x="3058" y="971"/>
                    <a:pt x="3058" y="984"/>
                    <a:pt x="3045" y="984"/>
                  </a:cubicBezTo>
                  <a:cubicBezTo>
                    <a:pt x="3045" y="984"/>
                    <a:pt x="3045" y="984"/>
                    <a:pt x="3045" y="997"/>
                  </a:cubicBezTo>
                  <a:cubicBezTo>
                    <a:pt x="3045" y="997"/>
                    <a:pt x="3051" y="997"/>
                    <a:pt x="3058" y="997"/>
                  </a:cubicBezTo>
                  <a:cubicBezTo>
                    <a:pt x="3045" y="1010"/>
                    <a:pt x="3045" y="1010"/>
                    <a:pt x="3045" y="1010"/>
                  </a:cubicBezTo>
                  <a:cubicBezTo>
                    <a:pt x="3045" y="1010"/>
                    <a:pt x="3045" y="1010"/>
                    <a:pt x="3032" y="1010"/>
                  </a:cubicBezTo>
                  <a:cubicBezTo>
                    <a:pt x="3032" y="1023"/>
                    <a:pt x="3032" y="1023"/>
                    <a:pt x="3032" y="1023"/>
                  </a:cubicBezTo>
                  <a:cubicBezTo>
                    <a:pt x="3032" y="1023"/>
                    <a:pt x="3032" y="1036"/>
                    <a:pt x="3045" y="1036"/>
                  </a:cubicBezTo>
                  <a:cubicBezTo>
                    <a:pt x="3045" y="1023"/>
                    <a:pt x="3045" y="1023"/>
                    <a:pt x="3045" y="1023"/>
                  </a:cubicBezTo>
                  <a:cubicBezTo>
                    <a:pt x="3058" y="1023"/>
                    <a:pt x="3071" y="1023"/>
                    <a:pt x="3084" y="1010"/>
                  </a:cubicBezTo>
                  <a:cubicBezTo>
                    <a:pt x="3084" y="1010"/>
                    <a:pt x="3084" y="1010"/>
                    <a:pt x="3097" y="1010"/>
                  </a:cubicBezTo>
                  <a:cubicBezTo>
                    <a:pt x="3104" y="1010"/>
                    <a:pt x="3130" y="1010"/>
                    <a:pt x="3156" y="1010"/>
                  </a:cubicBezTo>
                  <a:cubicBezTo>
                    <a:pt x="3156" y="1023"/>
                    <a:pt x="3156" y="1023"/>
                    <a:pt x="3156" y="1023"/>
                  </a:cubicBezTo>
                  <a:cubicBezTo>
                    <a:pt x="3156" y="1036"/>
                    <a:pt x="3156" y="1036"/>
                    <a:pt x="3156" y="1049"/>
                  </a:cubicBezTo>
                  <a:cubicBezTo>
                    <a:pt x="3156" y="1049"/>
                    <a:pt x="3143" y="1049"/>
                    <a:pt x="3143" y="1062"/>
                  </a:cubicBezTo>
                  <a:cubicBezTo>
                    <a:pt x="3143" y="1075"/>
                    <a:pt x="3130" y="1088"/>
                    <a:pt x="3130" y="1088"/>
                  </a:cubicBezTo>
                  <a:cubicBezTo>
                    <a:pt x="3130" y="1101"/>
                    <a:pt x="3130" y="1101"/>
                    <a:pt x="3117" y="1114"/>
                  </a:cubicBezTo>
                  <a:cubicBezTo>
                    <a:pt x="3117" y="1127"/>
                    <a:pt x="3117" y="1127"/>
                    <a:pt x="3117" y="1127"/>
                  </a:cubicBezTo>
                  <a:cubicBezTo>
                    <a:pt x="3117" y="1127"/>
                    <a:pt x="3117" y="1127"/>
                    <a:pt x="3104" y="1127"/>
                  </a:cubicBezTo>
                  <a:cubicBezTo>
                    <a:pt x="3104" y="1127"/>
                    <a:pt x="3104" y="1127"/>
                    <a:pt x="3097" y="1127"/>
                  </a:cubicBezTo>
                  <a:cubicBezTo>
                    <a:pt x="3104" y="1140"/>
                    <a:pt x="3104" y="1140"/>
                    <a:pt x="3104" y="1140"/>
                  </a:cubicBezTo>
                  <a:cubicBezTo>
                    <a:pt x="3104" y="1140"/>
                    <a:pt x="3104" y="1140"/>
                    <a:pt x="3117" y="1153"/>
                  </a:cubicBezTo>
                  <a:cubicBezTo>
                    <a:pt x="3117" y="1153"/>
                    <a:pt x="3117" y="1153"/>
                    <a:pt x="3104" y="1153"/>
                  </a:cubicBezTo>
                  <a:cubicBezTo>
                    <a:pt x="3104" y="1153"/>
                    <a:pt x="3097" y="1153"/>
                    <a:pt x="3097" y="1166"/>
                  </a:cubicBezTo>
                  <a:cubicBezTo>
                    <a:pt x="3097" y="1166"/>
                    <a:pt x="3097" y="1166"/>
                    <a:pt x="3084" y="1166"/>
                  </a:cubicBezTo>
                  <a:cubicBezTo>
                    <a:pt x="3084" y="1166"/>
                    <a:pt x="3084" y="1166"/>
                    <a:pt x="3084" y="1179"/>
                  </a:cubicBezTo>
                  <a:cubicBezTo>
                    <a:pt x="3097" y="1179"/>
                    <a:pt x="3097" y="1179"/>
                    <a:pt x="3097" y="1179"/>
                  </a:cubicBezTo>
                  <a:cubicBezTo>
                    <a:pt x="3104" y="1179"/>
                    <a:pt x="3104" y="1179"/>
                    <a:pt x="3117" y="1179"/>
                  </a:cubicBezTo>
                  <a:cubicBezTo>
                    <a:pt x="3130" y="1179"/>
                    <a:pt x="3130" y="1179"/>
                    <a:pt x="3143" y="1192"/>
                  </a:cubicBezTo>
                  <a:cubicBezTo>
                    <a:pt x="3143" y="1192"/>
                    <a:pt x="3143" y="1192"/>
                    <a:pt x="3156" y="1198"/>
                  </a:cubicBezTo>
                  <a:cubicBezTo>
                    <a:pt x="3156" y="1198"/>
                    <a:pt x="3169" y="1198"/>
                    <a:pt x="3169" y="1211"/>
                  </a:cubicBezTo>
                  <a:cubicBezTo>
                    <a:pt x="3169" y="1224"/>
                    <a:pt x="3169" y="1237"/>
                    <a:pt x="3169" y="1250"/>
                  </a:cubicBezTo>
                  <a:cubicBezTo>
                    <a:pt x="3182" y="1263"/>
                    <a:pt x="3195" y="1276"/>
                    <a:pt x="3195" y="1289"/>
                  </a:cubicBezTo>
                  <a:cubicBezTo>
                    <a:pt x="3195" y="1289"/>
                    <a:pt x="3195" y="1289"/>
                    <a:pt x="3195" y="1302"/>
                  </a:cubicBezTo>
                  <a:cubicBezTo>
                    <a:pt x="3208" y="1302"/>
                    <a:pt x="3222" y="1302"/>
                    <a:pt x="3222" y="1302"/>
                  </a:cubicBezTo>
                  <a:cubicBezTo>
                    <a:pt x="3235" y="1315"/>
                    <a:pt x="3235" y="1328"/>
                    <a:pt x="3248" y="1341"/>
                  </a:cubicBezTo>
                  <a:cubicBezTo>
                    <a:pt x="3248" y="1341"/>
                    <a:pt x="3248" y="1341"/>
                    <a:pt x="3248" y="1354"/>
                  </a:cubicBezTo>
                  <a:cubicBezTo>
                    <a:pt x="3261" y="1354"/>
                    <a:pt x="3261" y="1367"/>
                    <a:pt x="3261" y="1367"/>
                  </a:cubicBezTo>
                  <a:cubicBezTo>
                    <a:pt x="3261" y="1367"/>
                    <a:pt x="3261" y="1380"/>
                    <a:pt x="3274" y="1380"/>
                  </a:cubicBezTo>
                  <a:cubicBezTo>
                    <a:pt x="3274" y="1380"/>
                    <a:pt x="3274" y="1380"/>
                    <a:pt x="3261" y="1380"/>
                  </a:cubicBezTo>
                  <a:cubicBezTo>
                    <a:pt x="3248" y="1380"/>
                    <a:pt x="3248" y="1380"/>
                    <a:pt x="3248" y="1367"/>
                  </a:cubicBezTo>
                  <a:cubicBezTo>
                    <a:pt x="3248" y="1367"/>
                    <a:pt x="3248" y="1367"/>
                    <a:pt x="3235" y="1380"/>
                  </a:cubicBezTo>
                  <a:cubicBezTo>
                    <a:pt x="3248" y="1380"/>
                    <a:pt x="3248" y="1380"/>
                    <a:pt x="3248" y="1380"/>
                  </a:cubicBezTo>
                  <a:cubicBezTo>
                    <a:pt x="3261" y="1393"/>
                    <a:pt x="3261" y="1393"/>
                    <a:pt x="3261" y="1393"/>
                  </a:cubicBezTo>
                  <a:cubicBezTo>
                    <a:pt x="3261" y="1393"/>
                    <a:pt x="3261" y="1393"/>
                    <a:pt x="3274" y="1406"/>
                  </a:cubicBezTo>
                  <a:cubicBezTo>
                    <a:pt x="3274" y="1419"/>
                    <a:pt x="3274" y="1419"/>
                    <a:pt x="3274" y="1419"/>
                  </a:cubicBezTo>
                  <a:cubicBezTo>
                    <a:pt x="3274" y="1419"/>
                    <a:pt x="3274" y="1419"/>
                    <a:pt x="3274" y="1432"/>
                  </a:cubicBezTo>
                  <a:cubicBezTo>
                    <a:pt x="3274" y="1432"/>
                    <a:pt x="3274" y="1432"/>
                    <a:pt x="3261" y="1445"/>
                  </a:cubicBezTo>
                  <a:cubicBezTo>
                    <a:pt x="3261" y="1445"/>
                    <a:pt x="3274" y="1445"/>
                    <a:pt x="3274" y="1458"/>
                  </a:cubicBezTo>
                  <a:cubicBezTo>
                    <a:pt x="3287" y="1458"/>
                    <a:pt x="3287" y="1445"/>
                    <a:pt x="3287" y="1445"/>
                  </a:cubicBezTo>
                  <a:cubicBezTo>
                    <a:pt x="3300" y="1445"/>
                    <a:pt x="3313" y="1445"/>
                    <a:pt x="3326" y="1445"/>
                  </a:cubicBezTo>
                  <a:cubicBezTo>
                    <a:pt x="3326" y="1445"/>
                    <a:pt x="3326" y="1445"/>
                    <a:pt x="3339" y="1445"/>
                  </a:cubicBezTo>
                  <a:cubicBezTo>
                    <a:pt x="3339" y="1458"/>
                    <a:pt x="3339" y="1458"/>
                    <a:pt x="3353" y="1458"/>
                  </a:cubicBezTo>
                  <a:cubicBezTo>
                    <a:pt x="3353" y="1471"/>
                    <a:pt x="3353" y="1471"/>
                    <a:pt x="3353" y="1471"/>
                  </a:cubicBezTo>
                  <a:cubicBezTo>
                    <a:pt x="3353" y="1484"/>
                    <a:pt x="3353" y="1497"/>
                    <a:pt x="3339" y="1510"/>
                  </a:cubicBezTo>
                  <a:cubicBezTo>
                    <a:pt x="3339" y="1510"/>
                    <a:pt x="3339" y="1510"/>
                    <a:pt x="3339" y="1523"/>
                  </a:cubicBezTo>
                  <a:cubicBezTo>
                    <a:pt x="3339" y="1523"/>
                    <a:pt x="3339" y="1523"/>
                    <a:pt x="3326" y="1523"/>
                  </a:cubicBezTo>
                  <a:cubicBezTo>
                    <a:pt x="3326" y="1523"/>
                    <a:pt x="3326" y="1523"/>
                    <a:pt x="3326" y="1536"/>
                  </a:cubicBezTo>
                  <a:cubicBezTo>
                    <a:pt x="3326" y="1536"/>
                    <a:pt x="3326" y="1536"/>
                    <a:pt x="3313" y="1536"/>
                  </a:cubicBezTo>
                  <a:cubicBezTo>
                    <a:pt x="3300" y="1536"/>
                    <a:pt x="3300" y="1536"/>
                    <a:pt x="3300" y="1549"/>
                  </a:cubicBezTo>
                  <a:cubicBezTo>
                    <a:pt x="3300" y="1562"/>
                    <a:pt x="3300" y="1562"/>
                    <a:pt x="3300" y="1562"/>
                  </a:cubicBezTo>
                  <a:cubicBezTo>
                    <a:pt x="3300" y="1575"/>
                    <a:pt x="3300" y="1575"/>
                    <a:pt x="3300" y="1575"/>
                  </a:cubicBezTo>
                  <a:cubicBezTo>
                    <a:pt x="3313" y="1575"/>
                    <a:pt x="3326" y="1575"/>
                    <a:pt x="3339" y="1575"/>
                  </a:cubicBezTo>
                  <a:cubicBezTo>
                    <a:pt x="3339" y="1588"/>
                    <a:pt x="3339" y="1588"/>
                    <a:pt x="3339" y="1588"/>
                  </a:cubicBezTo>
                  <a:cubicBezTo>
                    <a:pt x="3326" y="1601"/>
                    <a:pt x="3326" y="1601"/>
                    <a:pt x="3313" y="1601"/>
                  </a:cubicBezTo>
                  <a:cubicBezTo>
                    <a:pt x="3313" y="1601"/>
                    <a:pt x="3313" y="1601"/>
                    <a:pt x="3313" y="1614"/>
                  </a:cubicBezTo>
                  <a:cubicBezTo>
                    <a:pt x="3300" y="1614"/>
                    <a:pt x="3287" y="1614"/>
                    <a:pt x="3261" y="1627"/>
                  </a:cubicBezTo>
                  <a:cubicBezTo>
                    <a:pt x="3261" y="1627"/>
                    <a:pt x="3261" y="1627"/>
                    <a:pt x="3248" y="1614"/>
                  </a:cubicBezTo>
                  <a:cubicBezTo>
                    <a:pt x="3248" y="1627"/>
                    <a:pt x="3235" y="1627"/>
                    <a:pt x="3222" y="1627"/>
                  </a:cubicBezTo>
                  <a:cubicBezTo>
                    <a:pt x="3208" y="1627"/>
                    <a:pt x="3208" y="1627"/>
                    <a:pt x="3208" y="1627"/>
                  </a:cubicBezTo>
                  <a:cubicBezTo>
                    <a:pt x="3208" y="1614"/>
                    <a:pt x="3208" y="1614"/>
                    <a:pt x="3208" y="1614"/>
                  </a:cubicBezTo>
                  <a:cubicBezTo>
                    <a:pt x="3208" y="1614"/>
                    <a:pt x="3208" y="1614"/>
                    <a:pt x="3195" y="1614"/>
                  </a:cubicBezTo>
                  <a:cubicBezTo>
                    <a:pt x="3195" y="1614"/>
                    <a:pt x="3195" y="1614"/>
                    <a:pt x="3182" y="1614"/>
                  </a:cubicBezTo>
                  <a:cubicBezTo>
                    <a:pt x="3182" y="1614"/>
                    <a:pt x="3182" y="1614"/>
                    <a:pt x="3182" y="1627"/>
                  </a:cubicBezTo>
                  <a:cubicBezTo>
                    <a:pt x="3169" y="1627"/>
                    <a:pt x="3156" y="1627"/>
                    <a:pt x="3156" y="1627"/>
                  </a:cubicBezTo>
                  <a:cubicBezTo>
                    <a:pt x="3156" y="1627"/>
                    <a:pt x="3156" y="1627"/>
                    <a:pt x="3156" y="1640"/>
                  </a:cubicBezTo>
                  <a:cubicBezTo>
                    <a:pt x="3143" y="1640"/>
                    <a:pt x="3143" y="1640"/>
                    <a:pt x="3143" y="1640"/>
                  </a:cubicBezTo>
                  <a:cubicBezTo>
                    <a:pt x="3143" y="1640"/>
                    <a:pt x="3143" y="1640"/>
                    <a:pt x="3130" y="1640"/>
                  </a:cubicBezTo>
                  <a:cubicBezTo>
                    <a:pt x="3117" y="1640"/>
                    <a:pt x="3117" y="1627"/>
                    <a:pt x="3117" y="1627"/>
                  </a:cubicBezTo>
                  <a:cubicBezTo>
                    <a:pt x="3104" y="1627"/>
                    <a:pt x="3097" y="1627"/>
                    <a:pt x="3097" y="1640"/>
                  </a:cubicBezTo>
                  <a:cubicBezTo>
                    <a:pt x="3097" y="1640"/>
                    <a:pt x="3097" y="1640"/>
                    <a:pt x="3084" y="1640"/>
                  </a:cubicBezTo>
                  <a:cubicBezTo>
                    <a:pt x="3084" y="1640"/>
                    <a:pt x="3084" y="1640"/>
                    <a:pt x="3084" y="1653"/>
                  </a:cubicBezTo>
                  <a:cubicBezTo>
                    <a:pt x="3071" y="1666"/>
                    <a:pt x="3071" y="1666"/>
                    <a:pt x="3071" y="1666"/>
                  </a:cubicBezTo>
                  <a:cubicBezTo>
                    <a:pt x="3058" y="1666"/>
                    <a:pt x="3058" y="1666"/>
                    <a:pt x="3045" y="1653"/>
                  </a:cubicBezTo>
                  <a:cubicBezTo>
                    <a:pt x="3032" y="1653"/>
                    <a:pt x="3032" y="1653"/>
                    <a:pt x="3018" y="1653"/>
                  </a:cubicBezTo>
                  <a:cubicBezTo>
                    <a:pt x="3018" y="1666"/>
                    <a:pt x="3018" y="1666"/>
                    <a:pt x="3018" y="1666"/>
                  </a:cubicBezTo>
                  <a:cubicBezTo>
                    <a:pt x="3005" y="1666"/>
                    <a:pt x="3005" y="1679"/>
                    <a:pt x="3005" y="1679"/>
                  </a:cubicBezTo>
                  <a:cubicBezTo>
                    <a:pt x="3005" y="1679"/>
                    <a:pt x="3005" y="1679"/>
                    <a:pt x="2992" y="1679"/>
                  </a:cubicBezTo>
                  <a:cubicBezTo>
                    <a:pt x="2984" y="1679"/>
                    <a:pt x="2981" y="1679"/>
                    <a:pt x="2980" y="1679"/>
                  </a:cubicBezTo>
                  <a:cubicBezTo>
                    <a:pt x="2962" y="1679"/>
                    <a:pt x="2962" y="1679"/>
                    <a:pt x="2962" y="1697"/>
                  </a:cubicBezTo>
                  <a:cubicBezTo>
                    <a:pt x="2962" y="1679"/>
                    <a:pt x="2962" y="1679"/>
                    <a:pt x="2962" y="1679"/>
                  </a:cubicBezTo>
                  <a:cubicBezTo>
                    <a:pt x="2962" y="1679"/>
                    <a:pt x="2962" y="1679"/>
                    <a:pt x="2979" y="1679"/>
                  </a:cubicBezTo>
                  <a:cubicBezTo>
                    <a:pt x="2992" y="1653"/>
                    <a:pt x="3005" y="1640"/>
                    <a:pt x="3032" y="1627"/>
                  </a:cubicBezTo>
                  <a:cubicBezTo>
                    <a:pt x="3032" y="1614"/>
                    <a:pt x="3032" y="1614"/>
                    <a:pt x="3032" y="1614"/>
                  </a:cubicBezTo>
                  <a:cubicBezTo>
                    <a:pt x="3032" y="1601"/>
                    <a:pt x="3045" y="1601"/>
                    <a:pt x="3045" y="1601"/>
                  </a:cubicBezTo>
                  <a:cubicBezTo>
                    <a:pt x="3045" y="1601"/>
                    <a:pt x="3045" y="1601"/>
                    <a:pt x="3045" y="1588"/>
                  </a:cubicBezTo>
                  <a:cubicBezTo>
                    <a:pt x="3071" y="1588"/>
                    <a:pt x="3084" y="1588"/>
                    <a:pt x="3104" y="1588"/>
                  </a:cubicBezTo>
                  <a:cubicBezTo>
                    <a:pt x="3104" y="1575"/>
                    <a:pt x="3104" y="1575"/>
                    <a:pt x="3104" y="1575"/>
                  </a:cubicBezTo>
                  <a:cubicBezTo>
                    <a:pt x="3117" y="1562"/>
                    <a:pt x="3117" y="1562"/>
                    <a:pt x="3117" y="1549"/>
                  </a:cubicBezTo>
                  <a:cubicBezTo>
                    <a:pt x="3117" y="1549"/>
                    <a:pt x="3104" y="1562"/>
                    <a:pt x="3097" y="1562"/>
                  </a:cubicBezTo>
                  <a:cubicBezTo>
                    <a:pt x="3097" y="1562"/>
                    <a:pt x="3097" y="1562"/>
                    <a:pt x="3097" y="1575"/>
                  </a:cubicBezTo>
                  <a:cubicBezTo>
                    <a:pt x="3084" y="1575"/>
                    <a:pt x="3084" y="1575"/>
                    <a:pt x="3084" y="1575"/>
                  </a:cubicBezTo>
                  <a:cubicBezTo>
                    <a:pt x="3071" y="1562"/>
                    <a:pt x="3071" y="1562"/>
                    <a:pt x="3058" y="1549"/>
                  </a:cubicBezTo>
                  <a:cubicBezTo>
                    <a:pt x="3058" y="1549"/>
                    <a:pt x="3058" y="1562"/>
                    <a:pt x="3045" y="1562"/>
                  </a:cubicBezTo>
                  <a:cubicBezTo>
                    <a:pt x="3032" y="1562"/>
                    <a:pt x="3032" y="1562"/>
                    <a:pt x="3032" y="1549"/>
                  </a:cubicBezTo>
                  <a:cubicBezTo>
                    <a:pt x="3032" y="1536"/>
                    <a:pt x="3032" y="1536"/>
                    <a:pt x="3032" y="1536"/>
                  </a:cubicBezTo>
                  <a:cubicBezTo>
                    <a:pt x="3032" y="1536"/>
                    <a:pt x="3032" y="1536"/>
                    <a:pt x="3018" y="1549"/>
                  </a:cubicBezTo>
                  <a:cubicBezTo>
                    <a:pt x="3018" y="1549"/>
                    <a:pt x="3018" y="1549"/>
                    <a:pt x="3005" y="1549"/>
                  </a:cubicBezTo>
                  <a:cubicBezTo>
                    <a:pt x="3005" y="1549"/>
                    <a:pt x="3005" y="1549"/>
                    <a:pt x="3005" y="1562"/>
                  </a:cubicBezTo>
                  <a:cubicBezTo>
                    <a:pt x="3005" y="1562"/>
                    <a:pt x="3005" y="1549"/>
                    <a:pt x="2992" y="1549"/>
                  </a:cubicBezTo>
                  <a:cubicBezTo>
                    <a:pt x="2992" y="1549"/>
                    <a:pt x="2992" y="1549"/>
                    <a:pt x="2992" y="1536"/>
                  </a:cubicBezTo>
                  <a:cubicBezTo>
                    <a:pt x="3005" y="1523"/>
                    <a:pt x="3032" y="1510"/>
                    <a:pt x="3045" y="1497"/>
                  </a:cubicBezTo>
                  <a:cubicBezTo>
                    <a:pt x="3045" y="1497"/>
                    <a:pt x="3045" y="1484"/>
                    <a:pt x="3058" y="1484"/>
                  </a:cubicBezTo>
                  <a:cubicBezTo>
                    <a:pt x="3058" y="1471"/>
                    <a:pt x="3045" y="1471"/>
                    <a:pt x="3045" y="1471"/>
                  </a:cubicBezTo>
                  <a:cubicBezTo>
                    <a:pt x="3045" y="1458"/>
                    <a:pt x="3045" y="1458"/>
                    <a:pt x="3045" y="1445"/>
                  </a:cubicBezTo>
                  <a:cubicBezTo>
                    <a:pt x="3045" y="1445"/>
                    <a:pt x="3045" y="1445"/>
                    <a:pt x="3032" y="1445"/>
                  </a:cubicBezTo>
                  <a:cubicBezTo>
                    <a:pt x="3032" y="1445"/>
                    <a:pt x="3032" y="1445"/>
                    <a:pt x="3018" y="1458"/>
                  </a:cubicBezTo>
                  <a:cubicBezTo>
                    <a:pt x="3032" y="1432"/>
                    <a:pt x="3045" y="1419"/>
                    <a:pt x="3058" y="1406"/>
                  </a:cubicBezTo>
                  <a:cubicBezTo>
                    <a:pt x="3071" y="1406"/>
                    <a:pt x="3084" y="1406"/>
                    <a:pt x="3097" y="1406"/>
                  </a:cubicBezTo>
                  <a:cubicBezTo>
                    <a:pt x="3097" y="1406"/>
                    <a:pt x="3097" y="1406"/>
                    <a:pt x="3104" y="1406"/>
                  </a:cubicBezTo>
                  <a:cubicBezTo>
                    <a:pt x="3104" y="1406"/>
                    <a:pt x="3104" y="1406"/>
                    <a:pt x="3104" y="1393"/>
                  </a:cubicBezTo>
                  <a:cubicBezTo>
                    <a:pt x="3104" y="1393"/>
                    <a:pt x="3104" y="1393"/>
                    <a:pt x="3097" y="1393"/>
                  </a:cubicBezTo>
                  <a:cubicBezTo>
                    <a:pt x="3104" y="1393"/>
                    <a:pt x="3104" y="1380"/>
                    <a:pt x="3104" y="1380"/>
                  </a:cubicBezTo>
                  <a:cubicBezTo>
                    <a:pt x="3104" y="1380"/>
                    <a:pt x="3104" y="1380"/>
                    <a:pt x="3104" y="1367"/>
                  </a:cubicBezTo>
                  <a:cubicBezTo>
                    <a:pt x="3104" y="1367"/>
                    <a:pt x="3104" y="1367"/>
                    <a:pt x="3097" y="1367"/>
                  </a:cubicBezTo>
                  <a:cubicBezTo>
                    <a:pt x="3104" y="1367"/>
                    <a:pt x="3104" y="1367"/>
                    <a:pt x="3104" y="1354"/>
                  </a:cubicBezTo>
                  <a:cubicBezTo>
                    <a:pt x="3104" y="1341"/>
                    <a:pt x="3104" y="1341"/>
                    <a:pt x="3104" y="1341"/>
                  </a:cubicBezTo>
                  <a:cubicBezTo>
                    <a:pt x="3104" y="1328"/>
                    <a:pt x="3104" y="1328"/>
                    <a:pt x="3117" y="1328"/>
                  </a:cubicBezTo>
                  <a:cubicBezTo>
                    <a:pt x="3104" y="1328"/>
                    <a:pt x="3104" y="1328"/>
                    <a:pt x="3104" y="1328"/>
                  </a:cubicBezTo>
                  <a:cubicBezTo>
                    <a:pt x="3104" y="1328"/>
                    <a:pt x="3104" y="1328"/>
                    <a:pt x="3104" y="1341"/>
                  </a:cubicBezTo>
                  <a:cubicBezTo>
                    <a:pt x="3097" y="1341"/>
                    <a:pt x="3097" y="1341"/>
                    <a:pt x="3097" y="1341"/>
                  </a:cubicBezTo>
                  <a:cubicBezTo>
                    <a:pt x="3084" y="1341"/>
                    <a:pt x="3084" y="1328"/>
                    <a:pt x="3084" y="1328"/>
                  </a:cubicBezTo>
                  <a:cubicBezTo>
                    <a:pt x="3071" y="1315"/>
                    <a:pt x="3071" y="1315"/>
                    <a:pt x="3071" y="1315"/>
                  </a:cubicBezTo>
                  <a:cubicBezTo>
                    <a:pt x="3071" y="1315"/>
                    <a:pt x="3071" y="1315"/>
                    <a:pt x="3071" y="1302"/>
                  </a:cubicBezTo>
                  <a:cubicBezTo>
                    <a:pt x="3071" y="1302"/>
                    <a:pt x="3071" y="1289"/>
                    <a:pt x="3084" y="1276"/>
                  </a:cubicBezTo>
                  <a:cubicBezTo>
                    <a:pt x="3084" y="1276"/>
                    <a:pt x="3084" y="1276"/>
                    <a:pt x="3084" y="1263"/>
                  </a:cubicBezTo>
                  <a:cubicBezTo>
                    <a:pt x="3077" y="1263"/>
                    <a:pt x="3077" y="1263"/>
                    <a:pt x="3071" y="1263"/>
                  </a:cubicBezTo>
                  <a:cubicBezTo>
                    <a:pt x="3071" y="1263"/>
                    <a:pt x="3071" y="1263"/>
                    <a:pt x="3071" y="1276"/>
                  </a:cubicBezTo>
                  <a:cubicBezTo>
                    <a:pt x="3058" y="1276"/>
                    <a:pt x="3058" y="1276"/>
                    <a:pt x="3058" y="1276"/>
                  </a:cubicBezTo>
                  <a:cubicBezTo>
                    <a:pt x="3045" y="1276"/>
                    <a:pt x="3032" y="1276"/>
                    <a:pt x="3032" y="1276"/>
                  </a:cubicBezTo>
                  <a:cubicBezTo>
                    <a:pt x="3032" y="1276"/>
                    <a:pt x="3032" y="1276"/>
                    <a:pt x="3032" y="1289"/>
                  </a:cubicBezTo>
                  <a:cubicBezTo>
                    <a:pt x="3018" y="1289"/>
                    <a:pt x="3005" y="1276"/>
                    <a:pt x="3005" y="1276"/>
                  </a:cubicBezTo>
                  <a:cubicBezTo>
                    <a:pt x="3005" y="1276"/>
                    <a:pt x="3005" y="1276"/>
                    <a:pt x="2992" y="1276"/>
                  </a:cubicBezTo>
                  <a:cubicBezTo>
                    <a:pt x="3005" y="1289"/>
                    <a:pt x="3005" y="1289"/>
                    <a:pt x="3005" y="1289"/>
                  </a:cubicBezTo>
                  <a:cubicBezTo>
                    <a:pt x="3005" y="1289"/>
                    <a:pt x="3005" y="1289"/>
                    <a:pt x="2992" y="1289"/>
                  </a:cubicBezTo>
                  <a:cubicBezTo>
                    <a:pt x="2992" y="1289"/>
                    <a:pt x="2992" y="1276"/>
                    <a:pt x="2979" y="1263"/>
                  </a:cubicBezTo>
                  <a:cubicBezTo>
                    <a:pt x="2992" y="1263"/>
                    <a:pt x="2992" y="1263"/>
                    <a:pt x="2992" y="1263"/>
                  </a:cubicBezTo>
                  <a:cubicBezTo>
                    <a:pt x="3005" y="1250"/>
                    <a:pt x="3005" y="1237"/>
                    <a:pt x="3005" y="1224"/>
                  </a:cubicBezTo>
                  <a:cubicBezTo>
                    <a:pt x="3005" y="1211"/>
                    <a:pt x="3005" y="1211"/>
                    <a:pt x="3005" y="1211"/>
                  </a:cubicBezTo>
                  <a:cubicBezTo>
                    <a:pt x="3005" y="1211"/>
                    <a:pt x="3005" y="1211"/>
                    <a:pt x="3005" y="1198"/>
                  </a:cubicBezTo>
                  <a:cubicBezTo>
                    <a:pt x="3005" y="1198"/>
                    <a:pt x="3005" y="1198"/>
                    <a:pt x="3005" y="1192"/>
                  </a:cubicBezTo>
                  <a:cubicBezTo>
                    <a:pt x="3005" y="1192"/>
                    <a:pt x="3005" y="1192"/>
                    <a:pt x="3005" y="1179"/>
                  </a:cubicBezTo>
                  <a:cubicBezTo>
                    <a:pt x="3005" y="1179"/>
                    <a:pt x="3005" y="1179"/>
                    <a:pt x="2992" y="1166"/>
                  </a:cubicBezTo>
                  <a:cubicBezTo>
                    <a:pt x="2992" y="1179"/>
                    <a:pt x="2992" y="1179"/>
                    <a:pt x="2992" y="1179"/>
                  </a:cubicBezTo>
                  <a:cubicBezTo>
                    <a:pt x="2992" y="1179"/>
                    <a:pt x="2992" y="1179"/>
                    <a:pt x="2979" y="1179"/>
                  </a:cubicBezTo>
                  <a:cubicBezTo>
                    <a:pt x="2979" y="1179"/>
                    <a:pt x="2979" y="1179"/>
                    <a:pt x="2979" y="1166"/>
                  </a:cubicBezTo>
                  <a:cubicBezTo>
                    <a:pt x="2979" y="1166"/>
                    <a:pt x="2979" y="1166"/>
                    <a:pt x="2992" y="1153"/>
                  </a:cubicBezTo>
                  <a:cubicBezTo>
                    <a:pt x="2986" y="1159"/>
                    <a:pt x="2979" y="1159"/>
                    <a:pt x="2979" y="1166"/>
                  </a:cubicBezTo>
                  <a:cubicBezTo>
                    <a:pt x="2973" y="1166"/>
                    <a:pt x="2973" y="1172"/>
                    <a:pt x="2966" y="1179"/>
                  </a:cubicBezTo>
                  <a:cubicBezTo>
                    <a:pt x="2966" y="1179"/>
                    <a:pt x="2979" y="1192"/>
                    <a:pt x="2979" y="1198"/>
                  </a:cubicBezTo>
                  <a:cubicBezTo>
                    <a:pt x="2966" y="1198"/>
                    <a:pt x="2966" y="1211"/>
                    <a:pt x="2966" y="1224"/>
                  </a:cubicBezTo>
                  <a:cubicBezTo>
                    <a:pt x="2966" y="1224"/>
                    <a:pt x="2966" y="1237"/>
                    <a:pt x="2953" y="1237"/>
                  </a:cubicBezTo>
                  <a:cubicBezTo>
                    <a:pt x="2953" y="1224"/>
                    <a:pt x="2953" y="1211"/>
                    <a:pt x="2953" y="1211"/>
                  </a:cubicBezTo>
                  <a:cubicBezTo>
                    <a:pt x="2966" y="1198"/>
                    <a:pt x="2966" y="1198"/>
                    <a:pt x="2966" y="1198"/>
                  </a:cubicBezTo>
                  <a:cubicBezTo>
                    <a:pt x="2966" y="1192"/>
                    <a:pt x="2966" y="1192"/>
                    <a:pt x="2966" y="1192"/>
                  </a:cubicBezTo>
                  <a:cubicBezTo>
                    <a:pt x="2966" y="1192"/>
                    <a:pt x="2966" y="1192"/>
                    <a:pt x="2953" y="1192"/>
                  </a:cubicBezTo>
                  <a:cubicBezTo>
                    <a:pt x="2953" y="1192"/>
                    <a:pt x="2953" y="1192"/>
                    <a:pt x="2953" y="1179"/>
                  </a:cubicBezTo>
                  <a:cubicBezTo>
                    <a:pt x="2955" y="1177"/>
                    <a:pt x="2956" y="1175"/>
                    <a:pt x="2958" y="1173"/>
                  </a:cubicBezTo>
                  <a:cubicBezTo>
                    <a:pt x="2952" y="1176"/>
                    <a:pt x="2945" y="1178"/>
                    <a:pt x="2945" y="1184"/>
                  </a:cubicBezTo>
                  <a:cubicBezTo>
                    <a:pt x="2945" y="1184"/>
                    <a:pt x="2945" y="1184"/>
                    <a:pt x="2945" y="1175"/>
                  </a:cubicBezTo>
                  <a:cubicBezTo>
                    <a:pt x="2954" y="1170"/>
                    <a:pt x="2959" y="1168"/>
                    <a:pt x="2961" y="1167"/>
                  </a:cubicBezTo>
                  <a:cubicBezTo>
                    <a:pt x="2967" y="1154"/>
                    <a:pt x="2969" y="1137"/>
                    <a:pt x="2979" y="1127"/>
                  </a:cubicBezTo>
                  <a:cubicBezTo>
                    <a:pt x="2979" y="1127"/>
                    <a:pt x="2979" y="1127"/>
                    <a:pt x="2979" y="1114"/>
                  </a:cubicBezTo>
                  <a:cubicBezTo>
                    <a:pt x="2966" y="1127"/>
                    <a:pt x="2966" y="1127"/>
                    <a:pt x="2953" y="1127"/>
                  </a:cubicBezTo>
                  <a:cubicBezTo>
                    <a:pt x="2953" y="1127"/>
                    <a:pt x="2953" y="1127"/>
                    <a:pt x="2945" y="1127"/>
                  </a:cubicBezTo>
                  <a:cubicBezTo>
                    <a:pt x="2945" y="1127"/>
                    <a:pt x="2945" y="1127"/>
                    <a:pt x="2945" y="1128"/>
                  </a:cubicBezTo>
                  <a:cubicBezTo>
                    <a:pt x="2953" y="1128"/>
                    <a:pt x="2953" y="1128"/>
                    <a:pt x="2962" y="1135"/>
                  </a:cubicBezTo>
                  <a:cubicBezTo>
                    <a:pt x="2962" y="1135"/>
                    <a:pt x="2962" y="1135"/>
                    <a:pt x="2945" y="1135"/>
                  </a:cubicBezTo>
                  <a:cubicBezTo>
                    <a:pt x="2945" y="1149"/>
                    <a:pt x="2945" y="1149"/>
                    <a:pt x="2945" y="1149"/>
                  </a:cubicBezTo>
                  <a:cubicBezTo>
                    <a:pt x="2927" y="1149"/>
                    <a:pt x="2927" y="1149"/>
                    <a:pt x="2927" y="1149"/>
                  </a:cubicBezTo>
                  <a:cubicBezTo>
                    <a:pt x="2927" y="1149"/>
                    <a:pt x="2927" y="1149"/>
                    <a:pt x="2927" y="1135"/>
                  </a:cubicBezTo>
                  <a:cubicBezTo>
                    <a:pt x="2927" y="1121"/>
                    <a:pt x="2927" y="1121"/>
                    <a:pt x="2927" y="1121"/>
                  </a:cubicBezTo>
                  <a:cubicBezTo>
                    <a:pt x="2927" y="1116"/>
                    <a:pt x="2927" y="1115"/>
                    <a:pt x="2931" y="1114"/>
                  </a:cubicBezTo>
                  <a:cubicBezTo>
                    <a:pt x="2930" y="1114"/>
                    <a:pt x="2928" y="1114"/>
                    <a:pt x="2927" y="1114"/>
                  </a:cubicBezTo>
                  <a:cubicBezTo>
                    <a:pt x="2927" y="1114"/>
                    <a:pt x="2940" y="1114"/>
                    <a:pt x="2940" y="1101"/>
                  </a:cubicBezTo>
                  <a:cubicBezTo>
                    <a:pt x="2940" y="1101"/>
                    <a:pt x="2940" y="1101"/>
                    <a:pt x="2953" y="1101"/>
                  </a:cubicBezTo>
                  <a:cubicBezTo>
                    <a:pt x="2953" y="1101"/>
                    <a:pt x="2953" y="1101"/>
                    <a:pt x="2953" y="1088"/>
                  </a:cubicBezTo>
                  <a:cubicBezTo>
                    <a:pt x="2953" y="1088"/>
                    <a:pt x="2953" y="1088"/>
                    <a:pt x="2953" y="1075"/>
                  </a:cubicBezTo>
                  <a:cubicBezTo>
                    <a:pt x="2953" y="1075"/>
                    <a:pt x="2953" y="1075"/>
                    <a:pt x="2953" y="1062"/>
                  </a:cubicBezTo>
                  <a:cubicBezTo>
                    <a:pt x="2966" y="1062"/>
                    <a:pt x="2966" y="1062"/>
                    <a:pt x="2966" y="1049"/>
                  </a:cubicBezTo>
                  <a:cubicBezTo>
                    <a:pt x="2966" y="1049"/>
                    <a:pt x="2966" y="1049"/>
                    <a:pt x="2961" y="1049"/>
                  </a:cubicBezTo>
                  <a:cubicBezTo>
                    <a:pt x="2959" y="1054"/>
                    <a:pt x="2955" y="1060"/>
                    <a:pt x="2945" y="1060"/>
                  </a:cubicBezTo>
                  <a:cubicBezTo>
                    <a:pt x="2945" y="1060"/>
                    <a:pt x="2945" y="1060"/>
                    <a:pt x="2945" y="1047"/>
                  </a:cubicBezTo>
                  <a:cubicBezTo>
                    <a:pt x="2933" y="1047"/>
                    <a:pt x="2933" y="1060"/>
                    <a:pt x="2921" y="1060"/>
                  </a:cubicBezTo>
                  <a:cubicBezTo>
                    <a:pt x="2921" y="1047"/>
                    <a:pt x="2921" y="1047"/>
                    <a:pt x="2921" y="1047"/>
                  </a:cubicBezTo>
                  <a:cubicBezTo>
                    <a:pt x="2921" y="1034"/>
                    <a:pt x="2921" y="1034"/>
                    <a:pt x="2921" y="1034"/>
                  </a:cubicBezTo>
                  <a:cubicBezTo>
                    <a:pt x="2909" y="1034"/>
                    <a:pt x="2909" y="1034"/>
                    <a:pt x="2909" y="1034"/>
                  </a:cubicBezTo>
                  <a:cubicBezTo>
                    <a:pt x="2909" y="1021"/>
                    <a:pt x="2909" y="1021"/>
                    <a:pt x="2909" y="1021"/>
                  </a:cubicBezTo>
                  <a:cubicBezTo>
                    <a:pt x="2909" y="1021"/>
                    <a:pt x="2909" y="1021"/>
                    <a:pt x="2909" y="1007"/>
                  </a:cubicBezTo>
                  <a:cubicBezTo>
                    <a:pt x="2921" y="1021"/>
                    <a:pt x="2921" y="1021"/>
                    <a:pt x="2921" y="1021"/>
                  </a:cubicBezTo>
                  <a:cubicBezTo>
                    <a:pt x="2921" y="1014"/>
                    <a:pt x="2921" y="1014"/>
                    <a:pt x="2921" y="1007"/>
                  </a:cubicBezTo>
                  <a:cubicBezTo>
                    <a:pt x="2921" y="1007"/>
                    <a:pt x="2921" y="1007"/>
                    <a:pt x="2933" y="1007"/>
                  </a:cubicBezTo>
                  <a:close/>
                  <a:moveTo>
                    <a:pt x="2945" y="1043"/>
                  </a:moveTo>
                  <a:cubicBezTo>
                    <a:pt x="2945" y="1043"/>
                    <a:pt x="2945" y="1043"/>
                    <a:pt x="2947" y="1043"/>
                  </a:cubicBezTo>
                  <a:cubicBezTo>
                    <a:pt x="2946" y="1042"/>
                    <a:pt x="2945" y="1041"/>
                    <a:pt x="2945" y="1041"/>
                  </a:cubicBezTo>
                  <a:cubicBezTo>
                    <a:pt x="2945" y="1041"/>
                    <a:pt x="2945" y="1042"/>
                    <a:pt x="2945" y="1043"/>
                  </a:cubicBezTo>
                  <a:close/>
                  <a:moveTo>
                    <a:pt x="2927" y="1193"/>
                  </a:moveTo>
                  <a:cubicBezTo>
                    <a:pt x="2936" y="1193"/>
                    <a:pt x="2936" y="1193"/>
                    <a:pt x="2936" y="1202"/>
                  </a:cubicBezTo>
                  <a:cubicBezTo>
                    <a:pt x="2936" y="1193"/>
                    <a:pt x="2936" y="1193"/>
                    <a:pt x="2945" y="1193"/>
                  </a:cubicBezTo>
                  <a:cubicBezTo>
                    <a:pt x="2936" y="1184"/>
                    <a:pt x="2936" y="1184"/>
                    <a:pt x="2936" y="1184"/>
                  </a:cubicBezTo>
                  <a:cubicBezTo>
                    <a:pt x="2927" y="1184"/>
                    <a:pt x="2927" y="1184"/>
                    <a:pt x="2927" y="1184"/>
                  </a:cubicBezTo>
                  <a:cubicBezTo>
                    <a:pt x="2927" y="1193"/>
                    <a:pt x="2927" y="1193"/>
                    <a:pt x="2927" y="1193"/>
                  </a:cubicBezTo>
                  <a:close/>
                  <a:moveTo>
                    <a:pt x="2891" y="565"/>
                  </a:moveTo>
                  <a:cubicBezTo>
                    <a:pt x="2891" y="548"/>
                    <a:pt x="2891" y="548"/>
                    <a:pt x="2891" y="548"/>
                  </a:cubicBezTo>
                  <a:cubicBezTo>
                    <a:pt x="2874" y="548"/>
                    <a:pt x="2874" y="548"/>
                    <a:pt x="2874" y="548"/>
                  </a:cubicBezTo>
                  <a:cubicBezTo>
                    <a:pt x="2874" y="565"/>
                    <a:pt x="2874" y="565"/>
                    <a:pt x="2891" y="565"/>
                  </a:cubicBezTo>
                  <a:close/>
                  <a:moveTo>
                    <a:pt x="2865" y="565"/>
                  </a:moveTo>
                  <a:cubicBezTo>
                    <a:pt x="2865" y="565"/>
                    <a:pt x="2865" y="565"/>
                    <a:pt x="2874" y="565"/>
                  </a:cubicBezTo>
                  <a:cubicBezTo>
                    <a:pt x="2865" y="558"/>
                    <a:pt x="2865" y="558"/>
                    <a:pt x="2865" y="544"/>
                  </a:cubicBezTo>
                  <a:cubicBezTo>
                    <a:pt x="2856" y="544"/>
                    <a:pt x="2856" y="544"/>
                    <a:pt x="2856" y="530"/>
                  </a:cubicBezTo>
                  <a:cubicBezTo>
                    <a:pt x="2856" y="544"/>
                    <a:pt x="2856" y="544"/>
                    <a:pt x="2856" y="544"/>
                  </a:cubicBezTo>
                  <a:cubicBezTo>
                    <a:pt x="2856" y="544"/>
                    <a:pt x="2856" y="544"/>
                    <a:pt x="2856" y="558"/>
                  </a:cubicBezTo>
                  <a:cubicBezTo>
                    <a:pt x="2865" y="558"/>
                    <a:pt x="2865" y="558"/>
                    <a:pt x="2865" y="565"/>
                  </a:cubicBezTo>
                  <a:close/>
                  <a:moveTo>
                    <a:pt x="2874" y="1007"/>
                  </a:moveTo>
                  <a:cubicBezTo>
                    <a:pt x="2856" y="1007"/>
                    <a:pt x="2856" y="1007"/>
                    <a:pt x="2856" y="1007"/>
                  </a:cubicBezTo>
                  <a:cubicBezTo>
                    <a:pt x="2856" y="1025"/>
                    <a:pt x="2856" y="1025"/>
                    <a:pt x="2856" y="1025"/>
                  </a:cubicBezTo>
                  <a:cubicBezTo>
                    <a:pt x="2874" y="1025"/>
                    <a:pt x="2874" y="1025"/>
                    <a:pt x="2874" y="1025"/>
                  </a:cubicBezTo>
                  <a:cubicBezTo>
                    <a:pt x="2874" y="1007"/>
                    <a:pt x="2874" y="1007"/>
                    <a:pt x="2874" y="1007"/>
                  </a:cubicBezTo>
                  <a:close/>
                  <a:moveTo>
                    <a:pt x="2891" y="618"/>
                  </a:moveTo>
                  <a:cubicBezTo>
                    <a:pt x="2874" y="601"/>
                    <a:pt x="2874" y="601"/>
                    <a:pt x="2874" y="601"/>
                  </a:cubicBezTo>
                  <a:cubicBezTo>
                    <a:pt x="2874" y="618"/>
                    <a:pt x="2874" y="618"/>
                    <a:pt x="2874" y="618"/>
                  </a:cubicBezTo>
                  <a:cubicBezTo>
                    <a:pt x="2874" y="636"/>
                    <a:pt x="2874" y="636"/>
                    <a:pt x="2874" y="636"/>
                  </a:cubicBezTo>
                  <a:cubicBezTo>
                    <a:pt x="2874" y="636"/>
                    <a:pt x="2874" y="636"/>
                    <a:pt x="2891" y="636"/>
                  </a:cubicBezTo>
                  <a:cubicBezTo>
                    <a:pt x="2891" y="636"/>
                    <a:pt x="2891" y="636"/>
                    <a:pt x="2891" y="6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50" name="Group 49">
            <a:extLst>
              <a:ext uri="{FF2B5EF4-FFF2-40B4-BE49-F238E27FC236}">
                <a16:creationId xmlns:a16="http://schemas.microsoft.com/office/drawing/2014/main" id="{3094D892-7DE9-43E0-98BD-161432A49EE4}"/>
              </a:ext>
            </a:extLst>
          </p:cNvPr>
          <p:cNvGrpSpPr>
            <a:grpSpLocks noChangeAspect="1"/>
          </p:cNvGrpSpPr>
          <p:nvPr/>
        </p:nvGrpSpPr>
        <p:grpSpPr>
          <a:xfrm>
            <a:off x="6192490" y="2942079"/>
            <a:ext cx="1005840" cy="795550"/>
            <a:chOff x="1447184" y="3111690"/>
            <a:chExt cx="2808090" cy="2221004"/>
          </a:xfrm>
        </p:grpSpPr>
        <p:grpSp>
          <p:nvGrpSpPr>
            <p:cNvPr id="51" name="Group 50">
              <a:extLst>
                <a:ext uri="{FF2B5EF4-FFF2-40B4-BE49-F238E27FC236}">
                  <a16:creationId xmlns:a16="http://schemas.microsoft.com/office/drawing/2014/main" id="{C225FAFC-1F01-4D1C-97BA-CFF03750F371}"/>
                </a:ext>
              </a:extLst>
            </p:cNvPr>
            <p:cNvGrpSpPr/>
            <p:nvPr/>
          </p:nvGrpSpPr>
          <p:grpSpPr>
            <a:xfrm>
              <a:off x="1727987" y="3111690"/>
              <a:ext cx="2228444" cy="2221004"/>
              <a:chOff x="1727987" y="3111690"/>
              <a:chExt cx="2228444" cy="2221004"/>
            </a:xfrm>
          </p:grpSpPr>
          <p:sp>
            <p:nvSpPr>
              <p:cNvPr id="61" name="Oval 6">
                <a:extLst>
                  <a:ext uri="{FF2B5EF4-FFF2-40B4-BE49-F238E27FC236}">
                    <a16:creationId xmlns:a16="http://schemas.microsoft.com/office/drawing/2014/main" id="{B1C48779-DC72-4946-A7A5-33205FDFDB90}"/>
                  </a:ext>
                </a:extLst>
              </p:cNvPr>
              <p:cNvSpPr>
                <a:spLocks noChangeArrowheads="1"/>
              </p:cNvSpPr>
              <p:nvPr/>
            </p:nvSpPr>
            <p:spPr bwMode="auto">
              <a:xfrm>
                <a:off x="1727987" y="3111690"/>
                <a:ext cx="2228444" cy="2221004"/>
              </a:xfrm>
              <a:prstGeom prst="ellipse">
                <a:avLst/>
              </a:prstGeom>
              <a:solidFill>
                <a:schemeClr val="accent3">
                  <a:lumMod val="20000"/>
                  <a:lumOff val="80000"/>
                </a:schemeClr>
              </a:solidFill>
              <a:ln w="12700"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2" name="Oval 6">
                <a:extLst>
                  <a:ext uri="{FF2B5EF4-FFF2-40B4-BE49-F238E27FC236}">
                    <a16:creationId xmlns:a16="http://schemas.microsoft.com/office/drawing/2014/main" id="{A403E7EE-A49F-4726-9AD1-8AD01D00D710}"/>
                  </a:ext>
                </a:extLst>
              </p:cNvPr>
              <p:cNvSpPr>
                <a:spLocks noChangeArrowheads="1"/>
              </p:cNvSpPr>
              <p:nvPr/>
            </p:nvSpPr>
            <p:spPr bwMode="auto">
              <a:xfrm>
                <a:off x="2114686" y="3497099"/>
                <a:ext cx="1455044" cy="1450186"/>
              </a:xfrm>
              <a:prstGeom prst="ellipse">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52" name="Group 51">
              <a:extLst>
                <a:ext uri="{FF2B5EF4-FFF2-40B4-BE49-F238E27FC236}">
                  <a16:creationId xmlns:a16="http://schemas.microsoft.com/office/drawing/2014/main" id="{4C1564D1-2BCF-4C9C-85E4-3008FF1D073F}"/>
                </a:ext>
              </a:extLst>
            </p:cNvPr>
            <p:cNvGrpSpPr/>
            <p:nvPr/>
          </p:nvGrpSpPr>
          <p:grpSpPr>
            <a:xfrm>
              <a:off x="3168675" y="3483915"/>
              <a:ext cx="1086599" cy="645298"/>
              <a:chOff x="3168675" y="3483915"/>
              <a:chExt cx="1086599" cy="645298"/>
            </a:xfrm>
          </p:grpSpPr>
          <p:sp>
            <p:nvSpPr>
              <p:cNvPr id="59" name="Freeform 7">
                <a:extLst>
                  <a:ext uri="{FF2B5EF4-FFF2-40B4-BE49-F238E27FC236}">
                    <a16:creationId xmlns:a16="http://schemas.microsoft.com/office/drawing/2014/main" id="{2F2AA786-E124-4A31-B10D-2A6B28045900}"/>
                  </a:ext>
                </a:extLst>
              </p:cNvPr>
              <p:cNvSpPr>
                <a:spLocks/>
              </p:cNvSpPr>
              <p:nvPr/>
            </p:nvSpPr>
            <p:spPr bwMode="auto">
              <a:xfrm>
                <a:off x="3168675" y="3483915"/>
                <a:ext cx="1086599" cy="645298"/>
              </a:xfrm>
              <a:custGeom>
                <a:avLst/>
                <a:gdLst>
                  <a:gd name="T0" fmla="*/ 1729 w 1914"/>
                  <a:gd name="T1" fmla="*/ 1141 h 1141"/>
                  <a:gd name="T2" fmla="*/ 181 w 1914"/>
                  <a:gd name="T3" fmla="*/ 1141 h 1141"/>
                  <a:gd name="T4" fmla="*/ 0 w 1914"/>
                  <a:gd name="T5" fmla="*/ 962 h 1141"/>
                  <a:gd name="T6" fmla="*/ 0 w 1914"/>
                  <a:gd name="T7" fmla="*/ 183 h 1141"/>
                  <a:gd name="T8" fmla="*/ 181 w 1914"/>
                  <a:gd name="T9" fmla="*/ 0 h 1141"/>
                  <a:gd name="T10" fmla="*/ 1729 w 1914"/>
                  <a:gd name="T11" fmla="*/ 0 h 1141"/>
                  <a:gd name="T12" fmla="*/ 1914 w 1914"/>
                  <a:gd name="T13" fmla="*/ 183 h 1141"/>
                  <a:gd name="T14" fmla="*/ 1914 w 1914"/>
                  <a:gd name="T15" fmla="*/ 962 h 1141"/>
                  <a:gd name="T16" fmla="*/ 1729 w 1914"/>
                  <a:gd name="T17" fmla="*/ 1141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4" h="1141">
                    <a:moveTo>
                      <a:pt x="1729" y="1141"/>
                    </a:moveTo>
                    <a:cubicBezTo>
                      <a:pt x="181" y="1141"/>
                      <a:pt x="181" y="1141"/>
                      <a:pt x="181" y="1141"/>
                    </a:cubicBezTo>
                    <a:cubicBezTo>
                      <a:pt x="82" y="1141"/>
                      <a:pt x="0" y="1059"/>
                      <a:pt x="0" y="962"/>
                    </a:cubicBezTo>
                    <a:cubicBezTo>
                      <a:pt x="0" y="183"/>
                      <a:pt x="0" y="183"/>
                      <a:pt x="0" y="183"/>
                    </a:cubicBezTo>
                    <a:cubicBezTo>
                      <a:pt x="0" y="81"/>
                      <a:pt x="82" y="0"/>
                      <a:pt x="181" y="0"/>
                    </a:cubicBezTo>
                    <a:cubicBezTo>
                      <a:pt x="1729" y="0"/>
                      <a:pt x="1729" y="0"/>
                      <a:pt x="1729" y="0"/>
                    </a:cubicBezTo>
                    <a:cubicBezTo>
                      <a:pt x="1832" y="0"/>
                      <a:pt x="1914" y="81"/>
                      <a:pt x="1914" y="183"/>
                    </a:cubicBezTo>
                    <a:cubicBezTo>
                      <a:pt x="1914" y="962"/>
                      <a:pt x="1914" y="962"/>
                      <a:pt x="1914" y="962"/>
                    </a:cubicBezTo>
                    <a:cubicBezTo>
                      <a:pt x="1914" y="1059"/>
                      <a:pt x="1832" y="1141"/>
                      <a:pt x="1729" y="1141"/>
                    </a:cubicBezTo>
                    <a:close/>
                  </a:path>
                </a:pathLst>
              </a:custGeom>
              <a:solidFill>
                <a:schemeClr val="accent3">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60" name="Freeform: Shape 56">
                <a:extLst>
                  <a:ext uri="{FF2B5EF4-FFF2-40B4-BE49-F238E27FC236}">
                    <a16:creationId xmlns:a16="http://schemas.microsoft.com/office/drawing/2014/main" id="{C43364CD-2087-4E38-B543-26FDF6F83856}"/>
                  </a:ext>
                </a:extLst>
              </p:cNvPr>
              <p:cNvSpPr>
                <a:spLocks noChangeArrowheads="1"/>
              </p:cNvSpPr>
              <p:nvPr/>
            </p:nvSpPr>
            <p:spPr bwMode="auto">
              <a:xfrm>
                <a:off x="3407365" y="3616445"/>
                <a:ext cx="611993" cy="386485"/>
              </a:xfrm>
              <a:custGeom>
                <a:avLst/>
                <a:gdLst>
                  <a:gd name="connsiteX0" fmla="*/ 290586 w 787066"/>
                  <a:gd name="connsiteY0" fmla="*/ 168657 h 497047"/>
                  <a:gd name="connsiteX1" fmla="*/ 317601 w 787066"/>
                  <a:gd name="connsiteY1" fmla="*/ 180282 h 497047"/>
                  <a:gd name="connsiteX2" fmla="*/ 320521 w 787066"/>
                  <a:gd name="connsiteY2" fmla="*/ 180282 h 497047"/>
                  <a:gd name="connsiteX3" fmla="*/ 500130 w 787066"/>
                  <a:gd name="connsiteY3" fmla="*/ 364093 h 497047"/>
                  <a:gd name="connsiteX4" fmla="*/ 574602 w 787066"/>
                  <a:gd name="connsiteY4" fmla="*/ 287081 h 497047"/>
                  <a:gd name="connsiteX5" fmla="*/ 604537 w 787066"/>
                  <a:gd name="connsiteY5" fmla="*/ 274730 h 497047"/>
                  <a:gd name="connsiteX6" fmla="*/ 634472 w 787066"/>
                  <a:gd name="connsiteY6" fmla="*/ 287081 h 497047"/>
                  <a:gd name="connsiteX7" fmla="*/ 771734 w 787066"/>
                  <a:gd name="connsiteY7" fmla="*/ 425848 h 497047"/>
                  <a:gd name="connsiteX8" fmla="*/ 775384 w 787066"/>
                  <a:gd name="connsiteY8" fmla="*/ 425848 h 497047"/>
                  <a:gd name="connsiteX9" fmla="*/ 787066 w 787066"/>
                  <a:gd name="connsiteY9" fmla="*/ 455635 h 497047"/>
                  <a:gd name="connsiteX10" fmla="*/ 745449 w 787066"/>
                  <a:gd name="connsiteY10" fmla="*/ 497047 h 497047"/>
                  <a:gd name="connsiteX11" fmla="*/ 742529 w 787066"/>
                  <a:gd name="connsiteY11" fmla="*/ 497047 h 497047"/>
                  <a:gd name="connsiteX12" fmla="*/ 535906 w 787066"/>
                  <a:gd name="connsiteY12" fmla="*/ 497047 h 497047"/>
                  <a:gd name="connsiteX13" fmla="*/ 365058 w 787066"/>
                  <a:gd name="connsiteY13" fmla="*/ 497047 h 497047"/>
                  <a:gd name="connsiteX14" fmla="*/ 42347 w 787066"/>
                  <a:gd name="connsiteY14" fmla="*/ 497047 h 497047"/>
                  <a:gd name="connsiteX15" fmla="*/ 0 w 787066"/>
                  <a:gd name="connsiteY15" fmla="*/ 455635 h 497047"/>
                  <a:gd name="connsiteX16" fmla="*/ 9491 w 787066"/>
                  <a:gd name="connsiteY16" fmla="*/ 428754 h 497047"/>
                  <a:gd name="connsiteX17" fmla="*/ 260652 w 787066"/>
                  <a:gd name="connsiteY17" fmla="*/ 180282 h 497047"/>
                  <a:gd name="connsiteX18" fmla="*/ 290586 w 787066"/>
                  <a:gd name="connsiteY18" fmla="*/ 168657 h 497047"/>
                  <a:gd name="connsiteX19" fmla="*/ 659904 w 787066"/>
                  <a:gd name="connsiteY19" fmla="*/ 0 h 497047"/>
                  <a:gd name="connsiteX20" fmla="*/ 751372 w 787066"/>
                  <a:gd name="connsiteY20" fmla="*/ 91468 h 497047"/>
                  <a:gd name="connsiteX21" fmla="*/ 659904 w 787066"/>
                  <a:gd name="connsiteY21" fmla="*/ 182936 h 497047"/>
                  <a:gd name="connsiteX22" fmla="*/ 568436 w 787066"/>
                  <a:gd name="connsiteY22" fmla="*/ 91468 h 497047"/>
                  <a:gd name="connsiteX23" fmla="*/ 659904 w 787066"/>
                  <a:gd name="connsiteY23" fmla="*/ 0 h 49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7066" h="497047">
                    <a:moveTo>
                      <a:pt x="290586" y="168657"/>
                    </a:moveTo>
                    <a:cubicBezTo>
                      <a:pt x="299348" y="168657"/>
                      <a:pt x="311030" y="171563"/>
                      <a:pt x="317601" y="180282"/>
                    </a:cubicBezTo>
                    <a:cubicBezTo>
                      <a:pt x="317601" y="180282"/>
                      <a:pt x="317601" y="180282"/>
                      <a:pt x="320521" y="180282"/>
                    </a:cubicBezTo>
                    <a:cubicBezTo>
                      <a:pt x="320521" y="180282"/>
                      <a:pt x="320521" y="180282"/>
                      <a:pt x="500130" y="364093"/>
                    </a:cubicBezTo>
                    <a:cubicBezTo>
                      <a:pt x="500130" y="364093"/>
                      <a:pt x="500130" y="364093"/>
                      <a:pt x="574602" y="287081"/>
                    </a:cubicBezTo>
                    <a:cubicBezTo>
                      <a:pt x="583364" y="281269"/>
                      <a:pt x="592855" y="274730"/>
                      <a:pt x="604537" y="274730"/>
                    </a:cubicBezTo>
                    <a:cubicBezTo>
                      <a:pt x="616219" y="274730"/>
                      <a:pt x="628631" y="281269"/>
                      <a:pt x="634472" y="287081"/>
                    </a:cubicBezTo>
                    <a:cubicBezTo>
                      <a:pt x="634472" y="287081"/>
                      <a:pt x="634472" y="287081"/>
                      <a:pt x="771734" y="425848"/>
                    </a:cubicBezTo>
                    <a:cubicBezTo>
                      <a:pt x="771734" y="425848"/>
                      <a:pt x="771734" y="425848"/>
                      <a:pt x="775384" y="425848"/>
                    </a:cubicBezTo>
                    <a:cubicBezTo>
                      <a:pt x="781225" y="434566"/>
                      <a:pt x="787066" y="443284"/>
                      <a:pt x="787066" y="455635"/>
                    </a:cubicBezTo>
                    <a:cubicBezTo>
                      <a:pt x="787066" y="478884"/>
                      <a:pt x="765893" y="497047"/>
                      <a:pt x="745449" y="497047"/>
                    </a:cubicBezTo>
                    <a:cubicBezTo>
                      <a:pt x="745449" y="497047"/>
                      <a:pt x="745449" y="497047"/>
                      <a:pt x="742529" y="497047"/>
                    </a:cubicBezTo>
                    <a:cubicBezTo>
                      <a:pt x="742529" y="497047"/>
                      <a:pt x="742529" y="497047"/>
                      <a:pt x="535906" y="497047"/>
                    </a:cubicBezTo>
                    <a:cubicBezTo>
                      <a:pt x="535906" y="497047"/>
                      <a:pt x="535906" y="497047"/>
                      <a:pt x="365058" y="497047"/>
                    </a:cubicBezTo>
                    <a:cubicBezTo>
                      <a:pt x="365058" y="497047"/>
                      <a:pt x="365058" y="497047"/>
                      <a:pt x="42347" y="497047"/>
                    </a:cubicBezTo>
                    <a:cubicBezTo>
                      <a:pt x="18253" y="497047"/>
                      <a:pt x="0" y="478884"/>
                      <a:pt x="0" y="455635"/>
                    </a:cubicBezTo>
                    <a:cubicBezTo>
                      <a:pt x="0" y="446190"/>
                      <a:pt x="2920" y="434566"/>
                      <a:pt x="9491" y="428754"/>
                    </a:cubicBezTo>
                    <a:cubicBezTo>
                      <a:pt x="9491" y="428754"/>
                      <a:pt x="9491" y="428754"/>
                      <a:pt x="260652" y="180282"/>
                    </a:cubicBezTo>
                    <a:cubicBezTo>
                      <a:pt x="266493" y="171563"/>
                      <a:pt x="278174" y="168657"/>
                      <a:pt x="290586" y="168657"/>
                    </a:cubicBezTo>
                    <a:close/>
                    <a:moveTo>
                      <a:pt x="659904" y="0"/>
                    </a:moveTo>
                    <a:cubicBezTo>
                      <a:pt x="710420" y="0"/>
                      <a:pt x="751372" y="40952"/>
                      <a:pt x="751372" y="91468"/>
                    </a:cubicBezTo>
                    <a:cubicBezTo>
                      <a:pt x="751372" y="141984"/>
                      <a:pt x="710420" y="182936"/>
                      <a:pt x="659904" y="182936"/>
                    </a:cubicBezTo>
                    <a:cubicBezTo>
                      <a:pt x="609388" y="182936"/>
                      <a:pt x="568436" y="141984"/>
                      <a:pt x="568436" y="91468"/>
                    </a:cubicBezTo>
                    <a:cubicBezTo>
                      <a:pt x="568436" y="40952"/>
                      <a:pt x="609388" y="0"/>
                      <a:pt x="659904" y="0"/>
                    </a:cubicBez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53" name="Group 52">
              <a:extLst>
                <a:ext uri="{FF2B5EF4-FFF2-40B4-BE49-F238E27FC236}">
                  <a16:creationId xmlns:a16="http://schemas.microsoft.com/office/drawing/2014/main" id="{5A40FA2D-FF63-4ED8-AFBE-8265200545A6}"/>
                </a:ext>
              </a:extLst>
            </p:cNvPr>
            <p:cNvGrpSpPr/>
            <p:nvPr/>
          </p:nvGrpSpPr>
          <p:grpSpPr>
            <a:xfrm>
              <a:off x="1447184" y="4301987"/>
              <a:ext cx="1081049" cy="645298"/>
              <a:chOff x="1447184" y="4301987"/>
              <a:chExt cx="1081049" cy="645298"/>
            </a:xfrm>
          </p:grpSpPr>
          <p:sp>
            <p:nvSpPr>
              <p:cNvPr id="57" name="Freeform 11">
                <a:extLst>
                  <a:ext uri="{FF2B5EF4-FFF2-40B4-BE49-F238E27FC236}">
                    <a16:creationId xmlns:a16="http://schemas.microsoft.com/office/drawing/2014/main" id="{A2742127-3088-4145-8460-BF4B4A24554D}"/>
                  </a:ext>
                </a:extLst>
              </p:cNvPr>
              <p:cNvSpPr>
                <a:spLocks/>
              </p:cNvSpPr>
              <p:nvPr/>
            </p:nvSpPr>
            <p:spPr bwMode="auto">
              <a:xfrm>
                <a:off x="1447184" y="4301987"/>
                <a:ext cx="1081049" cy="645298"/>
              </a:xfrm>
              <a:custGeom>
                <a:avLst/>
                <a:gdLst>
                  <a:gd name="T0" fmla="*/ 1721 w 1905"/>
                  <a:gd name="T1" fmla="*/ 1141 h 1141"/>
                  <a:gd name="T2" fmla="*/ 183 w 1905"/>
                  <a:gd name="T3" fmla="*/ 1141 h 1141"/>
                  <a:gd name="T4" fmla="*/ 0 w 1905"/>
                  <a:gd name="T5" fmla="*/ 958 h 1141"/>
                  <a:gd name="T6" fmla="*/ 0 w 1905"/>
                  <a:gd name="T7" fmla="*/ 182 h 1141"/>
                  <a:gd name="T8" fmla="*/ 183 w 1905"/>
                  <a:gd name="T9" fmla="*/ 0 h 1141"/>
                  <a:gd name="T10" fmla="*/ 1721 w 1905"/>
                  <a:gd name="T11" fmla="*/ 0 h 1141"/>
                  <a:gd name="T12" fmla="*/ 1905 w 1905"/>
                  <a:gd name="T13" fmla="*/ 182 h 1141"/>
                  <a:gd name="T14" fmla="*/ 1905 w 1905"/>
                  <a:gd name="T15" fmla="*/ 958 h 1141"/>
                  <a:gd name="T16" fmla="*/ 1721 w 1905"/>
                  <a:gd name="T17" fmla="*/ 1141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5" h="1141">
                    <a:moveTo>
                      <a:pt x="1721" y="1141"/>
                    </a:moveTo>
                    <a:cubicBezTo>
                      <a:pt x="183" y="1141"/>
                      <a:pt x="183" y="1141"/>
                      <a:pt x="183" y="1141"/>
                    </a:cubicBezTo>
                    <a:cubicBezTo>
                      <a:pt x="81" y="1141"/>
                      <a:pt x="0" y="1060"/>
                      <a:pt x="0" y="958"/>
                    </a:cubicBezTo>
                    <a:cubicBezTo>
                      <a:pt x="0" y="182"/>
                      <a:pt x="0" y="182"/>
                      <a:pt x="0" y="182"/>
                    </a:cubicBezTo>
                    <a:cubicBezTo>
                      <a:pt x="0" y="81"/>
                      <a:pt x="81" y="0"/>
                      <a:pt x="183" y="0"/>
                    </a:cubicBezTo>
                    <a:cubicBezTo>
                      <a:pt x="1721" y="0"/>
                      <a:pt x="1721" y="0"/>
                      <a:pt x="1721" y="0"/>
                    </a:cubicBezTo>
                    <a:cubicBezTo>
                      <a:pt x="1824" y="0"/>
                      <a:pt x="1905" y="81"/>
                      <a:pt x="1905" y="182"/>
                    </a:cubicBezTo>
                    <a:cubicBezTo>
                      <a:pt x="1905" y="958"/>
                      <a:pt x="1905" y="958"/>
                      <a:pt x="1905" y="958"/>
                    </a:cubicBezTo>
                    <a:cubicBezTo>
                      <a:pt x="1905" y="1060"/>
                      <a:pt x="1824" y="1141"/>
                      <a:pt x="1721" y="1141"/>
                    </a:cubicBezTo>
                    <a:close/>
                  </a:path>
                </a:pathLst>
              </a:custGeom>
              <a:solidFill>
                <a:schemeClr val="accent3">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8" name="Freeform 12">
                <a:extLst>
                  <a:ext uri="{FF2B5EF4-FFF2-40B4-BE49-F238E27FC236}">
                    <a16:creationId xmlns:a16="http://schemas.microsoft.com/office/drawing/2014/main" id="{BD1EE341-9611-4AAF-9F8B-5B6938503A06}"/>
                  </a:ext>
                </a:extLst>
              </p:cNvPr>
              <p:cNvSpPr>
                <a:spLocks/>
              </p:cNvSpPr>
              <p:nvPr/>
            </p:nvSpPr>
            <p:spPr bwMode="auto">
              <a:xfrm>
                <a:off x="1807303" y="4419945"/>
                <a:ext cx="290731" cy="435056"/>
              </a:xfrm>
              <a:custGeom>
                <a:avLst/>
                <a:gdLst>
                  <a:gd name="T0" fmla="*/ 512 w 512"/>
                  <a:gd name="T1" fmla="*/ 36 h 769"/>
                  <a:gd name="T2" fmla="*/ 512 w 512"/>
                  <a:gd name="T3" fmla="*/ 12 h 769"/>
                  <a:gd name="T4" fmla="*/ 508 w 512"/>
                  <a:gd name="T5" fmla="*/ 4 h 769"/>
                  <a:gd name="T6" fmla="*/ 496 w 512"/>
                  <a:gd name="T7" fmla="*/ 0 h 769"/>
                  <a:gd name="T8" fmla="*/ 123 w 512"/>
                  <a:gd name="T9" fmla="*/ 134 h 769"/>
                  <a:gd name="T10" fmla="*/ 115 w 512"/>
                  <a:gd name="T11" fmla="*/ 150 h 769"/>
                  <a:gd name="T12" fmla="*/ 115 w 512"/>
                  <a:gd name="T13" fmla="*/ 159 h 769"/>
                  <a:gd name="T14" fmla="*/ 115 w 512"/>
                  <a:gd name="T15" fmla="*/ 594 h 769"/>
                  <a:gd name="T16" fmla="*/ 94 w 512"/>
                  <a:gd name="T17" fmla="*/ 594 h 769"/>
                  <a:gd name="T18" fmla="*/ 0 w 512"/>
                  <a:gd name="T19" fmla="*/ 679 h 769"/>
                  <a:gd name="T20" fmla="*/ 94 w 512"/>
                  <a:gd name="T21" fmla="*/ 769 h 769"/>
                  <a:gd name="T22" fmla="*/ 184 w 512"/>
                  <a:gd name="T23" fmla="*/ 679 h 769"/>
                  <a:gd name="T24" fmla="*/ 184 w 512"/>
                  <a:gd name="T25" fmla="*/ 285 h 769"/>
                  <a:gd name="T26" fmla="*/ 442 w 512"/>
                  <a:gd name="T27" fmla="*/ 191 h 769"/>
                  <a:gd name="T28" fmla="*/ 442 w 512"/>
                  <a:gd name="T29" fmla="*/ 476 h 769"/>
                  <a:gd name="T30" fmla="*/ 422 w 512"/>
                  <a:gd name="T31" fmla="*/ 472 h 769"/>
                  <a:gd name="T32" fmla="*/ 328 w 512"/>
                  <a:gd name="T33" fmla="*/ 561 h 769"/>
                  <a:gd name="T34" fmla="*/ 422 w 512"/>
                  <a:gd name="T35" fmla="*/ 651 h 769"/>
                  <a:gd name="T36" fmla="*/ 512 w 512"/>
                  <a:gd name="T37" fmla="*/ 561 h 769"/>
                  <a:gd name="T38" fmla="*/ 512 w 512"/>
                  <a:gd name="T39" fmla="*/ 36 h 769"/>
                  <a:gd name="T40" fmla="*/ 512 w 512"/>
                  <a:gd name="T41" fmla="*/ 3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769">
                    <a:moveTo>
                      <a:pt x="512" y="36"/>
                    </a:moveTo>
                    <a:cubicBezTo>
                      <a:pt x="512" y="12"/>
                      <a:pt x="512" y="12"/>
                      <a:pt x="512" y="12"/>
                    </a:cubicBezTo>
                    <a:cubicBezTo>
                      <a:pt x="512" y="8"/>
                      <a:pt x="512" y="4"/>
                      <a:pt x="508" y="4"/>
                    </a:cubicBezTo>
                    <a:cubicBezTo>
                      <a:pt x="504" y="0"/>
                      <a:pt x="500" y="0"/>
                      <a:pt x="496" y="0"/>
                    </a:cubicBezTo>
                    <a:cubicBezTo>
                      <a:pt x="123" y="134"/>
                      <a:pt x="123" y="134"/>
                      <a:pt x="123" y="134"/>
                    </a:cubicBezTo>
                    <a:cubicBezTo>
                      <a:pt x="119" y="138"/>
                      <a:pt x="115" y="142"/>
                      <a:pt x="115" y="150"/>
                    </a:cubicBezTo>
                    <a:cubicBezTo>
                      <a:pt x="115" y="159"/>
                      <a:pt x="115" y="159"/>
                      <a:pt x="115" y="159"/>
                    </a:cubicBezTo>
                    <a:cubicBezTo>
                      <a:pt x="115" y="594"/>
                      <a:pt x="115" y="594"/>
                      <a:pt x="115" y="594"/>
                    </a:cubicBezTo>
                    <a:cubicBezTo>
                      <a:pt x="110" y="594"/>
                      <a:pt x="102" y="594"/>
                      <a:pt x="94" y="594"/>
                    </a:cubicBezTo>
                    <a:cubicBezTo>
                      <a:pt x="41" y="594"/>
                      <a:pt x="0" y="630"/>
                      <a:pt x="0" y="679"/>
                    </a:cubicBezTo>
                    <a:cubicBezTo>
                      <a:pt x="0" y="728"/>
                      <a:pt x="41" y="769"/>
                      <a:pt x="94" y="769"/>
                    </a:cubicBezTo>
                    <a:cubicBezTo>
                      <a:pt x="143" y="769"/>
                      <a:pt x="184" y="728"/>
                      <a:pt x="184" y="679"/>
                    </a:cubicBezTo>
                    <a:cubicBezTo>
                      <a:pt x="184" y="285"/>
                      <a:pt x="184" y="285"/>
                      <a:pt x="184" y="285"/>
                    </a:cubicBezTo>
                    <a:cubicBezTo>
                      <a:pt x="442" y="191"/>
                      <a:pt x="442" y="191"/>
                      <a:pt x="442" y="191"/>
                    </a:cubicBezTo>
                    <a:cubicBezTo>
                      <a:pt x="442" y="476"/>
                      <a:pt x="442" y="476"/>
                      <a:pt x="442" y="476"/>
                    </a:cubicBezTo>
                    <a:cubicBezTo>
                      <a:pt x="438" y="476"/>
                      <a:pt x="430" y="472"/>
                      <a:pt x="422" y="472"/>
                    </a:cubicBezTo>
                    <a:cubicBezTo>
                      <a:pt x="369" y="472"/>
                      <a:pt x="328" y="512"/>
                      <a:pt x="328" y="561"/>
                    </a:cubicBezTo>
                    <a:cubicBezTo>
                      <a:pt x="328" y="610"/>
                      <a:pt x="369" y="651"/>
                      <a:pt x="422" y="651"/>
                    </a:cubicBezTo>
                    <a:cubicBezTo>
                      <a:pt x="471" y="651"/>
                      <a:pt x="512" y="610"/>
                      <a:pt x="512" y="561"/>
                    </a:cubicBezTo>
                    <a:cubicBezTo>
                      <a:pt x="512" y="36"/>
                      <a:pt x="512" y="36"/>
                      <a:pt x="512" y="36"/>
                    </a:cubicBezTo>
                    <a:cubicBezTo>
                      <a:pt x="512" y="36"/>
                      <a:pt x="512" y="36"/>
                      <a:pt x="512" y="36"/>
                    </a:cubicBez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54" name="Group 53">
              <a:extLst>
                <a:ext uri="{FF2B5EF4-FFF2-40B4-BE49-F238E27FC236}">
                  <a16:creationId xmlns:a16="http://schemas.microsoft.com/office/drawing/2014/main" id="{D0A0CFE1-A1FF-4807-84BE-C3D813A28248}"/>
                </a:ext>
              </a:extLst>
            </p:cNvPr>
            <p:cNvGrpSpPr/>
            <p:nvPr/>
          </p:nvGrpSpPr>
          <p:grpSpPr>
            <a:xfrm>
              <a:off x="2296481" y="3898849"/>
              <a:ext cx="1090763" cy="646686"/>
              <a:chOff x="2296481" y="3898849"/>
              <a:chExt cx="1090763" cy="646686"/>
            </a:xfrm>
          </p:grpSpPr>
          <p:sp>
            <p:nvSpPr>
              <p:cNvPr id="55" name="Freeform 10">
                <a:extLst>
                  <a:ext uri="{FF2B5EF4-FFF2-40B4-BE49-F238E27FC236}">
                    <a16:creationId xmlns:a16="http://schemas.microsoft.com/office/drawing/2014/main" id="{BD6956F2-59A8-4923-BA45-E033F81BFD25}"/>
                  </a:ext>
                </a:extLst>
              </p:cNvPr>
              <p:cNvSpPr>
                <a:spLocks/>
              </p:cNvSpPr>
              <p:nvPr/>
            </p:nvSpPr>
            <p:spPr bwMode="auto">
              <a:xfrm>
                <a:off x="2296481" y="3898849"/>
                <a:ext cx="1090763" cy="646686"/>
              </a:xfrm>
              <a:custGeom>
                <a:avLst/>
                <a:gdLst>
                  <a:gd name="T0" fmla="*/ 1737 w 1921"/>
                  <a:gd name="T1" fmla="*/ 1142 h 1142"/>
                  <a:gd name="T2" fmla="*/ 185 w 1921"/>
                  <a:gd name="T3" fmla="*/ 1142 h 1142"/>
                  <a:gd name="T4" fmla="*/ 0 w 1921"/>
                  <a:gd name="T5" fmla="*/ 958 h 1142"/>
                  <a:gd name="T6" fmla="*/ 0 w 1921"/>
                  <a:gd name="T7" fmla="*/ 184 h 1142"/>
                  <a:gd name="T8" fmla="*/ 185 w 1921"/>
                  <a:gd name="T9" fmla="*/ 0 h 1142"/>
                  <a:gd name="T10" fmla="*/ 1737 w 1921"/>
                  <a:gd name="T11" fmla="*/ 0 h 1142"/>
                  <a:gd name="T12" fmla="*/ 1921 w 1921"/>
                  <a:gd name="T13" fmla="*/ 184 h 1142"/>
                  <a:gd name="T14" fmla="*/ 1921 w 1921"/>
                  <a:gd name="T15" fmla="*/ 958 h 1142"/>
                  <a:gd name="T16" fmla="*/ 1737 w 1921"/>
                  <a:gd name="T17" fmla="*/ 114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1" h="1142">
                    <a:moveTo>
                      <a:pt x="1737" y="1142"/>
                    </a:moveTo>
                    <a:cubicBezTo>
                      <a:pt x="185" y="1142"/>
                      <a:pt x="185" y="1142"/>
                      <a:pt x="185" y="1142"/>
                    </a:cubicBezTo>
                    <a:cubicBezTo>
                      <a:pt x="82" y="1142"/>
                      <a:pt x="0" y="1060"/>
                      <a:pt x="0" y="958"/>
                    </a:cubicBezTo>
                    <a:cubicBezTo>
                      <a:pt x="0" y="184"/>
                      <a:pt x="0" y="184"/>
                      <a:pt x="0" y="184"/>
                    </a:cubicBezTo>
                    <a:cubicBezTo>
                      <a:pt x="0" y="82"/>
                      <a:pt x="82" y="0"/>
                      <a:pt x="185" y="0"/>
                    </a:cubicBezTo>
                    <a:cubicBezTo>
                      <a:pt x="1737" y="0"/>
                      <a:pt x="1737" y="0"/>
                      <a:pt x="1737" y="0"/>
                    </a:cubicBezTo>
                    <a:cubicBezTo>
                      <a:pt x="1835" y="0"/>
                      <a:pt x="1921" y="82"/>
                      <a:pt x="1921" y="184"/>
                    </a:cubicBezTo>
                    <a:cubicBezTo>
                      <a:pt x="1921" y="958"/>
                      <a:pt x="1921" y="958"/>
                      <a:pt x="1921" y="958"/>
                    </a:cubicBezTo>
                    <a:cubicBezTo>
                      <a:pt x="1921" y="1060"/>
                      <a:pt x="1835" y="1142"/>
                      <a:pt x="1737" y="1142"/>
                    </a:cubicBezTo>
                    <a:close/>
                  </a:path>
                </a:pathLst>
              </a:custGeom>
              <a:solidFill>
                <a:schemeClr val="accent3">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6" name="Freeform 13">
                <a:extLst>
                  <a:ext uri="{FF2B5EF4-FFF2-40B4-BE49-F238E27FC236}">
                    <a16:creationId xmlns:a16="http://schemas.microsoft.com/office/drawing/2014/main" id="{568C7D93-C67C-4E97-90D1-822B1A1D34C3}"/>
                  </a:ext>
                </a:extLst>
              </p:cNvPr>
              <p:cNvSpPr>
                <a:spLocks/>
              </p:cNvSpPr>
              <p:nvPr/>
            </p:nvSpPr>
            <p:spPr bwMode="auto">
              <a:xfrm>
                <a:off x="2732924" y="4067459"/>
                <a:ext cx="267834" cy="296976"/>
              </a:xfrm>
              <a:custGeom>
                <a:avLst/>
                <a:gdLst>
                  <a:gd name="T0" fmla="*/ 471 w 471"/>
                  <a:gd name="T1" fmla="*/ 261 h 525"/>
                  <a:gd name="T2" fmla="*/ 446 w 471"/>
                  <a:gd name="T3" fmla="*/ 297 h 525"/>
                  <a:gd name="T4" fmla="*/ 446 w 471"/>
                  <a:gd name="T5" fmla="*/ 297 h 525"/>
                  <a:gd name="T6" fmla="*/ 61 w 471"/>
                  <a:gd name="T7" fmla="*/ 521 h 525"/>
                  <a:gd name="T8" fmla="*/ 57 w 471"/>
                  <a:gd name="T9" fmla="*/ 521 h 525"/>
                  <a:gd name="T10" fmla="*/ 53 w 471"/>
                  <a:gd name="T11" fmla="*/ 521 h 525"/>
                  <a:gd name="T12" fmla="*/ 53 w 471"/>
                  <a:gd name="T13" fmla="*/ 521 h 525"/>
                  <a:gd name="T14" fmla="*/ 41 w 471"/>
                  <a:gd name="T15" fmla="*/ 525 h 525"/>
                  <a:gd name="T16" fmla="*/ 0 w 471"/>
                  <a:gd name="T17" fmla="*/ 489 h 525"/>
                  <a:gd name="T18" fmla="*/ 0 w 471"/>
                  <a:gd name="T19" fmla="*/ 37 h 525"/>
                  <a:gd name="T20" fmla="*/ 41 w 471"/>
                  <a:gd name="T21" fmla="*/ 0 h 525"/>
                  <a:gd name="T22" fmla="*/ 57 w 471"/>
                  <a:gd name="T23" fmla="*/ 5 h 525"/>
                  <a:gd name="T24" fmla="*/ 57 w 471"/>
                  <a:gd name="T25" fmla="*/ 5 h 525"/>
                  <a:gd name="T26" fmla="*/ 57 w 471"/>
                  <a:gd name="T27" fmla="*/ 5 h 525"/>
                  <a:gd name="T28" fmla="*/ 61 w 471"/>
                  <a:gd name="T29" fmla="*/ 5 h 525"/>
                  <a:gd name="T30" fmla="*/ 446 w 471"/>
                  <a:gd name="T31" fmla="*/ 228 h 525"/>
                  <a:gd name="T32" fmla="*/ 446 w 471"/>
                  <a:gd name="T33" fmla="*/ 228 h 525"/>
                  <a:gd name="T34" fmla="*/ 471 w 471"/>
                  <a:gd name="T35" fmla="*/ 26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525">
                    <a:moveTo>
                      <a:pt x="471" y="261"/>
                    </a:moveTo>
                    <a:cubicBezTo>
                      <a:pt x="471" y="277"/>
                      <a:pt x="459" y="293"/>
                      <a:pt x="446" y="297"/>
                    </a:cubicBezTo>
                    <a:cubicBezTo>
                      <a:pt x="446" y="297"/>
                      <a:pt x="446" y="297"/>
                      <a:pt x="446" y="297"/>
                    </a:cubicBezTo>
                    <a:cubicBezTo>
                      <a:pt x="61" y="521"/>
                      <a:pt x="61" y="521"/>
                      <a:pt x="61" y="521"/>
                    </a:cubicBezTo>
                    <a:cubicBezTo>
                      <a:pt x="57" y="521"/>
                      <a:pt x="57" y="521"/>
                      <a:pt x="57" y="521"/>
                    </a:cubicBezTo>
                    <a:cubicBezTo>
                      <a:pt x="53" y="521"/>
                      <a:pt x="53" y="521"/>
                      <a:pt x="53" y="521"/>
                    </a:cubicBezTo>
                    <a:cubicBezTo>
                      <a:pt x="53" y="521"/>
                      <a:pt x="53" y="521"/>
                      <a:pt x="53" y="521"/>
                    </a:cubicBezTo>
                    <a:cubicBezTo>
                      <a:pt x="49" y="525"/>
                      <a:pt x="45" y="525"/>
                      <a:pt x="41" y="525"/>
                    </a:cubicBezTo>
                    <a:cubicBezTo>
                      <a:pt x="16" y="525"/>
                      <a:pt x="0" y="509"/>
                      <a:pt x="0" y="489"/>
                    </a:cubicBezTo>
                    <a:cubicBezTo>
                      <a:pt x="0" y="37"/>
                      <a:pt x="0" y="37"/>
                      <a:pt x="0" y="37"/>
                    </a:cubicBezTo>
                    <a:cubicBezTo>
                      <a:pt x="0" y="17"/>
                      <a:pt x="16" y="0"/>
                      <a:pt x="41" y="0"/>
                    </a:cubicBezTo>
                    <a:cubicBezTo>
                      <a:pt x="45" y="0"/>
                      <a:pt x="49" y="0"/>
                      <a:pt x="57" y="5"/>
                    </a:cubicBezTo>
                    <a:cubicBezTo>
                      <a:pt x="57" y="5"/>
                      <a:pt x="57" y="5"/>
                      <a:pt x="57" y="5"/>
                    </a:cubicBezTo>
                    <a:cubicBezTo>
                      <a:pt x="57" y="5"/>
                      <a:pt x="57" y="5"/>
                      <a:pt x="57" y="5"/>
                    </a:cubicBezTo>
                    <a:cubicBezTo>
                      <a:pt x="61" y="5"/>
                      <a:pt x="61" y="5"/>
                      <a:pt x="61" y="5"/>
                    </a:cubicBezTo>
                    <a:cubicBezTo>
                      <a:pt x="446" y="228"/>
                      <a:pt x="446" y="228"/>
                      <a:pt x="446" y="228"/>
                    </a:cubicBezTo>
                    <a:cubicBezTo>
                      <a:pt x="446" y="228"/>
                      <a:pt x="446" y="228"/>
                      <a:pt x="446" y="228"/>
                    </a:cubicBezTo>
                    <a:cubicBezTo>
                      <a:pt x="459" y="232"/>
                      <a:pt x="471" y="249"/>
                      <a:pt x="471" y="261"/>
                    </a:cubicBez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grpSp>
        <p:nvGrpSpPr>
          <p:cNvPr id="63" name="Group 62">
            <a:extLst>
              <a:ext uri="{FF2B5EF4-FFF2-40B4-BE49-F238E27FC236}">
                <a16:creationId xmlns:a16="http://schemas.microsoft.com/office/drawing/2014/main" id="{3D3A0768-EBDC-4251-9025-CC0B3C904E31}"/>
              </a:ext>
            </a:extLst>
          </p:cNvPr>
          <p:cNvGrpSpPr/>
          <p:nvPr/>
        </p:nvGrpSpPr>
        <p:grpSpPr>
          <a:xfrm>
            <a:off x="7967330" y="5044659"/>
            <a:ext cx="1583691" cy="1001144"/>
            <a:chOff x="2949420" y="2069588"/>
            <a:chExt cx="2602217" cy="1645012"/>
          </a:xfrm>
        </p:grpSpPr>
        <p:grpSp>
          <p:nvGrpSpPr>
            <p:cNvPr id="64" name="Group 63">
              <a:extLst>
                <a:ext uri="{FF2B5EF4-FFF2-40B4-BE49-F238E27FC236}">
                  <a16:creationId xmlns:a16="http://schemas.microsoft.com/office/drawing/2014/main" id="{8C4A85D2-4333-415F-9F9A-163D9D86D44F}"/>
                </a:ext>
              </a:extLst>
            </p:cNvPr>
            <p:cNvGrpSpPr/>
            <p:nvPr/>
          </p:nvGrpSpPr>
          <p:grpSpPr>
            <a:xfrm>
              <a:off x="2949420" y="2733649"/>
              <a:ext cx="1005840" cy="431641"/>
              <a:chOff x="8488729" y="2541021"/>
              <a:chExt cx="1005840" cy="431641"/>
            </a:xfrm>
          </p:grpSpPr>
          <p:grpSp>
            <p:nvGrpSpPr>
              <p:cNvPr id="86" name="Group 85">
                <a:extLst>
                  <a:ext uri="{FF2B5EF4-FFF2-40B4-BE49-F238E27FC236}">
                    <a16:creationId xmlns:a16="http://schemas.microsoft.com/office/drawing/2014/main" id="{E1BDDC14-1552-4939-BC3B-EADCA7FFB5FA}"/>
                  </a:ext>
                </a:extLst>
              </p:cNvPr>
              <p:cNvGrpSpPr/>
              <p:nvPr/>
            </p:nvGrpSpPr>
            <p:grpSpPr>
              <a:xfrm>
                <a:off x="9190222" y="2566922"/>
                <a:ext cx="304347" cy="304347"/>
                <a:chOff x="3768725" y="1116013"/>
                <a:chExt cx="4654550" cy="4625975"/>
              </a:xfrm>
              <a:solidFill>
                <a:schemeClr val="accent3">
                  <a:lumMod val="75000"/>
                </a:schemeClr>
              </a:solidFill>
            </p:grpSpPr>
            <p:sp>
              <p:nvSpPr>
                <p:cNvPr id="88" name="Oval 5">
                  <a:extLst>
                    <a:ext uri="{FF2B5EF4-FFF2-40B4-BE49-F238E27FC236}">
                      <a16:creationId xmlns:a16="http://schemas.microsoft.com/office/drawing/2014/main" id="{24ACEDE5-76E4-4DB4-9CF3-80DCCE8E6F25}"/>
                    </a:ext>
                  </a:extLst>
                </p:cNvPr>
                <p:cNvSpPr>
                  <a:spLocks noChangeArrowheads="1"/>
                </p:cNvSpPr>
                <p:nvPr/>
              </p:nvSpPr>
              <p:spPr bwMode="auto">
                <a:xfrm>
                  <a:off x="4583113" y="1925638"/>
                  <a:ext cx="3013075" cy="2995613"/>
                </a:xfrm>
                <a:prstGeom prst="ellipse">
                  <a:avLst/>
                </a:pr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89" name="Freeform 6">
                  <a:extLst>
                    <a:ext uri="{FF2B5EF4-FFF2-40B4-BE49-F238E27FC236}">
                      <a16:creationId xmlns:a16="http://schemas.microsoft.com/office/drawing/2014/main" id="{1D99D9A0-28D9-4CE7-B2D9-4CCA59594783}"/>
                    </a:ext>
                  </a:extLst>
                </p:cNvPr>
                <p:cNvSpPr>
                  <a:spLocks noEditPoints="1"/>
                </p:cNvSpPr>
                <p:nvPr/>
              </p:nvSpPr>
              <p:spPr bwMode="auto">
                <a:xfrm>
                  <a:off x="3768725"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90" name="Oval 7">
                  <a:extLst>
                    <a:ext uri="{FF2B5EF4-FFF2-40B4-BE49-F238E27FC236}">
                      <a16:creationId xmlns:a16="http://schemas.microsoft.com/office/drawing/2014/main" id="{87B116A2-E70E-4360-B464-717091C3D106}"/>
                    </a:ext>
                  </a:extLst>
                </p:cNvPr>
                <p:cNvSpPr>
                  <a:spLocks noChangeArrowheads="1"/>
                </p:cNvSpPr>
                <p:nvPr/>
              </p:nvSpPr>
              <p:spPr bwMode="auto">
                <a:xfrm>
                  <a:off x="5356225" y="2667001"/>
                  <a:ext cx="1466850" cy="1511300"/>
                </a:xfrm>
                <a:prstGeom prst="ellipse">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87" name="Freeform 9">
                <a:extLst>
                  <a:ext uri="{FF2B5EF4-FFF2-40B4-BE49-F238E27FC236}">
                    <a16:creationId xmlns:a16="http://schemas.microsoft.com/office/drawing/2014/main" id="{D692952D-CB5A-4DCE-AE82-22F659E618E3}"/>
                  </a:ext>
                </a:extLst>
              </p:cNvPr>
              <p:cNvSpPr>
                <a:spLocks/>
              </p:cNvSpPr>
              <p:nvPr/>
            </p:nvSpPr>
            <p:spPr bwMode="auto">
              <a:xfrm>
                <a:off x="8488729" y="2541021"/>
                <a:ext cx="853514" cy="431641"/>
              </a:xfrm>
              <a:custGeom>
                <a:avLst/>
                <a:gdLst>
                  <a:gd name="T0" fmla="*/ 979 w 1046"/>
                  <a:gd name="T1" fmla="*/ 179 h 528"/>
                  <a:gd name="T2" fmla="*/ 719 w 1046"/>
                  <a:gd name="T3" fmla="*/ 25 h 528"/>
                  <a:gd name="T4" fmla="*/ 648 w 1046"/>
                  <a:gd name="T5" fmla="*/ 13 h 528"/>
                  <a:gd name="T6" fmla="*/ 609 w 1046"/>
                  <a:gd name="T7" fmla="*/ 61 h 528"/>
                  <a:gd name="T8" fmla="*/ 641 w 1046"/>
                  <a:gd name="T9" fmla="*/ 73 h 528"/>
                  <a:gd name="T10" fmla="*/ 679 w 1046"/>
                  <a:gd name="T11" fmla="*/ 39 h 528"/>
                  <a:gd name="T12" fmla="*/ 847 w 1046"/>
                  <a:gd name="T13" fmla="*/ 175 h 528"/>
                  <a:gd name="T14" fmla="*/ 641 w 1046"/>
                  <a:gd name="T15" fmla="*/ 175 h 528"/>
                  <a:gd name="T16" fmla="*/ 568 w 1046"/>
                  <a:gd name="T17" fmla="*/ 217 h 528"/>
                  <a:gd name="T18" fmla="*/ 524 w 1046"/>
                  <a:gd name="T19" fmla="*/ 211 h 528"/>
                  <a:gd name="T20" fmla="*/ 479 w 1046"/>
                  <a:gd name="T21" fmla="*/ 217 h 528"/>
                  <a:gd name="T22" fmla="*/ 405 w 1046"/>
                  <a:gd name="T23" fmla="*/ 175 h 528"/>
                  <a:gd name="T24" fmla="*/ 201 w 1046"/>
                  <a:gd name="T25" fmla="*/ 175 h 528"/>
                  <a:gd name="T26" fmla="*/ 369 w 1046"/>
                  <a:gd name="T27" fmla="*/ 39 h 528"/>
                  <a:gd name="T28" fmla="*/ 406 w 1046"/>
                  <a:gd name="T29" fmla="*/ 73 h 528"/>
                  <a:gd name="T30" fmla="*/ 438 w 1046"/>
                  <a:gd name="T31" fmla="*/ 61 h 528"/>
                  <a:gd name="T32" fmla="*/ 400 w 1046"/>
                  <a:gd name="T33" fmla="*/ 13 h 528"/>
                  <a:gd name="T34" fmla="*/ 329 w 1046"/>
                  <a:gd name="T35" fmla="*/ 25 h 528"/>
                  <a:gd name="T36" fmla="*/ 70 w 1046"/>
                  <a:gd name="T37" fmla="*/ 178 h 528"/>
                  <a:gd name="T38" fmla="*/ 11 w 1046"/>
                  <a:gd name="T39" fmla="*/ 281 h 528"/>
                  <a:gd name="T40" fmla="*/ 51 w 1046"/>
                  <a:gd name="T41" fmla="*/ 463 h 528"/>
                  <a:gd name="T42" fmla="*/ 134 w 1046"/>
                  <a:gd name="T43" fmla="*/ 528 h 528"/>
                  <a:gd name="T44" fmla="*/ 318 w 1046"/>
                  <a:gd name="T45" fmla="*/ 528 h 528"/>
                  <a:gd name="T46" fmla="*/ 401 w 1046"/>
                  <a:gd name="T47" fmla="*/ 463 h 528"/>
                  <a:gd name="T48" fmla="*/ 463 w 1046"/>
                  <a:gd name="T49" fmla="*/ 335 h 528"/>
                  <a:gd name="T50" fmla="*/ 524 w 1046"/>
                  <a:gd name="T51" fmla="*/ 307 h 528"/>
                  <a:gd name="T52" fmla="*/ 582 w 1046"/>
                  <a:gd name="T53" fmla="*/ 332 h 528"/>
                  <a:gd name="T54" fmla="*/ 645 w 1046"/>
                  <a:gd name="T55" fmla="*/ 463 h 528"/>
                  <a:gd name="T56" fmla="*/ 728 w 1046"/>
                  <a:gd name="T57" fmla="*/ 528 h 528"/>
                  <a:gd name="T58" fmla="*/ 912 w 1046"/>
                  <a:gd name="T59" fmla="*/ 528 h 528"/>
                  <a:gd name="T60" fmla="*/ 995 w 1046"/>
                  <a:gd name="T61" fmla="*/ 463 h 528"/>
                  <a:gd name="T62" fmla="*/ 1036 w 1046"/>
                  <a:gd name="T63" fmla="*/ 281 h 528"/>
                  <a:gd name="T64" fmla="*/ 979 w 1046"/>
                  <a:gd name="T65" fmla="*/ 17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6" h="528">
                    <a:moveTo>
                      <a:pt x="979" y="179"/>
                    </a:moveTo>
                    <a:cubicBezTo>
                      <a:pt x="719" y="25"/>
                      <a:pt x="719" y="25"/>
                      <a:pt x="719" y="25"/>
                    </a:cubicBezTo>
                    <a:cubicBezTo>
                      <a:pt x="719" y="25"/>
                      <a:pt x="679" y="0"/>
                      <a:pt x="648" y="13"/>
                    </a:cubicBezTo>
                    <a:cubicBezTo>
                      <a:pt x="619" y="26"/>
                      <a:pt x="605" y="48"/>
                      <a:pt x="609" y="61"/>
                    </a:cubicBezTo>
                    <a:cubicBezTo>
                      <a:pt x="613" y="72"/>
                      <a:pt x="626" y="81"/>
                      <a:pt x="641" y="73"/>
                    </a:cubicBezTo>
                    <a:cubicBezTo>
                      <a:pt x="657" y="65"/>
                      <a:pt x="651" y="32"/>
                      <a:pt x="679" y="39"/>
                    </a:cubicBezTo>
                    <a:cubicBezTo>
                      <a:pt x="710" y="46"/>
                      <a:pt x="805" y="134"/>
                      <a:pt x="847" y="175"/>
                    </a:cubicBezTo>
                    <a:cubicBezTo>
                      <a:pt x="641" y="175"/>
                      <a:pt x="641" y="175"/>
                      <a:pt x="641" y="175"/>
                    </a:cubicBezTo>
                    <a:cubicBezTo>
                      <a:pt x="609" y="175"/>
                      <a:pt x="583" y="192"/>
                      <a:pt x="568" y="217"/>
                    </a:cubicBezTo>
                    <a:cubicBezTo>
                      <a:pt x="554" y="213"/>
                      <a:pt x="539" y="211"/>
                      <a:pt x="524" y="211"/>
                    </a:cubicBezTo>
                    <a:cubicBezTo>
                      <a:pt x="508" y="211"/>
                      <a:pt x="493" y="213"/>
                      <a:pt x="479" y="217"/>
                    </a:cubicBezTo>
                    <a:cubicBezTo>
                      <a:pt x="464" y="192"/>
                      <a:pt x="437" y="175"/>
                      <a:pt x="405" y="175"/>
                    </a:cubicBezTo>
                    <a:cubicBezTo>
                      <a:pt x="201" y="175"/>
                      <a:pt x="201" y="175"/>
                      <a:pt x="201" y="175"/>
                    </a:cubicBezTo>
                    <a:cubicBezTo>
                      <a:pt x="243" y="134"/>
                      <a:pt x="338" y="46"/>
                      <a:pt x="369" y="39"/>
                    </a:cubicBezTo>
                    <a:cubicBezTo>
                      <a:pt x="396" y="32"/>
                      <a:pt x="391" y="65"/>
                      <a:pt x="406" y="73"/>
                    </a:cubicBezTo>
                    <a:cubicBezTo>
                      <a:pt x="422" y="81"/>
                      <a:pt x="434" y="72"/>
                      <a:pt x="438" y="61"/>
                    </a:cubicBezTo>
                    <a:cubicBezTo>
                      <a:pt x="443" y="48"/>
                      <a:pt x="429" y="26"/>
                      <a:pt x="400" y="13"/>
                    </a:cubicBezTo>
                    <a:cubicBezTo>
                      <a:pt x="369" y="0"/>
                      <a:pt x="329" y="25"/>
                      <a:pt x="329" y="25"/>
                    </a:cubicBezTo>
                    <a:cubicBezTo>
                      <a:pt x="70" y="178"/>
                      <a:pt x="70" y="178"/>
                      <a:pt x="70" y="178"/>
                    </a:cubicBezTo>
                    <a:cubicBezTo>
                      <a:pt x="27" y="191"/>
                      <a:pt x="0" y="235"/>
                      <a:pt x="11" y="281"/>
                    </a:cubicBezTo>
                    <a:cubicBezTo>
                      <a:pt x="51" y="463"/>
                      <a:pt x="51" y="463"/>
                      <a:pt x="51" y="463"/>
                    </a:cubicBezTo>
                    <a:cubicBezTo>
                      <a:pt x="60" y="501"/>
                      <a:pt x="95" y="528"/>
                      <a:pt x="134" y="528"/>
                    </a:cubicBezTo>
                    <a:cubicBezTo>
                      <a:pt x="318" y="528"/>
                      <a:pt x="318" y="528"/>
                      <a:pt x="318" y="528"/>
                    </a:cubicBezTo>
                    <a:cubicBezTo>
                      <a:pt x="358" y="528"/>
                      <a:pt x="384" y="500"/>
                      <a:pt x="401" y="463"/>
                    </a:cubicBezTo>
                    <a:cubicBezTo>
                      <a:pt x="463" y="335"/>
                      <a:pt x="463" y="335"/>
                      <a:pt x="463" y="335"/>
                    </a:cubicBezTo>
                    <a:cubicBezTo>
                      <a:pt x="471" y="314"/>
                      <a:pt x="500" y="307"/>
                      <a:pt x="524" y="307"/>
                    </a:cubicBezTo>
                    <a:cubicBezTo>
                      <a:pt x="546" y="307"/>
                      <a:pt x="572" y="313"/>
                      <a:pt x="582" y="332"/>
                    </a:cubicBezTo>
                    <a:cubicBezTo>
                      <a:pt x="645" y="463"/>
                      <a:pt x="645" y="463"/>
                      <a:pt x="645" y="463"/>
                    </a:cubicBezTo>
                    <a:cubicBezTo>
                      <a:pt x="665" y="501"/>
                      <a:pt x="689" y="528"/>
                      <a:pt x="728" y="528"/>
                    </a:cubicBezTo>
                    <a:cubicBezTo>
                      <a:pt x="912" y="528"/>
                      <a:pt x="912" y="528"/>
                      <a:pt x="912" y="528"/>
                    </a:cubicBezTo>
                    <a:cubicBezTo>
                      <a:pt x="951" y="528"/>
                      <a:pt x="986" y="501"/>
                      <a:pt x="995" y="463"/>
                    </a:cubicBezTo>
                    <a:cubicBezTo>
                      <a:pt x="1036" y="281"/>
                      <a:pt x="1036" y="281"/>
                      <a:pt x="1036" y="281"/>
                    </a:cubicBezTo>
                    <a:cubicBezTo>
                      <a:pt x="1046" y="236"/>
                      <a:pt x="1020" y="193"/>
                      <a:pt x="979" y="179"/>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65" name="Group 64">
              <a:extLst>
                <a:ext uri="{FF2B5EF4-FFF2-40B4-BE49-F238E27FC236}">
                  <a16:creationId xmlns:a16="http://schemas.microsoft.com/office/drawing/2014/main" id="{237B6A85-1681-4976-9316-425D14AB32E9}"/>
                </a:ext>
              </a:extLst>
            </p:cNvPr>
            <p:cNvGrpSpPr/>
            <p:nvPr/>
          </p:nvGrpSpPr>
          <p:grpSpPr>
            <a:xfrm>
              <a:off x="4917021" y="2313678"/>
              <a:ext cx="634616" cy="1005840"/>
              <a:chOff x="8669285" y="2245878"/>
              <a:chExt cx="634616" cy="1005840"/>
            </a:xfrm>
          </p:grpSpPr>
          <p:grpSp>
            <p:nvGrpSpPr>
              <p:cNvPr id="79" name="Group 78">
                <a:extLst>
                  <a:ext uri="{FF2B5EF4-FFF2-40B4-BE49-F238E27FC236}">
                    <a16:creationId xmlns:a16="http://schemas.microsoft.com/office/drawing/2014/main" id="{8173358E-5555-4878-8C58-99BBEEF10467}"/>
                  </a:ext>
                </a:extLst>
              </p:cNvPr>
              <p:cNvGrpSpPr/>
              <p:nvPr/>
            </p:nvGrpSpPr>
            <p:grpSpPr>
              <a:xfrm>
                <a:off x="8900090" y="2245878"/>
                <a:ext cx="403811" cy="403809"/>
                <a:chOff x="3768725" y="1116013"/>
                <a:chExt cx="4654550" cy="4625975"/>
              </a:xfrm>
              <a:solidFill>
                <a:schemeClr val="accent6">
                  <a:lumMod val="40000"/>
                  <a:lumOff val="60000"/>
                </a:schemeClr>
              </a:solidFill>
            </p:grpSpPr>
            <p:sp>
              <p:nvSpPr>
                <p:cNvPr id="83" name="Oval 5">
                  <a:extLst>
                    <a:ext uri="{FF2B5EF4-FFF2-40B4-BE49-F238E27FC236}">
                      <a16:creationId xmlns:a16="http://schemas.microsoft.com/office/drawing/2014/main" id="{6BFA84E6-B659-4821-8575-DC956653CCC5}"/>
                    </a:ext>
                  </a:extLst>
                </p:cNvPr>
                <p:cNvSpPr>
                  <a:spLocks noChangeArrowheads="1"/>
                </p:cNvSpPr>
                <p:nvPr/>
              </p:nvSpPr>
              <p:spPr bwMode="auto">
                <a:xfrm>
                  <a:off x="4583113" y="1925638"/>
                  <a:ext cx="3013075" cy="2995613"/>
                </a:xfrm>
                <a:prstGeom prst="ellipse">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84" name="Freeform 6">
                  <a:extLst>
                    <a:ext uri="{FF2B5EF4-FFF2-40B4-BE49-F238E27FC236}">
                      <a16:creationId xmlns:a16="http://schemas.microsoft.com/office/drawing/2014/main" id="{489E23BC-19D6-476B-BC04-83F796EF515D}"/>
                    </a:ext>
                  </a:extLst>
                </p:cNvPr>
                <p:cNvSpPr>
                  <a:spLocks noEditPoints="1"/>
                </p:cNvSpPr>
                <p:nvPr/>
              </p:nvSpPr>
              <p:spPr bwMode="auto">
                <a:xfrm>
                  <a:off x="3768725"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85" name="Oval 7">
                  <a:extLst>
                    <a:ext uri="{FF2B5EF4-FFF2-40B4-BE49-F238E27FC236}">
                      <a16:creationId xmlns:a16="http://schemas.microsoft.com/office/drawing/2014/main" id="{9F946541-24A6-416D-8E5D-EC4C1BCB0062}"/>
                    </a:ext>
                  </a:extLst>
                </p:cNvPr>
                <p:cNvSpPr>
                  <a:spLocks noChangeArrowheads="1"/>
                </p:cNvSpPr>
                <p:nvPr/>
              </p:nvSpPr>
              <p:spPr bwMode="auto">
                <a:xfrm>
                  <a:off x="5356225" y="2667001"/>
                  <a:ext cx="1466850" cy="1511300"/>
                </a:xfrm>
                <a:prstGeom prst="ellipse">
                  <a:avLst/>
                </a:pr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80" name="Group 79">
                <a:extLst>
                  <a:ext uri="{FF2B5EF4-FFF2-40B4-BE49-F238E27FC236}">
                    <a16:creationId xmlns:a16="http://schemas.microsoft.com/office/drawing/2014/main" id="{4164A098-7601-4593-A0A0-5227F0335018}"/>
                  </a:ext>
                </a:extLst>
              </p:cNvPr>
              <p:cNvGrpSpPr>
                <a:grpSpLocks noChangeAspect="1"/>
              </p:cNvGrpSpPr>
              <p:nvPr/>
            </p:nvGrpSpPr>
            <p:grpSpPr>
              <a:xfrm>
                <a:off x="8669285" y="2424100"/>
                <a:ext cx="446464" cy="827618"/>
                <a:chOff x="5434013" y="2201863"/>
                <a:chExt cx="1323975" cy="2454275"/>
              </a:xfrm>
            </p:grpSpPr>
            <p:sp>
              <p:nvSpPr>
                <p:cNvPr id="81" name="Freeform 5">
                  <a:extLst>
                    <a:ext uri="{FF2B5EF4-FFF2-40B4-BE49-F238E27FC236}">
                      <a16:creationId xmlns:a16="http://schemas.microsoft.com/office/drawing/2014/main" id="{54A34C6D-B327-443E-A4AD-E9E06A472214}"/>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82" name="Freeform: Shape 35">
                  <a:extLst>
                    <a:ext uri="{FF2B5EF4-FFF2-40B4-BE49-F238E27FC236}">
                      <a16:creationId xmlns:a16="http://schemas.microsoft.com/office/drawing/2014/main" id="{7F765F70-2440-498F-83D0-CC1DC662EB7B}"/>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grpSp>
          <p:nvGrpSpPr>
            <p:cNvPr id="66" name="Group 65">
              <a:extLst>
                <a:ext uri="{FF2B5EF4-FFF2-40B4-BE49-F238E27FC236}">
                  <a16:creationId xmlns:a16="http://schemas.microsoft.com/office/drawing/2014/main" id="{9A5B7642-24BA-45C2-9D98-8D6985026739}"/>
                </a:ext>
              </a:extLst>
            </p:cNvPr>
            <p:cNvGrpSpPr/>
            <p:nvPr/>
          </p:nvGrpSpPr>
          <p:grpSpPr>
            <a:xfrm>
              <a:off x="3823964" y="2837097"/>
              <a:ext cx="927176" cy="877503"/>
              <a:chOff x="8532625" y="2302328"/>
              <a:chExt cx="927176" cy="877503"/>
            </a:xfrm>
          </p:grpSpPr>
          <p:grpSp>
            <p:nvGrpSpPr>
              <p:cNvPr id="70" name="Group 69">
                <a:extLst>
                  <a:ext uri="{FF2B5EF4-FFF2-40B4-BE49-F238E27FC236}">
                    <a16:creationId xmlns:a16="http://schemas.microsoft.com/office/drawing/2014/main" id="{B56735A4-B5F9-4A68-9870-DDBDE5F086DF}"/>
                  </a:ext>
                </a:extLst>
              </p:cNvPr>
              <p:cNvGrpSpPr/>
              <p:nvPr/>
            </p:nvGrpSpPr>
            <p:grpSpPr>
              <a:xfrm>
                <a:off x="8813470" y="2302328"/>
                <a:ext cx="646331" cy="642067"/>
                <a:chOff x="3768725" y="1116013"/>
                <a:chExt cx="4654550" cy="4625975"/>
              </a:xfrm>
              <a:solidFill>
                <a:schemeClr val="accent3">
                  <a:lumMod val="75000"/>
                </a:schemeClr>
              </a:solidFill>
            </p:grpSpPr>
            <p:sp>
              <p:nvSpPr>
                <p:cNvPr id="76" name="Oval 5">
                  <a:extLst>
                    <a:ext uri="{FF2B5EF4-FFF2-40B4-BE49-F238E27FC236}">
                      <a16:creationId xmlns:a16="http://schemas.microsoft.com/office/drawing/2014/main" id="{3188E028-7501-420A-A0BB-1EE6B37C4958}"/>
                    </a:ext>
                  </a:extLst>
                </p:cNvPr>
                <p:cNvSpPr>
                  <a:spLocks noChangeArrowheads="1"/>
                </p:cNvSpPr>
                <p:nvPr/>
              </p:nvSpPr>
              <p:spPr bwMode="auto">
                <a:xfrm>
                  <a:off x="4583113" y="1925638"/>
                  <a:ext cx="3013075" cy="2995613"/>
                </a:xfrm>
                <a:prstGeom prst="ellipse">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7" name="Freeform 6">
                  <a:extLst>
                    <a:ext uri="{FF2B5EF4-FFF2-40B4-BE49-F238E27FC236}">
                      <a16:creationId xmlns:a16="http://schemas.microsoft.com/office/drawing/2014/main" id="{408F1A5C-F759-4662-A325-D2AC8700AD4D}"/>
                    </a:ext>
                  </a:extLst>
                </p:cNvPr>
                <p:cNvSpPr>
                  <a:spLocks noEditPoints="1"/>
                </p:cNvSpPr>
                <p:nvPr/>
              </p:nvSpPr>
              <p:spPr bwMode="auto">
                <a:xfrm>
                  <a:off x="3768725"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8" name="Oval 7">
                  <a:extLst>
                    <a:ext uri="{FF2B5EF4-FFF2-40B4-BE49-F238E27FC236}">
                      <a16:creationId xmlns:a16="http://schemas.microsoft.com/office/drawing/2014/main" id="{2CAE9814-DEE5-4967-B47C-D238164F8F02}"/>
                    </a:ext>
                  </a:extLst>
                </p:cNvPr>
                <p:cNvSpPr>
                  <a:spLocks noChangeArrowheads="1"/>
                </p:cNvSpPr>
                <p:nvPr/>
              </p:nvSpPr>
              <p:spPr bwMode="auto">
                <a:xfrm>
                  <a:off x="5356225" y="2667001"/>
                  <a:ext cx="1466850" cy="1511300"/>
                </a:xfrm>
                <a:prstGeom prst="ellipse">
                  <a:avLst/>
                </a:pr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71" name="Group 70">
                <a:extLst>
                  <a:ext uri="{FF2B5EF4-FFF2-40B4-BE49-F238E27FC236}">
                    <a16:creationId xmlns:a16="http://schemas.microsoft.com/office/drawing/2014/main" id="{FF4DDB35-2B72-430E-A575-73F9F3771B9E}"/>
                  </a:ext>
                </a:extLst>
              </p:cNvPr>
              <p:cNvGrpSpPr/>
              <p:nvPr/>
            </p:nvGrpSpPr>
            <p:grpSpPr>
              <a:xfrm>
                <a:off x="8532625" y="2642111"/>
                <a:ext cx="867919" cy="537720"/>
                <a:chOff x="16516350" y="0"/>
                <a:chExt cx="11074400" cy="6861175"/>
              </a:xfrm>
            </p:grpSpPr>
            <p:sp>
              <p:nvSpPr>
                <p:cNvPr id="72" name="Freeform 5">
                  <a:extLst>
                    <a:ext uri="{FF2B5EF4-FFF2-40B4-BE49-F238E27FC236}">
                      <a16:creationId xmlns:a16="http://schemas.microsoft.com/office/drawing/2014/main" id="{EFCB82AB-F3E8-4F62-9719-33DB24D42A60}"/>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sp>
              <p:nvSpPr>
                <p:cNvPr id="73" name="Freeform 6">
                  <a:extLst>
                    <a:ext uri="{FF2B5EF4-FFF2-40B4-BE49-F238E27FC236}">
                      <a16:creationId xmlns:a16="http://schemas.microsoft.com/office/drawing/2014/main" id="{F17428FC-12D1-44A0-B7C5-36436C2B9C34}"/>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sp>
              <p:nvSpPr>
                <p:cNvPr id="74" name="Freeform 7">
                  <a:extLst>
                    <a:ext uri="{FF2B5EF4-FFF2-40B4-BE49-F238E27FC236}">
                      <a16:creationId xmlns:a16="http://schemas.microsoft.com/office/drawing/2014/main" id="{493E2614-0F73-4D71-821D-86D609018534}"/>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sp>
              <p:nvSpPr>
                <p:cNvPr id="75" name="Freeform 8">
                  <a:extLst>
                    <a:ext uri="{FF2B5EF4-FFF2-40B4-BE49-F238E27FC236}">
                      <a16:creationId xmlns:a16="http://schemas.microsoft.com/office/drawing/2014/main" id="{AA3C5DB0-14B9-418D-A63D-CB5EB7E04069}"/>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grpSp>
          <p:nvGrpSpPr>
            <p:cNvPr id="67" name="Group 4">
              <a:extLst>
                <a:ext uri="{FF2B5EF4-FFF2-40B4-BE49-F238E27FC236}">
                  <a16:creationId xmlns:a16="http://schemas.microsoft.com/office/drawing/2014/main" id="{E0D502F7-7BC9-4524-A626-93B6B2146C1F}"/>
                </a:ext>
              </a:extLst>
            </p:cNvPr>
            <p:cNvGrpSpPr>
              <a:grpSpLocks noChangeAspect="1"/>
            </p:cNvGrpSpPr>
            <p:nvPr/>
          </p:nvGrpSpPr>
          <p:grpSpPr bwMode="auto">
            <a:xfrm>
              <a:off x="3601549" y="2069588"/>
              <a:ext cx="917978" cy="585216"/>
              <a:chOff x="942" y="1778"/>
              <a:chExt cx="2149" cy="1370"/>
            </a:xfrm>
            <a:solidFill>
              <a:srgbClr val="3253DC"/>
            </a:solidFill>
          </p:grpSpPr>
          <p:sp>
            <p:nvSpPr>
              <p:cNvPr id="68" name="Freeform 5">
                <a:extLst>
                  <a:ext uri="{FF2B5EF4-FFF2-40B4-BE49-F238E27FC236}">
                    <a16:creationId xmlns:a16="http://schemas.microsoft.com/office/drawing/2014/main" id="{78ACE33F-11CA-42C1-B305-30068A6569F0}"/>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69" name="Freeform 6">
                <a:extLst>
                  <a:ext uri="{FF2B5EF4-FFF2-40B4-BE49-F238E27FC236}">
                    <a16:creationId xmlns:a16="http://schemas.microsoft.com/office/drawing/2014/main" id="{D6ED2859-9840-4990-A840-B8B104F9AF50}"/>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grpSp>
        <p:nvGrpSpPr>
          <p:cNvPr id="99" name="Group 98">
            <a:extLst>
              <a:ext uri="{FF2B5EF4-FFF2-40B4-BE49-F238E27FC236}">
                <a16:creationId xmlns:a16="http://schemas.microsoft.com/office/drawing/2014/main" id="{2C82E46B-B790-47EF-BA71-E6ED2F38F2F8}"/>
              </a:ext>
            </a:extLst>
          </p:cNvPr>
          <p:cNvGrpSpPr/>
          <p:nvPr/>
        </p:nvGrpSpPr>
        <p:grpSpPr>
          <a:xfrm>
            <a:off x="10396939" y="2929618"/>
            <a:ext cx="588051" cy="998764"/>
            <a:chOff x="10077926" y="2260997"/>
            <a:chExt cx="588051" cy="998764"/>
          </a:xfrm>
        </p:grpSpPr>
        <p:grpSp>
          <p:nvGrpSpPr>
            <p:cNvPr id="100" name="Group 99">
              <a:extLst>
                <a:ext uri="{FF2B5EF4-FFF2-40B4-BE49-F238E27FC236}">
                  <a16:creationId xmlns:a16="http://schemas.microsoft.com/office/drawing/2014/main" id="{11D335D9-0E23-46D5-8640-9446698B18DC}"/>
                </a:ext>
              </a:extLst>
            </p:cNvPr>
            <p:cNvGrpSpPr/>
            <p:nvPr/>
          </p:nvGrpSpPr>
          <p:grpSpPr>
            <a:xfrm>
              <a:off x="10089576" y="2260997"/>
              <a:ext cx="564752" cy="561286"/>
              <a:chOff x="4162156" y="1116013"/>
              <a:chExt cx="4654550" cy="4625975"/>
            </a:xfrm>
          </p:grpSpPr>
          <p:sp>
            <p:nvSpPr>
              <p:cNvPr id="104" name="Oval 5">
                <a:extLst>
                  <a:ext uri="{FF2B5EF4-FFF2-40B4-BE49-F238E27FC236}">
                    <a16:creationId xmlns:a16="http://schemas.microsoft.com/office/drawing/2014/main" id="{667EB2B9-25FB-4805-B520-C41F33C43C2E}"/>
                  </a:ext>
                </a:extLst>
              </p:cNvPr>
              <p:cNvSpPr>
                <a:spLocks noChangeArrowheads="1"/>
              </p:cNvSpPr>
              <p:nvPr/>
            </p:nvSpPr>
            <p:spPr bwMode="auto">
              <a:xfrm>
                <a:off x="4976546" y="1925641"/>
                <a:ext cx="3013071" cy="2995618"/>
              </a:xfrm>
              <a:prstGeom prst="ellipse">
                <a:avLst/>
              </a:pr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05" name="Freeform 6">
                <a:extLst>
                  <a:ext uri="{FF2B5EF4-FFF2-40B4-BE49-F238E27FC236}">
                    <a16:creationId xmlns:a16="http://schemas.microsoft.com/office/drawing/2014/main" id="{B1C2C8AC-1282-444C-AEFF-1D762CABB77C}"/>
                  </a:ext>
                </a:extLst>
              </p:cNvPr>
              <p:cNvSpPr>
                <a:spLocks noEditPoints="1"/>
              </p:cNvSpPr>
              <p:nvPr/>
            </p:nvSpPr>
            <p:spPr bwMode="auto">
              <a:xfrm>
                <a:off x="4162156"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06" name="Oval 7">
                <a:extLst>
                  <a:ext uri="{FF2B5EF4-FFF2-40B4-BE49-F238E27FC236}">
                    <a16:creationId xmlns:a16="http://schemas.microsoft.com/office/drawing/2014/main" id="{4D0CDDC2-6F8C-445D-98B7-E6FA489AB6C3}"/>
                  </a:ext>
                </a:extLst>
              </p:cNvPr>
              <p:cNvSpPr>
                <a:spLocks noChangeArrowheads="1"/>
              </p:cNvSpPr>
              <p:nvPr/>
            </p:nvSpPr>
            <p:spPr bwMode="auto">
              <a:xfrm>
                <a:off x="5749659" y="2667002"/>
                <a:ext cx="1466852" cy="1511298"/>
              </a:xfrm>
              <a:prstGeom prst="ellipse">
                <a:avLst/>
              </a:pr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01" name="Group 100">
              <a:extLst>
                <a:ext uri="{FF2B5EF4-FFF2-40B4-BE49-F238E27FC236}">
                  <a16:creationId xmlns:a16="http://schemas.microsoft.com/office/drawing/2014/main" id="{DFF40B20-5A0B-42DB-A83B-510D724DEC14}"/>
                </a:ext>
              </a:extLst>
            </p:cNvPr>
            <p:cNvGrpSpPr/>
            <p:nvPr/>
          </p:nvGrpSpPr>
          <p:grpSpPr>
            <a:xfrm>
              <a:off x="10077926" y="2554708"/>
              <a:ext cx="588051" cy="705053"/>
              <a:chOff x="1268187" y="3395208"/>
              <a:chExt cx="1097423" cy="1315771"/>
            </a:xfrm>
          </p:grpSpPr>
          <p:sp>
            <p:nvSpPr>
              <p:cNvPr id="102" name="Rectangle 101">
                <a:extLst>
                  <a:ext uri="{FF2B5EF4-FFF2-40B4-BE49-F238E27FC236}">
                    <a16:creationId xmlns:a16="http://schemas.microsoft.com/office/drawing/2014/main" id="{6E8A427D-97A0-497D-B1ED-F065895E91CF}"/>
                  </a:ext>
                </a:extLst>
              </p:cNvPr>
              <p:cNvSpPr>
                <a:spLocks noChangeArrowheads="1"/>
              </p:cNvSpPr>
              <p:nvPr/>
            </p:nvSpPr>
            <p:spPr bwMode="auto">
              <a:xfrm>
                <a:off x="1337459" y="3740760"/>
                <a:ext cx="958878" cy="143812"/>
              </a:xfrm>
              <a:prstGeom prst="rect">
                <a:avLst/>
              </a:prstGeom>
              <a:solidFill>
                <a:schemeClr val="accent3">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3" name="Freeform 10">
                <a:extLst>
                  <a:ext uri="{FF2B5EF4-FFF2-40B4-BE49-F238E27FC236}">
                    <a16:creationId xmlns:a16="http://schemas.microsoft.com/office/drawing/2014/main" id="{D52D319E-B747-45D6-9EA5-49801ADFCBB9}"/>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3">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10" name="Group 9">
            <a:extLst>
              <a:ext uri="{FF2B5EF4-FFF2-40B4-BE49-F238E27FC236}">
                <a16:creationId xmlns:a16="http://schemas.microsoft.com/office/drawing/2014/main" id="{B3702EF6-EB25-442D-B361-4AC8B5C783AE}"/>
              </a:ext>
            </a:extLst>
          </p:cNvPr>
          <p:cNvGrpSpPr/>
          <p:nvPr/>
        </p:nvGrpSpPr>
        <p:grpSpPr>
          <a:xfrm>
            <a:off x="8333698" y="958855"/>
            <a:ext cx="967371" cy="967365"/>
            <a:chOff x="8333698" y="958855"/>
            <a:chExt cx="967371" cy="967365"/>
          </a:xfrm>
        </p:grpSpPr>
        <p:sp>
          <p:nvSpPr>
            <p:cNvPr id="115" name="Oval 114">
              <a:extLst>
                <a:ext uri="{FF2B5EF4-FFF2-40B4-BE49-F238E27FC236}">
                  <a16:creationId xmlns:a16="http://schemas.microsoft.com/office/drawing/2014/main" id="{E7EC7590-FD9C-4E74-A0CD-24ED729ECBCC}"/>
                </a:ext>
              </a:extLst>
            </p:cNvPr>
            <p:cNvSpPr/>
            <p:nvPr/>
          </p:nvSpPr>
          <p:spPr bwMode="gray">
            <a:xfrm>
              <a:off x="8333698" y="958855"/>
              <a:ext cx="967371" cy="967365"/>
            </a:xfrm>
            <a:prstGeom prst="ellipse">
              <a:avLst/>
            </a:prstGeom>
            <a:gradFill>
              <a:gsLst>
                <a:gs pos="0">
                  <a:schemeClr val="bg1"/>
                </a:gs>
                <a:gs pos="100000">
                  <a:srgbClr val="F4F7FA"/>
                </a:gs>
              </a:gsLst>
              <a:lin ang="0" scaled="0"/>
            </a:gradFill>
            <a:ln>
              <a:noFill/>
            </a:ln>
            <a:effectLst>
              <a:outerShdw blurRad="152400" dist="76200" dir="4200000" sx="98000" sy="98000" algn="r" rotWithShape="0">
                <a:schemeClr val="accent5">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err="1">
                <a:ln>
                  <a:noFill/>
                </a:ln>
                <a:solidFill>
                  <a:prstClr val="white"/>
                </a:solidFill>
                <a:effectLst/>
                <a:uLnTx/>
                <a:uFillTx/>
                <a:latin typeface="Microsoft Sans Serif" panose="020B0604020202020204" pitchFamily="34" charset="0"/>
                <a:ea typeface="+mn-ea"/>
                <a:cs typeface="+mn-cs"/>
              </a:endParaRPr>
            </a:p>
          </p:txBody>
        </p:sp>
        <p:sp>
          <p:nvSpPr>
            <p:cNvPr id="116" name="Oval 115">
              <a:extLst>
                <a:ext uri="{FF2B5EF4-FFF2-40B4-BE49-F238E27FC236}">
                  <a16:creationId xmlns:a16="http://schemas.microsoft.com/office/drawing/2014/main" id="{A36EC2EE-9A1C-438B-A042-CD9DA8635016}"/>
                </a:ext>
              </a:extLst>
            </p:cNvPr>
            <p:cNvSpPr/>
            <p:nvPr/>
          </p:nvSpPr>
          <p:spPr bwMode="gray">
            <a:xfrm>
              <a:off x="8407626" y="1032784"/>
              <a:ext cx="819509" cy="819506"/>
            </a:xfrm>
            <a:prstGeom prst="ellipse">
              <a:avLst/>
            </a:prstGeom>
            <a:gradFill>
              <a:gsLst>
                <a:gs pos="100000">
                  <a:srgbClr val="FFFFFF"/>
                </a:gs>
                <a:gs pos="0">
                  <a:srgbClr val="F0F2F6"/>
                </a:gs>
              </a:gsLst>
              <a:lin ang="0" scaled="0"/>
            </a:gradFill>
            <a:ln>
              <a:noFill/>
            </a:ln>
            <a:effectLst>
              <a:outerShdw blurRad="101600" dist="50800" dir="4200000" sx="98000" sy="98000" algn="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a:ln>
                  <a:noFill/>
                </a:ln>
                <a:solidFill>
                  <a:srgbClr val="4A5A74"/>
                </a:solidFill>
                <a:effectLst>
                  <a:innerShdw blurRad="63500" dist="50800" dir="13500000">
                    <a:srgbClr val="314FD5">
                      <a:lumMod val="50000"/>
                      <a:alpha val="15000"/>
                    </a:srgbClr>
                  </a:innerShdw>
                </a:effectLst>
                <a:uLnTx/>
                <a:uFillTx/>
                <a:latin typeface="Microsoft Sans Serif" panose="020B0604020202020204" pitchFamily="34" charset="0"/>
                <a:ea typeface="+mn-ea"/>
                <a:cs typeface="+mn-cs"/>
              </a:endParaRPr>
            </a:p>
          </p:txBody>
        </p:sp>
        <p:sp>
          <p:nvSpPr>
            <p:cNvPr id="117" name="Freeform: Shape 89">
              <a:extLst>
                <a:ext uri="{FF2B5EF4-FFF2-40B4-BE49-F238E27FC236}">
                  <a16:creationId xmlns:a16="http://schemas.microsoft.com/office/drawing/2014/main" id="{46AB1AFC-A3C3-4AF4-A6E8-BAB1F890B7CE}"/>
                </a:ext>
              </a:extLst>
            </p:cNvPr>
            <p:cNvSpPr/>
            <p:nvPr/>
          </p:nvSpPr>
          <p:spPr>
            <a:xfrm>
              <a:off x="8553396" y="1288833"/>
              <a:ext cx="528921" cy="300398"/>
            </a:xfrm>
            <a:custGeom>
              <a:avLst/>
              <a:gdLst>
                <a:gd name="connsiteX0" fmla="*/ 112035 w 1867701"/>
                <a:gd name="connsiteY0" fmla="*/ 20403 h 1060751"/>
                <a:gd name="connsiteX1" fmla="*/ 680292 w 1867701"/>
                <a:gd name="connsiteY1" fmla="*/ 20403 h 1060751"/>
                <a:gd name="connsiteX2" fmla="*/ 702859 w 1867701"/>
                <a:gd name="connsiteY2" fmla="*/ 29865 h 1060751"/>
                <a:gd name="connsiteX3" fmla="*/ 712323 w 1867701"/>
                <a:gd name="connsiteY3" fmla="*/ 52430 h 1060751"/>
                <a:gd name="connsiteX4" fmla="*/ 712323 w 1867701"/>
                <a:gd name="connsiteY4" fmla="*/ 163072 h 1060751"/>
                <a:gd name="connsiteX5" fmla="*/ 702859 w 1867701"/>
                <a:gd name="connsiteY5" fmla="*/ 185637 h 1060751"/>
                <a:gd name="connsiteX6" fmla="*/ 680292 w 1867701"/>
                <a:gd name="connsiteY6" fmla="*/ 195100 h 1060751"/>
                <a:gd name="connsiteX7" fmla="*/ 231536 w 1867701"/>
                <a:gd name="connsiteY7" fmla="*/ 195100 h 1060751"/>
                <a:gd name="connsiteX8" fmla="*/ 212591 w 1867701"/>
                <a:gd name="connsiteY8" fmla="*/ 431298 h 1060751"/>
                <a:gd name="connsiteX9" fmla="*/ 309138 w 1867701"/>
                <a:gd name="connsiteY9" fmla="*/ 385991 h 1060751"/>
                <a:gd name="connsiteX10" fmla="*/ 420989 w 1867701"/>
                <a:gd name="connsiteY10" fmla="*/ 370161 h 1060751"/>
                <a:gd name="connsiteX11" fmla="*/ 593755 w 1867701"/>
                <a:gd name="connsiteY11" fmla="*/ 410229 h 1060751"/>
                <a:gd name="connsiteX12" fmla="*/ 719220 w 1867701"/>
                <a:gd name="connsiteY12" fmla="*/ 523789 h 1060751"/>
                <a:gd name="connsiteX13" fmla="*/ 767649 w 1867701"/>
                <a:gd name="connsiteY13" fmla="*/ 700877 h 1060751"/>
                <a:gd name="connsiteX14" fmla="*/ 717655 w 1867701"/>
                <a:gd name="connsiteY14" fmla="*/ 881658 h 1060751"/>
                <a:gd name="connsiteX15" fmla="*/ 579289 w 1867701"/>
                <a:gd name="connsiteY15" fmla="*/ 1011190 h 1060751"/>
                <a:gd name="connsiteX16" fmla="*/ 369982 w 1867701"/>
                <a:gd name="connsiteY16" fmla="*/ 1060751 h 1060751"/>
                <a:gd name="connsiteX17" fmla="*/ 152476 w 1867701"/>
                <a:gd name="connsiteY17" fmla="*/ 1014166 h 1060751"/>
                <a:gd name="connsiteX18" fmla="*/ 7108 w 1867701"/>
                <a:gd name="connsiteY18" fmla="*/ 888967 h 1060751"/>
                <a:gd name="connsiteX19" fmla="*/ 914 w 1867701"/>
                <a:gd name="connsiteY19" fmla="*/ 859624 h 1060751"/>
                <a:gd name="connsiteX20" fmla="*/ 18767 w 1867701"/>
                <a:gd name="connsiteY20" fmla="*/ 833561 h 1060751"/>
                <a:gd name="connsiteX21" fmla="*/ 88718 w 1867701"/>
                <a:gd name="connsiteY21" fmla="*/ 776696 h 1060751"/>
                <a:gd name="connsiteX22" fmla="*/ 125151 w 1867701"/>
                <a:gd name="connsiteY22" fmla="*/ 765943 h 1060751"/>
                <a:gd name="connsiteX23" fmla="*/ 152840 w 1867701"/>
                <a:gd name="connsiteY23" fmla="*/ 782529 h 1060751"/>
                <a:gd name="connsiteX24" fmla="*/ 245381 w 1867701"/>
                <a:gd name="connsiteY24" fmla="*/ 862357 h 1060751"/>
                <a:gd name="connsiteX25" fmla="*/ 368525 w 1867701"/>
                <a:gd name="connsiteY25" fmla="*/ 891883 h 1060751"/>
                <a:gd name="connsiteX26" fmla="*/ 515532 w 1867701"/>
                <a:gd name="connsiteY26" fmla="*/ 838664 h 1060751"/>
                <a:gd name="connsiteX27" fmla="*/ 574008 w 1867701"/>
                <a:gd name="connsiteY27" fmla="*/ 706710 h 1060751"/>
                <a:gd name="connsiteX28" fmla="*/ 515168 w 1867701"/>
                <a:gd name="connsiteY28" fmla="*/ 575120 h 1060751"/>
                <a:gd name="connsiteX29" fmla="*/ 378726 w 1867701"/>
                <a:gd name="connsiteY29" fmla="*/ 528827 h 1060751"/>
                <a:gd name="connsiteX30" fmla="*/ 285457 w 1867701"/>
                <a:gd name="connsiteY30" fmla="*/ 547781 h 1060751"/>
                <a:gd name="connsiteX31" fmla="*/ 218420 w 1867701"/>
                <a:gd name="connsiteY31" fmla="*/ 588607 h 1060751"/>
                <a:gd name="connsiteX32" fmla="*/ 199475 w 1867701"/>
                <a:gd name="connsiteY32" fmla="*/ 597902 h 1060751"/>
                <a:gd name="connsiteX33" fmla="*/ 180530 w 1867701"/>
                <a:gd name="connsiteY33" fmla="*/ 597355 h 1060751"/>
                <a:gd name="connsiteX34" fmla="*/ 68316 w 1867701"/>
                <a:gd name="connsiteY34" fmla="*/ 572568 h 1060751"/>
                <a:gd name="connsiteX35" fmla="*/ 50099 w 1867701"/>
                <a:gd name="connsiteY35" fmla="*/ 561086 h 1060751"/>
                <a:gd name="connsiteX36" fmla="*/ 44999 w 1867701"/>
                <a:gd name="connsiteY36" fmla="*/ 541949 h 1060751"/>
                <a:gd name="connsiteX37" fmla="*/ 79974 w 1867701"/>
                <a:gd name="connsiteY37" fmla="*/ 52430 h 1060751"/>
                <a:gd name="connsiteX38" fmla="*/ 89994 w 1867701"/>
                <a:gd name="connsiteY38" fmla="*/ 29865 h 1060751"/>
                <a:gd name="connsiteX39" fmla="*/ 112035 w 1867701"/>
                <a:gd name="connsiteY39" fmla="*/ 20403 h 1060751"/>
                <a:gd name="connsiteX40" fmla="*/ 1365379 w 1867701"/>
                <a:gd name="connsiteY40" fmla="*/ 0 h 1060751"/>
                <a:gd name="connsiteX41" fmla="*/ 1672695 w 1867701"/>
                <a:gd name="connsiteY41" fmla="*/ 84284 h 1060751"/>
                <a:gd name="connsiteX42" fmla="*/ 1865149 w 1867701"/>
                <a:gd name="connsiteY42" fmla="*/ 316129 h 1060751"/>
                <a:gd name="connsiteX43" fmla="*/ 1866972 w 1867701"/>
                <a:gd name="connsiteY43" fmla="*/ 333808 h 1060751"/>
                <a:gd name="connsiteX44" fmla="*/ 1849129 w 1867701"/>
                <a:gd name="connsiteY44" fmla="*/ 348206 h 1060751"/>
                <a:gd name="connsiteX45" fmla="*/ 1705001 w 1867701"/>
                <a:gd name="connsiteY45" fmla="*/ 384658 h 1060751"/>
                <a:gd name="connsiteX46" fmla="*/ 1682431 w 1867701"/>
                <a:gd name="connsiteY46" fmla="*/ 379920 h 1060751"/>
                <a:gd name="connsiteX47" fmla="*/ 1672959 w 1867701"/>
                <a:gd name="connsiteY47" fmla="*/ 364245 h 1060751"/>
                <a:gd name="connsiteX48" fmla="*/ 1553608 w 1867701"/>
                <a:gd name="connsiteY48" fmla="*/ 231377 h 1060751"/>
                <a:gd name="connsiteX49" fmla="*/ 1365379 w 1867701"/>
                <a:gd name="connsiteY49" fmla="*/ 180526 h 1060751"/>
                <a:gd name="connsiteX50" fmla="*/ 1123579 w 1867701"/>
                <a:gd name="connsiteY50" fmla="*/ 283139 h 1060751"/>
                <a:gd name="connsiteX51" fmla="*/ 1027186 w 1867701"/>
                <a:gd name="connsiteY51" fmla="*/ 533378 h 1060751"/>
                <a:gd name="connsiteX52" fmla="*/ 1123397 w 1867701"/>
                <a:gd name="connsiteY52" fmla="*/ 783624 h 1060751"/>
                <a:gd name="connsiteX53" fmla="*/ 1368295 w 1867701"/>
                <a:gd name="connsiteY53" fmla="*/ 883139 h 1060751"/>
                <a:gd name="connsiteX54" fmla="*/ 1553061 w 1867701"/>
                <a:gd name="connsiteY54" fmla="*/ 828621 h 1060751"/>
                <a:gd name="connsiteX55" fmla="*/ 1670044 w 1867701"/>
                <a:gd name="connsiteY55" fmla="*/ 687675 h 1060751"/>
                <a:gd name="connsiteX56" fmla="*/ 1390161 w 1867701"/>
                <a:gd name="connsiteY56" fmla="*/ 687675 h 1060751"/>
                <a:gd name="connsiteX57" fmla="*/ 1367566 w 1867701"/>
                <a:gd name="connsiteY57" fmla="*/ 678396 h 1060751"/>
                <a:gd name="connsiteX58" fmla="*/ 1358091 w 1867701"/>
                <a:gd name="connsiteY58" fmla="*/ 657107 h 1060751"/>
                <a:gd name="connsiteX59" fmla="*/ 1358091 w 1867701"/>
                <a:gd name="connsiteY59" fmla="*/ 561056 h 1060751"/>
                <a:gd name="connsiteX60" fmla="*/ 1367566 w 1867701"/>
                <a:gd name="connsiteY60" fmla="*/ 539206 h 1060751"/>
                <a:gd name="connsiteX61" fmla="*/ 1390161 w 1867701"/>
                <a:gd name="connsiteY61" fmla="*/ 530467 h 1060751"/>
                <a:gd name="connsiteX62" fmla="*/ 1828747 w 1867701"/>
                <a:gd name="connsiteY62" fmla="*/ 530467 h 1060751"/>
                <a:gd name="connsiteX63" fmla="*/ 1851314 w 1867701"/>
                <a:gd name="connsiteY63" fmla="*/ 539206 h 1060751"/>
                <a:gd name="connsiteX64" fmla="*/ 1860777 w 1867701"/>
                <a:gd name="connsiteY64" fmla="*/ 561056 h 1060751"/>
                <a:gd name="connsiteX65" fmla="*/ 1860777 w 1867701"/>
                <a:gd name="connsiteY65" fmla="*/ 1008298 h 1060751"/>
                <a:gd name="connsiteX66" fmla="*/ 1851314 w 1867701"/>
                <a:gd name="connsiteY66" fmla="*/ 1030879 h 1060751"/>
                <a:gd name="connsiteX67" fmla="*/ 1828747 w 1867701"/>
                <a:gd name="connsiteY67" fmla="*/ 1040348 h 1060751"/>
                <a:gd name="connsiteX68" fmla="*/ 1713736 w 1867701"/>
                <a:gd name="connsiteY68" fmla="*/ 1040348 h 1060751"/>
                <a:gd name="connsiteX69" fmla="*/ 1691170 w 1867701"/>
                <a:gd name="connsiteY69" fmla="*/ 1030879 h 1060751"/>
                <a:gd name="connsiteX70" fmla="*/ 1681708 w 1867701"/>
                <a:gd name="connsiteY70" fmla="*/ 1008298 h 1060751"/>
                <a:gd name="connsiteX71" fmla="*/ 1681708 w 1867701"/>
                <a:gd name="connsiteY71" fmla="*/ 903520 h 1060751"/>
                <a:gd name="connsiteX72" fmla="*/ 1550146 w 1867701"/>
                <a:gd name="connsiteY72" fmla="*/ 1015984 h 1060751"/>
                <a:gd name="connsiteX73" fmla="*/ 1342056 w 1867701"/>
                <a:gd name="connsiteY73" fmla="*/ 1060751 h 1060751"/>
                <a:gd name="connsiteX74" fmla="*/ 1075408 w 1867701"/>
                <a:gd name="connsiteY74" fmla="*/ 989972 h 1060751"/>
                <a:gd name="connsiteX75" fmla="*/ 891741 w 1867701"/>
                <a:gd name="connsiteY75" fmla="*/ 801352 h 1060751"/>
                <a:gd name="connsiteX76" fmla="*/ 823344 w 1867701"/>
                <a:gd name="connsiteY76" fmla="*/ 530467 h 1060751"/>
                <a:gd name="connsiteX77" fmla="*/ 896168 w 1867701"/>
                <a:gd name="connsiteY77" fmla="*/ 259443 h 1060751"/>
                <a:gd name="connsiteX78" fmla="*/ 1089445 w 1867701"/>
                <a:gd name="connsiteY78" fmla="*/ 70781 h 1060751"/>
                <a:gd name="connsiteX79" fmla="*/ 1365379 w 1867701"/>
                <a:gd name="connsiteY79" fmla="*/ 0 h 106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867701" h="1060751">
                  <a:moveTo>
                    <a:pt x="112035" y="20403"/>
                  </a:moveTo>
                  <a:lnTo>
                    <a:pt x="680292" y="20403"/>
                  </a:lnTo>
                  <a:cubicBezTo>
                    <a:pt x="689270" y="20645"/>
                    <a:pt x="696793" y="23799"/>
                    <a:pt x="702859" y="29865"/>
                  </a:cubicBezTo>
                  <a:cubicBezTo>
                    <a:pt x="708925" y="35931"/>
                    <a:pt x="712080" y="43452"/>
                    <a:pt x="712323" y="52430"/>
                  </a:cubicBezTo>
                  <a:lnTo>
                    <a:pt x="712323" y="163072"/>
                  </a:lnTo>
                  <a:cubicBezTo>
                    <a:pt x="712080" y="172049"/>
                    <a:pt x="708925" y="179571"/>
                    <a:pt x="702859" y="185637"/>
                  </a:cubicBezTo>
                  <a:cubicBezTo>
                    <a:pt x="696793" y="191703"/>
                    <a:pt x="689270" y="194857"/>
                    <a:pt x="680292" y="195100"/>
                  </a:cubicBezTo>
                  <a:lnTo>
                    <a:pt x="231536" y="195100"/>
                  </a:lnTo>
                  <a:lnTo>
                    <a:pt x="212591" y="431298"/>
                  </a:lnTo>
                  <a:cubicBezTo>
                    <a:pt x="241859" y="411556"/>
                    <a:pt x="274042" y="396453"/>
                    <a:pt x="309138" y="385991"/>
                  </a:cubicBezTo>
                  <a:cubicBezTo>
                    <a:pt x="344236" y="375528"/>
                    <a:pt x="381519" y="370252"/>
                    <a:pt x="420989" y="370161"/>
                  </a:cubicBezTo>
                  <a:cubicBezTo>
                    <a:pt x="483984" y="370438"/>
                    <a:pt x="541572" y="383794"/>
                    <a:pt x="593755" y="410229"/>
                  </a:cubicBezTo>
                  <a:cubicBezTo>
                    <a:pt x="645939" y="436664"/>
                    <a:pt x="687760" y="474517"/>
                    <a:pt x="719220" y="523789"/>
                  </a:cubicBezTo>
                  <a:cubicBezTo>
                    <a:pt x="750681" y="573061"/>
                    <a:pt x="766824" y="632090"/>
                    <a:pt x="767649" y="700877"/>
                  </a:cubicBezTo>
                  <a:cubicBezTo>
                    <a:pt x="767166" y="767285"/>
                    <a:pt x="750500" y="827545"/>
                    <a:pt x="717655" y="881658"/>
                  </a:cubicBezTo>
                  <a:cubicBezTo>
                    <a:pt x="684809" y="935770"/>
                    <a:pt x="638687" y="978948"/>
                    <a:pt x="579289" y="1011190"/>
                  </a:cubicBezTo>
                  <a:cubicBezTo>
                    <a:pt x="519891" y="1043433"/>
                    <a:pt x="450123" y="1059953"/>
                    <a:pt x="369982" y="1060751"/>
                  </a:cubicBezTo>
                  <a:cubicBezTo>
                    <a:pt x="287643" y="1060144"/>
                    <a:pt x="215141" y="1044616"/>
                    <a:pt x="152476" y="1014166"/>
                  </a:cubicBezTo>
                  <a:cubicBezTo>
                    <a:pt x="89811" y="983716"/>
                    <a:pt x="41355" y="941983"/>
                    <a:pt x="7108" y="888967"/>
                  </a:cubicBezTo>
                  <a:cubicBezTo>
                    <a:pt x="672" y="879277"/>
                    <a:pt x="-1393" y="869496"/>
                    <a:pt x="914" y="859624"/>
                  </a:cubicBezTo>
                  <a:cubicBezTo>
                    <a:pt x="3222" y="849751"/>
                    <a:pt x="9173" y="841064"/>
                    <a:pt x="18767" y="833561"/>
                  </a:cubicBezTo>
                  <a:lnTo>
                    <a:pt x="88718" y="776696"/>
                  </a:lnTo>
                  <a:cubicBezTo>
                    <a:pt x="101409" y="767006"/>
                    <a:pt x="113554" y="763422"/>
                    <a:pt x="125151" y="765943"/>
                  </a:cubicBezTo>
                  <a:cubicBezTo>
                    <a:pt x="136750" y="768464"/>
                    <a:pt x="145979" y="773993"/>
                    <a:pt x="152840" y="782529"/>
                  </a:cubicBezTo>
                  <a:cubicBezTo>
                    <a:pt x="181137" y="816429"/>
                    <a:pt x="211984" y="843038"/>
                    <a:pt x="245381" y="862357"/>
                  </a:cubicBezTo>
                  <a:cubicBezTo>
                    <a:pt x="278778" y="881677"/>
                    <a:pt x="319826" y="891519"/>
                    <a:pt x="368525" y="891883"/>
                  </a:cubicBezTo>
                  <a:cubicBezTo>
                    <a:pt x="428731" y="890729"/>
                    <a:pt x="477733" y="872989"/>
                    <a:pt x="515532" y="838664"/>
                  </a:cubicBezTo>
                  <a:cubicBezTo>
                    <a:pt x="553332" y="804339"/>
                    <a:pt x="572823" y="760354"/>
                    <a:pt x="574008" y="706710"/>
                  </a:cubicBezTo>
                  <a:cubicBezTo>
                    <a:pt x="572338" y="649542"/>
                    <a:pt x="552725" y="605678"/>
                    <a:pt x="515168" y="575120"/>
                  </a:cubicBezTo>
                  <a:cubicBezTo>
                    <a:pt x="477612" y="544562"/>
                    <a:pt x="432131" y="529131"/>
                    <a:pt x="378726" y="528827"/>
                  </a:cubicBezTo>
                  <a:cubicBezTo>
                    <a:pt x="343629" y="529495"/>
                    <a:pt x="312539" y="535813"/>
                    <a:pt x="285457" y="547781"/>
                  </a:cubicBezTo>
                  <a:cubicBezTo>
                    <a:pt x="258376" y="559750"/>
                    <a:pt x="236029" y="573358"/>
                    <a:pt x="218420" y="588607"/>
                  </a:cubicBezTo>
                  <a:cubicBezTo>
                    <a:pt x="211923" y="593619"/>
                    <a:pt x="205608" y="596717"/>
                    <a:pt x="199475" y="597902"/>
                  </a:cubicBezTo>
                  <a:cubicBezTo>
                    <a:pt x="193343" y="599087"/>
                    <a:pt x="187027" y="598904"/>
                    <a:pt x="180530" y="597355"/>
                  </a:cubicBezTo>
                  <a:lnTo>
                    <a:pt x="68316" y="572568"/>
                  </a:lnTo>
                  <a:cubicBezTo>
                    <a:pt x="60240" y="570290"/>
                    <a:pt x="54168" y="566463"/>
                    <a:pt x="50099" y="561086"/>
                  </a:cubicBezTo>
                  <a:cubicBezTo>
                    <a:pt x="46031" y="555709"/>
                    <a:pt x="44331" y="549330"/>
                    <a:pt x="44999" y="541949"/>
                  </a:cubicBezTo>
                  <a:lnTo>
                    <a:pt x="79974" y="52430"/>
                  </a:lnTo>
                  <a:cubicBezTo>
                    <a:pt x="80855" y="43452"/>
                    <a:pt x="84195" y="35931"/>
                    <a:pt x="89994" y="29865"/>
                  </a:cubicBezTo>
                  <a:cubicBezTo>
                    <a:pt x="95793" y="23799"/>
                    <a:pt x="103140" y="20645"/>
                    <a:pt x="112035" y="20403"/>
                  </a:cubicBezTo>
                  <a:close/>
                  <a:moveTo>
                    <a:pt x="1365379" y="0"/>
                  </a:moveTo>
                  <a:cubicBezTo>
                    <a:pt x="1480505" y="875"/>
                    <a:pt x="1582943" y="28970"/>
                    <a:pt x="1672695" y="84284"/>
                  </a:cubicBezTo>
                  <a:cubicBezTo>
                    <a:pt x="1762446" y="139598"/>
                    <a:pt x="1826598" y="216879"/>
                    <a:pt x="1865149" y="316129"/>
                  </a:cubicBezTo>
                  <a:cubicBezTo>
                    <a:pt x="1867760" y="321566"/>
                    <a:pt x="1868368" y="327459"/>
                    <a:pt x="1866972" y="333808"/>
                  </a:cubicBezTo>
                  <a:cubicBezTo>
                    <a:pt x="1865576" y="340157"/>
                    <a:pt x="1859629" y="344956"/>
                    <a:pt x="1849129" y="348206"/>
                  </a:cubicBezTo>
                  <a:lnTo>
                    <a:pt x="1705001" y="384658"/>
                  </a:lnTo>
                  <a:cubicBezTo>
                    <a:pt x="1694385" y="386359"/>
                    <a:pt x="1686862" y="384780"/>
                    <a:pt x="1682431" y="379920"/>
                  </a:cubicBezTo>
                  <a:cubicBezTo>
                    <a:pt x="1678000" y="375059"/>
                    <a:pt x="1674842" y="369835"/>
                    <a:pt x="1672959" y="364245"/>
                  </a:cubicBezTo>
                  <a:cubicBezTo>
                    <a:pt x="1644564" y="308747"/>
                    <a:pt x="1604780" y="264458"/>
                    <a:pt x="1553608" y="231377"/>
                  </a:cubicBezTo>
                  <a:cubicBezTo>
                    <a:pt x="1502435" y="198297"/>
                    <a:pt x="1439693" y="181347"/>
                    <a:pt x="1365379" y="180526"/>
                  </a:cubicBezTo>
                  <a:cubicBezTo>
                    <a:pt x="1266466" y="182926"/>
                    <a:pt x="1185866" y="217130"/>
                    <a:pt x="1123579" y="283139"/>
                  </a:cubicBezTo>
                  <a:cubicBezTo>
                    <a:pt x="1061291" y="349147"/>
                    <a:pt x="1029161" y="432560"/>
                    <a:pt x="1027186" y="533378"/>
                  </a:cubicBezTo>
                  <a:cubicBezTo>
                    <a:pt x="1029010" y="635878"/>
                    <a:pt x="1061079" y="719294"/>
                    <a:pt x="1123397" y="783624"/>
                  </a:cubicBezTo>
                  <a:cubicBezTo>
                    <a:pt x="1185714" y="847955"/>
                    <a:pt x="1267347" y="881127"/>
                    <a:pt x="1368295" y="883139"/>
                  </a:cubicBezTo>
                  <a:cubicBezTo>
                    <a:pt x="1438994" y="882197"/>
                    <a:pt x="1500583" y="864024"/>
                    <a:pt x="1553061" y="828621"/>
                  </a:cubicBezTo>
                  <a:cubicBezTo>
                    <a:pt x="1605539" y="793217"/>
                    <a:pt x="1644534" y="746236"/>
                    <a:pt x="1670044" y="687675"/>
                  </a:cubicBezTo>
                  <a:lnTo>
                    <a:pt x="1390161" y="687675"/>
                  </a:lnTo>
                  <a:cubicBezTo>
                    <a:pt x="1381171" y="687403"/>
                    <a:pt x="1373640" y="684309"/>
                    <a:pt x="1367566" y="678396"/>
                  </a:cubicBezTo>
                  <a:cubicBezTo>
                    <a:pt x="1361493" y="672482"/>
                    <a:pt x="1358334" y="665386"/>
                    <a:pt x="1358091" y="657107"/>
                  </a:cubicBezTo>
                  <a:lnTo>
                    <a:pt x="1358091" y="561056"/>
                  </a:lnTo>
                  <a:cubicBezTo>
                    <a:pt x="1358334" y="552134"/>
                    <a:pt x="1361493" y="544850"/>
                    <a:pt x="1367566" y="539206"/>
                  </a:cubicBezTo>
                  <a:cubicBezTo>
                    <a:pt x="1373640" y="533562"/>
                    <a:pt x="1381171" y="530649"/>
                    <a:pt x="1390161" y="530467"/>
                  </a:cubicBezTo>
                  <a:lnTo>
                    <a:pt x="1828747" y="530467"/>
                  </a:lnTo>
                  <a:cubicBezTo>
                    <a:pt x="1837725" y="530648"/>
                    <a:pt x="1845247" y="533562"/>
                    <a:pt x="1851314" y="539206"/>
                  </a:cubicBezTo>
                  <a:cubicBezTo>
                    <a:pt x="1857380" y="544850"/>
                    <a:pt x="1860534" y="552134"/>
                    <a:pt x="1860777" y="561056"/>
                  </a:cubicBezTo>
                  <a:lnTo>
                    <a:pt x="1860777" y="1008298"/>
                  </a:lnTo>
                  <a:cubicBezTo>
                    <a:pt x="1860534" y="1017282"/>
                    <a:pt x="1857380" y="1024809"/>
                    <a:pt x="1851314" y="1030879"/>
                  </a:cubicBezTo>
                  <a:cubicBezTo>
                    <a:pt x="1845247" y="1036949"/>
                    <a:pt x="1837725" y="1040105"/>
                    <a:pt x="1828747" y="1040348"/>
                  </a:cubicBezTo>
                  <a:lnTo>
                    <a:pt x="1713736" y="1040348"/>
                  </a:lnTo>
                  <a:cubicBezTo>
                    <a:pt x="1704758" y="1040105"/>
                    <a:pt x="1697237" y="1036949"/>
                    <a:pt x="1691170" y="1030879"/>
                  </a:cubicBezTo>
                  <a:cubicBezTo>
                    <a:pt x="1685106" y="1024809"/>
                    <a:pt x="1681951" y="1017282"/>
                    <a:pt x="1681708" y="1008298"/>
                  </a:cubicBezTo>
                  <a:lnTo>
                    <a:pt x="1681708" y="903520"/>
                  </a:lnTo>
                  <a:cubicBezTo>
                    <a:pt x="1649333" y="949561"/>
                    <a:pt x="1605479" y="987049"/>
                    <a:pt x="1550146" y="1015984"/>
                  </a:cubicBezTo>
                  <a:cubicBezTo>
                    <a:pt x="1494814" y="1044918"/>
                    <a:pt x="1425449" y="1059841"/>
                    <a:pt x="1342056" y="1060751"/>
                  </a:cubicBezTo>
                  <a:cubicBezTo>
                    <a:pt x="1242034" y="1059762"/>
                    <a:pt x="1153151" y="1036170"/>
                    <a:pt x="1075408" y="989972"/>
                  </a:cubicBezTo>
                  <a:cubicBezTo>
                    <a:pt x="997665" y="943774"/>
                    <a:pt x="936442" y="880901"/>
                    <a:pt x="891741" y="801352"/>
                  </a:cubicBezTo>
                  <a:cubicBezTo>
                    <a:pt x="847039" y="721803"/>
                    <a:pt x="824241" y="631508"/>
                    <a:pt x="823344" y="530467"/>
                  </a:cubicBezTo>
                  <a:cubicBezTo>
                    <a:pt x="824393" y="429358"/>
                    <a:pt x="848668" y="339017"/>
                    <a:pt x="896168" y="259443"/>
                  </a:cubicBezTo>
                  <a:cubicBezTo>
                    <a:pt x="943667" y="179868"/>
                    <a:pt x="1008093" y="116981"/>
                    <a:pt x="1089445" y="70781"/>
                  </a:cubicBezTo>
                  <a:cubicBezTo>
                    <a:pt x="1170796" y="24580"/>
                    <a:pt x="1262774" y="987"/>
                    <a:pt x="136537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F7F8FA"/>
                </a:solidFill>
                <a:effectLst/>
                <a:uLnTx/>
                <a:uFillTx/>
                <a:latin typeface="Microsoft Sans Serif"/>
                <a:ea typeface="+mn-ea"/>
                <a:cs typeface="+mn-cs"/>
              </a:endParaRPr>
            </a:p>
          </p:txBody>
        </p:sp>
      </p:grpSp>
    </p:spTree>
    <p:extLst>
      <p:ext uri="{BB962C8B-B14F-4D97-AF65-F5344CB8AC3E}">
        <p14:creationId xmlns:p14="http://schemas.microsoft.com/office/powerpoint/2010/main" val="104956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9232" y="459538"/>
            <a:ext cx="8312101" cy="8311087"/>
          </a:xfrm>
          <a:prstGeom prst="rect">
            <a:avLst/>
          </a:prstGeom>
        </p:spPr>
      </p:pic>
      <p:sp>
        <p:nvSpPr>
          <p:cNvPr id="10" name="Rectangle 9"/>
          <p:cNvSpPr/>
          <p:nvPr/>
        </p:nvSpPr>
        <p:spPr>
          <a:xfrm>
            <a:off x="1984032" y="1022602"/>
            <a:ext cx="7882553" cy="438102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 name="Rectangle 7"/>
          <p:cNvSpPr/>
          <p:nvPr/>
        </p:nvSpPr>
        <p:spPr>
          <a:xfrm>
            <a:off x="5536426" y="1486858"/>
            <a:ext cx="4183489" cy="3279988"/>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 name="Rectangle 8"/>
          <p:cNvSpPr/>
          <p:nvPr/>
        </p:nvSpPr>
        <p:spPr>
          <a:xfrm>
            <a:off x="2272064" y="1502484"/>
            <a:ext cx="2400267" cy="1248139"/>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7" name="Rounded Rectangle 16"/>
          <p:cNvSpPr/>
          <p:nvPr/>
        </p:nvSpPr>
        <p:spPr>
          <a:xfrm>
            <a:off x="7334219" y="1667306"/>
            <a:ext cx="1715861" cy="330596"/>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Bearer Management </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7" name="Rounded Rectangle 26"/>
          <p:cNvSpPr/>
          <p:nvPr/>
        </p:nvSpPr>
        <p:spPr>
          <a:xfrm>
            <a:off x="2344680" y="1598492"/>
            <a:ext cx="2231640" cy="410536"/>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Arial"/>
                <a:ea typeface="+mn-ea"/>
                <a:cs typeface="+mn-cs"/>
              </a:rPr>
              <a:t>IP Multicast Allocation</a:t>
            </a:r>
            <a:endParaRPr kumimoji="0" lang="de-DE" sz="1333"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 name="Rounded Rectangle 29"/>
          <p:cNvSpPr/>
          <p:nvPr/>
        </p:nvSpPr>
        <p:spPr>
          <a:xfrm>
            <a:off x="2416080" y="2090217"/>
            <a:ext cx="2086264" cy="564395"/>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Arial"/>
                <a:ea typeface="+mn-ea"/>
                <a:cs typeface="+mn-cs"/>
              </a:rPr>
              <a:t>Packet Routing/Forwarding </a:t>
            </a:r>
            <a:endParaRPr kumimoji="0" lang="de-DE" sz="1333"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4" name="TextBox 33"/>
          <p:cNvSpPr txBox="1"/>
          <p:nvPr/>
        </p:nvSpPr>
        <p:spPr>
          <a:xfrm>
            <a:off x="6968006" y="1041012"/>
            <a:ext cx="1011815" cy="40011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BM-SC</a:t>
            </a: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5" name="TextBox 34"/>
          <p:cNvSpPr txBox="1"/>
          <p:nvPr/>
        </p:nvSpPr>
        <p:spPr>
          <a:xfrm>
            <a:off x="2701474" y="1071597"/>
            <a:ext cx="1479892" cy="40011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MBMS-GW</a:t>
            </a: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37" name="Straight Connector 36"/>
          <p:cNvCxnSpPr/>
          <p:nvPr/>
        </p:nvCxnSpPr>
        <p:spPr>
          <a:xfrm flipH="1" flipV="1">
            <a:off x="963861" y="2779457"/>
            <a:ext cx="1020172" cy="12607"/>
          </a:xfrm>
          <a:prstGeom prst="line">
            <a:avLst/>
          </a:prstGeom>
          <a:ln w="19050">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659345" y="2170693"/>
            <a:ext cx="864096" cy="0"/>
          </a:xfrm>
          <a:prstGeom prst="line">
            <a:avLst/>
          </a:prstGeom>
          <a:ln w="1905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682780" y="2746757"/>
            <a:ext cx="864096" cy="0"/>
          </a:xfrm>
          <a:prstGeom prst="line">
            <a:avLst/>
          </a:prstGeom>
          <a:ln w="19050">
            <a:prstDash val="sysDash"/>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63" idx="1"/>
            <a:endCxn id="10" idx="3"/>
          </p:cNvCxnSpPr>
          <p:nvPr/>
        </p:nvCxnSpPr>
        <p:spPr>
          <a:xfrm flipH="1">
            <a:off x="9866584" y="3200432"/>
            <a:ext cx="1030973" cy="12681"/>
          </a:xfrm>
          <a:prstGeom prst="line">
            <a:avLst/>
          </a:prstGeom>
          <a:ln w="19050">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4695232" y="1822268"/>
            <a:ext cx="764953"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83A2">
                    <a:lumMod val="50000"/>
                  </a:srgbClr>
                </a:solidFill>
                <a:effectLst/>
                <a:uLnTx/>
                <a:uFillTx/>
                <a:latin typeface="Arial"/>
                <a:ea typeface="+mn-ea"/>
                <a:cs typeface="+mn-cs"/>
              </a:rPr>
              <a:t>SGi-mb</a:t>
            </a:r>
            <a:endParaRPr kumimoji="0" lang="de-DE" sz="1333" b="0" i="0" u="none" strike="noStrike" kern="1200" cap="none" spc="0" normalizeH="0" baseline="0" noProof="0" dirty="0" err="1">
              <a:ln>
                <a:noFill/>
              </a:ln>
              <a:solidFill>
                <a:srgbClr val="0083A2">
                  <a:lumMod val="50000"/>
                </a:srgbClr>
              </a:solidFill>
              <a:effectLst/>
              <a:uLnTx/>
              <a:uFillTx/>
              <a:latin typeface="Arial"/>
              <a:ea typeface="+mn-ea"/>
              <a:cs typeface="+mn-cs"/>
            </a:endParaRPr>
          </a:p>
        </p:txBody>
      </p:sp>
      <p:sp>
        <p:nvSpPr>
          <p:cNvPr id="49" name="TextBox 48"/>
          <p:cNvSpPr txBox="1"/>
          <p:nvPr/>
        </p:nvSpPr>
        <p:spPr>
          <a:xfrm>
            <a:off x="4721345" y="2428528"/>
            <a:ext cx="726481"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83A2">
                    <a:lumMod val="50000"/>
                  </a:srgbClr>
                </a:solidFill>
                <a:effectLst/>
                <a:uLnTx/>
                <a:uFillTx/>
                <a:latin typeface="Arial"/>
                <a:ea typeface="+mn-ea"/>
                <a:cs typeface="+mn-cs"/>
              </a:rPr>
              <a:t>SG-</a:t>
            </a:r>
            <a:r>
              <a:rPr kumimoji="0" lang="en-US" sz="1333" b="0" i="0" u="none" strike="noStrike" kern="1200" cap="none" spc="0" normalizeH="0" baseline="0" noProof="0" dirty="0" err="1">
                <a:ln>
                  <a:noFill/>
                </a:ln>
                <a:solidFill>
                  <a:srgbClr val="0083A2">
                    <a:lumMod val="50000"/>
                  </a:srgbClr>
                </a:solidFill>
                <a:effectLst/>
                <a:uLnTx/>
                <a:uFillTx/>
                <a:latin typeface="Arial"/>
                <a:ea typeface="+mn-ea"/>
                <a:cs typeface="+mn-cs"/>
              </a:rPr>
              <a:t>mb</a:t>
            </a:r>
            <a:endParaRPr kumimoji="0" lang="de-DE" sz="1333" b="0" i="0" u="none" strike="noStrike" kern="1200" cap="none" spc="0" normalizeH="0" baseline="0" noProof="0" dirty="0" err="1">
              <a:ln>
                <a:noFill/>
              </a:ln>
              <a:solidFill>
                <a:srgbClr val="0083A2">
                  <a:lumMod val="50000"/>
                </a:srgbClr>
              </a:solidFill>
              <a:effectLst/>
              <a:uLnTx/>
              <a:uFillTx/>
              <a:latin typeface="Arial"/>
              <a:ea typeface="+mn-ea"/>
              <a:cs typeface="+mn-cs"/>
            </a:endParaRPr>
          </a:p>
        </p:txBody>
      </p:sp>
      <p:sp>
        <p:nvSpPr>
          <p:cNvPr id="50" name="TextBox 49"/>
          <p:cNvSpPr txBox="1"/>
          <p:nvPr/>
        </p:nvSpPr>
        <p:spPr>
          <a:xfrm>
            <a:off x="1235765" y="2457866"/>
            <a:ext cx="421910"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9DEC">
                    <a:lumMod val="50000"/>
                  </a:srgbClr>
                </a:solidFill>
                <a:effectLst/>
                <a:uLnTx/>
                <a:uFillTx/>
                <a:latin typeface="Arial"/>
                <a:ea typeface="+mn-ea"/>
                <a:cs typeface="+mn-cs"/>
              </a:rPr>
              <a:t>M1</a:t>
            </a:r>
            <a:endParaRPr kumimoji="0" lang="de-DE" sz="1333" b="0" i="0" u="none" strike="noStrike" kern="1200" cap="none" spc="0" normalizeH="0" baseline="0" noProof="0" dirty="0" err="1">
              <a:ln>
                <a:noFill/>
              </a:ln>
              <a:solidFill>
                <a:srgbClr val="009DEC">
                  <a:lumMod val="50000"/>
                </a:srgbClr>
              </a:solidFill>
              <a:effectLst/>
              <a:uLnTx/>
              <a:uFillTx/>
              <a:latin typeface="Arial"/>
              <a:ea typeface="+mn-ea"/>
              <a:cs typeface="+mn-cs"/>
            </a:endParaRPr>
          </a:p>
        </p:txBody>
      </p:sp>
      <p:sp>
        <p:nvSpPr>
          <p:cNvPr id="52" name="TextBox 51"/>
          <p:cNvSpPr txBox="1"/>
          <p:nvPr/>
        </p:nvSpPr>
        <p:spPr>
          <a:xfrm>
            <a:off x="780789" y="2778382"/>
            <a:ext cx="1408977"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8AD3E"/>
                </a:solidFill>
                <a:effectLst/>
                <a:uLnTx/>
                <a:uFillTx/>
                <a:latin typeface="Arial"/>
                <a:ea typeface="+mn-ea"/>
                <a:cs typeface="+mn-cs"/>
              </a:rPr>
              <a:t>SNYC / FLUTE</a:t>
            </a:r>
            <a:endParaRPr kumimoji="0" lang="de-DE" sz="1200" b="0" i="0" u="none" strike="noStrike" kern="1200" cap="none" spc="0" normalizeH="0" baseline="0" noProof="0" dirty="0" err="1">
              <a:ln>
                <a:noFill/>
              </a:ln>
              <a:solidFill>
                <a:srgbClr val="F8AD3E"/>
              </a:solidFill>
              <a:effectLst/>
              <a:uLnTx/>
              <a:uFillTx/>
              <a:latin typeface="Arial"/>
              <a:ea typeface="+mn-ea"/>
              <a:cs typeface="+mn-cs"/>
            </a:endParaRPr>
          </a:p>
        </p:txBody>
      </p:sp>
      <p:sp>
        <p:nvSpPr>
          <p:cNvPr id="54" name="TextBox 53"/>
          <p:cNvSpPr txBox="1"/>
          <p:nvPr/>
        </p:nvSpPr>
        <p:spPr>
          <a:xfrm>
            <a:off x="4653736" y="2766888"/>
            <a:ext cx="878767"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Diameter</a:t>
            </a:r>
            <a:endParaRPr kumimoji="0" lang="de-DE" sz="1333" b="0" i="0" u="none" strike="noStrike" kern="1200" cap="none" spc="0" normalizeH="0" baseline="0" noProof="0" dirty="0" err="1">
              <a:ln>
                <a:noFill/>
              </a:ln>
              <a:solidFill>
                <a:srgbClr val="F8AD3E"/>
              </a:solidFill>
              <a:effectLst/>
              <a:uLnTx/>
              <a:uFillTx/>
              <a:latin typeface="Arial"/>
              <a:ea typeface="+mn-ea"/>
              <a:cs typeface="+mn-cs"/>
            </a:endParaRPr>
          </a:p>
        </p:txBody>
      </p:sp>
      <p:sp>
        <p:nvSpPr>
          <p:cNvPr id="56" name="TextBox 55"/>
          <p:cNvSpPr txBox="1"/>
          <p:nvPr/>
        </p:nvSpPr>
        <p:spPr>
          <a:xfrm>
            <a:off x="4731038" y="2181399"/>
            <a:ext cx="659155"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SYNC</a:t>
            </a:r>
            <a:endParaRPr kumimoji="0" lang="de-DE" sz="1333" b="0" i="0" u="none" strike="noStrike" kern="1200" cap="none" spc="0" normalizeH="0" baseline="0" noProof="0" dirty="0" err="1">
              <a:ln>
                <a:noFill/>
              </a:ln>
              <a:solidFill>
                <a:srgbClr val="F8AD3E"/>
              </a:solidFill>
              <a:effectLst/>
              <a:uLnTx/>
              <a:uFillTx/>
              <a:latin typeface="Arial"/>
              <a:ea typeface="+mn-ea"/>
              <a:cs typeface="+mn-cs"/>
            </a:endParaRPr>
          </a:p>
        </p:txBody>
      </p:sp>
      <p:sp>
        <p:nvSpPr>
          <p:cNvPr id="63" name="Rounded Rectangle 62"/>
          <p:cNvSpPr/>
          <p:nvPr/>
        </p:nvSpPr>
        <p:spPr>
          <a:xfrm>
            <a:off x="10897558" y="2439628"/>
            <a:ext cx="1252017" cy="1521605"/>
          </a:xfrm>
          <a:prstGeom prst="roundRect">
            <a:avLst/>
          </a:prstGeom>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Arial"/>
                <a:ea typeface="+mn-ea"/>
                <a:cs typeface="+mn-cs"/>
              </a:rPr>
              <a:t>Content Provider</a:t>
            </a:r>
            <a:endParaRPr kumimoji="0" lang="de-DE" sz="186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9" name="Rounded Rectangle 58"/>
          <p:cNvSpPr/>
          <p:nvPr/>
        </p:nvSpPr>
        <p:spPr>
          <a:xfrm>
            <a:off x="5619259" y="1665771"/>
            <a:ext cx="1574828" cy="542215"/>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Premium Content Synchronization</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1" name="Rounded Rectangle 60"/>
          <p:cNvSpPr/>
          <p:nvPr/>
        </p:nvSpPr>
        <p:spPr>
          <a:xfrm>
            <a:off x="7102310" y="3308143"/>
            <a:ext cx="2525828" cy="34990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Multimedia Content Multiplexing</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4" name="Rounded Rectangle 63"/>
          <p:cNvSpPr/>
          <p:nvPr/>
        </p:nvSpPr>
        <p:spPr>
          <a:xfrm rot="5400000">
            <a:off x="8726907" y="2216652"/>
            <a:ext cx="1377213" cy="33712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TMGI Allocation</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9" name="TextBox 68"/>
          <p:cNvSpPr txBox="1"/>
          <p:nvPr/>
        </p:nvSpPr>
        <p:spPr>
          <a:xfrm>
            <a:off x="9806421" y="2822929"/>
            <a:ext cx="1173911" cy="1900649"/>
          </a:xfrm>
          <a:prstGeom prst="rect">
            <a:avLst/>
          </a:prstGeom>
          <a:noFill/>
        </p:spPr>
        <p:txBody>
          <a:bodyPr wrap="none" rtlCol="0">
            <a:spAutoFit/>
          </a:bodyPr>
          <a:lstStyle/>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srgbClr val="F8AD3E"/>
                </a:solidFill>
                <a:effectLst/>
                <a:uLnTx/>
                <a:uFillTx/>
                <a:latin typeface="Arial"/>
                <a:ea typeface="+mn-ea"/>
                <a:cs typeface="+mn-cs"/>
              </a:rPr>
              <a:t>RESTfull</a:t>
            </a:r>
            <a:r>
              <a:rPr kumimoji="0" lang="en-US" sz="1333" b="0" i="0" u="none" strike="noStrike" kern="1200" cap="none" spc="0" normalizeH="0" baseline="0" noProof="0" dirty="0">
                <a:ln>
                  <a:noFill/>
                </a:ln>
                <a:solidFill>
                  <a:srgbClr val="F8AD3E"/>
                </a:solidFill>
                <a:effectLst/>
                <a:uLnTx/>
                <a:uFillTx/>
                <a:latin typeface="Arial"/>
                <a:ea typeface="+mn-ea"/>
                <a:cs typeface="+mn-cs"/>
              </a:rPr>
              <a:t> API</a:t>
            </a:r>
          </a:p>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srgbClr val="F8AD3E"/>
                </a:solidFill>
                <a:effectLst/>
                <a:uLnTx/>
                <a:uFillTx/>
                <a:latin typeface="Arial"/>
                <a:ea typeface="+mn-ea"/>
                <a:cs typeface="+mn-cs"/>
              </a:rPr>
              <a:t>TSoIP</a:t>
            </a:r>
            <a:endParaRPr kumimoji="0" lang="en-US" sz="1333" b="0" i="0" u="none" strike="noStrike" kern="1200" cap="none" spc="0" normalizeH="0" baseline="0" noProof="0" dirty="0">
              <a:ln>
                <a:noFill/>
              </a:ln>
              <a:solidFill>
                <a:srgbClr val="F8AD3E"/>
              </a:solidFill>
              <a:effectLst/>
              <a:uLnTx/>
              <a:uFillTx/>
              <a:latin typeface="Arial"/>
              <a:ea typeface="+mn-ea"/>
              <a:cs typeface="+mn-cs"/>
            </a:endParaRPr>
          </a:p>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DASH</a:t>
            </a:r>
          </a:p>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HLS</a:t>
            </a:r>
          </a:p>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DTLS*</a:t>
            </a:r>
          </a:p>
          <a:p>
            <a:pPr marL="0" marR="0" lvl="0" indent="0" algn="ctr" defTabSz="1219170" rtl="0" eaLnBrk="1" fontAlgn="auto" latinLnBrk="0" hangingPunct="1">
              <a:lnSpc>
                <a:spcPct val="15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8AD3E"/>
                </a:solidFill>
                <a:effectLst/>
                <a:uLnTx/>
                <a:uFillTx/>
                <a:latin typeface="Arial"/>
                <a:ea typeface="+mn-ea"/>
                <a:cs typeface="+mn-cs"/>
              </a:rPr>
              <a:t>CMAF*</a:t>
            </a:r>
          </a:p>
        </p:txBody>
      </p:sp>
      <p:cxnSp>
        <p:nvCxnSpPr>
          <p:cNvPr id="78" name="Straight Connector 77"/>
          <p:cNvCxnSpPr/>
          <p:nvPr/>
        </p:nvCxnSpPr>
        <p:spPr>
          <a:xfrm flipH="1" flipV="1">
            <a:off x="963861" y="3459095"/>
            <a:ext cx="1020172" cy="5043"/>
          </a:xfrm>
          <a:prstGeom prst="line">
            <a:avLst/>
          </a:prstGeom>
          <a:ln w="9525" cap="flat" cmpd="sng" algn="ctr">
            <a:solidFill>
              <a:schemeClr val="accent4"/>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9" name="TextBox 78"/>
          <p:cNvSpPr txBox="1"/>
          <p:nvPr/>
        </p:nvSpPr>
        <p:spPr>
          <a:xfrm>
            <a:off x="1216091" y="3147619"/>
            <a:ext cx="421910"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9DEC">
                    <a:lumMod val="50000"/>
                  </a:srgbClr>
                </a:solidFill>
                <a:effectLst/>
                <a:uLnTx/>
                <a:uFillTx/>
                <a:latin typeface="Arial"/>
                <a:ea typeface="+mn-ea"/>
                <a:cs typeface="+mn-cs"/>
              </a:rPr>
              <a:t>M2</a:t>
            </a:r>
            <a:endParaRPr kumimoji="0" lang="de-DE" sz="1333" b="0" i="0" u="none" strike="noStrike" kern="1200" cap="none" spc="0" normalizeH="0" baseline="0" noProof="0" dirty="0" err="1">
              <a:ln>
                <a:noFill/>
              </a:ln>
              <a:solidFill>
                <a:srgbClr val="009DEC">
                  <a:lumMod val="50000"/>
                </a:srgbClr>
              </a:solidFill>
              <a:effectLst/>
              <a:uLnTx/>
              <a:uFillTx/>
              <a:latin typeface="Arial"/>
              <a:ea typeface="+mn-ea"/>
              <a:cs typeface="+mn-cs"/>
            </a:endParaRPr>
          </a:p>
        </p:txBody>
      </p:sp>
      <p:sp>
        <p:nvSpPr>
          <p:cNvPr id="80" name="TextBox 79"/>
          <p:cNvSpPr txBox="1"/>
          <p:nvPr/>
        </p:nvSpPr>
        <p:spPr>
          <a:xfrm>
            <a:off x="1157999" y="3500038"/>
            <a:ext cx="603050" cy="276999"/>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8AD3E"/>
                </a:solidFill>
                <a:effectLst/>
                <a:uLnTx/>
                <a:uFillTx/>
                <a:latin typeface="Arial"/>
                <a:ea typeface="+mn-ea"/>
                <a:cs typeface="+mn-cs"/>
              </a:rPr>
              <a:t>M2AP</a:t>
            </a:r>
            <a:endParaRPr kumimoji="0" lang="de-DE" sz="1200" b="0" i="0" u="none" strike="noStrike" kern="1200" cap="none" spc="0" normalizeH="0" baseline="0" noProof="0" dirty="0" err="1">
              <a:ln>
                <a:noFill/>
              </a:ln>
              <a:solidFill>
                <a:srgbClr val="F8AD3E"/>
              </a:solidFill>
              <a:effectLst/>
              <a:uLnTx/>
              <a:uFillTx/>
              <a:latin typeface="Arial"/>
              <a:ea typeface="+mn-ea"/>
              <a:cs typeface="+mn-cs"/>
            </a:endParaRPr>
          </a:p>
        </p:txBody>
      </p:sp>
      <p:sp>
        <p:nvSpPr>
          <p:cNvPr id="81" name="Rectangle 80"/>
          <p:cNvSpPr/>
          <p:nvPr/>
        </p:nvSpPr>
        <p:spPr>
          <a:xfrm>
            <a:off x="2259079" y="3128085"/>
            <a:ext cx="2400267" cy="163876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2" name="Rounded Rectangle 81"/>
          <p:cNvSpPr/>
          <p:nvPr/>
        </p:nvSpPr>
        <p:spPr>
          <a:xfrm>
            <a:off x="2429065" y="3190414"/>
            <a:ext cx="2086264" cy="816485"/>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Arial"/>
                <a:ea typeface="+mn-ea"/>
                <a:cs typeface="+mn-cs"/>
              </a:rPr>
              <a:t>Dynamic Radio Resource Management for Broadcast/Multicast</a:t>
            </a:r>
            <a:endParaRPr kumimoji="0" lang="de-DE" sz="1333"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3" name="TextBox 82"/>
          <p:cNvSpPr txBox="1"/>
          <p:nvPr/>
        </p:nvSpPr>
        <p:spPr>
          <a:xfrm>
            <a:off x="3083797" y="2749084"/>
            <a:ext cx="755335" cy="40011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MCE</a:t>
            </a: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4" name="Rounded Rectangle 83"/>
          <p:cNvSpPr/>
          <p:nvPr/>
        </p:nvSpPr>
        <p:spPr>
          <a:xfrm>
            <a:off x="2429065" y="4094772"/>
            <a:ext cx="2086264" cy="57964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Arial"/>
                <a:ea typeface="+mn-ea"/>
                <a:cs typeface="+mn-cs"/>
              </a:rPr>
              <a:t>Dynamic Resources Scheduling &amp; MCS</a:t>
            </a:r>
            <a:endParaRPr kumimoji="0" lang="de-DE" sz="1333"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 name="Oval 5"/>
          <p:cNvSpPr/>
          <p:nvPr/>
        </p:nvSpPr>
        <p:spPr>
          <a:xfrm>
            <a:off x="4719443" y="1598307"/>
            <a:ext cx="777605" cy="1879951"/>
          </a:xfrm>
          <a:prstGeom prst="ellipse">
            <a:avLst/>
          </a:prstGeom>
          <a:noFill/>
          <a:ln w="19050"/>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3" name="Elbow Connector 12"/>
          <p:cNvCxnSpPr/>
          <p:nvPr/>
        </p:nvCxnSpPr>
        <p:spPr>
          <a:xfrm>
            <a:off x="5118933" y="3473420"/>
            <a:ext cx="1876467" cy="1540555"/>
          </a:xfrm>
          <a:prstGeom prst="bentConnector3">
            <a:avLst>
              <a:gd name="adj1" fmla="val 659"/>
            </a:avLst>
          </a:prstGeom>
          <a:ln w="9525">
            <a:prstDash val="sysDot"/>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7130354" y="4866712"/>
            <a:ext cx="2036135" cy="31810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3E76">
                    <a:lumMod val="50000"/>
                  </a:srgbClr>
                </a:solidFill>
                <a:effectLst/>
                <a:uLnTx/>
                <a:uFillTx/>
                <a:latin typeface="Arial"/>
                <a:ea typeface="+mn-ea"/>
                <a:cs typeface="+mn-cs"/>
              </a:rPr>
              <a:t>R&amp;S Internal Interface</a:t>
            </a:r>
            <a:endParaRPr kumimoji="0" lang="de-DE" sz="1467" b="0" i="0" u="none" strike="noStrike" kern="1200" cap="none" spc="0" normalizeH="0" baseline="0" noProof="0" dirty="0" err="1">
              <a:ln>
                <a:noFill/>
              </a:ln>
              <a:solidFill>
                <a:srgbClr val="003E76">
                  <a:lumMod val="50000"/>
                </a:srgbClr>
              </a:solidFill>
              <a:effectLst/>
              <a:uLnTx/>
              <a:uFillTx/>
              <a:latin typeface="Arial"/>
              <a:ea typeface="+mn-ea"/>
              <a:cs typeface="+mn-cs"/>
            </a:endParaRPr>
          </a:p>
        </p:txBody>
      </p:sp>
      <p:sp>
        <p:nvSpPr>
          <p:cNvPr id="55" name="Rounded Rectangle 54"/>
          <p:cNvSpPr/>
          <p:nvPr/>
        </p:nvSpPr>
        <p:spPr>
          <a:xfrm>
            <a:off x="5652552" y="3310735"/>
            <a:ext cx="1342849" cy="52830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ervice Announcement</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8" name="Rounded Rectangle 57"/>
          <p:cNvSpPr/>
          <p:nvPr/>
        </p:nvSpPr>
        <p:spPr>
          <a:xfrm>
            <a:off x="7407705" y="2757951"/>
            <a:ext cx="655700" cy="304784"/>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FEC</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0" name="Rounded Rectangle 59"/>
          <p:cNvSpPr/>
          <p:nvPr/>
        </p:nvSpPr>
        <p:spPr>
          <a:xfrm>
            <a:off x="5635412" y="2294225"/>
            <a:ext cx="1056448" cy="490564"/>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MPEG DASH  </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5" name="Rounded Rectangle 64"/>
          <p:cNvSpPr/>
          <p:nvPr/>
        </p:nvSpPr>
        <p:spPr>
          <a:xfrm>
            <a:off x="6796120" y="2322339"/>
            <a:ext cx="889629" cy="343765"/>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FLUTE </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6" name="Rounded Rectangle 65"/>
          <p:cNvSpPr/>
          <p:nvPr/>
        </p:nvSpPr>
        <p:spPr>
          <a:xfrm>
            <a:off x="7802026" y="2097768"/>
            <a:ext cx="1047479" cy="299696"/>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3GP DASH  </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7" name="Rounded Rectangle 66"/>
          <p:cNvSpPr/>
          <p:nvPr/>
        </p:nvSpPr>
        <p:spPr>
          <a:xfrm>
            <a:off x="8239645" y="2483984"/>
            <a:ext cx="907984" cy="29547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ROUTE* </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0" name="Rounded Rectangle 69"/>
          <p:cNvSpPr/>
          <p:nvPr/>
        </p:nvSpPr>
        <p:spPr>
          <a:xfrm>
            <a:off x="5652551" y="2878687"/>
            <a:ext cx="729312" cy="304784"/>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SFN</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1" name="Rounded Rectangle 70"/>
          <p:cNvSpPr/>
          <p:nvPr/>
        </p:nvSpPr>
        <p:spPr>
          <a:xfrm>
            <a:off x="6492710" y="2871123"/>
            <a:ext cx="748225" cy="304784"/>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MFN</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2" name="Rounded Rectangle 71"/>
          <p:cNvSpPr/>
          <p:nvPr/>
        </p:nvSpPr>
        <p:spPr>
          <a:xfrm>
            <a:off x="5652346" y="3953936"/>
            <a:ext cx="1620871" cy="514221"/>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MBMS Service Area Management</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3" name="Rounded Rectangle 72"/>
          <p:cNvSpPr/>
          <p:nvPr/>
        </p:nvSpPr>
        <p:spPr>
          <a:xfrm>
            <a:off x="7905107" y="4218822"/>
            <a:ext cx="1723031" cy="34990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Carrier Aggregation</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4" name="Rounded Rectangle 73"/>
          <p:cNvSpPr/>
          <p:nvPr/>
        </p:nvSpPr>
        <p:spPr>
          <a:xfrm>
            <a:off x="7888580" y="3778986"/>
            <a:ext cx="1739557" cy="34990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Carrier Management</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75" name="Grafik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76" y="2957011"/>
            <a:ext cx="512203" cy="512203"/>
          </a:xfrm>
          <a:prstGeom prst="rect">
            <a:avLst/>
          </a:prstGeom>
        </p:spPr>
      </p:pic>
      <p:pic>
        <p:nvPicPr>
          <p:cNvPr id="76" name="Grafik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88" y="2401564"/>
            <a:ext cx="1131701" cy="1131701"/>
          </a:xfrm>
          <a:prstGeom prst="rect">
            <a:avLst/>
          </a:prstGeom>
        </p:spPr>
      </p:pic>
      <p:sp>
        <p:nvSpPr>
          <p:cNvPr id="77" name="Rounded Rectangle 76"/>
          <p:cNvSpPr/>
          <p:nvPr/>
        </p:nvSpPr>
        <p:spPr>
          <a:xfrm>
            <a:off x="8157782" y="2924768"/>
            <a:ext cx="1065452" cy="304784"/>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Multi-MCH</a:t>
            </a:r>
            <a:endParaRPr kumimoji="0" lang="de-DE" sz="12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TextBox 52"/>
          <p:cNvSpPr txBox="1"/>
          <p:nvPr/>
        </p:nvSpPr>
        <p:spPr>
          <a:xfrm>
            <a:off x="9974516" y="2611350"/>
            <a:ext cx="583814" cy="2974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9DEC">
                    <a:lumMod val="50000"/>
                  </a:srgbClr>
                </a:solidFill>
                <a:effectLst/>
                <a:uLnTx/>
                <a:uFillTx/>
                <a:latin typeface="Arial"/>
                <a:ea typeface="+mn-ea"/>
                <a:cs typeface="+mn-cs"/>
              </a:rPr>
              <a:t>x-MB</a:t>
            </a:r>
            <a:endParaRPr kumimoji="0" lang="de-DE" sz="1333" b="0" i="0" u="none" strike="noStrike" kern="1200" cap="none" spc="0" normalizeH="0" baseline="0" noProof="0" dirty="0" err="1">
              <a:ln>
                <a:noFill/>
              </a:ln>
              <a:solidFill>
                <a:srgbClr val="009DEC">
                  <a:lumMod val="50000"/>
                </a:srgbClr>
              </a:solidFill>
              <a:effectLst/>
              <a:uLnTx/>
              <a:uFillTx/>
              <a:latin typeface="Arial"/>
              <a:ea typeface="+mn-ea"/>
              <a:cs typeface="+mn-cs"/>
            </a:endParaRPr>
          </a:p>
        </p:txBody>
      </p:sp>
      <p:sp>
        <p:nvSpPr>
          <p:cNvPr id="18" name="Rectangle 17"/>
          <p:cNvSpPr/>
          <p:nvPr/>
        </p:nvSpPr>
        <p:spPr>
          <a:xfrm>
            <a:off x="224868" y="190618"/>
            <a:ext cx="5969904" cy="584775"/>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9DEC">
                    <a:lumMod val="50000"/>
                  </a:srgbClr>
                </a:solidFill>
                <a:effectLst/>
                <a:uLnTx/>
                <a:uFillTx/>
                <a:latin typeface="Arial"/>
                <a:ea typeface="+mn-ea"/>
                <a:cs typeface="+mn-cs"/>
              </a:rPr>
              <a:t>BSCC2.0 – Internal architecture</a:t>
            </a:r>
            <a:endParaRPr kumimoji="0" lang="de-DE" sz="3200" b="0" i="0" u="none" strike="noStrike" kern="1200" cap="none" spc="0" normalizeH="0" baseline="0" noProof="0" dirty="0">
              <a:ln>
                <a:noFill/>
              </a:ln>
              <a:solidFill>
                <a:srgbClr val="009DEC">
                  <a:lumMod val="50000"/>
                </a:srgbClr>
              </a:solidFill>
              <a:effectLst/>
              <a:uLnTx/>
              <a:uFillTx/>
              <a:latin typeface="Arial"/>
              <a:ea typeface="+mn-ea"/>
              <a:cs typeface="+mn-cs"/>
            </a:endParaRPr>
          </a:p>
        </p:txBody>
      </p:sp>
      <p:sp>
        <p:nvSpPr>
          <p:cNvPr id="57" name="TextBox 56">
            <a:extLst>
              <a:ext uri="{FF2B5EF4-FFF2-40B4-BE49-F238E27FC236}">
                <a16:creationId xmlns:a16="http://schemas.microsoft.com/office/drawing/2014/main" id="{81DE4E99-9DA0-4F76-B6D7-3739B5901E4B}"/>
              </a:ext>
            </a:extLst>
          </p:cNvPr>
          <p:cNvSpPr txBox="1"/>
          <p:nvPr/>
        </p:nvSpPr>
        <p:spPr>
          <a:xfrm>
            <a:off x="151642" y="3587367"/>
            <a:ext cx="813043" cy="31810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467" b="0" i="0" u="none" strike="noStrike" kern="1200" cap="none" spc="0" normalizeH="0" baseline="0" noProof="0" dirty="0">
                <a:ln>
                  <a:noFill/>
                </a:ln>
                <a:solidFill>
                  <a:srgbClr val="009DEC">
                    <a:lumMod val="50000"/>
                  </a:srgbClr>
                </a:solidFill>
                <a:effectLst/>
                <a:uLnTx/>
                <a:uFillTx/>
                <a:latin typeface="Arial"/>
                <a:ea typeface="+mn-ea"/>
                <a:cs typeface="+mn-cs"/>
              </a:rPr>
              <a:t>T</a:t>
            </a:r>
            <a:r>
              <a:rPr kumimoji="0" lang="en-US" sz="1467" b="0" i="0" u="none" strike="noStrike" kern="1200" cap="none" spc="0" normalizeH="0" baseline="0" noProof="0" dirty="0">
                <a:ln>
                  <a:noFill/>
                </a:ln>
                <a:solidFill>
                  <a:srgbClr val="009DEC">
                    <a:lumMod val="50000"/>
                  </a:srgbClr>
                </a:solidFill>
                <a:effectLst/>
                <a:uLnTx/>
                <a:uFillTx/>
                <a:latin typeface="Arial"/>
                <a:ea typeface="+mn-ea"/>
                <a:cs typeface="+mn-cs"/>
              </a:rPr>
              <a:t>x/</a:t>
            </a:r>
            <a:r>
              <a:rPr kumimoji="0" lang="en-US" sz="1467" b="0" i="0" u="none" strike="noStrike" kern="1200" cap="none" spc="0" normalizeH="0" baseline="0" noProof="0" dirty="0" err="1">
                <a:ln>
                  <a:noFill/>
                </a:ln>
                <a:solidFill>
                  <a:srgbClr val="009DEC">
                    <a:lumMod val="50000"/>
                  </a:srgbClr>
                </a:solidFill>
                <a:effectLst/>
                <a:uLnTx/>
                <a:uFillTx/>
                <a:latin typeface="Arial"/>
                <a:ea typeface="+mn-ea"/>
                <a:cs typeface="+mn-cs"/>
              </a:rPr>
              <a:t>eNB</a:t>
            </a:r>
            <a:endParaRPr kumimoji="0" lang="de-DE" sz="1467" b="0" i="0" u="none" strike="noStrike" kern="1200" cap="none" spc="0" normalizeH="0" baseline="0" noProof="0" dirty="0" err="1">
              <a:ln>
                <a:noFill/>
              </a:ln>
              <a:solidFill>
                <a:srgbClr val="009DEC">
                  <a:lumMod val="50000"/>
                </a:srgbClr>
              </a:solidFill>
              <a:effectLst/>
              <a:uLnTx/>
              <a:uFillTx/>
              <a:latin typeface="Arial"/>
              <a:ea typeface="+mn-ea"/>
              <a:cs typeface="+mn-cs"/>
            </a:endParaRPr>
          </a:p>
        </p:txBody>
      </p:sp>
      <p:sp>
        <p:nvSpPr>
          <p:cNvPr id="62" name="TextBox 61">
            <a:extLst>
              <a:ext uri="{FF2B5EF4-FFF2-40B4-BE49-F238E27FC236}">
                <a16:creationId xmlns:a16="http://schemas.microsoft.com/office/drawing/2014/main" id="{90012C11-AA57-4C31-A864-399FE276E5F2}"/>
              </a:ext>
            </a:extLst>
          </p:cNvPr>
          <p:cNvSpPr txBox="1"/>
          <p:nvPr/>
        </p:nvSpPr>
        <p:spPr>
          <a:xfrm>
            <a:off x="10512491" y="5930560"/>
            <a:ext cx="1294983" cy="25654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9DEC">
                    <a:lumMod val="50000"/>
                  </a:srgbClr>
                </a:solidFill>
                <a:effectLst/>
                <a:uLnTx/>
                <a:uFillTx/>
                <a:latin typeface="Arial"/>
                <a:ea typeface="+mn-ea"/>
                <a:cs typeface="+mn-cs"/>
              </a:rPr>
              <a:t>* In development</a:t>
            </a:r>
            <a:endParaRPr kumimoji="0" lang="de-DE" sz="1067" b="0" i="0" u="none" strike="noStrike" kern="1200" cap="none" spc="0" normalizeH="0" baseline="0" noProof="0" dirty="0" err="1">
              <a:ln>
                <a:noFill/>
              </a:ln>
              <a:solidFill>
                <a:srgbClr val="009DEC">
                  <a:lumMod val="50000"/>
                </a:srgbClr>
              </a:solidFill>
              <a:effectLst/>
              <a:uLnTx/>
              <a:uFillTx/>
              <a:latin typeface="Arial"/>
              <a:ea typeface="+mn-ea"/>
              <a:cs typeface="+mn-cs"/>
            </a:endParaRPr>
          </a:p>
        </p:txBody>
      </p:sp>
      <p:pic>
        <p:nvPicPr>
          <p:cNvPr id="68" name="Picture 67">
            <a:extLst>
              <a:ext uri="{FF2B5EF4-FFF2-40B4-BE49-F238E27FC236}">
                <a16:creationId xmlns:a16="http://schemas.microsoft.com/office/drawing/2014/main" id="{54AB61FC-C61D-4B38-971C-39529A0EDBF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86197" y="6021345"/>
            <a:ext cx="2428192" cy="629204"/>
          </a:xfrm>
          <a:prstGeom prst="rect">
            <a:avLst/>
          </a:prstGeom>
        </p:spPr>
      </p:pic>
      <p:sp>
        <p:nvSpPr>
          <p:cNvPr id="2" name="RS_Classification_Standard">
            <a:extLst>
              <a:ext uri="{FF2B5EF4-FFF2-40B4-BE49-F238E27FC236}">
                <a16:creationId xmlns:a16="http://schemas.microsoft.com/office/drawing/2014/main" id="{86E83F80-056F-4CE1-B34B-5361088015C5}"/>
              </a:ext>
            </a:extLst>
          </p:cNvPr>
          <p:cNvSpPr txBox="1"/>
          <p:nvPr/>
        </p:nvSpPr>
        <p:spPr>
          <a:xfrm>
            <a:off x="11988440" y="6443122"/>
            <a:ext cx="203538" cy="281444"/>
          </a:xfrm>
          <a:prstGeom prst="rect">
            <a:avLst/>
          </a:prstGeom>
          <a:solidFill>
            <a:srgbClr val="FFFFFF">
              <a:alpha val="0"/>
            </a:srgbClr>
          </a:solidFill>
        </p:spPr>
        <p:txBody>
          <a:bodyPr vert="horz" wrap="none" lIns="100753" tIns="47921" rIns="100753" bIns="47921"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00" cap="none" spc="133" normalizeH="0" baseline="0" noProof="0" dirty="0" err="1">
              <a:ln>
                <a:noFill/>
              </a:ln>
              <a:solidFill>
                <a:srgbClr val="000000"/>
              </a:solidFill>
              <a:effectLst/>
              <a:uLnTx/>
              <a:uFillTx/>
              <a:latin typeface="Microsoft Sans Serif"/>
              <a:ea typeface="+mn-ea"/>
              <a:cs typeface="+mn-cs"/>
            </a:endParaRPr>
          </a:p>
        </p:txBody>
      </p:sp>
    </p:spTree>
    <p:custDataLst>
      <p:tags r:id="rId1"/>
    </p:custDataLst>
    <p:extLst>
      <p:ext uri="{BB962C8B-B14F-4D97-AF65-F5344CB8AC3E}">
        <p14:creationId xmlns:p14="http://schemas.microsoft.com/office/powerpoint/2010/main" val="357872414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CB89B2-2B38-48CD-B850-B547BF5C08DF}"/>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p>
        </p:txBody>
      </p:sp>
      <p:sp>
        <p:nvSpPr>
          <p:cNvPr id="5" name="Title 4">
            <a:extLst>
              <a:ext uri="{FF2B5EF4-FFF2-40B4-BE49-F238E27FC236}">
                <a16:creationId xmlns:a16="http://schemas.microsoft.com/office/drawing/2014/main" id="{221830B4-312C-4578-ABA0-AEA413C874F6}"/>
              </a:ext>
            </a:extLst>
          </p:cNvPr>
          <p:cNvSpPr>
            <a:spLocks noGrp="1"/>
          </p:cNvSpPr>
          <p:nvPr>
            <p:ph type="title"/>
          </p:nvPr>
        </p:nvSpPr>
        <p:spPr>
          <a:xfrm>
            <a:off x="495300" y="565125"/>
            <a:ext cx="11187112" cy="439479"/>
          </a:xfrm>
        </p:spPr>
        <p:txBody>
          <a:bodyPr/>
          <a:lstStyle/>
          <a:p>
            <a:r>
              <a:rPr lang="en-US" dirty="0"/>
              <a:t>Qualcomm devices</a:t>
            </a:r>
          </a:p>
        </p:txBody>
      </p:sp>
      <p:sp>
        <p:nvSpPr>
          <p:cNvPr id="7" name="Content Placeholder 6">
            <a:extLst>
              <a:ext uri="{FF2B5EF4-FFF2-40B4-BE49-F238E27FC236}">
                <a16:creationId xmlns:a16="http://schemas.microsoft.com/office/drawing/2014/main" id="{15AE8E15-0AF4-4EC1-B9B2-DB8E0C80CB4F}"/>
              </a:ext>
            </a:extLst>
          </p:cNvPr>
          <p:cNvSpPr>
            <a:spLocks noGrp="1"/>
          </p:cNvSpPr>
          <p:nvPr>
            <p:ph sz="quarter" idx="14"/>
          </p:nvPr>
        </p:nvSpPr>
        <p:spPr/>
        <p:txBody>
          <a:bodyPr>
            <a:normAutofit fontScale="92500" lnSpcReduction="20000"/>
          </a:bodyPr>
          <a:lstStyle/>
          <a:p>
            <a:endParaRPr lang="en-US" dirty="0"/>
          </a:p>
          <a:p>
            <a:endParaRPr lang="en-US" dirty="0"/>
          </a:p>
          <a:p>
            <a:endParaRPr lang="en-US" dirty="0"/>
          </a:p>
          <a:p>
            <a:endParaRPr lang="en-US" dirty="0"/>
          </a:p>
          <a:p>
            <a:endParaRPr lang="en-US" dirty="0"/>
          </a:p>
          <a:p>
            <a:endParaRPr lang="en-US" dirty="0"/>
          </a:p>
          <a:p>
            <a:r>
              <a:rPr lang="en-US" dirty="0"/>
              <a:t>QRDs based on Snapdragon 8 Gen 1 initially,  now Gen 2 (8450 / 8550).</a:t>
            </a:r>
          </a:p>
          <a:p>
            <a:r>
              <a:rPr lang="en-US" dirty="0"/>
              <a:t>Modified (</a:t>
            </a:r>
            <a:r>
              <a:rPr lang="en-US" dirty="0">
                <a:solidFill>
                  <a:schemeClr val="bg2"/>
                </a:solidFill>
              </a:rPr>
              <a:t>non-commercial</a:t>
            </a:r>
            <a:r>
              <a:rPr lang="en-US" dirty="0"/>
              <a:t>) changes to enable a subset of 5G-broadcast features.</a:t>
            </a:r>
          </a:p>
          <a:p>
            <a:r>
              <a:rPr lang="en-US" dirty="0"/>
              <a:t>Meanwhile, Qualcomm supported enabling 5G Broadcast trials on Commercial devices by applying some firmware upgrades </a:t>
            </a:r>
            <a:r>
              <a:rPr lang="en-US" dirty="0">
                <a:sym typeface="Wingdings" panose="05000000000000000000" pitchFamily="2" charset="2"/>
              </a:rPr>
              <a:t> Commercial Research Devices (CRDs)</a:t>
            </a:r>
            <a:endParaRPr lang="en-US" dirty="0"/>
          </a:p>
          <a:p>
            <a:r>
              <a:rPr lang="en-US" dirty="0"/>
              <a:t>Additional trial features are expected in next release of QRDs and CRDs.</a:t>
            </a:r>
          </a:p>
        </p:txBody>
      </p:sp>
      <p:pic>
        <p:nvPicPr>
          <p:cNvPr id="1026" name="Picture 2">
            <a:extLst>
              <a:ext uri="{FF2B5EF4-FFF2-40B4-BE49-F238E27FC236}">
                <a16:creationId xmlns:a16="http://schemas.microsoft.com/office/drawing/2014/main" id="{DF532F55-BA38-4C29-9380-6539CDD2A8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5469" y="1137919"/>
            <a:ext cx="4061466" cy="3046687"/>
          </a:xfrm>
          <a:prstGeom prst="rect">
            <a:avLst/>
          </a:prstGeom>
          <a:noFill/>
          <a:extLst>
            <a:ext uri="{909E8E84-426E-40DD-AFC4-6F175D3DCCD1}">
              <a14:hiddenFill xmlns:a14="http://schemas.microsoft.com/office/drawing/2010/main">
                <a:solidFill>
                  <a:srgbClr val="FFFFFF"/>
                </a:solidFill>
              </a14:hiddenFill>
            </a:ext>
          </a:extLst>
        </p:spPr>
      </p:pic>
      <p:sp>
        <p:nvSpPr>
          <p:cNvPr id="3" name="Arrow: Right 2">
            <a:extLst>
              <a:ext uri="{FF2B5EF4-FFF2-40B4-BE49-F238E27FC236}">
                <a16:creationId xmlns:a16="http://schemas.microsoft.com/office/drawing/2014/main" id="{433DF90D-520C-46E0-91CC-8790D195E1FE}"/>
              </a:ext>
            </a:extLst>
          </p:cNvPr>
          <p:cNvSpPr/>
          <p:nvPr/>
        </p:nvSpPr>
        <p:spPr>
          <a:xfrm rot="1710745">
            <a:off x="806466" y="1480080"/>
            <a:ext cx="2665271" cy="47798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pic>
        <p:nvPicPr>
          <p:cNvPr id="4" name="Picture 6">
            <a:extLst>
              <a:ext uri="{FF2B5EF4-FFF2-40B4-BE49-F238E27FC236}">
                <a16:creationId xmlns:a16="http://schemas.microsoft.com/office/drawing/2014/main" id="{65A973E9-67DF-5C0A-8457-86A80A1DA2FA}"/>
              </a:ext>
            </a:extLst>
          </p:cNvPr>
          <p:cNvPicPr>
            <a:picLocks noChangeAspect="1"/>
          </p:cNvPicPr>
          <p:nvPr/>
        </p:nvPicPr>
        <p:blipFill>
          <a:blip r:embed="rId3"/>
          <a:stretch>
            <a:fillRect/>
          </a:stretch>
        </p:blipFill>
        <p:spPr>
          <a:xfrm>
            <a:off x="6096000" y="1137919"/>
            <a:ext cx="4850531" cy="2975155"/>
          </a:xfrm>
          <a:prstGeom prst="rect">
            <a:avLst/>
          </a:prstGeom>
        </p:spPr>
      </p:pic>
    </p:spTree>
    <p:extLst>
      <p:ext uri="{BB962C8B-B14F-4D97-AF65-F5344CB8AC3E}">
        <p14:creationId xmlns:p14="http://schemas.microsoft.com/office/powerpoint/2010/main" val="330968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3542" y="627216"/>
            <a:ext cx="11432977" cy="711397"/>
          </a:xfrm>
        </p:spPr>
        <p:txBody>
          <a:bodyPr/>
          <a:lstStyle/>
          <a:p>
            <a:r>
              <a:rPr lang="en-US" dirty="0"/>
              <a:t>APIs – Test and commercial devices</a:t>
            </a:r>
          </a:p>
        </p:txBody>
      </p:sp>
      <p:sp>
        <p:nvSpPr>
          <p:cNvPr id="47" name="Rectangle 11">
            <a:extLst>
              <a:ext uri="{FF2B5EF4-FFF2-40B4-BE49-F238E27FC236}">
                <a16:creationId xmlns:a16="http://schemas.microsoft.com/office/drawing/2014/main" id="{B13A33B6-F6D2-BE25-EFFF-CEC595CC4A1F}"/>
              </a:ext>
            </a:extLst>
          </p:cNvPr>
          <p:cNvSpPr>
            <a:spLocks noChangeArrowheads="1"/>
          </p:cNvSpPr>
          <p:nvPr/>
        </p:nvSpPr>
        <p:spPr bwMode="auto">
          <a:xfrm>
            <a:off x="929386" y="5437714"/>
            <a:ext cx="11027300" cy="1282608"/>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Modem</a:t>
            </a:r>
          </a:p>
        </p:txBody>
      </p:sp>
      <p:sp>
        <p:nvSpPr>
          <p:cNvPr id="49" name="Rectangle 11">
            <a:extLst>
              <a:ext uri="{FF2B5EF4-FFF2-40B4-BE49-F238E27FC236}">
                <a16:creationId xmlns:a16="http://schemas.microsoft.com/office/drawing/2014/main" id="{CEC9CF02-8BE4-0934-89B5-A50AD2AD9CE6}"/>
              </a:ext>
            </a:extLst>
          </p:cNvPr>
          <p:cNvSpPr>
            <a:spLocks noChangeArrowheads="1"/>
          </p:cNvSpPr>
          <p:nvPr/>
        </p:nvSpPr>
        <p:spPr bwMode="auto">
          <a:xfrm>
            <a:off x="929385" y="1405202"/>
            <a:ext cx="11071025"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Application Processor</a:t>
            </a:r>
          </a:p>
        </p:txBody>
      </p:sp>
      <p:sp>
        <p:nvSpPr>
          <p:cNvPr id="50" name="Rectangle 11">
            <a:extLst>
              <a:ext uri="{FF2B5EF4-FFF2-40B4-BE49-F238E27FC236}">
                <a16:creationId xmlns:a16="http://schemas.microsoft.com/office/drawing/2014/main" id="{A662FDC4-D380-0468-BA0C-128D2824F6F9}"/>
              </a:ext>
            </a:extLst>
          </p:cNvPr>
          <p:cNvSpPr>
            <a:spLocks noChangeArrowheads="1"/>
          </p:cNvSpPr>
          <p:nvPr/>
        </p:nvSpPr>
        <p:spPr bwMode="auto">
          <a:xfrm>
            <a:off x="1010197" y="1904861"/>
            <a:ext cx="7524204" cy="489517"/>
          </a:xfrm>
          <a:prstGeom prst="roundRect">
            <a:avLst/>
          </a:prstGeom>
          <a:solidFill>
            <a:schemeClr val="bg1">
              <a:lumMod val="8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Applications</a:t>
            </a:r>
          </a:p>
        </p:txBody>
      </p:sp>
      <p:sp>
        <p:nvSpPr>
          <p:cNvPr id="51" name="Rectangle 12">
            <a:extLst>
              <a:ext uri="{FF2B5EF4-FFF2-40B4-BE49-F238E27FC236}">
                <a16:creationId xmlns:a16="http://schemas.microsoft.com/office/drawing/2014/main" id="{7F561EC2-8AAE-54C7-2A5E-CC21CEB93CDE}"/>
              </a:ext>
            </a:extLst>
          </p:cNvPr>
          <p:cNvSpPr>
            <a:spLocks noChangeArrowheads="1"/>
          </p:cNvSpPr>
          <p:nvPr/>
        </p:nvSpPr>
        <p:spPr bwMode="auto">
          <a:xfrm>
            <a:off x="1348246" y="1987124"/>
            <a:ext cx="1286514"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treaming App</a:t>
            </a:r>
          </a:p>
        </p:txBody>
      </p:sp>
      <p:sp>
        <p:nvSpPr>
          <p:cNvPr id="52" name="Rectangle 12">
            <a:extLst>
              <a:ext uri="{FF2B5EF4-FFF2-40B4-BE49-F238E27FC236}">
                <a16:creationId xmlns:a16="http://schemas.microsoft.com/office/drawing/2014/main" id="{BA443B8C-4185-9637-9A2C-FD242E579E8D}"/>
              </a:ext>
            </a:extLst>
          </p:cNvPr>
          <p:cNvSpPr>
            <a:spLocks noChangeArrowheads="1"/>
          </p:cNvSpPr>
          <p:nvPr/>
        </p:nvSpPr>
        <p:spPr bwMode="auto">
          <a:xfrm>
            <a:off x="2800574" y="1996669"/>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File Download App</a:t>
            </a:r>
          </a:p>
        </p:txBody>
      </p:sp>
      <p:sp>
        <p:nvSpPr>
          <p:cNvPr id="53" name="Rectangle 12">
            <a:extLst>
              <a:ext uri="{FF2B5EF4-FFF2-40B4-BE49-F238E27FC236}">
                <a16:creationId xmlns:a16="http://schemas.microsoft.com/office/drawing/2014/main" id="{D6434600-5253-7278-8B2B-D60C4AAF2570}"/>
              </a:ext>
            </a:extLst>
          </p:cNvPr>
          <p:cNvSpPr>
            <a:spLocks noChangeArrowheads="1"/>
          </p:cNvSpPr>
          <p:nvPr/>
        </p:nvSpPr>
        <p:spPr bwMode="auto">
          <a:xfrm>
            <a:off x="929870" y="2619201"/>
            <a:ext cx="7604530" cy="2664299"/>
          </a:xfrm>
          <a:prstGeom prst="roundRect">
            <a:avLst>
              <a:gd name="adj" fmla="val 10656"/>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vert" wrap="square" lIns="34295" tIns="34295" rIns="34295" bIns="34295" numCol="1" anchor="b"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solidFill>
                <a:effectLst/>
                <a:uLnTx/>
                <a:uFillTx/>
                <a:latin typeface="Microsoft Sans Serif"/>
                <a:ea typeface="+mn-ea"/>
                <a:cs typeface="+mn-cs"/>
              </a:rPr>
              <a:t>HLOS</a:t>
            </a:r>
          </a:p>
        </p:txBody>
      </p:sp>
      <p:sp>
        <p:nvSpPr>
          <p:cNvPr id="54" name="Rectangle 13">
            <a:extLst>
              <a:ext uri="{FF2B5EF4-FFF2-40B4-BE49-F238E27FC236}">
                <a16:creationId xmlns:a16="http://schemas.microsoft.com/office/drawing/2014/main" id="{BDBB355D-5C5F-B090-54F0-C2A9EEC74700}"/>
              </a:ext>
            </a:extLst>
          </p:cNvPr>
          <p:cNvSpPr>
            <a:spLocks noChangeArrowheads="1"/>
          </p:cNvSpPr>
          <p:nvPr/>
        </p:nvSpPr>
        <p:spPr bwMode="auto">
          <a:xfrm>
            <a:off x="2326327" y="2721974"/>
            <a:ext cx="6103569" cy="2513850"/>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MBM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grpSp>
        <p:nvGrpSpPr>
          <p:cNvPr id="55" name="Group 224">
            <a:extLst>
              <a:ext uri="{FF2B5EF4-FFF2-40B4-BE49-F238E27FC236}">
                <a16:creationId xmlns:a16="http://schemas.microsoft.com/office/drawing/2014/main" id="{D738437C-B29C-649D-DCAD-351E7F73941F}"/>
              </a:ext>
            </a:extLst>
          </p:cNvPr>
          <p:cNvGrpSpPr/>
          <p:nvPr/>
        </p:nvGrpSpPr>
        <p:grpSpPr>
          <a:xfrm>
            <a:off x="2437415" y="3013319"/>
            <a:ext cx="2792866" cy="288925"/>
            <a:chOff x="2373084" y="2857585"/>
            <a:chExt cx="3557794" cy="288925"/>
          </a:xfrm>
        </p:grpSpPr>
        <p:sp>
          <p:nvSpPr>
            <p:cNvPr id="56" name="Rectangle 12">
              <a:extLst>
                <a:ext uri="{FF2B5EF4-FFF2-40B4-BE49-F238E27FC236}">
                  <a16:creationId xmlns:a16="http://schemas.microsoft.com/office/drawing/2014/main" id="{88BCAB80-0AA9-415C-1EFF-F3EFEA956258}"/>
                </a:ext>
              </a:extLst>
            </p:cNvPr>
            <p:cNvSpPr>
              <a:spLocks noChangeArrowheads="1"/>
            </p:cNvSpPr>
            <p:nvPr/>
          </p:nvSpPr>
          <p:spPr bwMode="auto">
            <a:xfrm>
              <a:off x="2373084" y="2857585"/>
              <a:ext cx="1737360"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Streaming Service</a:t>
              </a:r>
            </a:p>
          </p:txBody>
        </p:sp>
        <p:sp>
          <p:nvSpPr>
            <p:cNvPr id="57" name="Rectangle 12">
              <a:extLst>
                <a:ext uri="{FF2B5EF4-FFF2-40B4-BE49-F238E27FC236}">
                  <a16:creationId xmlns:a16="http://schemas.microsoft.com/office/drawing/2014/main" id="{B17D7B54-ED36-3310-1654-04D6684FCE39}"/>
                </a:ext>
              </a:extLst>
            </p:cNvPr>
            <p:cNvSpPr>
              <a:spLocks noChangeArrowheads="1"/>
            </p:cNvSpPr>
            <p:nvPr/>
          </p:nvSpPr>
          <p:spPr bwMode="auto">
            <a:xfrm>
              <a:off x="4197927" y="2857585"/>
              <a:ext cx="1732951"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ile Download Service</a:t>
              </a:r>
            </a:p>
          </p:txBody>
        </p:sp>
      </p:grpSp>
      <p:sp>
        <p:nvSpPr>
          <p:cNvPr id="58" name="Rectangle 12">
            <a:extLst>
              <a:ext uri="{FF2B5EF4-FFF2-40B4-BE49-F238E27FC236}">
                <a16:creationId xmlns:a16="http://schemas.microsoft.com/office/drawing/2014/main" id="{AD9F91B8-5A59-C2DA-9E03-4F700E929081}"/>
              </a:ext>
            </a:extLst>
          </p:cNvPr>
          <p:cNvSpPr>
            <a:spLocks noChangeArrowheads="1"/>
          </p:cNvSpPr>
          <p:nvPr/>
        </p:nvSpPr>
        <p:spPr bwMode="auto">
          <a:xfrm>
            <a:off x="2439396" y="3429272"/>
            <a:ext cx="646023" cy="462558"/>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Local DASH Server</a:t>
            </a:r>
          </a:p>
        </p:txBody>
      </p:sp>
      <p:sp>
        <p:nvSpPr>
          <p:cNvPr id="59" name="Rectangle 12">
            <a:extLst>
              <a:ext uri="{FF2B5EF4-FFF2-40B4-BE49-F238E27FC236}">
                <a16:creationId xmlns:a16="http://schemas.microsoft.com/office/drawing/2014/main" id="{423E8605-1FAB-2DDD-0BF6-D00AEAEF4071}"/>
              </a:ext>
            </a:extLst>
          </p:cNvPr>
          <p:cNvSpPr>
            <a:spLocks noChangeArrowheads="1"/>
          </p:cNvSpPr>
          <p:nvPr/>
        </p:nvSpPr>
        <p:spPr bwMode="auto">
          <a:xfrm>
            <a:off x="2456718" y="4739755"/>
            <a:ext cx="4396928" cy="33630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Service Discovery</a:t>
            </a:r>
          </a:p>
        </p:txBody>
      </p:sp>
      <p:sp>
        <p:nvSpPr>
          <p:cNvPr id="60" name="Rectangle 12">
            <a:extLst>
              <a:ext uri="{FF2B5EF4-FFF2-40B4-BE49-F238E27FC236}">
                <a16:creationId xmlns:a16="http://schemas.microsoft.com/office/drawing/2014/main" id="{507A71A5-74B5-4FFF-6C09-B19614684760}"/>
              </a:ext>
            </a:extLst>
          </p:cNvPr>
          <p:cNvSpPr>
            <a:spLocks noChangeArrowheads="1"/>
          </p:cNvSpPr>
          <p:nvPr/>
        </p:nvSpPr>
        <p:spPr bwMode="auto">
          <a:xfrm>
            <a:off x="3869304" y="3429272"/>
            <a:ext cx="646023" cy="462558"/>
          </a:xfrm>
          <a:prstGeom prst="round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File </a:t>
            </a:r>
            <a:br>
              <a:rPr kumimoji="0" lang="en-US" sz="900" b="0" i="0" u="none" strike="noStrike" kern="1200" cap="none" spc="0" normalizeH="0" baseline="0" noProof="0">
                <a:ln>
                  <a:noFill/>
                </a:ln>
                <a:solidFill>
                  <a:srgbClr val="000000"/>
                </a:solidFill>
                <a:effectLst/>
                <a:uLnTx/>
                <a:uFillTx/>
                <a:latin typeface="Microsoft Sans Serif"/>
                <a:ea typeface="+mn-ea"/>
                <a:cs typeface="+mn-cs"/>
              </a:rPr>
            </a:br>
            <a:r>
              <a:rPr kumimoji="0" lang="en-US" sz="900" b="0" i="0" u="none" strike="noStrike" kern="1200" cap="none" spc="0" normalizeH="0" baseline="0" noProof="0">
                <a:ln>
                  <a:noFill/>
                </a:ln>
                <a:solidFill>
                  <a:srgbClr val="000000"/>
                </a:solidFill>
                <a:effectLst/>
                <a:uLnTx/>
                <a:uFillTx/>
                <a:latin typeface="Microsoft Sans Serif"/>
                <a:ea typeface="+mn-ea"/>
                <a:cs typeface="+mn-cs"/>
              </a:rPr>
              <a:t>Repair</a:t>
            </a:r>
          </a:p>
        </p:txBody>
      </p:sp>
      <p:sp>
        <p:nvSpPr>
          <p:cNvPr id="61" name="Rectangle 12">
            <a:extLst>
              <a:ext uri="{FF2B5EF4-FFF2-40B4-BE49-F238E27FC236}">
                <a16:creationId xmlns:a16="http://schemas.microsoft.com/office/drawing/2014/main" id="{415CCA19-0ACE-0DFD-9B70-8CC3A5C3D851}"/>
              </a:ext>
            </a:extLst>
          </p:cNvPr>
          <p:cNvSpPr>
            <a:spLocks noChangeArrowheads="1"/>
          </p:cNvSpPr>
          <p:nvPr/>
        </p:nvSpPr>
        <p:spPr bwMode="auto">
          <a:xfrm>
            <a:off x="4550098" y="3429272"/>
            <a:ext cx="680183" cy="462558"/>
          </a:xfrm>
          <a:prstGeom prst="round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Reception Reporting</a:t>
            </a:r>
          </a:p>
        </p:txBody>
      </p:sp>
      <p:sp>
        <p:nvSpPr>
          <p:cNvPr id="62" name="Rectangle 12">
            <a:extLst>
              <a:ext uri="{FF2B5EF4-FFF2-40B4-BE49-F238E27FC236}">
                <a16:creationId xmlns:a16="http://schemas.microsoft.com/office/drawing/2014/main" id="{12A921C9-F844-D372-D1B8-E3154AA05FD5}"/>
              </a:ext>
            </a:extLst>
          </p:cNvPr>
          <p:cNvSpPr>
            <a:spLocks noChangeArrowheads="1"/>
          </p:cNvSpPr>
          <p:nvPr/>
        </p:nvSpPr>
        <p:spPr bwMode="auto">
          <a:xfrm>
            <a:off x="2439396" y="4018857"/>
            <a:ext cx="2764401" cy="52251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Object Distribution Function</a:t>
            </a:r>
          </a:p>
        </p:txBody>
      </p:sp>
      <p:sp>
        <p:nvSpPr>
          <p:cNvPr id="63" name="Rectangle 12">
            <a:extLst>
              <a:ext uri="{FF2B5EF4-FFF2-40B4-BE49-F238E27FC236}">
                <a16:creationId xmlns:a16="http://schemas.microsoft.com/office/drawing/2014/main" id="{8D842C90-70C0-CE27-7BF8-3A5E165072EF}"/>
              </a:ext>
            </a:extLst>
          </p:cNvPr>
          <p:cNvSpPr>
            <a:spLocks noChangeArrowheads="1"/>
          </p:cNvSpPr>
          <p:nvPr/>
        </p:nvSpPr>
        <p:spPr bwMode="auto">
          <a:xfrm>
            <a:off x="2570184" y="4280114"/>
            <a:ext cx="1139483" cy="217714"/>
          </a:xfrm>
          <a:prstGeom prst="roundRect">
            <a:avLst/>
          </a:prstGeom>
          <a:solidFill>
            <a:schemeClr val="bg1"/>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LUTE</a:t>
            </a:r>
          </a:p>
        </p:txBody>
      </p:sp>
      <p:grpSp>
        <p:nvGrpSpPr>
          <p:cNvPr id="64" name="Group 56">
            <a:extLst>
              <a:ext uri="{FF2B5EF4-FFF2-40B4-BE49-F238E27FC236}">
                <a16:creationId xmlns:a16="http://schemas.microsoft.com/office/drawing/2014/main" id="{61D109E7-5D27-A768-3161-817B8CE95B11}"/>
              </a:ext>
            </a:extLst>
          </p:cNvPr>
          <p:cNvGrpSpPr/>
          <p:nvPr/>
        </p:nvGrpSpPr>
        <p:grpSpPr>
          <a:xfrm>
            <a:off x="1267110" y="2962552"/>
            <a:ext cx="909806" cy="1792561"/>
            <a:chOff x="819649" y="2978190"/>
            <a:chExt cx="1212759" cy="1792561"/>
          </a:xfrm>
        </p:grpSpPr>
        <p:grpSp>
          <p:nvGrpSpPr>
            <p:cNvPr id="65" name="Group 55">
              <a:extLst>
                <a:ext uri="{FF2B5EF4-FFF2-40B4-BE49-F238E27FC236}">
                  <a16:creationId xmlns:a16="http://schemas.microsoft.com/office/drawing/2014/main" id="{5451B172-B016-3636-B227-C9A3C0F51740}"/>
                </a:ext>
              </a:extLst>
            </p:cNvPr>
            <p:cNvGrpSpPr/>
            <p:nvPr/>
          </p:nvGrpSpPr>
          <p:grpSpPr>
            <a:xfrm>
              <a:off x="819649" y="2978190"/>
              <a:ext cx="1212759" cy="1105786"/>
              <a:chOff x="819649" y="2978190"/>
              <a:chExt cx="1212759" cy="1105786"/>
            </a:xfrm>
          </p:grpSpPr>
          <p:sp>
            <p:nvSpPr>
              <p:cNvPr id="67" name="Rectangle 12">
                <a:extLst>
                  <a:ext uri="{FF2B5EF4-FFF2-40B4-BE49-F238E27FC236}">
                    <a16:creationId xmlns:a16="http://schemas.microsoft.com/office/drawing/2014/main" id="{B343FD66-AFEE-C9DB-C2F9-F51D131DF28F}"/>
                  </a:ext>
                </a:extLst>
              </p:cNvPr>
              <p:cNvSpPr>
                <a:spLocks noChangeArrowheads="1"/>
              </p:cNvSpPr>
              <p:nvPr/>
            </p:nvSpPr>
            <p:spPr bwMode="auto">
              <a:xfrm>
                <a:off x="819649" y="2978190"/>
                <a:ext cx="1212759" cy="1105786"/>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Multimedia System</a:t>
                </a:r>
              </a:p>
            </p:txBody>
          </p:sp>
          <p:sp>
            <p:nvSpPr>
              <p:cNvPr id="68" name="Rectangle 12">
                <a:extLst>
                  <a:ext uri="{FF2B5EF4-FFF2-40B4-BE49-F238E27FC236}">
                    <a16:creationId xmlns:a16="http://schemas.microsoft.com/office/drawing/2014/main" id="{E70D22AF-A115-0850-41BE-12371C5BF3CD}"/>
                  </a:ext>
                </a:extLst>
              </p:cNvPr>
              <p:cNvSpPr>
                <a:spLocks noChangeArrowheads="1"/>
              </p:cNvSpPr>
              <p:nvPr/>
            </p:nvSpPr>
            <p:spPr bwMode="auto">
              <a:xfrm>
                <a:off x="1014548" y="3429231"/>
                <a:ext cx="822960" cy="462558"/>
              </a:xfrm>
              <a:prstGeom prst="round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DASH Client</a:t>
                </a:r>
              </a:p>
            </p:txBody>
          </p:sp>
        </p:grpSp>
        <p:sp>
          <p:nvSpPr>
            <p:cNvPr id="66" name="Rectangle 12">
              <a:extLst>
                <a:ext uri="{FF2B5EF4-FFF2-40B4-BE49-F238E27FC236}">
                  <a16:creationId xmlns:a16="http://schemas.microsoft.com/office/drawing/2014/main" id="{0068E945-EF24-A616-9354-730CE33B3862}"/>
                </a:ext>
              </a:extLst>
            </p:cNvPr>
            <p:cNvSpPr>
              <a:spLocks noChangeArrowheads="1"/>
            </p:cNvSpPr>
            <p:nvPr/>
          </p:nvSpPr>
          <p:spPr bwMode="auto">
            <a:xfrm>
              <a:off x="831108" y="4369981"/>
              <a:ext cx="1189841" cy="40077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DRM Agent</a:t>
              </a:r>
            </a:p>
          </p:txBody>
        </p:sp>
      </p:grpSp>
      <p:sp>
        <p:nvSpPr>
          <p:cNvPr id="69" name="Rectangle 12">
            <a:extLst>
              <a:ext uri="{FF2B5EF4-FFF2-40B4-BE49-F238E27FC236}">
                <a16:creationId xmlns:a16="http://schemas.microsoft.com/office/drawing/2014/main" id="{4837C807-553F-2034-6262-69F08ADE9C4C}"/>
              </a:ext>
            </a:extLst>
          </p:cNvPr>
          <p:cNvSpPr>
            <a:spLocks noChangeArrowheads="1"/>
          </p:cNvSpPr>
          <p:nvPr/>
        </p:nvSpPr>
        <p:spPr bwMode="auto">
          <a:xfrm>
            <a:off x="5227967" y="5503308"/>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P Stack</a:t>
            </a:r>
            <a:br>
              <a:rPr kumimoji="0" lang="en-US" sz="900" b="0" i="0" u="none" strike="noStrike" kern="1200" cap="none" spc="0" normalizeH="0" baseline="0" noProof="0">
                <a:ln>
                  <a:noFill/>
                </a:ln>
                <a:solidFill>
                  <a:srgbClr val="13171F"/>
                </a:solidFill>
                <a:effectLst/>
                <a:uLnTx/>
                <a:uFillTx/>
                <a:latin typeface="Microsoft Sans Serif"/>
                <a:ea typeface="+mn-ea"/>
                <a:cs typeface="+mn-cs"/>
              </a:rPr>
            </a:br>
            <a:r>
              <a:rPr kumimoji="0" lang="en-US" sz="900" b="0" i="0" u="none" strike="noStrike" kern="1200" cap="none" spc="0" normalizeH="0" baseline="0" noProof="0">
                <a:ln>
                  <a:noFill/>
                </a:ln>
                <a:solidFill>
                  <a:srgbClr val="13171F"/>
                </a:solidFill>
                <a:effectLst/>
                <a:uLnTx/>
                <a:uFillTx/>
                <a:latin typeface="Microsoft Sans Serif"/>
                <a:ea typeface="+mn-ea"/>
                <a:cs typeface="+mn-cs"/>
              </a:rPr>
              <a:t>(with multicast)</a:t>
            </a:r>
          </a:p>
        </p:txBody>
      </p:sp>
      <p:sp>
        <p:nvSpPr>
          <p:cNvPr id="70" name="Rectangle 12">
            <a:extLst>
              <a:ext uri="{FF2B5EF4-FFF2-40B4-BE49-F238E27FC236}">
                <a16:creationId xmlns:a16="http://schemas.microsoft.com/office/drawing/2014/main" id="{BAC67A2F-42CA-34AF-055F-99E928532C88}"/>
              </a:ext>
            </a:extLst>
          </p:cNvPr>
          <p:cNvSpPr>
            <a:spLocks noChangeArrowheads="1"/>
          </p:cNvSpPr>
          <p:nvPr/>
        </p:nvSpPr>
        <p:spPr bwMode="auto">
          <a:xfrm>
            <a:off x="2367656" y="5570680"/>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eMBMS Service</a:t>
            </a:r>
          </a:p>
        </p:txBody>
      </p:sp>
      <p:cxnSp>
        <p:nvCxnSpPr>
          <p:cNvPr id="71" name="Straight Arrow Connector 70">
            <a:extLst>
              <a:ext uri="{FF2B5EF4-FFF2-40B4-BE49-F238E27FC236}">
                <a16:creationId xmlns:a16="http://schemas.microsoft.com/office/drawing/2014/main" id="{7A508567-CC09-95D2-E1AB-95D0C3E820C5}"/>
              </a:ext>
            </a:extLst>
          </p:cNvPr>
          <p:cNvCxnSpPr>
            <a:cxnSpLocks/>
            <a:stCxn id="70" idx="0"/>
          </p:cNvCxnSpPr>
          <p:nvPr/>
        </p:nvCxnSpPr>
        <p:spPr>
          <a:xfrm flipV="1">
            <a:off x="2847841" y="5076059"/>
            <a:ext cx="0" cy="494621"/>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36">
            <a:extLst>
              <a:ext uri="{FF2B5EF4-FFF2-40B4-BE49-F238E27FC236}">
                <a16:creationId xmlns:a16="http://schemas.microsoft.com/office/drawing/2014/main" id="{9805E486-DB38-CFF2-C6F3-04A3FB088A2D}"/>
              </a:ext>
            </a:extLst>
          </p:cNvPr>
          <p:cNvCxnSpPr>
            <a:cxnSpLocks/>
            <a:stCxn id="59" idx="3"/>
          </p:cNvCxnSpPr>
          <p:nvPr/>
        </p:nvCxnSpPr>
        <p:spPr>
          <a:xfrm flipV="1">
            <a:off x="6853646" y="2276049"/>
            <a:ext cx="1285138" cy="2631858"/>
          </a:xfrm>
          <a:prstGeom prst="bentConnector2">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230FF7B-355E-660C-E530-040C3DD05337}"/>
              </a:ext>
            </a:extLst>
          </p:cNvPr>
          <p:cNvCxnSpPr>
            <a:cxnSpLocks/>
          </p:cNvCxnSpPr>
          <p:nvPr/>
        </p:nvCxnSpPr>
        <p:spPr>
          <a:xfrm flipH="1" flipV="1">
            <a:off x="1743100" y="2394378"/>
            <a:ext cx="1" cy="440766"/>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33B53D10-DC71-711A-496E-F5BD1FE64262}"/>
              </a:ext>
            </a:extLst>
          </p:cNvPr>
          <p:cNvCxnSpPr>
            <a:cxnSpLocks/>
          </p:cNvCxnSpPr>
          <p:nvPr/>
        </p:nvCxnSpPr>
        <p:spPr>
          <a:xfrm flipH="1">
            <a:off x="2030704" y="3660551"/>
            <a:ext cx="353106" cy="0"/>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9A0E3C2-6231-B395-E67E-34F9D0C5FF9B}"/>
              </a:ext>
            </a:extLst>
          </p:cNvPr>
          <p:cNvCxnSpPr>
            <a:cxnSpLocks/>
          </p:cNvCxnSpPr>
          <p:nvPr/>
        </p:nvCxnSpPr>
        <p:spPr>
          <a:xfrm flipV="1">
            <a:off x="2847841" y="589613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BD39B24-160F-F4CD-D28E-CF8220D76609}"/>
              </a:ext>
            </a:extLst>
          </p:cNvPr>
          <p:cNvCxnSpPr>
            <a:cxnSpLocks/>
            <a:endCxn id="69" idx="2"/>
          </p:cNvCxnSpPr>
          <p:nvPr/>
        </p:nvCxnSpPr>
        <p:spPr>
          <a:xfrm flipV="1">
            <a:off x="5708152" y="586906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0383DE4-8D85-B253-68E4-B2067DF07382}"/>
              </a:ext>
            </a:extLst>
          </p:cNvPr>
          <p:cNvCxnSpPr>
            <a:cxnSpLocks/>
          </p:cNvCxnSpPr>
          <p:nvPr/>
        </p:nvCxnSpPr>
        <p:spPr>
          <a:xfrm flipH="1" flipV="1">
            <a:off x="1743100" y="3876151"/>
            <a:ext cx="1" cy="478192"/>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Rectangle 12">
            <a:extLst>
              <a:ext uri="{FF2B5EF4-FFF2-40B4-BE49-F238E27FC236}">
                <a16:creationId xmlns:a16="http://schemas.microsoft.com/office/drawing/2014/main" id="{3544C2F3-702A-9B49-8C8B-BE70FE871794}"/>
              </a:ext>
            </a:extLst>
          </p:cNvPr>
          <p:cNvSpPr>
            <a:spLocks noChangeArrowheads="1"/>
          </p:cNvSpPr>
          <p:nvPr/>
        </p:nvSpPr>
        <p:spPr bwMode="auto">
          <a:xfrm>
            <a:off x="3317248" y="2420013"/>
            <a:ext cx="322758" cy="22482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I-1</a:t>
            </a:r>
          </a:p>
        </p:txBody>
      </p:sp>
      <p:sp>
        <p:nvSpPr>
          <p:cNvPr id="79" name="Rectangle 12">
            <a:extLst>
              <a:ext uri="{FF2B5EF4-FFF2-40B4-BE49-F238E27FC236}">
                <a16:creationId xmlns:a16="http://schemas.microsoft.com/office/drawing/2014/main" id="{A65E25DE-48F3-523E-3C84-FDA837B9D04E}"/>
              </a:ext>
            </a:extLst>
          </p:cNvPr>
          <p:cNvSpPr>
            <a:spLocks noChangeArrowheads="1"/>
          </p:cNvSpPr>
          <p:nvPr/>
        </p:nvSpPr>
        <p:spPr bwMode="auto">
          <a:xfrm>
            <a:off x="2902702" y="5097620"/>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2</a:t>
            </a:r>
          </a:p>
        </p:txBody>
      </p:sp>
      <p:sp>
        <p:nvSpPr>
          <p:cNvPr id="80" name="Rectangle 12">
            <a:extLst>
              <a:ext uri="{FF2B5EF4-FFF2-40B4-BE49-F238E27FC236}">
                <a16:creationId xmlns:a16="http://schemas.microsoft.com/office/drawing/2014/main" id="{A401C965-0E31-3DA4-AF7A-FF3B290C1343}"/>
              </a:ext>
            </a:extLst>
          </p:cNvPr>
          <p:cNvSpPr>
            <a:spLocks noChangeArrowheads="1"/>
          </p:cNvSpPr>
          <p:nvPr/>
        </p:nvSpPr>
        <p:spPr bwMode="auto">
          <a:xfrm>
            <a:off x="2138682" y="3429273"/>
            <a:ext cx="228974" cy="1904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4</a:t>
            </a:r>
          </a:p>
        </p:txBody>
      </p:sp>
      <p:sp>
        <p:nvSpPr>
          <p:cNvPr id="81" name="Rectangle 12">
            <a:extLst>
              <a:ext uri="{FF2B5EF4-FFF2-40B4-BE49-F238E27FC236}">
                <a16:creationId xmlns:a16="http://schemas.microsoft.com/office/drawing/2014/main" id="{96A7EB13-9973-5522-5CF3-32376B5B3A82}"/>
              </a:ext>
            </a:extLst>
          </p:cNvPr>
          <p:cNvSpPr>
            <a:spLocks noChangeArrowheads="1"/>
          </p:cNvSpPr>
          <p:nvPr/>
        </p:nvSpPr>
        <p:spPr bwMode="auto">
          <a:xfrm>
            <a:off x="1010195" y="6226933"/>
            <a:ext cx="10772497" cy="303349"/>
          </a:xfrm>
          <a:prstGeom prst="roundRect">
            <a:avLst/>
          </a:prstGeom>
          <a:solidFill>
            <a:schemeClr val="accent1"/>
          </a:solidFill>
          <a:ln>
            <a:noFill/>
          </a:ln>
          <a:effectLst/>
          <a:scene3d>
            <a:camera prst="orthographicFront">
              <a:rot lat="0" lon="0" rev="0"/>
            </a:camera>
            <a:lightRig rig="balanced" dir="t">
              <a:rot lat="0" lon="0" rev="0"/>
            </a:lightRig>
          </a:scene3d>
          <a:sp3d>
            <a:contourClr>
              <a:schemeClr val="lt1"/>
            </a:contourClr>
          </a:sp3d>
          <a:extLst>
            <a:ext uri="{91240B29-F687-4F45-9708-019B960494DF}">
              <a14:hiddenLine xmlns:a14="http://schemas.microsoft.com/office/drawing/2010/main" w="9525">
                <a:solidFill>
                  <a:srgbClr val="000000"/>
                </a:solidFill>
                <a:miter lim="800000"/>
                <a:headEnd/>
                <a:tailEnd/>
              </a14:hiddenLine>
            </a:ext>
          </a:extLst>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icrosoft Sans Serif"/>
                <a:ea typeface="+mn-ea"/>
                <a:cs typeface="+mn-cs"/>
              </a:rPr>
              <a:t>LTE Modem</a:t>
            </a:r>
          </a:p>
        </p:txBody>
      </p:sp>
      <p:sp>
        <p:nvSpPr>
          <p:cNvPr id="82" name="Rectangle 12">
            <a:extLst>
              <a:ext uri="{FF2B5EF4-FFF2-40B4-BE49-F238E27FC236}">
                <a16:creationId xmlns:a16="http://schemas.microsoft.com/office/drawing/2014/main" id="{7BCB5626-FAC0-5E17-EB32-FDCF6459D6AE}"/>
              </a:ext>
            </a:extLst>
          </p:cNvPr>
          <p:cNvSpPr>
            <a:spLocks noChangeArrowheads="1"/>
          </p:cNvSpPr>
          <p:nvPr/>
        </p:nvSpPr>
        <p:spPr bwMode="auto">
          <a:xfrm>
            <a:off x="5708152" y="5148292"/>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3</a:t>
            </a:r>
          </a:p>
        </p:txBody>
      </p:sp>
      <p:sp>
        <p:nvSpPr>
          <p:cNvPr id="83" name="Rectangle 12">
            <a:extLst>
              <a:ext uri="{FF2B5EF4-FFF2-40B4-BE49-F238E27FC236}">
                <a16:creationId xmlns:a16="http://schemas.microsoft.com/office/drawing/2014/main" id="{432BB81F-634B-0CC9-5F12-8A8500926ABD}"/>
              </a:ext>
            </a:extLst>
          </p:cNvPr>
          <p:cNvSpPr>
            <a:spLocks noChangeArrowheads="1"/>
          </p:cNvSpPr>
          <p:nvPr/>
        </p:nvSpPr>
        <p:spPr bwMode="auto">
          <a:xfrm>
            <a:off x="5298956" y="3013319"/>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 Service</a:t>
            </a:r>
          </a:p>
        </p:txBody>
      </p:sp>
      <p:sp>
        <p:nvSpPr>
          <p:cNvPr id="84" name="Rectangle 12">
            <a:extLst>
              <a:ext uri="{FF2B5EF4-FFF2-40B4-BE49-F238E27FC236}">
                <a16:creationId xmlns:a16="http://schemas.microsoft.com/office/drawing/2014/main" id="{C23BE425-6C5D-D892-1C63-374CF7B02506}"/>
              </a:ext>
            </a:extLst>
          </p:cNvPr>
          <p:cNvSpPr>
            <a:spLocks noChangeArrowheads="1"/>
          </p:cNvSpPr>
          <p:nvPr/>
        </p:nvSpPr>
        <p:spPr bwMode="auto">
          <a:xfrm>
            <a:off x="6727996" y="3009447"/>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Group Communication</a:t>
            </a:r>
          </a:p>
        </p:txBody>
      </p:sp>
      <p:sp>
        <p:nvSpPr>
          <p:cNvPr id="85" name="Rectangle 12">
            <a:extLst>
              <a:ext uri="{FF2B5EF4-FFF2-40B4-BE49-F238E27FC236}">
                <a16:creationId xmlns:a16="http://schemas.microsoft.com/office/drawing/2014/main" id="{AAEB56BB-9455-EDD2-3C94-34DAD2A2C877}"/>
              </a:ext>
            </a:extLst>
          </p:cNvPr>
          <p:cNvSpPr>
            <a:spLocks noChangeArrowheads="1"/>
          </p:cNvSpPr>
          <p:nvPr/>
        </p:nvSpPr>
        <p:spPr bwMode="auto">
          <a:xfrm>
            <a:off x="4615543" y="4011203"/>
            <a:ext cx="2112452" cy="52251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Packet Distribution Function</a:t>
            </a:r>
          </a:p>
        </p:txBody>
      </p:sp>
      <p:sp>
        <p:nvSpPr>
          <p:cNvPr id="86" name="Rectangle 12">
            <a:extLst>
              <a:ext uri="{FF2B5EF4-FFF2-40B4-BE49-F238E27FC236}">
                <a16:creationId xmlns:a16="http://schemas.microsoft.com/office/drawing/2014/main" id="{E336EB36-E68C-D74B-44F0-F28F635A7BE4}"/>
              </a:ext>
            </a:extLst>
          </p:cNvPr>
          <p:cNvSpPr>
            <a:spLocks noChangeArrowheads="1"/>
          </p:cNvSpPr>
          <p:nvPr/>
        </p:nvSpPr>
        <p:spPr bwMode="auto">
          <a:xfrm>
            <a:off x="3960006" y="4280114"/>
            <a:ext cx="1139483" cy="217714"/>
          </a:xfrm>
          <a:prstGeom prst="roundRect">
            <a:avLst/>
          </a:prstGeom>
          <a:solidFill>
            <a:schemeClr val="bg1"/>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icrosoft Sans Serif"/>
                <a:ea typeface="+mn-ea"/>
                <a:cs typeface="+mn-cs"/>
              </a:rPr>
              <a:t>FEC</a:t>
            </a:r>
          </a:p>
        </p:txBody>
      </p:sp>
      <p:sp>
        <p:nvSpPr>
          <p:cNvPr id="87" name="Rectangle 12">
            <a:extLst>
              <a:ext uri="{FF2B5EF4-FFF2-40B4-BE49-F238E27FC236}">
                <a16:creationId xmlns:a16="http://schemas.microsoft.com/office/drawing/2014/main" id="{5260A078-DE19-EF6B-6605-2D1C7CA77FFE}"/>
              </a:ext>
            </a:extLst>
          </p:cNvPr>
          <p:cNvSpPr>
            <a:spLocks noChangeArrowheads="1"/>
          </p:cNvSpPr>
          <p:nvPr/>
        </p:nvSpPr>
        <p:spPr bwMode="auto">
          <a:xfrm>
            <a:off x="5333941" y="4279964"/>
            <a:ext cx="1139483" cy="217714"/>
          </a:xfrm>
          <a:prstGeom prst="roundRect">
            <a:avLst/>
          </a:prstGeom>
          <a:solidFill>
            <a:schemeClr val="bg1"/>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a:t>
            </a:r>
          </a:p>
        </p:txBody>
      </p:sp>
      <p:sp>
        <p:nvSpPr>
          <p:cNvPr id="88" name="Rectangle 12">
            <a:extLst>
              <a:ext uri="{FF2B5EF4-FFF2-40B4-BE49-F238E27FC236}">
                <a16:creationId xmlns:a16="http://schemas.microsoft.com/office/drawing/2014/main" id="{180AFA6C-6AE2-650B-A4BD-FC7AC8FC31E0}"/>
              </a:ext>
            </a:extLst>
          </p:cNvPr>
          <p:cNvSpPr>
            <a:spLocks noChangeArrowheads="1"/>
          </p:cNvSpPr>
          <p:nvPr/>
        </p:nvSpPr>
        <p:spPr bwMode="auto">
          <a:xfrm>
            <a:off x="5298956" y="2007613"/>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IPTV app</a:t>
            </a:r>
          </a:p>
        </p:txBody>
      </p:sp>
      <p:cxnSp>
        <p:nvCxnSpPr>
          <p:cNvPr id="89" name="Straight Arrow Connector 88">
            <a:extLst>
              <a:ext uri="{FF2B5EF4-FFF2-40B4-BE49-F238E27FC236}">
                <a16:creationId xmlns:a16="http://schemas.microsoft.com/office/drawing/2014/main" id="{54E77352-8B20-9547-FB16-76478CA31DB1}"/>
              </a:ext>
            </a:extLst>
          </p:cNvPr>
          <p:cNvCxnSpPr>
            <a:cxnSpLocks/>
            <a:stCxn id="69" idx="0"/>
          </p:cNvCxnSpPr>
          <p:nvPr/>
        </p:nvCxnSpPr>
        <p:spPr>
          <a:xfrm flipH="1" flipV="1">
            <a:off x="5707835" y="5076059"/>
            <a:ext cx="317" cy="427249"/>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Rectangle 12">
            <a:extLst>
              <a:ext uri="{FF2B5EF4-FFF2-40B4-BE49-F238E27FC236}">
                <a16:creationId xmlns:a16="http://schemas.microsoft.com/office/drawing/2014/main" id="{D72D7D77-9E8C-8713-4CDA-A709E93BB95E}"/>
              </a:ext>
            </a:extLst>
          </p:cNvPr>
          <p:cNvSpPr>
            <a:spLocks noChangeArrowheads="1"/>
          </p:cNvSpPr>
          <p:nvPr/>
        </p:nvSpPr>
        <p:spPr bwMode="auto">
          <a:xfrm>
            <a:off x="7100970" y="2005156"/>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ervice Discovery</a:t>
            </a:r>
          </a:p>
        </p:txBody>
      </p:sp>
      <p:sp>
        <p:nvSpPr>
          <p:cNvPr id="91" name="Rectangle 13">
            <a:extLst>
              <a:ext uri="{FF2B5EF4-FFF2-40B4-BE49-F238E27FC236}">
                <a16:creationId xmlns:a16="http://schemas.microsoft.com/office/drawing/2014/main" id="{5C39030D-E8AF-93B5-D027-E235D4991F89}"/>
              </a:ext>
            </a:extLst>
          </p:cNvPr>
          <p:cNvSpPr>
            <a:spLocks noChangeArrowheads="1"/>
          </p:cNvSpPr>
          <p:nvPr/>
        </p:nvSpPr>
        <p:spPr bwMode="auto">
          <a:xfrm>
            <a:off x="8583540" y="2678321"/>
            <a:ext cx="3273048" cy="2513850"/>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CMA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92" name="Rectangle 12">
            <a:extLst>
              <a:ext uri="{FF2B5EF4-FFF2-40B4-BE49-F238E27FC236}">
                <a16:creationId xmlns:a16="http://schemas.microsoft.com/office/drawing/2014/main" id="{4204A589-EF43-D16D-1C97-6A6DD8F1AE36}"/>
              </a:ext>
            </a:extLst>
          </p:cNvPr>
          <p:cNvSpPr>
            <a:spLocks noChangeArrowheads="1"/>
          </p:cNvSpPr>
          <p:nvPr/>
        </p:nvSpPr>
        <p:spPr bwMode="auto">
          <a:xfrm>
            <a:off x="9739879" y="5685861"/>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SIB12 messages</a:t>
            </a:r>
          </a:p>
        </p:txBody>
      </p:sp>
      <p:cxnSp>
        <p:nvCxnSpPr>
          <p:cNvPr id="93" name="Straight Arrow Connector 36">
            <a:extLst>
              <a:ext uri="{FF2B5EF4-FFF2-40B4-BE49-F238E27FC236}">
                <a16:creationId xmlns:a16="http://schemas.microsoft.com/office/drawing/2014/main" id="{950A7344-C450-0AAC-A9FF-CBF1CDE83612}"/>
              </a:ext>
            </a:extLst>
          </p:cNvPr>
          <p:cNvCxnSpPr>
            <a:cxnSpLocks/>
            <a:stCxn id="94" idx="2"/>
            <a:endCxn id="92" idx="0"/>
          </p:cNvCxnSpPr>
          <p:nvPr/>
        </p:nvCxnSpPr>
        <p:spPr>
          <a:xfrm rot="5400000">
            <a:off x="9929119" y="5388565"/>
            <a:ext cx="588241" cy="6350"/>
          </a:xfrm>
          <a:prstGeom prst="bentConnector3">
            <a:avLst>
              <a:gd name="adj1" fmla="val 50000"/>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Rectangle 12">
            <a:extLst>
              <a:ext uri="{FF2B5EF4-FFF2-40B4-BE49-F238E27FC236}">
                <a16:creationId xmlns:a16="http://schemas.microsoft.com/office/drawing/2014/main" id="{008334A0-E064-7257-508F-E8F69A0F0382}"/>
              </a:ext>
            </a:extLst>
          </p:cNvPr>
          <p:cNvSpPr>
            <a:spLocks noChangeArrowheads="1"/>
          </p:cNvSpPr>
          <p:nvPr/>
        </p:nvSpPr>
        <p:spPr bwMode="auto">
          <a:xfrm>
            <a:off x="8959711" y="4761316"/>
            <a:ext cx="2533405" cy="33630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messageIdentifi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serialNumb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dataCodingScheme</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geographical area coordinates</a:t>
            </a:r>
          </a:p>
        </p:txBody>
      </p:sp>
      <p:sp>
        <p:nvSpPr>
          <p:cNvPr id="97" name="Rectangle 96">
            <a:extLst>
              <a:ext uri="{FF2B5EF4-FFF2-40B4-BE49-F238E27FC236}">
                <a16:creationId xmlns:a16="http://schemas.microsoft.com/office/drawing/2014/main" id="{C1853198-9281-FC1D-C137-499665BD5BB7}"/>
              </a:ext>
            </a:extLst>
          </p:cNvPr>
          <p:cNvSpPr/>
          <p:nvPr/>
        </p:nvSpPr>
        <p:spPr>
          <a:xfrm>
            <a:off x="9364092" y="3470866"/>
            <a:ext cx="1640314"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epending on alert, action happens </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1295646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4060C-08D4-4FC9-9EEE-66B53AFDB4E9}"/>
              </a:ext>
            </a:extLst>
          </p:cNvPr>
          <p:cNvSpPr>
            <a:spLocks noGrp="1"/>
          </p:cNvSpPr>
          <p:nvPr>
            <p:ph type="title"/>
          </p:nvPr>
        </p:nvSpPr>
        <p:spPr>
          <a:xfrm>
            <a:off x="495300" y="565125"/>
            <a:ext cx="11187112" cy="439479"/>
          </a:xfrm>
        </p:spPr>
        <p:txBody>
          <a:bodyPr/>
          <a:lstStyle/>
          <a:p>
            <a:r>
              <a:rPr lang="de-DE" dirty="0"/>
              <a:t>Android APIs</a:t>
            </a:r>
            <a:endParaRPr lang="en-US" dirty="0"/>
          </a:p>
        </p:txBody>
      </p:sp>
      <p:sp>
        <p:nvSpPr>
          <p:cNvPr id="3" name="Content Placeholder 2">
            <a:extLst>
              <a:ext uri="{FF2B5EF4-FFF2-40B4-BE49-F238E27FC236}">
                <a16:creationId xmlns:a16="http://schemas.microsoft.com/office/drawing/2014/main" id="{DC829DE8-220C-467B-9DF1-751F852C6B86}"/>
              </a:ext>
            </a:extLst>
          </p:cNvPr>
          <p:cNvSpPr>
            <a:spLocks noGrp="1"/>
          </p:cNvSpPr>
          <p:nvPr>
            <p:ph sz="quarter" idx="14"/>
          </p:nvPr>
        </p:nvSpPr>
        <p:spPr/>
        <p:txBody>
          <a:bodyPr/>
          <a:lstStyle/>
          <a:p>
            <a:r>
              <a:rPr lang="en-US" dirty="0"/>
              <a:t>Download Session</a:t>
            </a:r>
          </a:p>
          <a:p>
            <a:pPr lvl="1"/>
            <a:r>
              <a:rPr lang="en-US" dirty="0"/>
              <a:t>https://developer.android.com/reference/android/telephony/MbmsDownloadSession</a:t>
            </a:r>
          </a:p>
          <a:p>
            <a:r>
              <a:rPr lang="en-US" dirty="0"/>
              <a:t>Group Call Session:</a:t>
            </a:r>
          </a:p>
          <a:p>
            <a:pPr lvl="1"/>
            <a:r>
              <a:rPr lang="en-US" dirty="0">
                <a:hlinkClick r:id="rId2"/>
              </a:rPr>
              <a:t>https://developer.android.com/reference/android/telephony/MbmsGroupCallSession</a:t>
            </a:r>
            <a:endParaRPr lang="en-US" dirty="0"/>
          </a:p>
          <a:p>
            <a:r>
              <a:rPr lang="en-US" dirty="0"/>
              <a:t>Streaming Session</a:t>
            </a:r>
          </a:p>
          <a:p>
            <a:pPr lvl="1"/>
            <a:r>
              <a:rPr lang="en-US" dirty="0">
                <a:hlinkClick r:id="rId3"/>
              </a:rPr>
              <a:t>https://developer.android.com/reference/android/telephony/MbmsStreamingSession</a:t>
            </a:r>
            <a:endParaRPr lang="en-US" dirty="0"/>
          </a:p>
          <a:p>
            <a:r>
              <a:rPr lang="en-US" dirty="0"/>
              <a:t>MBMS API documentation</a:t>
            </a:r>
          </a:p>
          <a:p>
            <a:pPr lvl="1"/>
            <a:r>
              <a:rPr lang="en-US" dirty="0"/>
              <a:t>https://developer.android.com/reference/android/telephony/mbms/package-summary</a:t>
            </a:r>
          </a:p>
          <a:p>
            <a:endParaRPr lang="en-US" dirty="0"/>
          </a:p>
          <a:p>
            <a:pPr lvl="1"/>
            <a:endParaRPr lang="en-US" dirty="0"/>
          </a:p>
          <a:p>
            <a:pPr lvl="1"/>
            <a:endParaRPr lang="en-US" dirty="0"/>
          </a:p>
        </p:txBody>
      </p:sp>
      <p:sp>
        <p:nvSpPr>
          <p:cNvPr id="4" name="Subtitle 3">
            <a:extLst>
              <a:ext uri="{FF2B5EF4-FFF2-40B4-BE49-F238E27FC236}">
                <a16:creationId xmlns:a16="http://schemas.microsoft.com/office/drawing/2014/main" id="{72ABF9CB-7D20-4CA4-BB91-B5F48CB87DF7}"/>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97F4E2FD-7079-45F8-8641-4E34E480D1DB}"/>
              </a:ext>
            </a:extLst>
          </p:cNvPr>
          <p:cNvSpPr>
            <a:spLocks noGrp="1"/>
          </p:cNvSpPr>
          <p:nvPr>
            <p:ph type="ftr" sz="quarter" idx="3"/>
          </p:nvPr>
        </p:nvSpPr>
        <p:spPr>
          <a:xfrm>
            <a:off x="495299" y="6531676"/>
            <a:ext cx="5954053"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dirty="0">
              <a:ln>
                <a:noFill/>
              </a:ln>
              <a:solidFill>
                <a:srgbClr val="445776">
                  <a:lumMod val="60000"/>
                  <a:lumOff val="40000"/>
                </a:srgbClr>
              </a:solidFill>
              <a:effectLst/>
              <a:uLnTx/>
              <a:uFillTx/>
              <a:latin typeface="Microsoft Sans Serif"/>
              <a:ea typeface="+mn-ea"/>
              <a:cs typeface="+mn-cs"/>
            </a:endParaRPr>
          </a:p>
        </p:txBody>
      </p:sp>
    </p:spTree>
    <p:extLst>
      <p:ext uri="{BB962C8B-B14F-4D97-AF65-F5344CB8AC3E}">
        <p14:creationId xmlns:p14="http://schemas.microsoft.com/office/powerpoint/2010/main" val="30315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3542" y="627216"/>
            <a:ext cx="11432977" cy="711397"/>
          </a:xfrm>
        </p:spPr>
        <p:txBody>
          <a:bodyPr/>
          <a:lstStyle/>
          <a:p>
            <a:r>
              <a:rPr lang="en-US" dirty="0"/>
              <a:t>QRD use in initial trials</a:t>
            </a:r>
          </a:p>
        </p:txBody>
      </p:sp>
      <p:sp>
        <p:nvSpPr>
          <p:cNvPr id="47" name="Rectangle 11">
            <a:extLst>
              <a:ext uri="{FF2B5EF4-FFF2-40B4-BE49-F238E27FC236}">
                <a16:creationId xmlns:a16="http://schemas.microsoft.com/office/drawing/2014/main" id="{B13A33B6-F6D2-BE25-EFFF-CEC595CC4A1F}"/>
              </a:ext>
            </a:extLst>
          </p:cNvPr>
          <p:cNvSpPr>
            <a:spLocks noChangeArrowheads="1"/>
          </p:cNvSpPr>
          <p:nvPr/>
        </p:nvSpPr>
        <p:spPr bwMode="auto">
          <a:xfrm>
            <a:off x="929386" y="5437714"/>
            <a:ext cx="11027300" cy="1282608"/>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Modem</a:t>
            </a:r>
          </a:p>
        </p:txBody>
      </p:sp>
      <p:sp>
        <p:nvSpPr>
          <p:cNvPr id="49" name="Rectangle 11">
            <a:extLst>
              <a:ext uri="{FF2B5EF4-FFF2-40B4-BE49-F238E27FC236}">
                <a16:creationId xmlns:a16="http://schemas.microsoft.com/office/drawing/2014/main" id="{CEC9CF02-8BE4-0934-89B5-A50AD2AD9CE6}"/>
              </a:ext>
            </a:extLst>
          </p:cNvPr>
          <p:cNvSpPr>
            <a:spLocks noChangeArrowheads="1"/>
          </p:cNvSpPr>
          <p:nvPr/>
        </p:nvSpPr>
        <p:spPr bwMode="auto">
          <a:xfrm>
            <a:off x="929385" y="1405202"/>
            <a:ext cx="11071025"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Application Processor</a:t>
            </a:r>
          </a:p>
        </p:txBody>
      </p:sp>
      <p:sp>
        <p:nvSpPr>
          <p:cNvPr id="50" name="Rectangle 11">
            <a:extLst>
              <a:ext uri="{FF2B5EF4-FFF2-40B4-BE49-F238E27FC236}">
                <a16:creationId xmlns:a16="http://schemas.microsoft.com/office/drawing/2014/main" id="{A662FDC4-D380-0468-BA0C-128D2824F6F9}"/>
              </a:ext>
            </a:extLst>
          </p:cNvPr>
          <p:cNvSpPr>
            <a:spLocks noChangeArrowheads="1"/>
          </p:cNvSpPr>
          <p:nvPr/>
        </p:nvSpPr>
        <p:spPr bwMode="auto">
          <a:xfrm>
            <a:off x="1010197" y="1904861"/>
            <a:ext cx="7524204" cy="489517"/>
          </a:xfrm>
          <a:prstGeom prst="roundRect">
            <a:avLst/>
          </a:prstGeom>
          <a:solidFill>
            <a:schemeClr val="bg1">
              <a:lumMod val="8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Applications</a:t>
            </a:r>
          </a:p>
        </p:txBody>
      </p:sp>
      <p:sp>
        <p:nvSpPr>
          <p:cNvPr id="51" name="Rectangle 12">
            <a:extLst>
              <a:ext uri="{FF2B5EF4-FFF2-40B4-BE49-F238E27FC236}">
                <a16:creationId xmlns:a16="http://schemas.microsoft.com/office/drawing/2014/main" id="{7F561EC2-8AAE-54C7-2A5E-CC21CEB93CDE}"/>
              </a:ext>
            </a:extLst>
          </p:cNvPr>
          <p:cNvSpPr>
            <a:spLocks noChangeArrowheads="1"/>
          </p:cNvSpPr>
          <p:nvPr/>
        </p:nvSpPr>
        <p:spPr bwMode="auto">
          <a:xfrm>
            <a:off x="1348246" y="1987124"/>
            <a:ext cx="1286514" cy="288925"/>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13171F"/>
                </a:solidFill>
                <a:effectLst/>
                <a:uLnTx/>
                <a:uFillTx/>
                <a:latin typeface="Microsoft Sans Serif"/>
                <a:ea typeface="+mn-ea"/>
                <a:cs typeface="+mn-cs"/>
              </a:rPr>
              <a:t>Streaming App</a:t>
            </a:r>
          </a:p>
        </p:txBody>
      </p:sp>
      <p:sp>
        <p:nvSpPr>
          <p:cNvPr id="52" name="Rectangle 12">
            <a:extLst>
              <a:ext uri="{FF2B5EF4-FFF2-40B4-BE49-F238E27FC236}">
                <a16:creationId xmlns:a16="http://schemas.microsoft.com/office/drawing/2014/main" id="{BA443B8C-4185-9637-9A2C-FD242E579E8D}"/>
              </a:ext>
            </a:extLst>
          </p:cNvPr>
          <p:cNvSpPr>
            <a:spLocks noChangeArrowheads="1"/>
          </p:cNvSpPr>
          <p:nvPr/>
        </p:nvSpPr>
        <p:spPr bwMode="auto">
          <a:xfrm>
            <a:off x="2800574" y="1996669"/>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File Download App</a:t>
            </a:r>
          </a:p>
        </p:txBody>
      </p:sp>
      <p:sp>
        <p:nvSpPr>
          <p:cNvPr id="53" name="Rectangle 12">
            <a:extLst>
              <a:ext uri="{FF2B5EF4-FFF2-40B4-BE49-F238E27FC236}">
                <a16:creationId xmlns:a16="http://schemas.microsoft.com/office/drawing/2014/main" id="{D6434600-5253-7278-8B2B-D60C4AAF2570}"/>
              </a:ext>
            </a:extLst>
          </p:cNvPr>
          <p:cNvSpPr>
            <a:spLocks noChangeArrowheads="1"/>
          </p:cNvSpPr>
          <p:nvPr/>
        </p:nvSpPr>
        <p:spPr bwMode="auto">
          <a:xfrm>
            <a:off x="929870" y="2619201"/>
            <a:ext cx="7604530" cy="2664299"/>
          </a:xfrm>
          <a:prstGeom prst="roundRect">
            <a:avLst>
              <a:gd name="adj" fmla="val 10656"/>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vert" wrap="square" lIns="34295" tIns="34295" rIns="34295" bIns="34295" numCol="1" anchor="b"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solidFill>
                <a:effectLst/>
                <a:uLnTx/>
                <a:uFillTx/>
                <a:latin typeface="Microsoft Sans Serif"/>
                <a:ea typeface="+mn-ea"/>
                <a:cs typeface="+mn-cs"/>
              </a:rPr>
              <a:t>HLOS</a:t>
            </a:r>
          </a:p>
        </p:txBody>
      </p:sp>
      <p:sp>
        <p:nvSpPr>
          <p:cNvPr id="54" name="Rectangle 13">
            <a:extLst>
              <a:ext uri="{FF2B5EF4-FFF2-40B4-BE49-F238E27FC236}">
                <a16:creationId xmlns:a16="http://schemas.microsoft.com/office/drawing/2014/main" id="{BDBB355D-5C5F-B090-54F0-C2A9EEC74700}"/>
              </a:ext>
            </a:extLst>
          </p:cNvPr>
          <p:cNvSpPr>
            <a:spLocks noChangeArrowheads="1"/>
          </p:cNvSpPr>
          <p:nvPr/>
        </p:nvSpPr>
        <p:spPr bwMode="auto">
          <a:xfrm>
            <a:off x="2326327" y="2721974"/>
            <a:ext cx="6103569" cy="2513850"/>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MBM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grpSp>
        <p:nvGrpSpPr>
          <p:cNvPr id="55" name="Group 224">
            <a:extLst>
              <a:ext uri="{FF2B5EF4-FFF2-40B4-BE49-F238E27FC236}">
                <a16:creationId xmlns:a16="http://schemas.microsoft.com/office/drawing/2014/main" id="{D738437C-B29C-649D-DCAD-351E7F73941F}"/>
              </a:ext>
            </a:extLst>
          </p:cNvPr>
          <p:cNvGrpSpPr/>
          <p:nvPr/>
        </p:nvGrpSpPr>
        <p:grpSpPr>
          <a:xfrm>
            <a:off x="2437415" y="3013319"/>
            <a:ext cx="2792866" cy="288925"/>
            <a:chOff x="2373084" y="2857585"/>
            <a:chExt cx="3557794" cy="288925"/>
          </a:xfrm>
        </p:grpSpPr>
        <p:sp>
          <p:nvSpPr>
            <p:cNvPr id="56" name="Rectangle 12">
              <a:extLst>
                <a:ext uri="{FF2B5EF4-FFF2-40B4-BE49-F238E27FC236}">
                  <a16:creationId xmlns:a16="http://schemas.microsoft.com/office/drawing/2014/main" id="{88BCAB80-0AA9-415C-1EFF-F3EFEA956258}"/>
                </a:ext>
              </a:extLst>
            </p:cNvPr>
            <p:cNvSpPr>
              <a:spLocks noChangeArrowheads="1"/>
            </p:cNvSpPr>
            <p:nvPr/>
          </p:nvSpPr>
          <p:spPr bwMode="auto">
            <a:xfrm>
              <a:off x="2373084" y="2857585"/>
              <a:ext cx="1737360" cy="288925"/>
            </a:xfrm>
            <a:prstGeom prst="round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3171F">
                      <a:lumMod val="85000"/>
                      <a:lumOff val="15000"/>
                    </a:srgbClr>
                  </a:solidFill>
                  <a:effectLst/>
                  <a:uLnTx/>
                  <a:uFillTx/>
                  <a:latin typeface="Microsoft Sans Serif"/>
                  <a:ea typeface="+mn-ea"/>
                  <a:cs typeface="+mn-cs"/>
                </a:rPr>
                <a:t>Streaming Service</a:t>
              </a:r>
            </a:p>
          </p:txBody>
        </p:sp>
        <p:sp>
          <p:nvSpPr>
            <p:cNvPr id="57" name="Rectangle 12">
              <a:extLst>
                <a:ext uri="{FF2B5EF4-FFF2-40B4-BE49-F238E27FC236}">
                  <a16:creationId xmlns:a16="http://schemas.microsoft.com/office/drawing/2014/main" id="{B17D7B54-ED36-3310-1654-04D6684FCE39}"/>
                </a:ext>
              </a:extLst>
            </p:cNvPr>
            <p:cNvSpPr>
              <a:spLocks noChangeArrowheads="1"/>
            </p:cNvSpPr>
            <p:nvPr/>
          </p:nvSpPr>
          <p:spPr bwMode="auto">
            <a:xfrm>
              <a:off x="4197927" y="2857585"/>
              <a:ext cx="1732951"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ile Download Service</a:t>
              </a:r>
            </a:p>
          </p:txBody>
        </p:sp>
      </p:grpSp>
      <p:sp>
        <p:nvSpPr>
          <p:cNvPr id="58" name="Rectangle 12">
            <a:extLst>
              <a:ext uri="{FF2B5EF4-FFF2-40B4-BE49-F238E27FC236}">
                <a16:creationId xmlns:a16="http://schemas.microsoft.com/office/drawing/2014/main" id="{AD9F91B8-5A59-C2DA-9E03-4F700E929081}"/>
              </a:ext>
            </a:extLst>
          </p:cNvPr>
          <p:cNvSpPr>
            <a:spLocks noChangeArrowheads="1"/>
          </p:cNvSpPr>
          <p:nvPr/>
        </p:nvSpPr>
        <p:spPr bwMode="auto">
          <a:xfrm>
            <a:off x="2439396" y="3429272"/>
            <a:ext cx="646023" cy="462558"/>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Local DASH Server</a:t>
            </a:r>
          </a:p>
        </p:txBody>
      </p:sp>
      <p:sp>
        <p:nvSpPr>
          <p:cNvPr id="59" name="Rectangle 12">
            <a:extLst>
              <a:ext uri="{FF2B5EF4-FFF2-40B4-BE49-F238E27FC236}">
                <a16:creationId xmlns:a16="http://schemas.microsoft.com/office/drawing/2014/main" id="{423E8605-1FAB-2DDD-0BF6-D00AEAEF4071}"/>
              </a:ext>
            </a:extLst>
          </p:cNvPr>
          <p:cNvSpPr>
            <a:spLocks noChangeArrowheads="1"/>
          </p:cNvSpPr>
          <p:nvPr/>
        </p:nvSpPr>
        <p:spPr bwMode="auto">
          <a:xfrm>
            <a:off x="2456718" y="4739755"/>
            <a:ext cx="4396928" cy="336304"/>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Service Discovery</a:t>
            </a:r>
          </a:p>
        </p:txBody>
      </p:sp>
      <p:sp>
        <p:nvSpPr>
          <p:cNvPr id="60" name="Rectangle 12">
            <a:extLst>
              <a:ext uri="{FF2B5EF4-FFF2-40B4-BE49-F238E27FC236}">
                <a16:creationId xmlns:a16="http://schemas.microsoft.com/office/drawing/2014/main" id="{507A71A5-74B5-4FFF-6C09-B19614684760}"/>
              </a:ext>
            </a:extLst>
          </p:cNvPr>
          <p:cNvSpPr>
            <a:spLocks noChangeArrowheads="1"/>
          </p:cNvSpPr>
          <p:nvPr/>
        </p:nvSpPr>
        <p:spPr bwMode="auto">
          <a:xfrm>
            <a:off x="3869304" y="3429272"/>
            <a:ext cx="646023" cy="462558"/>
          </a:xfrm>
          <a:prstGeom prst="round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File </a:t>
            </a:r>
            <a:br>
              <a:rPr kumimoji="0" lang="en-US" sz="900" b="0" i="0" u="none" strike="noStrike" kern="1200" cap="none" spc="0" normalizeH="0" baseline="0" noProof="0">
                <a:ln>
                  <a:noFill/>
                </a:ln>
                <a:solidFill>
                  <a:srgbClr val="000000"/>
                </a:solidFill>
                <a:effectLst/>
                <a:uLnTx/>
                <a:uFillTx/>
                <a:latin typeface="Microsoft Sans Serif"/>
                <a:ea typeface="+mn-ea"/>
                <a:cs typeface="+mn-cs"/>
              </a:rPr>
            </a:br>
            <a:r>
              <a:rPr kumimoji="0" lang="en-US" sz="900" b="0" i="0" u="none" strike="noStrike" kern="1200" cap="none" spc="0" normalizeH="0" baseline="0" noProof="0">
                <a:ln>
                  <a:noFill/>
                </a:ln>
                <a:solidFill>
                  <a:srgbClr val="000000"/>
                </a:solidFill>
                <a:effectLst/>
                <a:uLnTx/>
                <a:uFillTx/>
                <a:latin typeface="Microsoft Sans Serif"/>
                <a:ea typeface="+mn-ea"/>
                <a:cs typeface="+mn-cs"/>
              </a:rPr>
              <a:t>Repair</a:t>
            </a:r>
          </a:p>
        </p:txBody>
      </p:sp>
      <p:sp>
        <p:nvSpPr>
          <p:cNvPr id="61" name="Rectangle 12">
            <a:extLst>
              <a:ext uri="{FF2B5EF4-FFF2-40B4-BE49-F238E27FC236}">
                <a16:creationId xmlns:a16="http://schemas.microsoft.com/office/drawing/2014/main" id="{415CCA19-0ACE-0DFD-9B70-8CC3A5C3D851}"/>
              </a:ext>
            </a:extLst>
          </p:cNvPr>
          <p:cNvSpPr>
            <a:spLocks noChangeArrowheads="1"/>
          </p:cNvSpPr>
          <p:nvPr/>
        </p:nvSpPr>
        <p:spPr bwMode="auto">
          <a:xfrm>
            <a:off x="4550098" y="3429272"/>
            <a:ext cx="680183" cy="462558"/>
          </a:xfrm>
          <a:prstGeom prst="round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Reception Reporting</a:t>
            </a:r>
          </a:p>
        </p:txBody>
      </p:sp>
      <p:sp>
        <p:nvSpPr>
          <p:cNvPr id="62" name="Rectangle 12">
            <a:extLst>
              <a:ext uri="{FF2B5EF4-FFF2-40B4-BE49-F238E27FC236}">
                <a16:creationId xmlns:a16="http://schemas.microsoft.com/office/drawing/2014/main" id="{12A921C9-F844-D372-D1B8-E3154AA05FD5}"/>
              </a:ext>
            </a:extLst>
          </p:cNvPr>
          <p:cNvSpPr>
            <a:spLocks noChangeArrowheads="1"/>
          </p:cNvSpPr>
          <p:nvPr/>
        </p:nvSpPr>
        <p:spPr bwMode="auto">
          <a:xfrm>
            <a:off x="2439396" y="4018857"/>
            <a:ext cx="2764401" cy="522514"/>
          </a:xfrm>
          <a:prstGeom prst="roundRect">
            <a:avLst/>
          </a:prstGeom>
          <a:solidFill>
            <a:srgbClr val="FFFF00"/>
          </a:solidFill>
          <a:ln>
            <a:noFill/>
          </a:ln>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Object Distribution Function</a:t>
            </a:r>
          </a:p>
        </p:txBody>
      </p:sp>
      <p:sp>
        <p:nvSpPr>
          <p:cNvPr id="63" name="Rectangle 12">
            <a:extLst>
              <a:ext uri="{FF2B5EF4-FFF2-40B4-BE49-F238E27FC236}">
                <a16:creationId xmlns:a16="http://schemas.microsoft.com/office/drawing/2014/main" id="{8D842C90-70C0-CE27-7BF8-3A5E165072EF}"/>
              </a:ext>
            </a:extLst>
          </p:cNvPr>
          <p:cNvSpPr>
            <a:spLocks noChangeArrowheads="1"/>
          </p:cNvSpPr>
          <p:nvPr/>
        </p:nvSpPr>
        <p:spPr bwMode="auto">
          <a:xfrm>
            <a:off x="2570184" y="4280114"/>
            <a:ext cx="1139483" cy="217714"/>
          </a:xfrm>
          <a:prstGeom prst="roundRect">
            <a:avLst/>
          </a:prstGeom>
          <a:solidFill>
            <a:srgbClr val="FFFF00"/>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LUTE</a:t>
            </a:r>
          </a:p>
        </p:txBody>
      </p:sp>
      <p:grpSp>
        <p:nvGrpSpPr>
          <p:cNvPr id="64" name="Group 56">
            <a:extLst>
              <a:ext uri="{FF2B5EF4-FFF2-40B4-BE49-F238E27FC236}">
                <a16:creationId xmlns:a16="http://schemas.microsoft.com/office/drawing/2014/main" id="{61D109E7-5D27-A768-3161-817B8CE95B11}"/>
              </a:ext>
            </a:extLst>
          </p:cNvPr>
          <p:cNvGrpSpPr/>
          <p:nvPr/>
        </p:nvGrpSpPr>
        <p:grpSpPr>
          <a:xfrm>
            <a:off x="1267110" y="2962552"/>
            <a:ext cx="909806" cy="1792561"/>
            <a:chOff x="819649" y="2978190"/>
            <a:chExt cx="1212759" cy="1792561"/>
          </a:xfrm>
        </p:grpSpPr>
        <p:grpSp>
          <p:nvGrpSpPr>
            <p:cNvPr id="65" name="Group 55">
              <a:extLst>
                <a:ext uri="{FF2B5EF4-FFF2-40B4-BE49-F238E27FC236}">
                  <a16:creationId xmlns:a16="http://schemas.microsoft.com/office/drawing/2014/main" id="{5451B172-B016-3636-B227-C9A3C0F51740}"/>
                </a:ext>
              </a:extLst>
            </p:cNvPr>
            <p:cNvGrpSpPr/>
            <p:nvPr/>
          </p:nvGrpSpPr>
          <p:grpSpPr>
            <a:xfrm>
              <a:off x="819649" y="2978190"/>
              <a:ext cx="1212759" cy="1105786"/>
              <a:chOff x="819649" y="2978190"/>
              <a:chExt cx="1212759" cy="1105786"/>
            </a:xfrm>
          </p:grpSpPr>
          <p:sp>
            <p:nvSpPr>
              <p:cNvPr id="67" name="Rectangle 12">
                <a:extLst>
                  <a:ext uri="{FF2B5EF4-FFF2-40B4-BE49-F238E27FC236}">
                    <a16:creationId xmlns:a16="http://schemas.microsoft.com/office/drawing/2014/main" id="{B343FD66-AFEE-C9DB-C2F9-F51D131DF28F}"/>
                  </a:ext>
                </a:extLst>
              </p:cNvPr>
              <p:cNvSpPr>
                <a:spLocks noChangeArrowheads="1"/>
              </p:cNvSpPr>
              <p:nvPr/>
            </p:nvSpPr>
            <p:spPr bwMode="auto">
              <a:xfrm>
                <a:off x="819649" y="2978190"/>
                <a:ext cx="1212759" cy="1105786"/>
              </a:xfrm>
              <a:prstGeom prst="round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Multimedia System</a:t>
                </a:r>
              </a:p>
            </p:txBody>
          </p:sp>
          <p:sp>
            <p:nvSpPr>
              <p:cNvPr id="68" name="Rectangle 12">
                <a:extLst>
                  <a:ext uri="{FF2B5EF4-FFF2-40B4-BE49-F238E27FC236}">
                    <a16:creationId xmlns:a16="http://schemas.microsoft.com/office/drawing/2014/main" id="{E70D22AF-A115-0850-41BE-12371C5BF3CD}"/>
                  </a:ext>
                </a:extLst>
              </p:cNvPr>
              <p:cNvSpPr>
                <a:spLocks noChangeArrowheads="1"/>
              </p:cNvSpPr>
              <p:nvPr/>
            </p:nvSpPr>
            <p:spPr bwMode="auto">
              <a:xfrm>
                <a:off x="1014548" y="3429231"/>
                <a:ext cx="822960" cy="462558"/>
              </a:xfrm>
              <a:prstGeom prst="round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3171F">
                        <a:lumMod val="85000"/>
                        <a:lumOff val="15000"/>
                      </a:srgbClr>
                    </a:solidFill>
                    <a:effectLst/>
                    <a:uLnTx/>
                    <a:uFillTx/>
                    <a:latin typeface="Microsoft Sans Serif"/>
                    <a:ea typeface="+mn-ea"/>
                    <a:cs typeface="+mn-cs"/>
                  </a:rPr>
                  <a:t>DASH Client</a:t>
                </a:r>
              </a:p>
            </p:txBody>
          </p:sp>
        </p:grpSp>
        <p:sp>
          <p:nvSpPr>
            <p:cNvPr id="66" name="Rectangle 12">
              <a:extLst>
                <a:ext uri="{FF2B5EF4-FFF2-40B4-BE49-F238E27FC236}">
                  <a16:creationId xmlns:a16="http://schemas.microsoft.com/office/drawing/2014/main" id="{0068E945-EF24-A616-9354-730CE33B3862}"/>
                </a:ext>
              </a:extLst>
            </p:cNvPr>
            <p:cNvSpPr>
              <a:spLocks noChangeArrowheads="1"/>
            </p:cNvSpPr>
            <p:nvPr/>
          </p:nvSpPr>
          <p:spPr bwMode="auto">
            <a:xfrm>
              <a:off x="831108" y="4369981"/>
              <a:ext cx="1189841" cy="40077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DRM Agent</a:t>
              </a:r>
            </a:p>
          </p:txBody>
        </p:sp>
      </p:grpSp>
      <p:sp>
        <p:nvSpPr>
          <p:cNvPr id="69" name="Rectangle 12">
            <a:extLst>
              <a:ext uri="{FF2B5EF4-FFF2-40B4-BE49-F238E27FC236}">
                <a16:creationId xmlns:a16="http://schemas.microsoft.com/office/drawing/2014/main" id="{4837C807-553F-2034-6262-69F08ADE9C4C}"/>
              </a:ext>
            </a:extLst>
          </p:cNvPr>
          <p:cNvSpPr>
            <a:spLocks noChangeArrowheads="1"/>
          </p:cNvSpPr>
          <p:nvPr/>
        </p:nvSpPr>
        <p:spPr bwMode="auto">
          <a:xfrm>
            <a:off x="5227967" y="5503308"/>
            <a:ext cx="960370" cy="365760"/>
          </a:xfrm>
          <a:prstGeom prst="roundRect">
            <a:avLst/>
          </a:prstGeom>
          <a:solidFill>
            <a:srgbClr val="FFFF00"/>
          </a:solidFill>
          <a:ln>
            <a:noFill/>
          </a:ln>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P Stack</a:t>
            </a:r>
            <a:br>
              <a:rPr kumimoji="0" lang="en-US" sz="900" b="0" i="0" u="none" strike="noStrike" kern="1200" cap="none" spc="0" normalizeH="0" baseline="0" noProof="0">
                <a:ln>
                  <a:noFill/>
                </a:ln>
                <a:solidFill>
                  <a:srgbClr val="13171F"/>
                </a:solidFill>
                <a:effectLst/>
                <a:uLnTx/>
                <a:uFillTx/>
                <a:latin typeface="Microsoft Sans Serif"/>
                <a:ea typeface="+mn-ea"/>
                <a:cs typeface="+mn-cs"/>
              </a:rPr>
            </a:br>
            <a:r>
              <a:rPr kumimoji="0" lang="en-US" sz="900" b="0" i="0" u="none" strike="noStrike" kern="1200" cap="none" spc="0" normalizeH="0" baseline="0" noProof="0">
                <a:ln>
                  <a:noFill/>
                </a:ln>
                <a:solidFill>
                  <a:srgbClr val="13171F"/>
                </a:solidFill>
                <a:effectLst/>
                <a:uLnTx/>
                <a:uFillTx/>
                <a:latin typeface="Microsoft Sans Serif"/>
                <a:ea typeface="+mn-ea"/>
                <a:cs typeface="+mn-cs"/>
              </a:rPr>
              <a:t>(with multicast)</a:t>
            </a:r>
          </a:p>
        </p:txBody>
      </p:sp>
      <p:sp>
        <p:nvSpPr>
          <p:cNvPr id="70" name="Rectangle 12">
            <a:extLst>
              <a:ext uri="{FF2B5EF4-FFF2-40B4-BE49-F238E27FC236}">
                <a16:creationId xmlns:a16="http://schemas.microsoft.com/office/drawing/2014/main" id="{BAC67A2F-42CA-34AF-055F-99E928532C88}"/>
              </a:ext>
            </a:extLst>
          </p:cNvPr>
          <p:cNvSpPr>
            <a:spLocks noChangeArrowheads="1"/>
          </p:cNvSpPr>
          <p:nvPr/>
        </p:nvSpPr>
        <p:spPr bwMode="auto">
          <a:xfrm>
            <a:off x="2367656" y="5570680"/>
            <a:ext cx="960370" cy="365760"/>
          </a:xfrm>
          <a:prstGeom prst="roundRect">
            <a:avLst/>
          </a:prstGeom>
          <a:solidFill>
            <a:srgbClr val="FFFF00"/>
          </a:solidFill>
          <a:ln>
            <a:noFill/>
          </a:ln>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eMBMS Service</a:t>
            </a:r>
          </a:p>
        </p:txBody>
      </p:sp>
      <p:cxnSp>
        <p:nvCxnSpPr>
          <p:cNvPr id="71" name="Straight Arrow Connector 70">
            <a:extLst>
              <a:ext uri="{FF2B5EF4-FFF2-40B4-BE49-F238E27FC236}">
                <a16:creationId xmlns:a16="http://schemas.microsoft.com/office/drawing/2014/main" id="{7A508567-CC09-95D2-E1AB-95D0C3E820C5}"/>
              </a:ext>
            </a:extLst>
          </p:cNvPr>
          <p:cNvCxnSpPr>
            <a:cxnSpLocks/>
            <a:stCxn id="70" idx="0"/>
          </p:cNvCxnSpPr>
          <p:nvPr/>
        </p:nvCxnSpPr>
        <p:spPr>
          <a:xfrm flipV="1">
            <a:off x="2847841" y="5076059"/>
            <a:ext cx="0" cy="494621"/>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36">
            <a:extLst>
              <a:ext uri="{FF2B5EF4-FFF2-40B4-BE49-F238E27FC236}">
                <a16:creationId xmlns:a16="http://schemas.microsoft.com/office/drawing/2014/main" id="{9805E486-DB38-CFF2-C6F3-04A3FB088A2D}"/>
              </a:ext>
            </a:extLst>
          </p:cNvPr>
          <p:cNvCxnSpPr>
            <a:cxnSpLocks/>
            <a:stCxn id="59" idx="3"/>
          </p:cNvCxnSpPr>
          <p:nvPr/>
        </p:nvCxnSpPr>
        <p:spPr>
          <a:xfrm flipV="1">
            <a:off x="6853646" y="2276049"/>
            <a:ext cx="1285138" cy="2631858"/>
          </a:xfrm>
          <a:prstGeom prst="bentConnector2">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230FF7B-355E-660C-E530-040C3DD05337}"/>
              </a:ext>
            </a:extLst>
          </p:cNvPr>
          <p:cNvCxnSpPr>
            <a:cxnSpLocks/>
          </p:cNvCxnSpPr>
          <p:nvPr/>
        </p:nvCxnSpPr>
        <p:spPr>
          <a:xfrm flipH="1" flipV="1">
            <a:off x="1743100" y="2394378"/>
            <a:ext cx="1" cy="440766"/>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33B53D10-DC71-711A-496E-F5BD1FE64262}"/>
              </a:ext>
            </a:extLst>
          </p:cNvPr>
          <p:cNvCxnSpPr>
            <a:cxnSpLocks/>
          </p:cNvCxnSpPr>
          <p:nvPr/>
        </p:nvCxnSpPr>
        <p:spPr>
          <a:xfrm flipH="1">
            <a:off x="2030704" y="3660551"/>
            <a:ext cx="353106" cy="0"/>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9A0E3C2-6231-B395-E67E-34F9D0C5FF9B}"/>
              </a:ext>
            </a:extLst>
          </p:cNvPr>
          <p:cNvCxnSpPr>
            <a:cxnSpLocks/>
          </p:cNvCxnSpPr>
          <p:nvPr/>
        </p:nvCxnSpPr>
        <p:spPr>
          <a:xfrm flipV="1">
            <a:off x="2847841" y="589613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BD39B24-160F-F4CD-D28E-CF8220D76609}"/>
              </a:ext>
            </a:extLst>
          </p:cNvPr>
          <p:cNvCxnSpPr>
            <a:cxnSpLocks/>
            <a:endCxn id="69" idx="2"/>
          </p:cNvCxnSpPr>
          <p:nvPr/>
        </p:nvCxnSpPr>
        <p:spPr>
          <a:xfrm flipV="1">
            <a:off x="5708152" y="586906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0383DE4-8D85-B253-68E4-B2067DF07382}"/>
              </a:ext>
            </a:extLst>
          </p:cNvPr>
          <p:cNvCxnSpPr>
            <a:cxnSpLocks/>
          </p:cNvCxnSpPr>
          <p:nvPr/>
        </p:nvCxnSpPr>
        <p:spPr>
          <a:xfrm flipH="1" flipV="1">
            <a:off x="1743100" y="3876151"/>
            <a:ext cx="1" cy="478192"/>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Rectangle 12">
            <a:extLst>
              <a:ext uri="{FF2B5EF4-FFF2-40B4-BE49-F238E27FC236}">
                <a16:creationId xmlns:a16="http://schemas.microsoft.com/office/drawing/2014/main" id="{3544C2F3-702A-9B49-8C8B-BE70FE871794}"/>
              </a:ext>
            </a:extLst>
          </p:cNvPr>
          <p:cNvSpPr>
            <a:spLocks noChangeArrowheads="1"/>
          </p:cNvSpPr>
          <p:nvPr/>
        </p:nvSpPr>
        <p:spPr bwMode="auto">
          <a:xfrm>
            <a:off x="3317248" y="2420013"/>
            <a:ext cx="322758" cy="22482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I-1</a:t>
            </a:r>
          </a:p>
        </p:txBody>
      </p:sp>
      <p:sp>
        <p:nvSpPr>
          <p:cNvPr id="79" name="Rectangle 12">
            <a:extLst>
              <a:ext uri="{FF2B5EF4-FFF2-40B4-BE49-F238E27FC236}">
                <a16:creationId xmlns:a16="http://schemas.microsoft.com/office/drawing/2014/main" id="{A65E25DE-48F3-523E-3C84-FDA837B9D04E}"/>
              </a:ext>
            </a:extLst>
          </p:cNvPr>
          <p:cNvSpPr>
            <a:spLocks noChangeArrowheads="1"/>
          </p:cNvSpPr>
          <p:nvPr/>
        </p:nvSpPr>
        <p:spPr bwMode="auto">
          <a:xfrm>
            <a:off x="2902702" y="5097620"/>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2</a:t>
            </a:r>
          </a:p>
        </p:txBody>
      </p:sp>
      <p:sp>
        <p:nvSpPr>
          <p:cNvPr id="80" name="Rectangle 12">
            <a:extLst>
              <a:ext uri="{FF2B5EF4-FFF2-40B4-BE49-F238E27FC236}">
                <a16:creationId xmlns:a16="http://schemas.microsoft.com/office/drawing/2014/main" id="{A401C965-0E31-3DA4-AF7A-FF3B290C1343}"/>
              </a:ext>
            </a:extLst>
          </p:cNvPr>
          <p:cNvSpPr>
            <a:spLocks noChangeArrowheads="1"/>
          </p:cNvSpPr>
          <p:nvPr/>
        </p:nvSpPr>
        <p:spPr bwMode="auto">
          <a:xfrm>
            <a:off x="2138682" y="3429273"/>
            <a:ext cx="228974" cy="1904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4</a:t>
            </a:r>
          </a:p>
        </p:txBody>
      </p:sp>
      <p:sp>
        <p:nvSpPr>
          <p:cNvPr id="81" name="Rectangle 12">
            <a:extLst>
              <a:ext uri="{FF2B5EF4-FFF2-40B4-BE49-F238E27FC236}">
                <a16:creationId xmlns:a16="http://schemas.microsoft.com/office/drawing/2014/main" id="{96A7EB13-9973-5522-5CF3-32376B5B3A82}"/>
              </a:ext>
            </a:extLst>
          </p:cNvPr>
          <p:cNvSpPr>
            <a:spLocks noChangeArrowheads="1"/>
          </p:cNvSpPr>
          <p:nvPr/>
        </p:nvSpPr>
        <p:spPr bwMode="auto">
          <a:xfrm>
            <a:off x="1010195" y="6226933"/>
            <a:ext cx="10772497"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13171F"/>
                </a:solidFill>
                <a:effectLst/>
                <a:uLnTx/>
                <a:uFillTx/>
                <a:latin typeface="Microsoft Sans Serif"/>
                <a:ea typeface="+mn-ea"/>
                <a:cs typeface="+mn-cs"/>
              </a:rPr>
              <a:t>LTE Modem</a:t>
            </a:r>
          </a:p>
        </p:txBody>
      </p:sp>
      <p:sp>
        <p:nvSpPr>
          <p:cNvPr id="82" name="Rectangle 12">
            <a:extLst>
              <a:ext uri="{FF2B5EF4-FFF2-40B4-BE49-F238E27FC236}">
                <a16:creationId xmlns:a16="http://schemas.microsoft.com/office/drawing/2014/main" id="{7BCB5626-FAC0-5E17-EB32-FDCF6459D6AE}"/>
              </a:ext>
            </a:extLst>
          </p:cNvPr>
          <p:cNvSpPr>
            <a:spLocks noChangeArrowheads="1"/>
          </p:cNvSpPr>
          <p:nvPr/>
        </p:nvSpPr>
        <p:spPr bwMode="auto">
          <a:xfrm>
            <a:off x="5708152" y="5148292"/>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3</a:t>
            </a:r>
          </a:p>
        </p:txBody>
      </p:sp>
      <p:sp>
        <p:nvSpPr>
          <p:cNvPr id="83" name="Rectangle 12">
            <a:extLst>
              <a:ext uri="{FF2B5EF4-FFF2-40B4-BE49-F238E27FC236}">
                <a16:creationId xmlns:a16="http://schemas.microsoft.com/office/drawing/2014/main" id="{432BB81F-634B-0CC9-5F12-8A8500926ABD}"/>
              </a:ext>
            </a:extLst>
          </p:cNvPr>
          <p:cNvSpPr>
            <a:spLocks noChangeArrowheads="1"/>
          </p:cNvSpPr>
          <p:nvPr/>
        </p:nvSpPr>
        <p:spPr bwMode="auto">
          <a:xfrm>
            <a:off x="5298956" y="3013319"/>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 Service</a:t>
            </a:r>
          </a:p>
        </p:txBody>
      </p:sp>
      <p:sp>
        <p:nvSpPr>
          <p:cNvPr id="84" name="Rectangle 12">
            <a:extLst>
              <a:ext uri="{FF2B5EF4-FFF2-40B4-BE49-F238E27FC236}">
                <a16:creationId xmlns:a16="http://schemas.microsoft.com/office/drawing/2014/main" id="{C23BE425-6C5D-D892-1C63-374CF7B02506}"/>
              </a:ext>
            </a:extLst>
          </p:cNvPr>
          <p:cNvSpPr>
            <a:spLocks noChangeArrowheads="1"/>
          </p:cNvSpPr>
          <p:nvPr/>
        </p:nvSpPr>
        <p:spPr bwMode="auto">
          <a:xfrm>
            <a:off x="6727996" y="3009447"/>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Group Communication</a:t>
            </a:r>
          </a:p>
        </p:txBody>
      </p:sp>
      <p:sp>
        <p:nvSpPr>
          <p:cNvPr id="85" name="Rectangle 12">
            <a:extLst>
              <a:ext uri="{FF2B5EF4-FFF2-40B4-BE49-F238E27FC236}">
                <a16:creationId xmlns:a16="http://schemas.microsoft.com/office/drawing/2014/main" id="{AAEB56BB-9455-EDD2-3C94-34DAD2A2C877}"/>
              </a:ext>
            </a:extLst>
          </p:cNvPr>
          <p:cNvSpPr>
            <a:spLocks noChangeArrowheads="1"/>
          </p:cNvSpPr>
          <p:nvPr/>
        </p:nvSpPr>
        <p:spPr bwMode="auto">
          <a:xfrm>
            <a:off x="4615543" y="4011203"/>
            <a:ext cx="2112452" cy="52251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Packet Distribution Function</a:t>
            </a:r>
          </a:p>
        </p:txBody>
      </p:sp>
      <p:sp>
        <p:nvSpPr>
          <p:cNvPr id="86" name="Rectangle 12">
            <a:extLst>
              <a:ext uri="{FF2B5EF4-FFF2-40B4-BE49-F238E27FC236}">
                <a16:creationId xmlns:a16="http://schemas.microsoft.com/office/drawing/2014/main" id="{E336EB36-E68C-D74B-44F0-F28F635A7BE4}"/>
              </a:ext>
            </a:extLst>
          </p:cNvPr>
          <p:cNvSpPr>
            <a:spLocks noChangeArrowheads="1"/>
          </p:cNvSpPr>
          <p:nvPr/>
        </p:nvSpPr>
        <p:spPr bwMode="auto">
          <a:xfrm>
            <a:off x="3960006" y="4280114"/>
            <a:ext cx="1139483" cy="217714"/>
          </a:xfrm>
          <a:prstGeom prst="roundRect">
            <a:avLst/>
          </a:prstGeom>
          <a:solidFill>
            <a:srgbClr val="FFFF00"/>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icrosoft Sans Serif"/>
                <a:ea typeface="+mn-ea"/>
                <a:cs typeface="+mn-cs"/>
              </a:rPr>
              <a:t>FEC</a:t>
            </a:r>
          </a:p>
        </p:txBody>
      </p:sp>
      <p:sp>
        <p:nvSpPr>
          <p:cNvPr id="87" name="Rectangle 12">
            <a:extLst>
              <a:ext uri="{FF2B5EF4-FFF2-40B4-BE49-F238E27FC236}">
                <a16:creationId xmlns:a16="http://schemas.microsoft.com/office/drawing/2014/main" id="{5260A078-DE19-EF6B-6605-2D1C7CA77FFE}"/>
              </a:ext>
            </a:extLst>
          </p:cNvPr>
          <p:cNvSpPr>
            <a:spLocks noChangeArrowheads="1"/>
          </p:cNvSpPr>
          <p:nvPr/>
        </p:nvSpPr>
        <p:spPr bwMode="auto">
          <a:xfrm>
            <a:off x="5333941" y="4279964"/>
            <a:ext cx="1139483" cy="217714"/>
          </a:xfrm>
          <a:prstGeom prst="roundRect">
            <a:avLst/>
          </a:prstGeom>
          <a:solidFill>
            <a:schemeClr val="bg1"/>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a:t>
            </a:r>
          </a:p>
        </p:txBody>
      </p:sp>
      <p:sp>
        <p:nvSpPr>
          <p:cNvPr id="88" name="Rectangle 12">
            <a:extLst>
              <a:ext uri="{FF2B5EF4-FFF2-40B4-BE49-F238E27FC236}">
                <a16:creationId xmlns:a16="http://schemas.microsoft.com/office/drawing/2014/main" id="{180AFA6C-6AE2-650B-A4BD-FC7AC8FC31E0}"/>
              </a:ext>
            </a:extLst>
          </p:cNvPr>
          <p:cNvSpPr>
            <a:spLocks noChangeArrowheads="1"/>
          </p:cNvSpPr>
          <p:nvPr/>
        </p:nvSpPr>
        <p:spPr bwMode="auto">
          <a:xfrm>
            <a:off x="5298956" y="2007613"/>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IPTV app</a:t>
            </a:r>
          </a:p>
        </p:txBody>
      </p:sp>
      <p:cxnSp>
        <p:nvCxnSpPr>
          <p:cNvPr id="89" name="Straight Arrow Connector 88">
            <a:extLst>
              <a:ext uri="{FF2B5EF4-FFF2-40B4-BE49-F238E27FC236}">
                <a16:creationId xmlns:a16="http://schemas.microsoft.com/office/drawing/2014/main" id="{54E77352-8B20-9547-FB16-76478CA31DB1}"/>
              </a:ext>
            </a:extLst>
          </p:cNvPr>
          <p:cNvCxnSpPr>
            <a:cxnSpLocks/>
            <a:stCxn id="69" idx="0"/>
          </p:cNvCxnSpPr>
          <p:nvPr/>
        </p:nvCxnSpPr>
        <p:spPr>
          <a:xfrm flipH="1" flipV="1">
            <a:off x="5707835" y="5076059"/>
            <a:ext cx="317" cy="427249"/>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Rectangle 12">
            <a:extLst>
              <a:ext uri="{FF2B5EF4-FFF2-40B4-BE49-F238E27FC236}">
                <a16:creationId xmlns:a16="http://schemas.microsoft.com/office/drawing/2014/main" id="{D72D7D77-9E8C-8713-4CDA-A709E93BB95E}"/>
              </a:ext>
            </a:extLst>
          </p:cNvPr>
          <p:cNvSpPr>
            <a:spLocks noChangeArrowheads="1"/>
          </p:cNvSpPr>
          <p:nvPr/>
        </p:nvSpPr>
        <p:spPr bwMode="auto">
          <a:xfrm>
            <a:off x="7100970" y="2005156"/>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ervice Discovery</a:t>
            </a:r>
          </a:p>
        </p:txBody>
      </p:sp>
      <p:sp>
        <p:nvSpPr>
          <p:cNvPr id="91" name="Rectangle 13">
            <a:extLst>
              <a:ext uri="{FF2B5EF4-FFF2-40B4-BE49-F238E27FC236}">
                <a16:creationId xmlns:a16="http://schemas.microsoft.com/office/drawing/2014/main" id="{5C39030D-E8AF-93B5-D027-E235D4991F89}"/>
              </a:ext>
            </a:extLst>
          </p:cNvPr>
          <p:cNvSpPr>
            <a:spLocks noChangeArrowheads="1"/>
          </p:cNvSpPr>
          <p:nvPr/>
        </p:nvSpPr>
        <p:spPr bwMode="auto">
          <a:xfrm>
            <a:off x="8583540" y="2678321"/>
            <a:ext cx="3273048" cy="2513850"/>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CMA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92" name="Rectangle 12">
            <a:extLst>
              <a:ext uri="{FF2B5EF4-FFF2-40B4-BE49-F238E27FC236}">
                <a16:creationId xmlns:a16="http://schemas.microsoft.com/office/drawing/2014/main" id="{4204A589-EF43-D16D-1C97-6A6DD8F1AE36}"/>
              </a:ext>
            </a:extLst>
          </p:cNvPr>
          <p:cNvSpPr>
            <a:spLocks noChangeArrowheads="1"/>
          </p:cNvSpPr>
          <p:nvPr/>
        </p:nvSpPr>
        <p:spPr bwMode="auto">
          <a:xfrm>
            <a:off x="9739879" y="5685861"/>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SIB12 messages</a:t>
            </a:r>
          </a:p>
        </p:txBody>
      </p:sp>
      <p:cxnSp>
        <p:nvCxnSpPr>
          <p:cNvPr id="93" name="Straight Arrow Connector 36">
            <a:extLst>
              <a:ext uri="{FF2B5EF4-FFF2-40B4-BE49-F238E27FC236}">
                <a16:creationId xmlns:a16="http://schemas.microsoft.com/office/drawing/2014/main" id="{950A7344-C450-0AAC-A9FF-CBF1CDE83612}"/>
              </a:ext>
            </a:extLst>
          </p:cNvPr>
          <p:cNvCxnSpPr>
            <a:cxnSpLocks/>
            <a:stCxn id="94" idx="2"/>
            <a:endCxn id="92" idx="0"/>
          </p:cNvCxnSpPr>
          <p:nvPr/>
        </p:nvCxnSpPr>
        <p:spPr>
          <a:xfrm rot="5400000">
            <a:off x="9929119" y="5388565"/>
            <a:ext cx="588241" cy="6350"/>
          </a:xfrm>
          <a:prstGeom prst="bentConnector3">
            <a:avLst>
              <a:gd name="adj1" fmla="val 50000"/>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Rectangle 12">
            <a:extLst>
              <a:ext uri="{FF2B5EF4-FFF2-40B4-BE49-F238E27FC236}">
                <a16:creationId xmlns:a16="http://schemas.microsoft.com/office/drawing/2014/main" id="{008334A0-E064-7257-508F-E8F69A0F0382}"/>
              </a:ext>
            </a:extLst>
          </p:cNvPr>
          <p:cNvSpPr>
            <a:spLocks noChangeArrowheads="1"/>
          </p:cNvSpPr>
          <p:nvPr/>
        </p:nvSpPr>
        <p:spPr bwMode="auto">
          <a:xfrm>
            <a:off x="8959711" y="4761316"/>
            <a:ext cx="2533405" cy="33630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messageIdentifi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serialNumb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dataCodingScheme</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geographical area coordinates</a:t>
            </a:r>
          </a:p>
        </p:txBody>
      </p:sp>
      <p:sp>
        <p:nvSpPr>
          <p:cNvPr id="97" name="Rectangle 96">
            <a:extLst>
              <a:ext uri="{FF2B5EF4-FFF2-40B4-BE49-F238E27FC236}">
                <a16:creationId xmlns:a16="http://schemas.microsoft.com/office/drawing/2014/main" id="{C1853198-9281-FC1D-C137-499665BD5BB7}"/>
              </a:ext>
            </a:extLst>
          </p:cNvPr>
          <p:cNvSpPr/>
          <p:nvPr/>
        </p:nvSpPr>
        <p:spPr>
          <a:xfrm>
            <a:off x="9364092" y="3470866"/>
            <a:ext cx="1640314"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8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epending on alert, action happens </a:t>
            </a: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1695493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8DFCEE-4185-2886-CCFF-1A6AA2614352}"/>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p>
        </p:txBody>
      </p:sp>
      <p:sp>
        <p:nvSpPr>
          <p:cNvPr id="3" name="Title 2">
            <a:extLst>
              <a:ext uri="{FF2B5EF4-FFF2-40B4-BE49-F238E27FC236}">
                <a16:creationId xmlns:a16="http://schemas.microsoft.com/office/drawing/2014/main" id="{D884ECFC-2316-8B5C-3098-9FCDA998CDA9}"/>
              </a:ext>
            </a:extLst>
          </p:cNvPr>
          <p:cNvSpPr>
            <a:spLocks noGrp="1"/>
          </p:cNvSpPr>
          <p:nvPr>
            <p:ph type="title"/>
          </p:nvPr>
        </p:nvSpPr>
        <p:spPr>
          <a:xfrm>
            <a:off x="495300" y="565125"/>
            <a:ext cx="11187112" cy="439479"/>
          </a:xfrm>
        </p:spPr>
        <p:txBody>
          <a:bodyPr/>
          <a:lstStyle/>
          <a:p>
            <a:r>
              <a:rPr lang="en-US"/>
              <a:t>Eurovision Song contest</a:t>
            </a:r>
          </a:p>
        </p:txBody>
      </p:sp>
      <p:sp>
        <p:nvSpPr>
          <p:cNvPr id="4" name="Content Placeholder 3">
            <a:extLst>
              <a:ext uri="{FF2B5EF4-FFF2-40B4-BE49-F238E27FC236}">
                <a16:creationId xmlns:a16="http://schemas.microsoft.com/office/drawing/2014/main" id="{78B3B334-4FD5-4047-9460-90613B4D1CC6}"/>
              </a:ext>
            </a:extLst>
          </p:cNvPr>
          <p:cNvSpPr>
            <a:spLocks noGrp="1"/>
          </p:cNvSpPr>
          <p:nvPr>
            <p:ph sz="quarter" idx="14"/>
          </p:nvPr>
        </p:nvSpPr>
        <p:spPr/>
        <p:txBody>
          <a:bodyPr/>
          <a:lstStyle/>
          <a:p>
            <a:r>
              <a:rPr lang="en-US">
                <a:hlinkClick r:id="rId2"/>
              </a:rPr>
              <a:t>Link</a:t>
            </a:r>
            <a:endParaRPr lang="en-US"/>
          </a:p>
        </p:txBody>
      </p:sp>
      <p:sp>
        <p:nvSpPr>
          <p:cNvPr id="5" name="Subtitle 4">
            <a:extLst>
              <a:ext uri="{FF2B5EF4-FFF2-40B4-BE49-F238E27FC236}">
                <a16:creationId xmlns:a16="http://schemas.microsoft.com/office/drawing/2014/main" id="{071CC5FA-BCEC-6533-164A-4F6EA92CF20F}"/>
              </a:ext>
            </a:extLst>
          </p:cNvPr>
          <p:cNvSpPr>
            <a:spLocks noGrp="1"/>
          </p:cNvSpPr>
          <p:nvPr>
            <p:ph type="subTitle" idx="1"/>
          </p:nvPr>
        </p:nvSpPr>
        <p:spPr/>
        <p:txBody>
          <a:bodyPr/>
          <a:lstStyle/>
          <a:p>
            <a:r>
              <a:rPr lang="en-US"/>
              <a:t>5G Broadcast demoed live in multiple cities</a:t>
            </a:r>
          </a:p>
        </p:txBody>
      </p:sp>
      <p:pic>
        <p:nvPicPr>
          <p:cNvPr id="7" name="Picture 6">
            <a:extLst>
              <a:ext uri="{FF2B5EF4-FFF2-40B4-BE49-F238E27FC236}">
                <a16:creationId xmlns:a16="http://schemas.microsoft.com/office/drawing/2014/main" id="{3FC9DE40-E540-B762-127B-793CC7A65A4F}"/>
              </a:ext>
            </a:extLst>
          </p:cNvPr>
          <p:cNvPicPr>
            <a:picLocks noChangeAspect="1"/>
          </p:cNvPicPr>
          <p:nvPr/>
        </p:nvPicPr>
        <p:blipFill>
          <a:blip r:embed="rId3"/>
          <a:stretch>
            <a:fillRect/>
          </a:stretch>
        </p:blipFill>
        <p:spPr>
          <a:xfrm>
            <a:off x="5680220" y="457201"/>
            <a:ext cx="6016480" cy="6383474"/>
          </a:xfrm>
          <a:prstGeom prst="rect">
            <a:avLst/>
          </a:prstGeom>
        </p:spPr>
      </p:pic>
      <p:pic>
        <p:nvPicPr>
          <p:cNvPr id="8" name="Picture 7">
            <a:extLst>
              <a:ext uri="{FF2B5EF4-FFF2-40B4-BE49-F238E27FC236}">
                <a16:creationId xmlns:a16="http://schemas.microsoft.com/office/drawing/2014/main" id="{993BAA32-E78C-21C4-2319-77FB7A988E40}"/>
              </a:ext>
            </a:extLst>
          </p:cNvPr>
          <p:cNvPicPr>
            <a:picLocks noChangeAspect="1"/>
          </p:cNvPicPr>
          <p:nvPr/>
        </p:nvPicPr>
        <p:blipFill>
          <a:blip r:embed="rId4"/>
          <a:stretch>
            <a:fillRect/>
          </a:stretch>
        </p:blipFill>
        <p:spPr>
          <a:xfrm>
            <a:off x="0" y="2502677"/>
            <a:ext cx="5615869" cy="2891214"/>
          </a:xfrm>
          <a:prstGeom prst="rect">
            <a:avLst/>
          </a:prstGeom>
        </p:spPr>
      </p:pic>
    </p:spTree>
    <p:extLst>
      <p:ext uri="{BB962C8B-B14F-4D97-AF65-F5344CB8AC3E}">
        <p14:creationId xmlns:p14="http://schemas.microsoft.com/office/powerpoint/2010/main" val="269933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0E54B2C-4AF8-C7D7-7B31-40A00A1C4426}"/>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p>
        </p:txBody>
      </p:sp>
      <p:sp>
        <p:nvSpPr>
          <p:cNvPr id="3" name="Title 2">
            <a:extLst>
              <a:ext uri="{FF2B5EF4-FFF2-40B4-BE49-F238E27FC236}">
                <a16:creationId xmlns:a16="http://schemas.microsoft.com/office/drawing/2014/main" id="{16903CBC-57E7-2247-5208-ECB21F0D1609}"/>
              </a:ext>
            </a:extLst>
          </p:cNvPr>
          <p:cNvSpPr>
            <a:spLocks noGrp="1"/>
          </p:cNvSpPr>
          <p:nvPr>
            <p:ph type="title"/>
          </p:nvPr>
        </p:nvSpPr>
        <p:spPr>
          <a:xfrm>
            <a:off x="495300" y="565125"/>
            <a:ext cx="11187112" cy="439479"/>
          </a:xfrm>
        </p:spPr>
        <p:txBody>
          <a:bodyPr/>
          <a:lstStyle/>
          <a:p>
            <a:r>
              <a:rPr lang="en-US"/>
              <a:t>MWC 23</a:t>
            </a:r>
          </a:p>
        </p:txBody>
      </p:sp>
      <p:sp>
        <p:nvSpPr>
          <p:cNvPr id="5" name="Subtitle 4">
            <a:extLst>
              <a:ext uri="{FF2B5EF4-FFF2-40B4-BE49-F238E27FC236}">
                <a16:creationId xmlns:a16="http://schemas.microsoft.com/office/drawing/2014/main" id="{A7E6BCC0-5B5C-A8B6-758B-8A2A3D59D218}"/>
              </a:ext>
            </a:extLst>
          </p:cNvPr>
          <p:cNvSpPr>
            <a:spLocks noGrp="1"/>
          </p:cNvSpPr>
          <p:nvPr>
            <p:ph type="subTitle" idx="1"/>
          </p:nvPr>
        </p:nvSpPr>
        <p:spPr/>
        <p:txBody>
          <a:bodyPr/>
          <a:lstStyle/>
          <a:p>
            <a:r>
              <a:rPr lang="en-US"/>
              <a:t>ORS booth</a:t>
            </a:r>
          </a:p>
        </p:txBody>
      </p:sp>
      <p:sp>
        <p:nvSpPr>
          <p:cNvPr id="8" name="AutoShape 2">
            <a:extLst>
              <a:ext uri="{FF2B5EF4-FFF2-40B4-BE49-F238E27FC236}">
                <a16:creationId xmlns:a16="http://schemas.microsoft.com/office/drawing/2014/main" id="{03E01432-E2E5-5C5F-4C27-DAF8C095E67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sp>
        <p:nvSpPr>
          <p:cNvPr id="9" name="AutoShape 4">
            <a:extLst>
              <a:ext uri="{FF2B5EF4-FFF2-40B4-BE49-F238E27FC236}">
                <a16:creationId xmlns:a16="http://schemas.microsoft.com/office/drawing/2014/main" id="{FF5880AC-8D7F-0175-A450-F87BD4D5547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pic>
        <p:nvPicPr>
          <p:cNvPr id="11" name="Picture 10" descr="A picture containing text, indoor&#10;&#10;Description automatically generated">
            <a:extLst>
              <a:ext uri="{FF2B5EF4-FFF2-40B4-BE49-F238E27FC236}">
                <a16:creationId xmlns:a16="http://schemas.microsoft.com/office/drawing/2014/main" id="{4D5A132C-7A10-671F-1AEF-25E22C1297B8}"/>
              </a:ext>
            </a:extLst>
          </p:cNvPr>
          <p:cNvPicPr>
            <a:picLocks noChangeAspect="1"/>
          </p:cNvPicPr>
          <p:nvPr/>
        </p:nvPicPr>
        <p:blipFill>
          <a:blip r:embed="rId2"/>
          <a:stretch>
            <a:fillRect/>
          </a:stretch>
        </p:blipFill>
        <p:spPr>
          <a:xfrm rot="5400000">
            <a:off x="-66240" y="2611117"/>
            <a:ext cx="4483425" cy="3362569"/>
          </a:xfrm>
          <a:prstGeom prst="rect">
            <a:avLst/>
          </a:prstGeom>
        </p:spPr>
      </p:pic>
      <p:pic>
        <p:nvPicPr>
          <p:cNvPr id="13" name="Picture 12" descr="A picture containing indoor&#10;&#10;Description automatically generated">
            <a:extLst>
              <a:ext uri="{FF2B5EF4-FFF2-40B4-BE49-F238E27FC236}">
                <a16:creationId xmlns:a16="http://schemas.microsoft.com/office/drawing/2014/main" id="{42F49BAE-A022-EFCB-BEC0-55F1C508C389}"/>
              </a:ext>
            </a:extLst>
          </p:cNvPr>
          <p:cNvPicPr>
            <a:picLocks noChangeAspect="1"/>
          </p:cNvPicPr>
          <p:nvPr/>
        </p:nvPicPr>
        <p:blipFill>
          <a:blip r:embed="rId3"/>
          <a:stretch>
            <a:fillRect/>
          </a:stretch>
        </p:blipFill>
        <p:spPr>
          <a:xfrm rot="5400000">
            <a:off x="3348610" y="680170"/>
            <a:ext cx="5218509" cy="3913882"/>
          </a:xfrm>
          <a:prstGeom prst="rect">
            <a:avLst/>
          </a:prstGeom>
        </p:spPr>
      </p:pic>
      <p:pic>
        <p:nvPicPr>
          <p:cNvPr id="15" name="Picture 14" descr="A picture containing text, person&#10;&#10;Description automatically generated">
            <a:extLst>
              <a:ext uri="{FF2B5EF4-FFF2-40B4-BE49-F238E27FC236}">
                <a16:creationId xmlns:a16="http://schemas.microsoft.com/office/drawing/2014/main" id="{B32BA3DA-9C76-31FC-0EDF-B48BFF460699}"/>
              </a:ext>
            </a:extLst>
          </p:cNvPr>
          <p:cNvPicPr>
            <a:picLocks noChangeAspect="1"/>
          </p:cNvPicPr>
          <p:nvPr/>
        </p:nvPicPr>
        <p:blipFill>
          <a:blip r:embed="rId4"/>
          <a:stretch>
            <a:fillRect/>
          </a:stretch>
        </p:blipFill>
        <p:spPr>
          <a:xfrm flipV="1">
            <a:off x="6553200" y="3016921"/>
            <a:ext cx="4990162" cy="3742621"/>
          </a:xfrm>
          <a:prstGeom prst="rect">
            <a:avLst/>
          </a:prstGeom>
        </p:spPr>
      </p:pic>
      <p:pic>
        <p:nvPicPr>
          <p:cNvPr id="7" name="Picture 6">
            <a:extLst>
              <a:ext uri="{FF2B5EF4-FFF2-40B4-BE49-F238E27FC236}">
                <a16:creationId xmlns:a16="http://schemas.microsoft.com/office/drawing/2014/main" id="{98A7EA36-8BEB-E160-EABC-795912EAD245}"/>
              </a:ext>
            </a:extLst>
          </p:cNvPr>
          <p:cNvPicPr>
            <a:picLocks noChangeAspect="1"/>
          </p:cNvPicPr>
          <p:nvPr/>
        </p:nvPicPr>
        <p:blipFill>
          <a:blip r:embed="rId5"/>
          <a:stretch>
            <a:fillRect/>
          </a:stretch>
        </p:blipFill>
        <p:spPr>
          <a:xfrm>
            <a:off x="6263288" y="164155"/>
            <a:ext cx="5492999" cy="2776566"/>
          </a:xfrm>
          <a:prstGeom prst="rect">
            <a:avLst/>
          </a:prstGeom>
          <a:ln>
            <a:solidFill>
              <a:schemeClr val="bg2"/>
            </a:solidFill>
          </a:ln>
        </p:spPr>
      </p:pic>
      <p:sp>
        <p:nvSpPr>
          <p:cNvPr id="10" name="Rectangle 9">
            <a:extLst>
              <a:ext uri="{FF2B5EF4-FFF2-40B4-BE49-F238E27FC236}">
                <a16:creationId xmlns:a16="http://schemas.microsoft.com/office/drawing/2014/main" id="{48A8D883-0BDB-3406-AC2C-22AB3A49E729}"/>
              </a:ext>
            </a:extLst>
          </p:cNvPr>
          <p:cNvSpPr/>
          <p:nvPr/>
        </p:nvSpPr>
        <p:spPr>
          <a:xfrm>
            <a:off x="6338596" y="232325"/>
            <a:ext cx="1623526" cy="439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7F8FA"/>
              </a:solidFill>
              <a:effectLst/>
              <a:uLnTx/>
              <a:uFillTx/>
              <a:latin typeface="Microsoft Sans Serif"/>
              <a:ea typeface="+mn-ea"/>
              <a:cs typeface="Microsoft Sans Serif" panose="020B0604020202020204" pitchFamily="34" charset="0"/>
            </a:endParaRPr>
          </a:p>
        </p:txBody>
      </p:sp>
    </p:spTree>
    <p:extLst>
      <p:ext uri="{BB962C8B-B14F-4D97-AF65-F5344CB8AC3E}">
        <p14:creationId xmlns:p14="http://schemas.microsoft.com/office/powerpoint/2010/main" val="3523315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203D85-F5C7-46E8-1BC2-A9C9D4A7AF41}"/>
              </a:ext>
            </a:extLst>
          </p:cNvPr>
          <p:cNvSpPr>
            <a:spLocks noGrp="1"/>
          </p:cNvSpPr>
          <p:nvPr>
            <p:ph type="title"/>
          </p:nvPr>
        </p:nvSpPr>
        <p:spPr>
          <a:xfrm>
            <a:off x="495300" y="565125"/>
            <a:ext cx="11187112" cy="439479"/>
          </a:xfrm>
        </p:spPr>
        <p:txBody>
          <a:bodyPr/>
          <a:lstStyle/>
          <a:p>
            <a:r>
              <a:rPr lang="en-US" dirty="0"/>
              <a:t>Other demos / trials</a:t>
            </a:r>
          </a:p>
        </p:txBody>
      </p:sp>
      <p:pic>
        <p:nvPicPr>
          <p:cNvPr id="6" name="Picture 5">
            <a:extLst>
              <a:ext uri="{FF2B5EF4-FFF2-40B4-BE49-F238E27FC236}">
                <a16:creationId xmlns:a16="http://schemas.microsoft.com/office/drawing/2014/main" id="{2D924E08-3EE3-6B1B-B100-9692FC1CAA84}"/>
              </a:ext>
            </a:extLst>
          </p:cNvPr>
          <p:cNvPicPr>
            <a:picLocks noChangeAspect="1"/>
          </p:cNvPicPr>
          <p:nvPr/>
        </p:nvPicPr>
        <p:blipFill>
          <a:blip r:embed="rId3"/>
          <a:stretch>
            <a:fillRect/>
          </a:stretch>
        </p:blipFill>
        <p:spPr>
          <a:xfrm>
            <a:off x="4398307" y="95331"/>
            <a:ext cx="3287645" cy="1850944"/>
          </a:xfrm>
          <a:prstGeom prst="rect">
            <a:avLst/>
          </a:prstGeom>
        </p:spPr>
      </p:pic>
      <p:sp>
        <p:nvSpPr>
          <p:cNvPr id="7" name="TextBox 6">
            <a:extLst>
              <a:ext uri="{FF2B5EF4-FFF2-40B4-BE49-F238E27FC236}">
                <a16:creationId xmlns:a16="http://schemas.microsoft.com/office/drawing/2014/main" id="{FDD6C139-5A96-AFDC-654E-BA3BCCB02085}"/>
              </a:ext>
            </a:extLst>
          </p:cNvPr>
          <p:cNvSpPr txBox="1"/>
          <p:nvPr/>
        </p:nvSpPr>
        <p:spPr>
          <a:xfrm>
            <a:off x="7932108" y="116130"/>
            <a:ext cx="2284280" cy="236347"/>
          </a:xfrm>
          <a:prstGeom prst="rect">
            <a:avLst/>
          </a:prstGeom>
        </p:spPr>
        <p:txBody>
          <a:bodyPr wrap="none" lIns="0" tIns="0" rIns="0" bIns="0" rtlCol="0">
            <a:spAutoFit/>
          </a:bodyPr>
          <a:lstStyle/>
          <a:p>
            <a:pPr algn="l">
              <a:lnSpc>
                <a:spcPct val="96000"/>
              </a:lnSpc>
            </a:pPr>
            <a:r>
              <a:rPr lang="en-US" sz="1600" dirty="0" err="1">
                <a:solidFill>
                  <a:schemeClr val="tx2"/>
                </a:solidFill>
                <a:latin typeface="Microsoft Sans Serif"/>
                <a:cs typeface="Microsoft Sans Serif" panose="020B0604020202020204" pitchFamily="34" charset="0"/>
              </a:rPr>
              <a:t>TowerCast</a:t>
            </a:r>
            <a:r>
              <a:rPr lang="en-US" sz="1600" dirty="0">
                <a:solidFill>
                  <a:schemeClr val="tx2"/>
                </a:solidFill>
                <a:latin typeface="Microsoft Sans Serif"/>
                <a:cs typeface="Microsoft Sans Serif" panose="020B0604020202020204" pitchFamily="34" charset="0"/>
              </a:rPr>
              <a:t> event in Paris</a:t>
            </a:r>
          </a:p>
        </p:txBody>
      </p:sp>
      <p:pic>
        <p:nvPicPr>
          <p:cNvPr id="8" name="Picture 7">
            <a:extLst>
              <a:ext uri="{FF2B5EF4-FFF2-40B4-BE49-F238E27FC236}">
                <a16:creationId xmlns:a16="http://schemas.microsoft.com/office/drawing/2014/main" id="{FB611487-FD9E-A7D9-DED2-67E810C4B6CF}"/>
              </a:ext>
            </a:extLst>
          </p:cNvPr>
          <p:cNvPicPr>
            <a:picLocks noChangeAspect="1"/>
          </p:cNvPicPr>
          <p:nvPr/>
        </p:nvPicPr>
        <p:blipFill>
          <a:blip r:embed="rId4"/>
          <a:stretch>
            <a:fillRect/>
          </a:stretch>
        </p:blipFill>
        <p:spPr>
          <a:xfrm>
            <a:off x="419868" y="1341382"/>
            <a:ext cx="3079737" cy="2309803"/>
          </a:xfrm>
          <a:prstGeom prst="rect">
            <a:avLst/>
          </a:prstGeom>
        </p:spPr>
      </p:pic>
      <p:sp>
        <p:nvSpPr>
          <p:cNvPr id="9" name="TextBox 8">
            <a:extLst>
              <a:ext uri="{FF2B5EF4-FFF2-40B4-BE49-F238E27FC236}">
                <a16:creationId xmlns:a16="http://schemas.microsoft.com/office/drawing/2014/main" id="{315F521E-05E5-73F0-64C6-B364BA7C688E}"/>
              </a:ext>
            </a:extLst>
          </p:cNvPr>
          <p:cNvSpPr txBox="1"/>
          <p:nvPr/>
        </p:nvSpPr>
        <p:spPr>
          <a:xfrm>
            <a:off x="837602" y="3651185"/>
            <a:ext cx="1801775" cy="236347"/>
          </a:xfrm>
          <a:prstGeom prst="rect">
            <a:avLst/>
          </a:prstGeom>
        </p:spPr>
        <p:txBody>
          <a:bodyPr wrap="none" lIns="0" tIns="0" rIns="0" bIns="0" rtlCol="0">
            <a:spAutoFit/>
          </a:bodyPr>
          <a:lstStyle/>
          <a:p>
            <a:pPr algn="l">
              <a:lnSpc>
                <a:spcPct val="96000"/>
              </a:lnSpc>
            </a:pPr>
            <a:r>
              <a:rPr lang="en-US" sz="1600" dirty="0">
                <a:solidFill>
                  <a:schemeClr val="tx2"/>
                </a:solidFill>
                <a:latin typeface="Microsoft Sans Serif"/>
                <a:cs typeface="Microsoft Sans Serif" panose="020B0604020202020204" pitchFamily="34" charset="0"/>
              </a:rPr>
              <a:t>Stuttgart (test drive)</a:t>
            </a:r>
          </a:p>
        </p:txBody>
      </p:sp>
      <p:pic>
        <p:nvPicPr>
          <p:cNvPr id="1026" name="Picture 11">
            <a:extLst>
              <a:ext uri="{FF2B5EF4-FFF2-40B4-BE49-F238E27FC236}">
                <a16:creationId xmlns:a16="http://schemas.microsoft.com/office/drawing/2014/main" id="{CFC491E2-4926-63F7-9F3E-A4F00BD737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0241" y="4164561"/>
            <a:ext cx="3996460" cy="2302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CDA7AEE7-E947-B300-6940-7C79B5017407}"/>
              </a:ext>
            </a:extLst>
          </p:cNvPr>
          <p:cNvSpPr txBox="1"/>
          <p:nvPr/>
        </p:nvSpPr>
        <p:spPr>
          <a:xfrm>
            <a:off x="7777739" y="6172191"/>
            <a:ext cx="1567737" cy="236347"/>
          </a:xfrm>
          <a:prstGeom prst="rect">
            <a:avLst/>
          </a:prstGeom>
        </p:spPr>
        <p:txBody>
          <a:bodyPr wrap="none" lIns="0" tIns="0" rIns="0" bIns="0" rtlCol="0">
            <a:spAutoFit/>
          </a:bodyPr>
          <a:lstStyle/>
          <a:p>
            <a:pPr algn="l">
              <a:lnSpc>
                <a:spcPct val="96000"/>
              </a:lnSpc>
            </a:pPr>
            <a:r>
              <a:rPr lang="en-US" sz="1600" dirty="0">
                <a:solidFill>
                  <a:schemeClr val="bg1"/>
                </a:solidFill>
                <a:latin typeface="Microsoft Sans Serif"/>
                <a:cs typeface="Microsoft Sans Serif" panose="020B0604020202020204" pitchFamily="34" charset="0"/>
              </a:rPr>
              <a:t>BES expo (Delhi)</a:t>
            </a:r>
          </a:p>
        </p:txBody>
      </p:sp>
      <p:pic>
        <p:nvPicPr>
          <p:cNvPr id="11" name="Picture 10">
            <a:extLst>
              <a:ext uri="{FF2B5EF4-FFF2-40B4-BE49-F238E27FC236}">
                <a16:creationId xmlns:a16="http://schemas.microsoft.com/office/drawing/2014/main" id="{88F3B42F-F92D-2B9D-08A5-C5C75B47D627}"/>
              </a:ext>
            </a:extLst>
          </p:cNvPr>
          <p:cNvPicPr>
            <a:picLocks noChangeAspect="1"/>
          </p:cNvPicPr>
          <p:nvPr/>
        </p:nvPicPr>
        <p:blipFill>
          <a:blip r:embed="rId6"/>
          <a:stretch>
            <a:fillRect/>
          </a:stretch>
        </p:blipFill>
        <p:spPr>
          <a:xfrm>
            <a:off x="269690" y="4224238"/>
            <a:ext cx="4227298" cy="2368353"/>
          </a:xfrm>
          <a:prstGeom prst="rect">
            <a:avLst/>
          </a:prstGeom>
        </p:spPr>
      </p:pic>
      <p:sp>
        <p:nvSpPr>
          <p:cNvPr id="12" name="TextBox 11">
            <a:extLst>
              <a:ext uri="{FF2B5EF4-FFF2-40B4-BE49-F238E27FC236}">
                <a16:creationId xmlns:a16="http://schemas.microsoft.com/office/drawing/2014/main" id="{1ECCA643-3A83-6B83-3A79-F44979C6018C}"/>
              </a:ext>
            </a:extLst>
          </p:cNvPr>
          <p:cNvSpPr txBox="1"/>
          <p:nvPr/>
        </p:nvSpPr>
        <p:spPr>
          <a:xfrm>
            <a:off x="3209662" y="4330185"/>
            <a:ext cx="1090042" cy="236347"/>
          </a:xfrm>
          <a:prstGeom prst="rect">
            <a:avLst/>
          </a:prstGeom>
        </p:spPr>
        <p:txBody>
          <a:bodyPr wrap="none" lIns="0" tIns="0" rIns="0" bIns="0" rtlCol="0">
            <a:spAutoFit/>
          </a:bodyPr>
          <a:lstStyle/>
          <a:p>
            <a:pPr algn="l">
              <a:lnSpc>
                <a:spcPct val="96000"/>
              </a:lnSpc>
            </a:pPr>
            <a:r>
              <a:rPr lang="en-US" sz="1600" dirty="0">
                <a:solidFill>
                  <a:schemeClr val="bg1"/>
                </a:solidFill>
                <a:latin typeface="Microsoft Sans Serif"/>
                <a:cs typeface="Microsoft Sans Serif" panose="020B0604020202020204" pitchFamily="34" charset="0"/>
              </a:rPr>
              <a:t>CABSAT’22</a:t>
            </a:r>
          </a:p>
        </p:txBody>
      </p:sp>
      <p:pic>
        <p:nvPicPr>
          <p:cNvPr id="13" name="Picture 1">
            <a:extLst>
              <a:ext uri="{FF2B5EF4-FFF2-40B4-BE49-F238E27FC236}">
                <a16:creationId xmlns:a16="http://schemas.microsoft.com/office/drawing/2014/main" id="{1D5519D1-DDD6-E9BA-8552-E6ED0FBD4A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8950" y="2171673"/>
            <a:ext cx="3741291" cy="173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BC549D18-D10A-CDB7-13ED-5118374DDC44}"/>
              </a:ext>
            </a:extLst>
          </p:cNvPr>
          <p:cNvSpPr txBox="1"/>
          <p:nvPr/>
        </p:nvSpPr>
        <p:spPr>
          <a:xfrm>
            <a:off x="5097123" y="4018641"/>
            <a:ext cx="649217" cy="236347"/>
          </a:xfrm>
          <a:prstGeom prst="rect">
            <a:avLst/>
          </a:prstGeom>
        </p:spPr>
        <p:txBody>
          <a:bodyPr wrap="none" lIns="0" tIns="0" rIns="0" bIns="0" rtlCol="0">
            <a:spAutoFit/>
          </a:bodyPr>
          <a:lstStyle/>
          <a:p>
            <a:pPr algn="l">
              <a:lnSpc>
                <a:spcPct val="96000"/>
              </a:lnSpc>
            </a:pPr>
            <a:r>
              <a:rPr lang="en-US" sz="1600" dirty="0">
                <a:solidFill>
                  <a:schemeClr val="tx2"/>
                </a:solidFill>
                <a:latin typeface="Microsoft Sans Serif"/>
                <a:cs typeface="Microsoft Sans Serif" panose="020B0604020202020204" pitchFamily="34" charset="0"/>
              </a:rPr>
              <a:t>IMC’22</a:t>
            </a:r>
          </a:p>
        </p:txBody>
      </p:sp>
      <p:pic>
        <p:nvPicPr>
          <p:cNvPr id="15" name="Imagem 10" descr="Tela de computador com foto de homem&#10;&#10;Descrição gerada automaticamente">
            <a:extLst>
              <a:ext uri="{FF2B5EF4-FFF2-40B4-BE49-F238E27FC236}">
                <a16:creationId xmlns:a16="http://schemas.microsoft.com/office/drawing/2014/main" id="{C570398E-28E2-AFFB-F735-5AE17C46B3DF}"/>
              </a:ext>
            </a:extLst>
          </p:cNvPr>
          <p:cNvPicPr>
            <a:picLocks noChangeAspect="1"/>
          </p:cNvPicPr>
          <p:nvPr/>
        </p:nvPicPr>
        <p:blipFill>
          <a:blip r:embed="rId8"/>
          <a:stretch>
            <a:fillRect/>
          </a:stretch>
        </p:blipFill>
        <p:spPr>
          <a:xfrm>
            <a:off x="4644161" y="4259311"/>
            <a:ext cx="2858796" cy="2268177"/>
          </a:xfrm>
          <a:prstGeom prst="rect">
            <a:avLst/>
          </a:prstGeom>
        </p:spPr>
      </p:pic>
      <p:sp>
        <p:nvSpPr>
          <p:cNvPr id="16" name="TextBox 15">
            <a:extLst>
              <a:ext uri="{FF2B5EF4-FFF2-40B4-BE49-F238E27FC236}">
                <a16:creationId xmlns:a16="http://schemas.microsoft.com/office/drawing/2014/main" id="{FB32E183-B786-33FD-BFDE-5F8A777B7A07}"/>
              </a:ext>
            </a:extLst>
          </p:cNvPr>
          <p:cNvSpPr txBox="1"/>
          <p:nvPr/>
        </p:nvSpPr>
        <p:spPr>
          <a:xfrm>
            <a:off x="5231811" y="4460746"/>
            <a:ext cx="1620636" cy="236347"/>
          </a:xfrm>
          <a:prstGeom prst="rect">
            <a:avLst/>
          </a:prstGeom>
        </p:spPr>
        <p:txBody>
          <a:bodyPr wrap="none" lIns="0" tIns="0" rIns="0" bIns="0" rtlCol="0">
            <a:spAutoFit/>
          </a:bodyPr>
          <a:lstStyle/>
          <a:p>
            <a:pPr algn="l">
              <a:lnSpc>
                <a:spcPct val="96000"/>
              </a:lnSpc>
            </a:pPr>
            <a:r>
              <a:rPr lang="en-US" sz="1600" dirty="0">
                <a:solidFill>
                  <a:schemeClr val="bg1"/>
                </a:solidFill>
                <a:latin typeface="Microsoft Sans Serif"/>
                <a:cs typeface="Microsoft Sans Serif" panose="020B0604020202020204" pitchFamily="34" charset="0"/>
              </a:rPr>
              <a:t>Rio open ‘23 (BR)</a:t>
            </a:r>
          </a:p>
        </p:txBody>
      </p:sp>
      <p:sp>
        <p:nvSpPr>
          <p:cNvPr id="2" name="Footer Placeholder 1">
            <a:extLst>
              <a:ext uri="{FF2B5EF4-FFF2-40B4-BE49-F238E27FC236}">
                <a16:creationId xmlns:a16="http://schemas.microsoft.com/office/drawing/2014/main" id="{2DAFC4DD-1A73-BD50-859F-A66C34C98416}"/>
              </a:ext>
            </a:extLst>
          </p:cNvPr>
          <p:cNvSpPr>
            <a:spLocks noGrp="1"/>
          </p:cNvSpPr>
          <p:nvPr>
            <p:ph type="ftr" sz="quarter" idx="10"/>
          </p:nvPr>
        </p:nvSpPr>
        <p:spPr/>
        <p:txBody>
          <a:bodyPr/>
          <a:lstStyle/>
          <a:p>
            <a:r>
              <a:rPr lang="en-US"/>
              <a:t>IBC 2023</a:t>
            </a:r>
          </a:p>
        </p:txBody>
      </p:sp>
      <p:pic>
        <p:nvPicPr>
          <p:cNvPr id="4" name="Picture 3" descr="A picture containing indoor&#10;&#10;Description automatically generated">
            <a:extLst>
              <a:ext uri="{FF2B5EF4-FFF2-40B4-BE49-F238E27FC236}">
                <a16:creationId xmlns:a16="http://schemas.microsoft.com/office/drawing/2014/main" id="{3A949969-3D1F-208D-354B-206560AE0868}"/>
              </a:ext>
            </a:extLst>
          </p:cNvPr>
          <p:cNvPicPr>
            <a:picLocks noChangeAspect="1"/>
          </p:cNvPicPr>
          <p:nvPr/>
        </p:nvPicPr>
        <p:blipFill>
          <a:blip r:embed="rId9"/>
          <a:stretch>
            <a:fillRect/>
          </a:stretch>
        </p:blipFill>
        <p:spPr>
          <a:xfrm rot="5400000">
            <a:off x="8268701" y="967265"/>
            <a:ext cx="3526511" cy="2644882"/>
          </a:xfrm>
          <a:prstGeom prst="rect">
            <a:avLst/>
          </a:prstGeom>
        </p:spPr>
      </p:pic>
      <p:sp>
        <p:nvSpPr>
          <p:cNvPr id="5" name="TextBox 4">
            <a:extLst>
              <a:ext uri="{FF2B5EF4-FFF2-40B4-BE49-F238E27FC236}">
                <a16:creationId xmlns:a16="http://schemas.microsoft.com/office/drawing/2014/main" id="{53CC22A8-9AA9-593F-303E-D6D3443DBB4A}"/>
              </a:ext>
            </a:extLst>
          </p:cNvPr>
          <p:cNvSpPr txBox="1"/>
          <p:nvPr/>
        </p:nvSpPr>
        <p:spPr>
          <a:xfrm>
            <a:off x="10402751" y="537891"/>
            <a:ext cx="839974" cy="236347"/>
          </a:xfrm>
          <a:prstGeom prst="rect">
            <a:avLst/>
          </a:prstGeom>
        </p:spPr>
        <p:txBody>
          <a:bodyPr wrap="none" lIns="0" tIns="0" rIns="0" bIns="0" rtlCol="0">
            <a:spAutoFit/>
          </a:bodyPr>
          <a:lstStyle/>
          <a:p>
            <a:pPr algn="l">
              <a:lnSpc>
                <a:spcPct val="96000"/>
              </a:lnSpc>
            </a:pPr>
            <a:r>
              <a:rPr lang="en-US" sz="1600" dirty="0">
                <a:solidFill>
                  <a:schemeClr val="tx2"/>
                </a:solidFill>
                <a:latin typeface="Microsoft Sans Serif"/>
                <a:cs typeface="Microsoft Sans Serif" panose="020B0604020202020204" pitchFamily="34" charset="0"/>
              </a:rPr>
              <a:t>MWC ‘23</a:t>
            </a:r>
          </a:p>
        </p:txBody>
      </p:sp>
    </p:spTree>
    <p:extLst>
      <p:ext uri="{BB962C8B-B14F-4D97-AF65-F5344CB8AC3E}">
        <p14:creationId xmlns:p14="http://schemas.microsoft.com/office/powerpoint/2010/main" val="146593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63094D-80C8-7607-F208-5CA0B461FBC1}"/>
              </a:ext>
            </a:extLst>
          </p:cNvPr>
          <p:cNvPicPr>
            <a:picLocks noChangeAspect="1"/>
          </p:cNvPicPr>
          <p:nvPr/>
        </p:nvPicPr>
        <p:blipFill>
          <a:blip r:embed="rId2"/>
          <a:stretch>
            <a:fillRect/>
          </a:stretch>
        </p:blipFill>
        <p:spPr>
          <a:xfrm>
            <a:off x="4658374" y="1517342"/>
            <a:ext cx="7533626" cy="3823315"/>
          </a:xfrm>
          <a:prstGeom prst="rect">
            <a:avLst/>
          </a:prstGeom>
          <a:noFill/>
        </p:spPr>
      </p:pic>
      <p:sp>
        <p:nvSpPr>
          <p:cNvPr id="16" name="Text Placeholder 2">
            <a:extLst>
              <a:ext uri="{FF2B5EF4-FFF2-40B4-BE49-F238E27FC236}">
                <a16:creationId xmlns:a16="http://schemas.microsoft.com/office/drawing/2014/main" id="{EE70EE38-7ECE-2309-1DA2-05AB9A61DF6A}"/>
              </a:ext>
            </a:extLst>
          </p:cNvPr>
          <p:cNvSpPr>
            <a:spLocks noGrp="1"/>
          </p:cNvSpPr>
          <p:nvPr>
            <p:ph type="body" sz="quarter" idx="10"/>
          </p:nvPr>
        </p:nvSpPr>
        <p:spPr>
          <a:xfrm>
            <a:off x="495300" y="4743450"/>
            <a:ext cx="3556000" cy="1657345"/>
          </a:xfrm>
        </p:spPr>
        <p:txBody>
          <a:bodyPr/>
          <a:lstStyle/>
          <a:p>
            <a:endParaRPr lang="en-US"/>
          </a:p>
        </p:txBody>
      </p:sp>
      <p:sp>
        <p:nvSpPr>
          <p:cNvPr id="18" name="Footer Placeholder 3">
            <a:extLst>
              <a:ext uri="{FF2B5EF4-FFF2-40B4-BE49-F238E27FC236}">
                <a16:creationId xmlns:a16="http://schemas.microsoft.com/office/drawing/2014/main" id="{3039BD64-4F67-3B69-A55C-FF2993A04ABF}"/>
              </a:ext>
            </a:extLst>
          </p:cNvPr>
          <p:cNvSpPr>
            <a:spLocks noGrp="1"/>
          </p:cNvSpPr>
          <p:nvPr>
            <p:ph type="ftr" sz="quarter" idx="16"/>
          </p:nvPr>
        </p:nvSpPr>
        <p:spPr>
          <a:xfrm>
            <a:off x="495300" y="6532895"/>
            <a:ext cx="3557016" cy="118174"/>
          </a:xfrm>
        </p:spPr>
        <p:txBody>
          <a:bodyPr/>
          <a:lstStyle/>
          <a:p>
            <a:r>
              <a:rPr lang="en-US"/>
              <a:t>IBC 2023</a:t>
            </a:r>
          </a:p>
        </p:txBody>
      </p:sp>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300" y="2797094"/>
            <a:ext cx="3574220" cy="1787605"/>
          </a:xfrm>
        </p:spPr>
        <p:txBody>
          <a:bodyPr wrap="square" anchor="b">
            <a:normAutofit/>
          </a:bodyPr>
          <a:lstStyle/>
          <a:p>
            <a:r>
              <a:rPr lang="de-DE" dirty="0"/>
              <a:t>T</a:t>
            </a:r>
            <a:r>
              <a:rPr lang="en-US" dirty="0" err="1"/>
              <a:t>echnology</a:t>
            </a:r>
            <a:r>
              <a:rPr lang="en-US" dirty="0"/>
              <a:t> Evolution</a:t>
            </a:r>
          </a:p>
        </p:txBody>
      </p:sp>
    </p:spTree>
    <p:extLst>
      <p:ext uri="{BB962C8B-B14F-4D97-AF65-F5344CB8AC3E}">
        <p14:creationId xmlns:p14="http://schemas.microsoft.com/office/powerpoint/2010/main" val="393749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Pentagon 6">
            <a:extLst>
              <a:ext uri="{FF2B5EF4-FFF2-40B4-BE49-F238E27FC236}">
                <a16:creationId xmlns:a16="http://schemas.microsoft.com/office/drawing/2014/main" id="{0FE7C202-BA4A-4EC7-B467-BC6DE3C4F75B}"/>
              </a:ext>
            </a:extLst>
          </p:cNvPr>
          <p:cNvSpPr/>
          <p:nvPr/>
        </p:nvSpPr>
        <p:spPr bwMode="auto">
          <a:xfrm>
            <a:off x="-1" y="1600199"/>
            <a:ext cx="11682413" cy="3650784"/>
          </a:xfrm>
          <a:prstGeom prst="homePlate">
            <a:avLst>
              <a:gd name="adj" fmla="val 26222"/>
            </a:avLst>
          </a:prstGeom>
          <a:gradFill>
            <a:gsLst>
              <a:gs pos="100000">
                <a:schemeClr val="accent6">
                  <a:lumMod val="40000"/>
                  <a:lumOff val="60000"/>
                </a:schemeClr>
              </a:gs>
              <a:gs pos="63000">
                <a:schemeClr val="accent6">
                  <a:lumMod val="20000"/>
                  <a:lumOff val="80000"/>
                  <a:alpha val="0"/>
                </a:schemeClr>
              </a:gs>
            </a:gsLst>
            <a:lin ang="0" scaled="0"/>
          </a:gradFill>
          <a:ln w="38100" cap="flat" cmpd="sng" algn="ctr">
            <a:noFill/>
            <a:prstDash val="solid"/>
          </a:ln>
          <a:effectLst/>
        </p:spPr>
        <p:txBody>
          <a:bodyPr rtlCol="0" anchor="ctr"/>
          <a:lstStyle/>
          <a:p>
            <a:pPr algn="ctr" defTabSz="914377">
              <a:defRPr/>
            </a:pPr>
            <a:endParaRPr lang="en-US" sz="1200" kern="0" baseline="-25000">
              <a:solidFill>
                <a:srgbClr val="FFFFFF"/>
              </a:solidFill>
              <a:latin typeface="Microsoft Sans Serif"/>
            </a:endParaRPr>
          </a:p>
        </p:txBody>
      </p:sp>
      <p:sp>
        <p:nvSpPr>
          <p:cNvPr id="2" name="Title 1"/>
          <p:cNvSpPr>
            <a:spLocks noGrp="1"/>
          </p:cNvSpPr>
          <p:nvPr>
            <p:ph type="title"/>
          </p:nvPr>
        </p:nvSpPr>
        <p:spPr/>
        <p:txBody>
          <a:bodyPr/>
          <a:lstStyle/>
          <a:p>
            <a:r>
              <a:rPr lang="en-US" spc="-151" dirty="0"/>
              <a:t>MBMS/L</a:t>
            </a:r>
            <a:r>
              <a:rPr lang="en-US" dirty="0"/>
              <a:t>TE </a:t>
            </a:r>
            <a:r>
              <a:rPr lang="en-US" dirty="0" err="1"/>
              <a:t>eMBM</a:t>
            </a:r>
            <a:r>
              <a:rPr lang="en-US" spc="300" dirty="0" err="1"/>
              <a:t>S</a:t>
            </a:r>
            <a:r>
              <a:rPr lang="en-US" spc="300" dirty="0"/>
              <a:t>/</a:t>
            </a:r>
            <a:r>
              <a:rPr lang="en-US" dirty="0"/>
              <a:t>5G broadcast</a:t>
            </a:r>
            <a:r>
              <a:rPr lang="en-US" spc="-151" dirty="0"/>
              <a:t> </a:t>
            </a:r>
            <a:r>
              <a:rPr lang="en-US" dirty="0"/>
              <a:t>History</a:t>
            </a:r>
          </a:p>
        </p:txBody>
      </p:sp>
      <p:sp>
        <p:nvSpPr>
          <p:cNvPr id="16" name="Text Placeholder 15">
            <a:extLst>
              <a:ext uri="{FF2B5EF4-FFF2-40B4-BE49-F238E27FC236}">
                <a16:creationId xmlns:a16="http://schemas.microsoft.com/office/drawing/2014/main" id="{CB54CE8C-774D-46B8-B82B-A7837A012B31}"/>
              </a:ext>
            </a:extLst>
          </p:cNvPr>
          <p:cNvSpPr>
            <a:spLocks noGrp="1"/>
          </p:cNvSpPr>
          <p:nvPr>
            <p:ph type="body" idx="1"/>
          </p:nvPr>
        </p:nvSpPr>
        <p:spPr/>
        <p:txBody>
          <a:bodyPr/>
          <a:lstStyle/>
          <a:p>
            <a:r>
              <a:rPr lang="en-US" dirty="0"/>
              <a:t>Building upon a strong 3GPP technology foundation</a:t>
            </a:r>
          </a:p>
        </p:txBody>
      </p:sp>
      <p:sp>
        <p:nvSpPr>
          <p:cNvPr id="92" name="TextBox 91">
            <a:extLst>
              <a:ext uri="{FF2B5EF4-FFF2-40B4-BE49-F238E27FC236}">
                <a16:creationId xmlns:a16="http://schemas.microsoft.com/office/drawing/2014/main" id="{0044E378-C9C2-4E08-8F39-B9645436012E}"/>
              </a:ext>
            </a:extLst>
          </p:cNvPr>
          <p:cNvSpPr txBox="1"/>
          <p:nvPr/>
        </p:nvSpPr>
        <p:spPr>
          <a:xfrm>
            <a:off x="497631" y="4314807"/>
            <a:ext cx="2220856" cy="553998"/>
          </a:xfrm>
          <a:prstGeom prst="rect">
            <a:avLst/>
          </a:prstGeom>
          <a:noFill/>
        </p:spPr>
        <p:txBody>
          <a:bodyPr wrap="square" lIns="0" tIns="0" rIns="0" bIns="0" rtlCol="0">
            <a:spAutoFit/>
          </a:bodyPr>
          <a:lstStyle/>
          <a:p>
            <a:pPr defTabSz="914377">
              <a:defRPr/>
            </a:pPr>
            <a:r>
              <a:rPr lang="en-US" sz="1200" dirty="0" err="1">
                <a:solidFill>
                  <a:srgbClr val="000000">
                    <a:lumMod val="85000"/>
                    <a:lumOff val="15000"/>
                  </a:srgbClr>
                </a:solidFill>
                <a:latin typeface="Microsoft Sans Serif" panose="020B0604020202020204" pitchFamily="34" charset="0"/>
                <a:cs typeface="Microsoft Sans Serif" panose="020B0604020202020204" pitchFamily="34" charset="0"/>
              </a:rPr>
              <a:t>eMBMS</a:t>
            </a:r>
            <a:r>
              <a:rPr lang="en-US" sz="1200" dirty="0">
                <a:solidFill>
                  <a:srgbClr val="000000">
                    <a:lumMod val="85000"/>
                    <a:lumOff val="15000"/>
                  </a:srgbClr>
                </a:solidFill>
                <a:latin typeface="Microsoft Sans Serif" panose="020B0604020202020204" pitchFamily="34" charset="0"/>
                <a:cs typeface="Microsoft Sans Serif" panose="020B0604020202020204" pitchFamily="34" charset="0"/>
              </a:rPr>
              <a:t> defined for LTE starting in Rel-8/Rel-9, improving coverage and efficiency</a:t>
            </a:r>
            <a:endParaRPr lang="en-US" sz="1200" baseline="30000" dirty="0">
              <a:solidFill>
                <a:srgbClr val="000000">
                  <a:lumMod val="85000"/>
                  <a:lumOff val="15000"/>
                </a:srgbClr>
              </a:solidFill>
              <a:latin typeface="Microsoft Sans Serif" panose="020B0604020202020204" pitchFamily="34" charset="0"/>
              <a:cs typeface="Microsoft Sans Serif" panose="020B0604020202020204" pitchFamily="34" charset="0"/>
            </a:endParaRPr>
          </a:p>
        </p:txBody>
      </p:sp>
      <p:sp>
        <p:nvSpPr>
          <p:cNvPr id="111" name="TextBox 110">
            <a:extLst>
              <a:ext uri="{FF2B5EF4-FFF2-40B4-BE49-F238E27FC236}">
                <a16:creationId xmlns:a16="http://schemas.microsoft.com/office/drawing/2014/main" id="{2C9520EE-E205-4EF9-B7E2-E9526C892EC2}"/>
              </a:ext>
            </a:extLst>
          </p:cNvPr>
          <p:cNvSpPr txBox="1"/>
          <p:nvPr/>
        </p:nvSpPr>
        <p:spPr>
          <a:xfrm>
            <a:off x="3107097" y="4314805"/>
            <a:ext cx="1931817" cy="553998"/>
          </a:xfrm>
          <a:prstGeom prst="rect">
            <a:avLst/>
          </a:prstGeom>
          <a:noFill/>
        </p:spPr>
        <p:txBody>
          <a:bodyPr wrap="square" lIns="0" tIns="0" rIns="0" bIns="0" rtlCol="0">
            <a:spAutoFit/>
          </a:bodyPr>
          <a:lstStyle/>
          <a:p>
            <a:pPr defTabSz="914377">
              <a:defRPr/>
            </a:pPr>
            <a:r>
              <a:rPr lang="en-US" sz="1200" dirty="0" err="1">
                <a:solidFill>
                  <a:srgbClr val="000000">
                    <a:lumMod val="85000"/>
                    <a:lumOff val="15000"/>
                  </a:srgbClr>
                </a:solidFill>
                <a:latin typeface="Microsoft Sans Serif" panose="020B0604020202020204" pitchFamily="34" charset="0"/>
                <a:cs typeface="Microsoft Sans Serif" panose="020B0604020202020204" pitchFamily="34" charset="0"/>
              </a:rPr>
              <a:t>eMBMS</a:t>
            </a:r>
            <a:r>
              <a:rPr lang="en-US" sz="1200" dirty="0">
                <a:solidFill>
                  <a:srgbClr val="000000">
                    <a:lumMod val="85000"/>
                    <a:lumOff val="15000"/>
                  </a:srgbClr>
                </a:solidFill>
                <a:latin typeface="Microsoft Sans Serif" panose="020B0604020202020204" pitchFamily="34" charset="0"/>
                <a:cs typeface="Microsoft Sans Serif" panose="020B0604020202020204" pitchFamily="34" charset="0"/>
              </a:rPr>
              <a:t> enhancements in Rel-12 include MOOD and expansion to MCPTT</a:t>
            </a:r>
            <a:endParaRPr lang="en-US" sz="1200" baseline="30000" dirty="0">
              <a:solidFill>
                <a:srgbClr val="000000">
                  <a:lumMod val="85000"/>
                  <a:lumOff val="15000"/>
                </a:srgbClr>
              </a:solidFill>
              <a:latin typeface="Microsoft Sans Serif" panose="020B0604020202020204" pitchFamily="34" charset="0"/>
              <a:cs typeface="Microsoft Sans Serif" panose="020B0604020202020204" pitchFamily="34" charset="0"/>
            </a:endParaRPr>
          </a:p>
        </p:txBody>
      </p:sp>
      <p:sp>
        <p:nvSpPr>
          <p:cNvPr id="125" name="TextBox 124">
            <a:extLst>
              <a:ext uri="{FF2B5EF4-FFF2-40B4-BE49-F238E27FC236}">
                <a16:creationId xmlns:a16="http://schemas.microsoft.com/office/drawing/2014/main" id="{3CDEB3C0-CE5E-4755-B04D-81ADBA0961F9}"/>
              </a:ext>
            </a:extLst>
          </p:cNvPr>
          <p:cNvSpPr txBox="1"/>
          <p:nvPr/>
        </p:nvSpPr>
        <p:spPr>
          <a:xfrm>
            <a:off x="5620817" y="4314806"/>
            <a:ext cx="2911052" cy="553998"/>
          </a:xfrm>
          <a:prstGeom prst="rect">
            <a:avLst/>
          </a:prstGeom>
          <a:noFill/>
        </p:spPr>
        <p:txBody>
          <a:bodyPr wrap="square" lIns="0" tIns="0" rIns="0" bIns="0" rtlCol="0">
            <a:spAutoFit/>
          </a:bodyPr>
          <a:lstStyle/>
          <a:p>
            <a:pPr defTabSz="914377">
              <a:defRPr/>
            </a:pPr>
            <a:r>
              <a:rPr lang="en-US" sz="1200" dirty="0">
                <a:solidFill>
                  <a:srgbClr val="000000">
                    <a:lumMod val="85000"/>
                    <a:lumOff val="15000"/>
                  </a:srgbClr>
                </a:solidFill>
                <a:latin typeface="Microsoft Sans Serif" panose="020B0604020202020204" pitchFamily="34" charset="0"/>
                <a:cs typeface="Microsoft Sans Serif" panose="020B0604020202020204" pitchFamily="34" charset="0"/>
              </a:rPr>
              <a:t>Enabling terrestrial broadcast and expanding to new services; Meeting 7/10 5G Broadcast requirements in Rel-14</a:t>
            </a:r>
          </a:p>
        </p:txBody>
      </p:sp>
      <p:sp>
        <p:nvSpPr>
          <p:cNvPr id="47" name="Right Arrow 14">
            <a:extLst>
              <a:ext uri="{FF2B5EF4-FFF2-40B4-BE49-F238E27FC236}">
                <a16:creationId xmlns:a16="http://schemas.microsoft.com/office/drawing/2014/main" id="{DD43F445-59C6-466A-BE46-FA43DDE9FA87}"/>
              </a:ext>
            </a:extLst>
          </p:cNvPr>
          <p:cNvSpPr/>
          <p:nvPr/>
        </p:nvSpPr>
        <p:spPr bwMode="auto">
          <a:xfrm>
            <a:off x="1467661" y="2802134"/>
            <a:ext cx="3178745" cy="1240583"/>
          </a:xfrm>
          <a:prstGeom prst="rightArrow">
            <a:avLst>
              <a:gd name="adj1" fmla="val 100000"/>
              <a:gd name="adj2" fmla="val 24079"/>
            </a:avLst>
          </a:prstGeom>
          <a:solidFill>
            <a:schemeClr val="accent3">
              <a:lumMod val="50000"/>
            </a:schemeClr>
          </a:solidFill>
          <a:ln w="12700" cap="flat" cmpd="sng" algn="ctr">
            <a:noFill/>
            <a:prstDash val="solid"/>
          </a:ln>
          <a:effectLst/>
        </p:spPr>
        <p:txBody>
          <a:bodyPr lIns="365760" rtlCol="0" anchor="ctr"/>
          <a:lstStyle/>
          <a:p>
            <a:pPr defTabSz="914377">
              <a:lnSpc>
                <a:spcPct val="95000"/>
              </a:lnSpc>
              <a:defRPr/>
            </a:pPr>
            <a:endParaRPr lang="en-US" sz="1200">
              <a:solidFill>
                <a:prstClr val="white"/>
              </a:solidFill>
              <a:latin typeface="Microsoft Sans Serif"/>
              <a:cs typeface="Microsoft Sans Serif" panose="020B0604020202020204" pitchFamily="34" charset="0"/>
            </a:endParaRPr>
          </a:p>
        </p:txBody>
      </p:sp>
      <p:sp>
        <p:nvSpPr>
          <p:cNvPr id="60" name="Right Arrow 14">
            <a:extLst>
              <a:ext uri="{FF2B5EF4-FFF2-40B4-BE49-F238E27FC236}">
                <a16:creationId xmlns:a16="http://schemas.microsoft.com/office/drawing/2014/main" id="{B6AA5A69-5552-4C45-A553-B59B07811D7E}"/>
              </a:ext>
            </a:extLst>
          </p:cNvPr>
          <p:cNvSpPr/>
          <p:nvPr/>
        </p:nvSpPr>
        <p:spPr bwMode="auto">
          <a:xfrm>
            <a:off x="4167889" y="2802134"/>
            <a:ext cx="2970385" cy="1240583"/>
          </a:xfrm>
          <a:prstGeom prst="rightArrow">
            <a:avLst>
              <a:gd name="adj1" fmla="val 100000"/>
              <a:gd name="adj2" fmla="val 24079"/>
            </a:avLst>
          </a:prstGeom>
          <a:gradFill>
            <a:gsLst>
              <a:gs pos="100000">
                <a:schemeClr val="accent3">
                  <a:lumMod val="75000"/>
                </a:schemeClr>
              </a:gs>
              <a:gs pos="0">
                <a:schemeClr val="accent3">
                  <a:lumMod val="50000"/>
                </a:schemeClr>
              </a:gs>
            </a:gsLst>
            <a:lin ang="10800000" scaled="1"/>
          </a:gradFill>
          <a:ln w="12700" cap="flat" cmpd="sng" algn="ctr">
            <a:noFill/>
            <a:prstDash val="solid"/>
          </a:ln>
          <a:effectLst/>
        </p:spPr>
        <p:txBody>
          <a:bodyPr lIns="365760" rtlCol="0" anchor="ctr"/>
          <a:lstStyle/>
          <a:p>
            <a:pPr defTabSz="914377">
              <a:lnSpc>
                <a:spcPct val="95000"/>
              </a:lnSpc>
              <a:defRPr/>
            </a:pPr>
            <a:endParaRPr lang="en-US" sz="1200">
              <a:solidFill>
                <a:prstClr val="white"/>
              </a:solidFill>
              <a:latin typeface="Microsoft Sans Serif"/>
              <a:cs typeface="Microsoft Sans Serif" panose="020B0604020202020204" pitchFamily="34" charset="0"/>
            </a:endParaRPr>
          </a:p>
        </p:txBody>
      </p:sp>
      <p:sp>
        <p:nvSpPr>
          <p:cNvPr id="66" name="Right Arrow 14">
            <a:extLst>
              <a:ext uri="{FF2B5EF4-FFF2-40B4-BE49-F238E27FC236}">
                <a16:creationId xmlns:a16="http://schemas.microsoft.com/office/drawing/2014/main" id="{63A32B52-A3D5-460B-A8C7-4C182C52340D}"/>
              </a:ext>
            </a:extLst>
          </p:cNvPr>
          <p:cNvSpPr/>
          <p:nvPr/>
        </p:nvSpPr>
        <p:spPr bwMode="auto">
          <a:xfrm>
            <a:off x="6607052" y="2808463"/>
            <a:ext cx="3157432" cy="1240583"/>
          </a:xfrm>
          <a:prstGeom prst="rightArrow">
            <a:avLst>
              <a:gd name="adj1" fmla="val 100000"/>
              <a:gd name="adj2" fmla="val 27589"/>
            </a:avLst>
          </a:prstGeom>
          <a:gradFill flip="none" rotWithShape="1">
            <a:gsLst>
              <a:gs pos="38000">
                <a:schemeClr val="accent3">
                  <a:lumMod val="80000"/>
                  <a:lumOff val="20000"/>
                </a:schemeClr>
              </a:gs>
              <a:gs pos="100000">
                <a:srgbClr val="497C71"/>
              </a:gs>
            </a:gsLst>
            <a:lin ang="10800000" scaled="1"/>
            <a:tileRect/>
          </a:gradFill>
          <a:ln w="12700" cap="flat" cmpd="sng" algn="ctr">
            <a:noFill/>
            <a:prstDash val="solid"/>
          </a:ln>
          <a:effectLst/>
        </p:spPr>
        <p:txBody>
          <a:bodyPr lIns="365760" rtlCol="0" anchor="ctr"/>
          <a:lstStyle/>
          <a:p>
            <a:pPr defTabSz="914377">
              <a:lnSpc>
                <a:spcPct val="95000"/>
              </a:lnSpc>
              <a:defRPr/>
            </a:pPr>
            <a:endParaRPr lang="en-US" sz="1200">
              <a:solidFill>
                <a:prstClr val="white"/>
              </a:solidFill>
              <a:latin typeface="Microsoft Sans Serif"/>
              <a:cs typeface="Microsoft Sans Serif" panose="020B0604020202020204" pitchFamily="34" charset="0"/>
            </a:endParaRPr>
          </a:p>
        </p:txBody>
      </p:sp>
      <p:grpSp>
        <p:nvGrpSpPr>
          <p:cNvPr id="48" name="Group 47">
            <a:extLst>
              <a:ext uri="{FF2B5EF4-FFF2-40B4-BE49-F238E27FC236}">
                <a16:creationId xmlns:a16="http://schemas.microsoft.com/office/drawing/2014/main" id="{E16BB757-15CE-489C-BBD9-F99F4034C45C}"/>
              </a:ext>
            </a:extLst>
          </p:cNvPr>
          <p:cNvGrpSpPr/>
          <p:nvPr/>
        </p:nvGrpSpPr>
        <p:grpSpPr bwMode="gray">
          <a:xfrm>
            <a:off x="498965" y="2665104"/>
            <a:ext cx="1520971" cy="1520971"/>
            <a:chOff x="2253530" y="553761"/>
            <a:chExt cx="2342448" cy="2342449"/>
          </a:xfrm>
        </p:grpSpPr>
        <p:sp>
          <p:nvSpPr>
            <p:cNvPr id="49" name="Oval 48">
              <a:extLst>
                <a:ext uri="{FF2B5EF4-FFF2-40B4-BE49-F238E27FC236}">
                  <a16:creationId xmlns:a16="http://schemas.microsoft.com/office/drawing/2014/main" id="{E49D430D-47AB-4182-B506-D20769B9768D}"/>
                </a:ext>
              </a:extLst>
            </p:cNvPr>
            <p:cNvSpPr/>
            <p:nvPr/>
          </p:nvSpPr>
          <p:spPr bwMode="gray">
            <a:xfrm>
              <a:off x="2253530" y="553761"/>
              <a:ext cx="2342448" cy="2342449"/>
            </a:xfrm>
            <a:prstGeom prst="ellipse">
              <a:avLst/>
            </a:prstGeom>
            <a:gradFill flip="none" rotWithShape="1">
              <a:gsLst>
                <a:gs pos="100000">
                  <a:schemeClr val="accent3">
                    <a:lumMod val="50000"/>
                  </a:schemeClr>
                </a:gs>
                <a:gs pos="37000">
                  <a:srgbClr val="458370"/>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sp>
          <p:nvSpPr>
            <p:cNvPr id="52" name="Oval 51">
              <a:extLst>
                <a:ext uri="{FF2B5EF4-FFF2-40B4-BE49-F238E27FC236}">
                  <a16:creationId xmlns:a16="http://schemas.microsoft.com/office/drawing/2014/main" id="{48AA5D21-057D-4FC1-B010-3028B32E620B}"/>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grpSp>
      <p:grpSp>
        <p:nvGrpSpPr>
          <p:cNvPr id="61" name="Group 60">
            <a:extLst>
              <a:ext uri="{FF2B5EF4-FFF2-40B4-BE49-F238E27FC236}">
                <a16:creationId xmlns:a16="http://schemas.microsoft.com/office/drawing/2014/main" id="{F4B1C82F-D95F-416A-A438-2F735F79A957}"/>
              </a:ext>
            </a:extLst>
          </p:cNvPr>
          <p:cNvGrpSpPr/>
          <p:nvPr/>
        </p:nvGrpSpPr>
        <p:grpSpPr bwMode="gray">
          <a:xfrm>
            <a:off x="3053577" y="2665104"/>
            <a:ext cx="1520971" cy="1520971"/>
            <a:chOff x="2253530" y="553761"/>
            <a:chExt cx="2342448" cy="2342449"/>
          </a:xfrm>
        </p:grpSpPr>
        <p:sp>
          <p:nvSpPr>
            <p:cNvPr id="62" name="Oval 61">
              <a:extLst>
                <a:ext uri="{FF2B5EF4-FFF2-40B4-BE49-F238E27FC236}">
                  <a16:creationId xmlns:a16="http://schemas.microsoft.com/office/drawing/2014/main" id="{74EC0065-0E28-49B0-9F7F-FCC94298EBD9}"/>
                </a:ext>
              </a:extLst>
            </p:cNvPr>
            <p:cNvSpPr/>
            <p:nvPr/>
          </p:nvSpPr>
          <p:spPr bwMode="gray">
            <a:xfrm>
              <a:off x="2253530" y="553761"/>
              <a:ext cx="2342448" cy="2342449"/>
            </a:xfrm>
            <a:prstGeom prst="ellipse">
              <a:avLst/>
            </a:prstGeom>
            <a:gradFill flip="none" rotWithShape="1">
              <a:gsLst>
                <a:gs pos="100000">
                  <a:schemeClr val="accent3">
                    <a:lumMod val="65000"/>
                  </a:schemeClr>
                </a:gs>
                <a:gs pos="37000">
                  <a:schemeClr val="accent3">
                    <a:lumMod val="100000"/>
                  </a:schemeClr>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sp>
          <p:nvSpPr>
            <p:cNvPr id="63" name="Oval 62">
              <a:extLst>
                <a:ext uri="{FF2B5EF4-FFF2-40B4-BE49-F238E27FC236}">
                  <a16:creationId xmlns:a16="http://schemas.microsoft.com/office/drawing/2014/main" id="{EAC2048C-3BF0-43D0-9CB5-1F8B1ABABA69}"/>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grpSp>
      <p:grpSp>
        <p:nvGrpSpPr>
          <p:cNvPr id="67" name="Group 66">
            <a:extLst>
              <a:ext uri="{FF2B5EF4-FFF2-40B4-BE49-F238E27FC236}">
                <a16:creationId xmlns:a16="http://schemas.microsoft.com/office/drawing/2014/main" id="{A60DFE18-E35F-4AC8-AF6A-8296FB721AE5}"/>
              </a:ext>
            </a:extLst>
          </p:cNvPr>
          <p:cNvGrpSpPr/>
          <p:nvPr/>
        </p:nvGrpSpPr>
        <p:grpSpPr bwMode="gray">
          <a:xfrm>
            <a:off x="5608189" y="2665104"/>
            <a:ext cx="1520971" cy="1520971"/>
            <a:chOff x="2253530" y="553761"/>
            <a:chExt cx="2342448" cy="2342449"/>
          </a:xfrm>
        </p:grpSpPr>
        <p:sp>
          <p:nvSpPr>
            <p:cNvPr id="68" name="Oval 67">
              <a:extLst>
                <a:ext uri="{FF2B5EF4-FFF2-40B4-BE49-F238E27FC236}">
                  <a16:creationId xmlns:a16="http://schemas.microsoft.com/office/drawing/2014/main" id="{68AFAFB3-65FB-49C2-B84D-6D885457EDED}"/>
                </a:ext>
              </a:extLst>
            </p:cNvPr>
            <p:cNvSpPr/>
            <p:nvPr/>
          </p:nvSpPr>
          <p:spPr bwMode="gray">
            <a:xfrm>
              <a:off x="2253530" y="553761"/>
              <a:ext cx="2342448" cy="2342449"/>
            </a:xfrm>
            <a:prstGeom prst="ellipse">
              <a:avLst/>
            </a:prstGeom>
            <a:gradFill flip="none" rotWithShape="1">
              <a:gsLst>
                <a:gs pos="100000">
                  <a:srgbClr val="4A8C78"/>
                </a:gs>
                <a:gs pos="37000">
                  <a:schemeClr val="accent3">
                    <a:lumMod val="100000"/>
                  </a:schemeClr>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sp>
          <p:nvSpPr>
            <p:cNvPr id="69" name="Oval 68">
              <a:extLst>
                <a:ext uri="{FF2B5EF4-FFF2-40B4-BE49-F238E27FC236}">
                  <a16:creationId xmlns:a16="http://schemas.microsoft.com/office/drawing/2014/main" id="{7B1ACEE4-787B-4743-A2A2-F4DC7B208903}"/>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err="1">
                <a:solidFill>
                  <a:prstClr val="white"/>
                </a:solidFill>
                <a:latin typeface="Microsoft Sans Serif"/>
              </a:endParaRPr>
            </a:p>
          </p:txBody>
        </p:sp>
      </p:grpSp>
      <p:sp>
        <p:nvSpPr>
          <p:cNvPr id="71" name="Rectangle 70">
            <a:extLst>
              <a:ext uri="{FF2B5EF4-FFF2-40B4-BE49-F238E27FC236}">
                <a16:creationId xmlns:a16="http://schemas.microsoft.com/office/drawing/2014/main" id="{01678170-E314-45C3-B846-27C9929D63F4}"/>
              </a:ext>
            </a:extLst>
          </p:cNvPr>
          <p:cNvSpPr/>
          <p:nvPr/>
        </p:nvSpPr>
        <p:spPr>
          <a:xfrm>
            <a:off x="5752637" y="3698281"/>
            <a:ext cx="1192217" cy="175433"/>
          </a:xfrm>
          <a:prstGeom prst="rect">
            <a:avLst/>
          </a:prstGeom>
          <a:noFill/>
        </p:spPr>
        <p:txBody>
          <a:bodyPr wrap="square" lIns="0" tIns="0" rIns="0" bIns="0" rtlCol="0">
            <a:spAutoFit/>
          </a:bodyPr>
          <a:lstStyle/>
          <a:p>
            <a:pPr algn="ctr" defTabSz="914377">
              <a:lnSpc>
                <a:spcPct val="95000"/>
              </a:lnSpc>
              <a:defRPr/>
            </a:pPr>
            <a:r>
              <a:rPr lang="en-US" sz="600">
                <a:solidFill>
                  <a:srgbClr val="000000">
                    <a:lumMod val="85000"/>
                    <a:lumOff val="15000"/>
                  </a:srgbClr>
                </a:solidFill>
                <a:latin typeface="Microsoft Sans Serif"/>
              </a:rPr>
              <a:t>LTE eMBMS/enTV </a:t>
            </a:r>
          </a:p>
          <a:p>
            <a:pPr algn="ctr" defTabSz="914377">
              <a:lnSpc>
                <a:spcPct val="95000"/>
              </a:lnSpc>
              <a:defRPr/>
            </a:pPr>
            <a:r>
              <a:rPr lang="en-US" sz="600">
                <a:solidFill>
                  <a:srgbClr val="000000">
                    <a:lumMod val="85000"/>
                    <a:lumOff val="15000"/>
                  </a:srgbClr>
                </a:solidFill>
                <a:latin typeface="Microsoft Sans Serif"/>
              </a:rPr>
              <a:t>in 3GPP Rel-14</a:t>
            </a:r>
          </a:p>
        </p:txBody>
      </p:sp>
      <p:sp>
        <p:nvSpPr>
          <p:cNvPr id="96" name="Rectangle 95">
            <a:extLst>
              <a:ext uri="{FF2B5EF4-FFF2-40B4-BE49-F238E27FC236}">
                <a16:creationId xmlns:a16="http://schemas.microsoft.com/office/drawing/2014/main" id="{55945364-4714-4FB2-92EC-AD170EC4B561}"/>
              </a:ext>
            </a:extLst>
          </p:cNvPr>
          <p:cNvSpPr/>
          <p:nvPr/>
        </p:nvSpPr>
        <p:spPr>
          <a:xfrm>
            <a:off x="2008953" y="3256314"/>
            <a:ext cx="559769" cy="338554"/>
          </a:xfrm>
          <a:prstGeom prst="rect">
            <a:avLst/>
          </a:prstGeom>
        </p:spPr>
        <p:txBody>
          <a:bodyPr wrap="none">
            <a:spAutoFit/>
          </a:bodyPr>
          <a:lstStyle/>
          <a:p>
            <a:pPr algn="ctr" defTabSz="914377">
              <a:defRPr/>
            </a:pPr>
            <a:r>
              <a:rPr lang="en-US" sz="1600">
                <a:solidFill>
                  <a:prstClr val="white"/>
                </a:solidFill>
                <a:latin typeface="Microsoft Sans Serif"/>
              </a:rPr>
              <a:t>LTE</a:t>
            </a:r>
          </a:p>
        </p:txBody>
      </p:sp>
      <p:sp>
        <p:nvSpPr>
          <p:cNvPr id="98" name="Rectangle 97">
            <a:extLst>
              <a:ext uri="{FF2B5EF4-FFF2-40B4-BE49-F238E27FC236}">
                <a16:creationId xmlns:a16="http://schemas.microsoft.com/office/drawing/2014/main" id="{17448377-1567-4216-A454-9CBA405B0ECA}"/>
              </a:ext>
            </a:extLst>
          </p:cNvPr>
          <p:cNvSpPr/>
          <p:nvPr/>
        </p:nvSpPr>
        <p:spPr>
          <a:xfrm>
            <a:off x="4557436" y="3256314"/>
            <a:ext cx="764953" cy="338554"/>
          </a:xfrm>
          <a:prstGeom prst="rect">
            <a:avLst/>
          </a:prstGeom>
        </p:spPr>
        <p:txBody>
          <a:bodyPr wrap="none">
            <a:spAutoFit/>
          </a:bodyPr>
          <a:lstStyle/>
          <a:p>
            <a:pPr defTabSz="914377">
              <a:defRPr/>
            </a:pPr>
            <a:r>
              <a:rPr lang="en-US" sz="1600">
                <a:solidFill>
                  <a:prstClr val="white"/>
                </a:solidFill>
                <a:latin typeface="Microsoft Sans Serif"/>
              </a:rPr>
              <a:t>LTE-A</a:t>
            </a:r>
          </a:p>
        </p:txBody>
      </p:sp>
      <p:sp>
        <p:nvSpPr>
          <p:cNvPr id="51" name="TextBox 50"/>
          <p:cNvSpPr txBox="1"/>
          <p:nvPr/>
        </p:nvSpPr>
        <p:spPr>
          <a:xfrm>
            <a:off x="7218950" y="3077889"/>
            <a:ext cx="2597396" cy="701731"/>
          </a:xfrm>
          <a:prstGeom prst="rect">
            <a:avLst/>
          </a:prstGeom>
          <a:noFill/>
        </p:spPr>
        <p:txBody>
          <a:bodyPr wrap="square" lIns="0" tIns="0" rIns="0" bIns="0" rtlCol="0">
            <a:spAutoFit/>
          </a:bodyPr>
          <a:lstStyle/>
          <a:p>
            <a:pPr defTabSz="914377">
              <a:lnSpc>
                <a:spcPct val="95000"/>
              </a:lnSpc>
              <a:defRPr/>
            </a:pPr>
            <a:r>
              <a:rPr lang="en-US" sz="1600" dirty="0">
                <a:solidFill>
                  <a:srgbClr val="FFFFFF"/>
                </a:solidFill>
                <a:latin typeface="Microsoft Sans Serif" panose="020B0604020202020204" pitchFamily="34" charset="0"/>
                <a:cs typeface="Microsoft Sans Serif" panose="020B0604020202020204" pitchFamily="34" charset="0"/>
              </a:rPr>
              <a:t>Further enhancements</a:t>
            </a:r>
            <a:r>
              <a:rPr lang="en-US" sz="1100" baseline="60000" dirty="0">
                <a:solidFill>
                  <a:srgbClr val="FFFFFF"/>
                </a:solidFill>
                <a:latin typeface="Microsoft Sans Serif" panose="020B0604020202020204" pitchFamily="34" charset="0"/>
                <a:cs typeface="Arial" panose="020B0604020202020204" pitchFamily="34" charset="0"/>
              </a:rPr>
              <a:t>5</a:t>
            </a:r>
            <a:r>
              <a:rPr lang="en-US" sz="1600" dirty="0">
                <a:solidFill>
                  <a:srgbClr val="FFFFFF"/>
                </a:solidFill>
                <a:latin typeface="Microsoft Sans Serif" panose="020B0604020202020204" pitchFamily="34" charset="0"/>
                <a:cs typeface="Microsoft Sans Serif" panose="020B0604020202020204" pitchFamily="34" charset="0"/>
              </a:rPr>
              <a:t> </a:t>
            </a:r>
          </a:p>
          <a:p>
            <a:pPr defTabSz="914377">
              <a:lnSpc>
                <a:spcPct val="95000"/>
              </a:lnSpc>
              <a:defRPr/>
            </a:pPr>
            <a:r>
              <a:rPr lang="en-US" sz="1600" dirty="0">
                <a:solidFill>
                  <a:srgbClr val="FFFFFF"/>
                </a:solidFill>
                <a:latin typeface="Microsoft Sans Serif" panose="020B0604020202020204" pitchFamily="34" charset="0"/>
                <a:cs typeface="Microsoft Sans Serif" panose="020B0604020202020204" pitchFamily="34" charset="0"/>
              </a:rPr>
              <a:t>to fully satisfy </a:t>
            </a:r>
            <a:r>
              <a:rPr lang="en-US" sz="1600" b="1" dirty="0">
                <a:solidFill>
                  <a:srgbClr val="E04F4F"/>
                </a:solidFill>
                <a:latin typeface="Microsoft Sans Serif" panose="020B0604020202020204" pitchFamily="34" charset="0"/>
                <a:cs typeface="Microsoft Sans Serif" panose="020B0604020202020204" pitchFamily="34" charset="0"/>
              </a:rPr>
              <a:t>5G </a:t>
            </a:r>
          </a:p>
          <a:p>
            <a:pPr defTabSz="914377">
              <a:lnSpc>
                <a:spcPct val="95000"/>
              </a:lnSpc>
              <a:defRPr/>
            </a:pPr>
            <a:r>
              <a:rPr lang="en-US" sz="1600" b="1" dirty="0">
                <a:solidFill>
                  <a:srgbClr val="E04F4F"/>
                </a:solidFill>
                <a:latin typeface="Microsoft Sans Serif" panose="020B0604020202020204" pitchFamily="34" charset="0"/>
                <a:cs typeface="Microsoft Sans Serif" panose="020B0604020202020204" pitchFamily="34" charset="0"/>
              </a:rPr>
              <a:t>broadcast requirements</a:t>
            </a:r>
            <a:endParaRPr lang="en-US" sz="1600" b="1" baseline="30000" dirty="0">
              <a:solidFill>
                <a:srgbClr val="E04F4F"/>
              </a:solidFill>
              <a:latin typeface="Microsoft Sans Serif" panose="020B0604020202020204" pitchFamily="34" charset="0"/>
              <a:cs typeface="Microsoft Sans Serif" panose="020B0604020202020204" pitchFamily="34" charset="0"/>
            </a:endParaRPr>
          </a:p>
        </p:txBody>
      </p:sp>
      <p:grpSp>
        <p:nvGrpSpPr>
          <p:cNvPr id="136" name="Group 135">
            <a:extLst>
              <a:ext uri="{FF2B5EF4-FFF2-40B4-BE49-F238E27FC236}">
                <a16:creationId xmlns:a16="http://schemas.microsoft.com/office/drawing/2014/main" id="{FFA493D5-8508-4583-B0E3-53D60053A1F2}"/>
              </a:ext>
            </a:extLst>
          </p:cNvPr>
          <p:cNvGrpSpPr/>
          <p:nvPr/>
        </p:nvGrpSpPr>
        <p:grpSpPr>
          <a:xfrm>
            <a:off x="9872032" y="2668041"/>
            <a:ext cx="1518075" cy="1515096"/>
            <a:chOff x="751442" y="2425084"/>
            <a:chExt cx="2011778" cy="2007833"/>
          </a:xfrm>
        </p:grpSpPr>
        <p:sp>
          <p:nvSpPr>
            <p:cNvPr id="137" name="Oval 136">
              <a:extLst>
                <a:ext uri="{FF2B5EF4-FFF2-40B4-BE49-F238E27FC236}">
                  <a16:creationId xmlns:a16="http://schemas.microsoft.com/office/drawing/2014/main" id="{73D5DA4F-31E5-441F-8AE8-1D9A18999308}"/>
                </a:ext>
              </a:extLst>
            </p:cNvPr>
            <p:cNvSpPr/>
            <p:nvPr/>
          </p:nvSpPr>
          <p:spPr bwMode="gray">
            <a:xfrm>
              <a:off x="751442" y="2425084"/>
              <a:ext cx="2011778" cy="2007833"/>
            </a:xfrm>
            <a:prstGeom prst="ellipse">
              <a:avLst/>
            </a:prstGeom>
            <a:gradFill>
              <a:gsLst>
                <a:gs pos="0">
                  <a:schemeClr val="accent1">
                    <a:lumMod val="75000"/>
                  </a:schemeClr>
                </a:gs>
                <a:gs pos="65000">
                  <a:schemeClr val="accent1"/>
                </a:gs>
              </a:gsLst>
              <a:lin ang="189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3" rIns="77724" bIns="38863" numCol="1" spcCol="0" rtlCol="0" fromWordArt="0" anchor="ctr" anchorCtr="0" forceAA="0" compatLnSpc="1">
              <a:prstTxWarp prst="textNoShape">
                <a:avLst/>
              </a:prstTxWarp>
              <a:noAutofit/>
            </a:bodyPr>
            <a:lstStyle/>
            <a:p>
              <a:pPr algn="ctr" defTabSz="914377">
                <a:defRPr/>
              </a:pPr>
              <a:endParaRPr lang="en-US" b="1" err="1">
                <a:solidFill>
                  <a:srgbClr val="314FD5"/>
                </a:solidFill>
                <a:latin typeface="Microsoft Sans Serif" panose="020B0604020202020204" pitchFamily="34" charset="0"/>
              </a:endParaRPr>
            </a:p>
          </p:txBody>
        </p:sp>
        <p:grpSp>
          <p:nvGrpSpPr>
            <p:cNvPr id="138" name="Group 137">
              <a:extLst>
                <a:ext uri="{FF2B5EF4-FFF2-40B4-BE49-F238E27FC236}">
                  <a16:creationId xmlns:a16="http://schemas.microsoft.com/office/drawing/2014/main" id="{A30BB8B0-95C8-40E0-97AF-F739FAB2BF97}"/>
                </a:ext>
              </a:extLst>
            </p:cNvPr>
            <p:cNvGrpSpPr/>
            <p:nvPr/>
          </p:nvGrpSpPr>
          <p:grpSpPr bwMode="gray">
            <a:xfrm>
              <a:off x="833172" y="2504847"/>
              <a:ext cx="1848319" cy="1848306"/>
              <a:chOff x="1510678" y="4734152"/>
              <a:chExt cx="1045926" cy="1045920"/>
            </a:xfrm>
          </p:grpSpPr>
          <p:sp>
            <p:nvSpPr>
              <p:cNvPr id="140" name="Oval 139">
                <a:extLst>
                  <a:ext uri="{FF2B5EF4-FFF2-40B4-BE49-F238E27FC236}">
                    <a16:creationId xmlns:a16="http://schemas.microsoft.com/office/drawing/2014/main" id="{ADFEFAF6-6882-462A-91A0-868A553B1B00}"/>
                  </a:ext>
                </a:extLst>
              </p:cNvPr>
              <p:cNvSpPr/>
              <p:nvPr/>
            </p:nvSpPr>
            <p:spPr bwMode="gray">
              <a:xfrm>
                <a:off x="1510678" y="4734152"/>
                <a:ext cx="1045926" cy="1045920"/>
              </a:xfrm>
              <a:prstGeom prst="ellipse">
                <a:avLst/>
              </a:prstGeom>
              <a:gradFill>
                <a:gsLst>
                  <a:gs pos="0">
                    <a:schemeClr val="accent5">
                      <a:lumMod val="20000"/>
                      <a:lumOff val="80000"/>
                    </a:schemeClr>
                  </a:gs>
                  <a:gs pos="100000">
                    <a:schemeClr val="accent6">
                      <a:lumMod val="20000"/>
                      <a:lumOff val="80000"/>
                    </a:schemeClr>
                  </a:gs>
                </a:gsLst>
                <a:lin ang="18900000" scaled="0"/>
              </a:gradFill>
              <a:ln>
                <a:noFill/>
              </a:ln>
              <a:effectLst>
                <a:outerShdw blurRad="317500" dist="254000" dir="10800000" sx="85000" sy="85000" algn="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3" rIns="77724" bIns="38863" numCol="1" spcCol="0" rtlCol="0" fromWordArt="0" anchor="ctr" anchorCtr="0" forceAA="0" compatLnSpc="1">
                <a:prstTxWarp prst="textNoShape">
                  <a:avLst/>
                </a:prstTxWarp>
                <a:noAutofit/>
              </a:bodyPr>
              <a:lstStyle/>
              <a:p>
                <a:pPr algn="ctr" defTabSz="914377">
                  <a:defRPr/>
                </a:pPr>
                <a:endParaRPr lang="en-US" err="1">
                  <a:solidFill>
                    <a:prstClr val="white"/>
                  </a:solidFill>
                  <a:latin typeface="Microsoft Sans Serif" panose="020B0604020202020204" pitchFamily="34" charset="0"/>
                </a:endParaRPr>
              </a:p>
            </p:txBody>
          </p:sp>
          <p:sp>
            <p:nvSpPr>
              <p:cNvPr id="141" name="Oval 140">
                <a:extLst>
                  <a:ext uri="{FF2B5EF4-FFF2-40B4-BE49-F238E27FC236}">
                    <a16:creationId xmlns:a16="http://schemas.microsoft.com/office/drawing/2014/main" id="{F0CDF01F-756D-495F-8C7F-382E5667D815}"/>
                  </a:ext>
                </a:extLst>
              </p:cNvPr>
              <p:cNvSpPr/>
              <p:nvPr/>
            </p:nvSpPr>
            <p:spPr bwMode="gray">
              <a:xfrm>
                <a:off x="1590612" y="4814085"/>
                <a:ext cx="886057" cy="886054"/>
              </a:xfrm>
              <a:prstGeom prst="ellipse">
                <a:avLst/>
              </a:prstGeom>
              <a:gradFill>
                <a:gsLst>
                  <a:gs pos="0">
                    <a:srgbClr val="ECEFF3"/>
                  </a:gs>
                  <a:gs pos="65000">
                    <a:schemeClr val="bg1">
                      <a:lumMod val="0"/>
                      <a:lumOff val="100000"/>
                    </a:schemeClr>
                  </a:gs>
                </a:gsLst>
                <a:lin ang="18900000" scaled="0"/>
              </a:gradFill>
              <a:ln>
                <a:noFill/>
              </a:ln>
              <a:effectLst>
                <a:outerShdw blurRad="317500" dist="317500" dir="8100000" sx="85000" sy="85000" algn="t" rotWithShape="0">
                  <a:schemeClr val="tx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3" rIns="77724" bIns="38863" numCol="1" spcCol="0" rtlCol="0" fromWordArt="0" anchor="ctr" anchorCtr="0" forceAA="0" compatLnSpc="1">
                <a:prstTxWarp prst="textNoShape">
                  <a:avLst/>
                </a:prstTxWarp>
                <a:noAutofit/>
              </a:bodyPr>
              <a:lstStyle/>
              <a:p>
                <a:pPr algn="ctr" defTabSz="914377">
                  <a:defRPr/>
                </a:pPr>
                <a:endParaRPr lang="en-US" sz="2551" b="1">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grpSp>
        <p:sp>
          <p:nvSpPr>
            <p:cNvPr id="139" name="Oval 138">
              <a:extLst>
                <a:ext uri="{FF2B5EF4-FFF2-40B4-BE49-F238E27FC236}">
                  <a16:creationId xmlns:a16="http://schemas.microsoft.com/office/drawing/2014/main" id="{8B47DEE7-E06B-440B-A630-C6DDB040844F}"/>
                </a:ext>
              </a:extLst>
            </p:cNvPr>
            <p:cNvSpPr/>
            <p:nvPr/>
          </p:nvSpPr>
          <p:spPr bwMode="gray">
            <a:xfrm>
              <a:off x="905556" y="2590748"/>
              <a:ext cx="1676513" cy="1676505"/>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77">
                <a:defRPr/>
              </a:pPr>
              <a:r>
                <a:rPr lang="en-US" sz="4400" b="1" dirty="0">
                  <a:solidFill>
                    <a:srgbClr val="3253DC"/>
                  </a:solidFill>
                  <a:effectLst>
                    <a:innerShdw blurRad="63500" dist="25400" dir="18900000">
                      <a:prstClr val="black">
                        <a:alpha val="35000"/>
                      </a:prstClr>
                    </a:innerShdw>
                  </a:effectLst>
                  <a:latin typeface="Microsoft Sans Serif" panose="020B0604020202020204" pitchFamily="34" charset="0"/>
                </a:rPr>
                <a:t>5G</a:t>
              </a:r>
              <a:endParaRPr lang="en-US" sz="3400" b="1" dirty="0">
                <a:solidFill>
                  <a:srgbClr val="3253DC"/>
                </a:solidFill>
                <a:effectLst>
                  <a:innerShdw blurRad="63500" dist="25400" dir="18900000">
                    <a:prstClr val="black">
                      <a:alpha val="35000"/>
                    </a:prstClr>
                  </a:innerShdw>
                </a:effectLst>
                <a:latin typeface="Microsoft Sans Serif" panose="020B0604020202020204" pitchFamily="34" charset="0"/>
              </a:endParaRPr>
            </a:p>
          </p:txBody>
        </p:sp>
      </p:grpSp>
      <p:pic>
        <p:nvPicPr>
          <p:cNvPr id="42" name="Picture 41">
            <a:extLst>
              <a:ext uri="{FF2B5EF4-FFF2-40B4-BE49-F238E27FC236}">
                <a16:creationId xmlns:a16="http://schemas.microsoft.com/office/drawing/2014/main" id="{0B21D24D-4D02-4248-8D94-35AFD960685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17465" y="2967903"/>
            <a:ext cx="777003" cy="762231"/>
          </a:xfrm>
          <a:prstGeom prst="rect">
            <a:avLst/>
          </a:prstGeom>
        </p:spPr>
      </p:pic>
      <p:pic>
        <p:nvPicPr>
          <p:cNvPr id="43" name="Picture 42">
            <a:extLst>
              <a:ext uri="{FF2B5EF4-FFF2-40B4-BE49-F238E27FC236}">
                <a16:creationId xmlns:a16="http://schemas.microsoft.com/office/drawing/2014/main" id="{AAF32DDF-7875-43EF-9164-033386421E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98031" y="2967906"/>
            <a:ext cx="913787" cy="762228"/>
          </a:xfrm>
          <a:prstGeom prst="rect">
            <a:avLst/>
          </a:prstGeom>
        </p:spPr>
      </p:pic>
      <p:pic>
        <p:nvPicPr>
          <p:cNvPr id="44" name="Picture 43">
            <a:extLst>
              <a:ext uri="{FF2B5EF4-FFF2-40B4-BE49-F238E27FC236}">
                <a16:creationId xmlns:a16="http://schemas.microsoft.com/office/drawing/2014/main" id="{B517ED42-B985-48F4-A172-C50181A4C93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9991" y="2967905"/>
            <a:ext cx="679736" cy="762231"/>
          </a:xfrm>
          <a:prstGeom prst="rect">
            <a:avLst/>
          </a:prstGeom>
        </p:spPr>
      </p:pic>
      <p:sp>
        <p:nvSpPr>
          <p:cNvPr id="34" name="TextBox 33">
            <a:extLst>
              <a:ext uri="{FF2B5EF4-FFF2-40B4-BE49-F238E27FC236}">
                <a16:creationId xmlns:a16="http://schemas.microsoft.com/office/drawing/2014/main" id="{62B68582-FBD8-5E48-B90B-8F1F9CF6D4C8}"/>
              </a:ext>
            </a:extLst>
          </p:cNvPr>
          <p:cNvSpPr txBox="1"/>
          <p:nvPr/>
        </p:nvSpPr>
        <p:spPr>
          <a:xfrm>
            <a:off x="503751" y="5441707"/>
            <a:ext cx="2064971" cy="830997"/>
          </a:xfrm>
          <a:prstGeom prst="rect">
            <a:avLst/>
          </a:prstGeom>
          <a:solidFill>
            <a:schemeClr val="accent4">
              <a:lumMod val="20000"/>
              <a:lumOff val="80000"/>
            </a:schemeClr>
          </a:solidFill>
        </p:spPr>
        <p:txBody>
          <a:bodyPr wrap="square" lIns="0" tIns="0" rIns="0" bIns="0" rtlCol="0">
            <a:spAutoFit/>
          </a:bodyPr>
          <a:lstStyle/>
          <a:p>
            <a:pPr defTabSz="914377">
              <a:defRPr/>
            </a:pPr>
            <a:r>
              <a:rPr lang="en-US" b="1" dirty="0">
                <a:solidFill>
                  <a:srgbClr val="000000">
                    <a:lumMod val="85000"/>
                    <a:lumOff val="15000"/>
                  </a:srgbClr>
                </a:solidFill>
                <a:latin typeface="Microsoft Sans Serif" panose="020B0604020202020204" pitchFamily="34" charset="0"/>
                <a:cs typeface="Microsoft Sans Serif" panose="020B0604020202020204" pitchFamily="34" charset="0"/>
              </a:rPr>
              <a:t>Target market </a:t>
            </a:r>
            <a:r>
              <a:rPr lang="en-US" dirty="0">
                <a:solidFill>
                  <a:srgbClr val="000000">
                    <a:lumMod val="85000"/>
                    <a:lumOff val="15000"/>
                  </a:srgbClr>
                </a:solidFill>
                <a:latin typeface="Microsoft Sans Serif" panose="020B0604020202020204" pitchFamily="34" charset="0"/>
                <a:cs typeface="Microsoft Sans Serif" panose="020B0604020202020204" pitchFamily="34" charset="0"/>
              </a:rPr>
              <a:t>focused on</a:t>
            </a:r>
          </a:p>
          <a:p>
            <a:pPr defTabSz="914377">
              <a:defRPr/>
            </a:pPr>
            <a:r>
              <a:rPr lang="en-US" b="1" dirty="0">
                <a:solidFill>
                  <a:srgbClr val="000000">
                    <a:lumMod val="85000"/>
                    <a:lumOff val="15000"/>
                  </a:srgbClr>
                </a:solidFill>
                <a:latin typeface="Microsoft Sans Serif" panose="020B0604020202020204" pitchFamily="34" charset="0"/>
                <a:cs typeface="Microsoft Sans Serif" panose="020B0604020202020204" pitchFamily="34" charset="0"/>
              </a:rPr>
              <a:t>Cellular operators</a:t>
            </a:r>
            <a:endParaRPr lang="en-US" b="1" baseline="30000" dirty="0">
              <a:solidFill>
                <a:srgbClr val="000000">
                  <a:lumMod val="85000"/>
                  <a:lumOff val="15000"/>
                </a:srgbClr>
              </a:solidFill>
              <a:latin typeface="Microsoft Sans Serif" panose="020B0604020202020204" pitchFamily="34" charset="0"/>
              <a:cs typeface="Microsoft Sans Serif" panose="020B0604020202020204" pitchFamily="34" charset="0"/>
            </a:endParaRPr>
          </a:p>
        </p:txBody>
      </p:sp>
      <p:sp>
        <p:nvSpPr>
          <p:cNvPr id="36" name="TextBox 35">
            <a:extLst>
              <a:ext uri="{FF2B5EF4-FFF2-40B4-BE49-F238E27FC236}">
                <a16:creationId xmlns:a16="http://schemas.microsoft.com/office/drawing/2014/main" id="{EFFA7492-CA2C-D743-814F-812B996021DF}"/>
              </a:ext>
            </a:extLst>
          </p:cNvPr>
          <p:cNvSpPr txBox="1"/>
          <p:nvPr/>
        </p:nvSpPr>
        <p:spPr>
          <a:xfrm>
            <a:off x="5603954" y="5431078"/>
            <a:ext cx="2449631" cy="830997"/>
          </a:xfrm>
          <a:prstGeom prst="rect">
            <a:avLst/>
          </a:prstGeom>
          <a:solidFill>
            <a:schemeClr val="accent4">
              <a:lumMod val="20000"/>
              <a:lumOff val="80000"/>
            </a:schemeClr>
          </a:solidFill>
        </p:spPr>
        <p:txBody>
          <a:bodyPr wrap="square" lIns="0" tIns="0" rIns="0" bIns="0" rtlCol="0">
            <a:spAutoFit/>
          </a:bodyPr>
          <a:lstStyle/>
          <a:p>
            <a:pPr defTabSz="914377">
              <a:defRPr/>
            </a:pPr>
            <a:r>
              <a:rPr lang="en-US" b="1">
                <a:solidFill>
                  <a:srgbClr val="FF0000"/>
                </a:solidFill>
                <a:latin typeface="Microsoft Sans Serif" panose="020B0604020202020204" pitchFamily="34" charset="0"/>
                <a:cs typeface="Microsoft Sans Serif" panose="020B0604020202020204" pitchFamily="34" charset="0"/>
              </a:rPr>
              <a:t>Target market </a:t>
            </a:r>
            <a:r>
              <a:rPr lang="en-US">
                <a:solidFill>
                  <a:srgbClr val="FF0000"/>
                </a:solidFill>
                <a:latin typeface="Microsoft Sans Serif" panose="020B0604020202020204" pitchFamily="34" charset="0"/>
                <a:cs typeface="Microsoft Sans Serif" panose="020B0604020202020204" pitchFamily="34" charset="0"/>
              </a:rPr>
              <a:t>expanded to  </a:t>
            </a:r>
          </a:p>
          <a:p>
            <a:pPr defTabSz="914377">
              <a:defRPr/>
            </a:pPr>
            <a:r>
              <a:rPr lang="en-US" b="1">
                <a:solidFill>
                  <a:srgbClr val="FF0000"/>
                </a:solidFill>
                <a:latin typeface="Microsoft Sans Serif" panose="020B0604020202020204" pitchFamily="34" charset="0"/>
                <a:cs typeface="Microsoft Sans Serif" panose="020B0604020202020204" pitchFamily="34" charset="0"/>
              </a:rPr>
              <a:t>Broadcasters</a:t>
            </a:r>
            <a:endParaRPr lang="en-US" b="1" baseline="30000">
              <a:solidFill>
                <a:srgbClr val="FF0000"/>
              </a:solidFill>
              <a:latin typeface="Microsoft Sans Serif" panose="020B0604020202020204" pitchFamily="34" charset="0"/>
              <a:cs typeface="Microsoft Sans Serif" panose="020B0604020202020204" pitchFamily="34" charset="0"/>
            </a:endParaRPr>
          </a:p>
        </p:txBody>
      </p:sp>
      <p:sp>
        <p:nvSpPr>
          <p:cNvPr id="37" name="TextBox 36">
            <a:extLst>
              <a:ext uri="{FF2B5EF4-FFF2-40B4-BE49-F238E27FC236}">
                <a16:creationId xmlns:a16="http://schemas.microsoft.com/office/drawing/2014/main" id="{F093BC3A-DE56-424A-BE5B-3A72736F61EE}"/>
              </a:ext>
            </a:extLst>
          </p:cNvPr>
          <p:cNvSpPr txBox="1"/>
          <p:nvPr/>
        </p:nvSpPr>
        <p:spPr>
          <a:xfrm>
            <a:off x="5603954" y="4921099"/>
            <a:ext cx="2911052" cy="246221"/>
          </a:xfrm>
          <a:prstGeom prst="rect">
            <a:avLst/>
          </a:prstGeom>
          <a:noFill/>
        </p:spPr>
        <p:txBody>
          <a:bodyPr wrap="square" lIns="0" tIns="0" rIns="0" bIns="0" rtlCol="0">
            <a:spAutoFit/>
          </a:bodyPr>
          <a:lstStyle/>
          <a:p>
            <a:pPr defTabSz="914377">
              <a:defRPr/>
            </a:pPr>
            <a:r>
              <a:rPr lang="en-US" sz="1600" b="1" dirty="0">
                <a:solidFill>
                  <a:srgbClr val="FF0000"/>
                </a:solidFill>
                <a:latin typeface="Microsoft Sans Serif" panose="020B0604020202020204" pitchFamily="34" charset="0"/>
                <a:cs typeface="Microsoft Sans Serif" panose="020B0604020202020204" pitchFamily="34" charset="0"/>
              </a:rPr>
              <a:t>3GPP Rel-14 (completed)</a:t>
            </a:r>
          </a:p>
        </p:txBody>
      </p:sp>
      <p:sp>
        <p:nvSpPr>
          <p:cNvPr id="38" name="TextBox 37">
            <a:extLst>
              <a:ext uri="{FF2B5EF4-FFF2-40B4-BE49-F238E27FC236}">
                <a16:creationId xmlns:a16="http://schemas.microsoft.com/office/drawing/2014/main" id="{3B068532-D6F3-409F-950B-1157E287B892}"/>
              </a:ext>
            </a:extLst>
          </p:cNvPr>
          <p:cNvSpPr txBox="1"/>
          <p:nvPr/>
        </p:nvSpPr>
        <p:spPr>
          <a:xfrm>
            <a:off x="9258194" y="4296766"/>
            <a:ext cx="2911052" cy="553998"/>
          </a:xfrm>
          <a:prstGeom prst="rect">
            <a:avLst/>
          </a:prstGeom>
          <a:noFill/>
        </p:spPr>
        <p:txBody>
          <a:bodyPr wrap="square" lIns="0" tIns="0" rIns="0" bIns="0" rtlCol="0">
            <a:spAutoFit/>
          </a:bodyPr>
          <a:lstStyle/>
          <a:p>
            <a:pPr defTabSz="914377">
              <a:defRPr/>
            </a:pPr>
            <a:r>
              <a:rPr lang="en-US" sz="1200" dirty="0">
                <a:solidFill>
                  <a:srgbClr val="000000">
                    <a:lumMod val="85000"/>
                    <a:lumOff val="15000"/>
                  </a:srgbClr>
                </a:solidFill>
                <a:latin typeface="Microsoft Sans Serif" panose="020B0604020202020204" pitchFamily="34" charset="0"/>
                <a:cs typeface="Microsoft Sans Serif" panose="020B0604020202020204" pitchFamily="34" charset="0"/>
              </a:rPr>
              <a:t>Enabling terrestrial broadcast and expanding to new services; Meeting </a:t>
            </a:r>
            <a:r>
              <a:rPr lang="en-US" sz="1200" dirty="0">
                <a:latin typeface="Microsoft Sans Serif" panose="020B0604020202020204" pitchFamily="34" charset="0"/>
                <a:cs typeface="Microsoft Sans Serif" panose="020B0604020202020204" pitchFamily="34" charset="0"/>
              </a:rPr>
              <a:t>all</a:t>
            </a:r>
            <a:r>
              <a:rPr lang="en-US" sz="1200" dirty="0">
                <a:solidFill>
                  <a:srgbClr val="000000">
                    <a:lumMod val="85000"/>
                    <a:lumOff val="15000"/>
                  </a:srgbClr>
                </a:solidFill>
                <a:latin typeface="Microsoft Sans Serif" panose="020B0604020202020204" pitchFamily="34" charset="0"/>
                <a:cs typeface="Microsoft Sans Serif" panose="020B0604020202020204" pitchFamily="34" charset="0"/>
              </a:rPr>
              <a:t> 5G Broadcast requirements in Rel-16</a:t>
            </a:r>
          </a:p>
        </p:txBody>
      </p:sp>
      <p:sp>
        <p:nvSpPr>
          <p:cNvPr id="40" name="TextBox 39">
            <a:extLst>
              <a:ext uri="{FF2B5EF4-FFF2-40B4-BE49-F238E27FC236}">
                <a16:creationId xmlns:a16="http://schemas.microsoft.com/office/drawing/2014/main" id="{5156AA88-4C33-4283-904C-A550DB89D30A}"/>
              </a:ext>
            </a:extLst>
          </p:cNvPr>
          <p:cNvSpPr txBox="1"/>
          <p:nvPr/>
        </p:nvSpPr>
        <p:spPr>
          <a:xfrm>
            <a:off x="9258194" y="5431077"/>
            <a:ext cx="2789167" cy="1384995"/>
          </a:xfrm>
          <a:prstGeom prst="rect">
            <a:avLst/>
          </a:prstGeom>
          <a:solidFill>
            <a:schemeClr val="accent4">
              <a:lumMod val="20000"/>
              <a:lumOff val="80000"/>
            </a:schemeClr>
          </a:solidFill>
        </p:spPr>
        <p:txBody>
          <a:bodyPr wrap="square" lIns="0" tIns="0" rIns="0" bIns="0" rtlCol="0">
            <a:spAutoFit/>
          </a:bodyPr>
          <a:lstStyle/>
          <a:p>
            <a:r>
              <a:rPr lang="en-US" dirty="0"/>
              <a:t>5G broadcast is a “</a:t>
            </a:r>
            <a:r>
              <a:rPr lang="en-US" b="1" dirty="0">
                <a:solidFill>
                  <a:schemeClr val="bg2"/>
                </a:solidFill>
              </a:rPr>
              <a:t>broadcast standard</a:t>
            </a:r>
            <a:r>
              <a:rPr lang="en-US" dirty="0"/>
              <a:t>” (same target as DVB or ATSC) based on 3GPP silicon and ecosystem.</a:t>
            </a:r>
          </a:p>
        </p:txBody>
      </p:sp>
      <p:sp>
        <p:nvSpPr>
          <p:cNvPr id="3" name="Footer Placeholder 2">
            <a:extLst>
              <a:ext uri="{FF2B5EF4-FFF2-40B4-BE49-F238E27FC236}">
                <a16:creationId xmlns:a16="http://schemas.microsoft.com/office/drawing/2014/main" id="{02388AD7-461C-4AB5-9B3F-6B2D418AA858}"/>
              </a:ext>
            </a:extLst>
          </p:cNvPr>
          <p:cNvSpPr>
            <a:spLocks noGrp="1"/>
          </p:cNvSpPr>
          <p:nvPr>
            <p:ph type="ftr" sz="quarter" idx="10"/>
          </p:nvPr>
        </p:nvSpPr>
        <p:spPr>
          <a:xfrm>
            <a:off x="495299" y="6532895"/>
            <a:ext cx="10489691"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5G Broadcast World – Digital Conference</a:t>
            </a:r>
            <a:endParaRPr lang="en-US" dirty="0"/>
          </a:p>
        </p:txBody>
      </p:sp>
      <p:sp>
        <p:nvSpPr>
          <p:cNvPr id="5" name="Speech Bubble: Oval 4">
            <a:extLst>
              <a:ext uri="{FF2B5EF4-FFF2-40B4-BE49-F238E27FC236}">
                <a16:creationId xmlns:a16="http://schemas.microsoft.com/office/drawing/2014/main" id="{D79EA825-2121-96B0-3FEB-9434AA0683FC}"/>
              </a:ext>
            </a:extLst>
          </p:cNvPr>
          <p:cNvSpPr/>
          <p:nvPr/>
        </p:nvSpPr>
        <p:spPr>
          <a:xfrm>
            <a:off x="7218950" y="678781"/>
            <a:ext cx="4828411" cy="1949405"/>
          </a:xfrm>
          <a:prstGeom prst="wedgeEllipseCallout">
            <a:avLst>
              <a:gd name="adj1" fmla="val -54914"/>
              <a:gd name="adj2" fmla="val 5859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en-US" sz="1100" dirty="0">
                <a:solidFill>
                  <a:schemeClr val="bg1"/>
                </a:solidFill>
                <a:latin typeface="Microsoft Sans Serif"/>
                <a:cs typeface="Microsoft Sans Serif" panose="020B0604020202020204" pitchFamily="34" charset="0"/>
              </a:rPr>
              <a:t>3GPP could have taken a radical approach to define a clean slate radio system to meet the broadcasters’ requirements, instead a more pragmatic route was chosen. Experiences from the past with dedicated modems such as </a:t>
            </a:r>
            <a:r>
              <a:rPr lang="en-US" sz="1100" dirty="0" err="1">
                <a:solidFill>
                  <a:schemeClr val="bg1"/>
                </a:solidFill>
                <a:latin typeface="Microsoft Sans Serif"/>
                <a:cs typeface="Microsoft Sans Serif" panose="020B0604020202020204" pitchFamily="34" charset="0"/>
              </a:rPr>
              <a:t>MediaFLO</a:t>
            </a:r>
            <a:r>
              <a:rPr lang="en-US" sz="1100" dirty="0">
                <a:solidFill>
                  <a:schemeClr val="bg1"/>
                </a:solidFill>
                <a:latin typeface="Microsoft Sans Serif"/>
                <a:cs typeface="Microsoft Sans Serif" panose="020B0604020202020204" pitchFamily="34" charset="0"/>
              </a:rPr>
              <a:t> or DVB-H, and the need for easy integration into mainstream mobile devices, led to the decision to evolve </a:t>
            </a:r>
            <a:r>
              <a:rPr lang="en-US" sz="1100" dirty="0" err="1">
                <a:solidFill>
                  <a:schemeClr val="bg1"/>
                </a:solidFill>
                <a:latin typeface="Microsoft Sans Serif"/>
                <a:cs typeface="Microsoft Sans Serif" panose="020B0604020202020204" pitchFamily="34" charset="0"/>
              </a:rPr>
              <a:t>eMBMS</a:t>
            </a:r>
            <a:r>
              <a:rPr lang="en-US" sz="1100" dirty="0">
                <a:solidFill>
                  <a:schemeClr val="bg1"/>
                </a:solidFill>
                <a:latin typeface="Microsoft Sans Serif"/>
                <a:cs typeface="Microsoft Sans Serif" panose="020B0604020202020204" pitchFamily="34" charset="0"/>
              </a:rPr>
              <a:t> to LTE-based 5G Broadcast instead of any radical new designs.</a:t>
            </a:r>
          </a:p>
        </p:txBody>
      </p:sp>
      <p:sp>
        <p:nvSpPr>
          <p:cNvPr id="39" name="TextBox 38">
            <a:extLst>
              <a:ext uri="{FF2B5EF4-FFF2-40B4-BE49-F238E27FC236}">
                <a16:creationId xmlns:a16="http://schemas.microsoft.com/office/drawing/2014/main" id="{AD1DC82E-80ED-4D95-944E-1148AEEA943B}"/>
              </a:ext>
            </a:extLst>
          </p:cNvPr>
          <p:cNvSpPr txBox="1"/>
          <p:nvPr/>
        </p:nvSpPr>
        <p:spPr>
          <a:xfrm>
            <a:off x="9427962" y="4975373"/>
            <a:ext cx="2571516" cy="246221"/>
          </a:xfrm>
          <a:prstGeom prst="rect">
            <a:avLst/>
          </a:prstGeom>
          <a:noFill/>
        </p:spPr>
        <p:txBody>
          <a:bodyPr wrap="square" lIns="0" tIns="0" rIns="0" bIns="0" rtlCol="0">
            <a:spAutoFit/>
          </a:bodyPr>
          <a:lstStyle/>
          <a:p>
            <a:pPr defTabSz="914377">
              <a:defRPr/>
            </a:pPr>
            <a:r>
              <a:rPr lang="en-US" sz="1600" b="1" dirty="0">
                <a:solidFill>
                  <a:srgbClr val="FF0000"/>
                </a:solidFill>
                <a:latin typeface="Microsoft Sans Serif" panose="020B0604020202020204" pitchFamily="34" charset="0"/>
                <a:cs typeface="Microsoft Sans Serif" panose="020B0604020202020204" pitchFamily="34" charset="0"/>
              </a:rPr>
              <a:t>3GPP Rel-16 (completed)</a:t>
            </a:r>
          </a:p>
        </p:txBody>
      </p:sp>
    </p:spTree>
    <p:extLst>
      <p:ext uri="{BB962C8B-B14F-4D97-AF65-F5344CB8AC3E}">
        <p14:creationId xmlns:p14="http://schemas.microsoft.com/office/powerpoint/2010/main" val="163292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390153-6B2C-424E-BCA9-6ABC3D0382B2}"/>
              </a:ext>
            </a:extLst>
          </p:cNvPr>
          <p:cNvSpPr>
            <a:spLocks noGrp="1"/>
          </p:cNvSpPr>
          <p:nvPr>
            <p:ph type="ftr" sz="quarter" idx="10"/>
          </p:nvPr>
        </p:nvSpPr>
        <p:spPr>
          <a:xfrm>
            <a:off x="495299" y="6532895"/>
            <a:ext cx="10489691" cy="118174"/>
          </a:xfrm>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p>
        </p:txBody>
      </p:sp>
      <p:sp>
        <p:nvSpPr>
          <p:cNvPr id="4" name="Title 3">
            <a:extLst>
              <a:ext uri="{FF2B5EF4-FFF2-40B4-BE49-F238E27FC236}">
                <a16:creationId xmlns:a16="http://schemas.microsoft.com/office/drawing/2014/main" id="{4654DEA3-C1BE-4D1B-B7B5-A657E3334E9F}"/>
              </a:ext>
            </a:extLst>
          </p:cNvPr>
          <p:cNvSpPr>
            <a:spLocks noGrp="1"/>
          </p:cNvSpPr>
          <p:nvPr>
            <p:ph type="title"/>
          </p:nvPr>
        </p:nvSpPr>
        <p:spPr>
          <a:xfrm>
            <a:off x="495300" y="5474755"/>
            <a:ext cx="11187112" cy="455189"/>
          </a:xfrm>
        </p:spPr>
        <p:txBody>
          <a:bodyPr/>
          <a:lstStyle/>
          <a:p>
            <a:r>
              <a:rPr lang="en-US"/>
              <a:t>Taking a system approach to technology innovations</a:t>
            </a:r>
          </a:p>
        </p:txBody>
      </p:sp>
      <p:sp>
        <p:nvSpPr>
          <p:cNvPr id="5" name="Subtitle 4">
            <a:extLst>
              <a:ext uri="{FF2B5EF4-FFF2-40B4-BE49-F238E27FC236}">
                <a16:creationId xmlns:a16="http://schemas.microsoft.com/office/drawing/2014/main" id="{D71D35E7-3029-4EC3-A98F-93EECCB975FC}"/>
              </a:ext>
            </a:extLst>
          </p:cNvPr>
          <p:cNvSpPr>
            <a:spLocks noGrp="1"/>
          </p:cNvSpPr>
          <p:nvPr>
            <p:ph type="subTitle" idx="1"/>
          </p:nvPr>
        </p:nvSpPr>
        <p:spPr>
          <a:xfrm>
            <a:off x="494189" y="6013476"/>
            <a:ext cx="11188223" cy="265907"/>
          </a:xfrm>
        </p:spPr>
        <p:txBody>
          <a:bodyPr/>
          <a:lstStyle/>
          <a:p>
            <a:r>
              <a:rPr lang="en-US"/>
              <a:t>Making cellular broadcast a reality</a:t>
            </a:r>
          </a:p>
        </p:txBody>
      </p:sp>
      <p:grpSp>
        <p:nvGrpSpPr>
          <p:cNvPr id="193" name="Group 192">
            <a:extLst>
              <a:ext uri="{FF2B5EF4-FFF2-40B4-BE49-F238E27FC236}">
                <a16:creationId xmlns:a16="http://schemas.microsoft.com/office/drawing/2014/main" id="{83105D88-C0AE-4836-961F-CE2BA574864D}"/>
              </a:ext>
            </a:extLst>
          </p:cNvPr>
          <p:cNvGrpSpPr/>
          <p:nvPr/>
        </p:nvGrpSpPr>
        <p:grpSpPr>
          <a:xfrm>
            <a:off x="0" y="2003543"/>
            <a:ext cx="11696700" cy="762332"/>
            <a:chOff x="0" y="2138168"/>
            <a:chExt cx="11696700" cy="762332"/>
          </a:xfrm>
        </p:grpSpPr>
        <p:sp>
          <p:nvSpPr>
            <p:cNvPr id="20" name="Graphic 264">
              <a:extLst>
                <a:ext uri="{FF2B5EF4-FFF2-40B4-BE49-F238E27FC236}">
                  <a16:creationId xmlns:a16="http://schemas.microsoft.com/office/drawing/2014/main" id="{9BD96F47-DA55-4D54-9390-C3661CC63B7E}"/>
                </a:ext>
              </a:extLst>
            </p:cNvPr>
            <p:cNvSpPr/>
            <p:nvPr/>
          </p:nvSpPr>
          <p:spPr>
            <a:xfrm>
              <a:off x="11188047" y="2138168"/>
              <a:ext cx="508653" cy="762332"/>
            </a:xfrm>
            <a:custGeom>
              <a:avLst/>
              <a:gdLst>
                <a:gd name="connsiteX0" fmla="*/ 575691 w 597967"/>
                <a:gd name="connsiteY0" fmla="*/ 401281 h 896192"/>
                <a:gd name="connsiteX1" fmla="*/ 98203 w 597967"/>
                <a:gd name="connsiteY1" fmla="*/ 13614 h 896192"/>
                <a:gd name="connsiteX2" fmla="*/ 0 w 597967"/>
                <a:gd name="connsiteY2" fmla="*/ 60381 h 896192"/>
                <a:gd name="connsiteX3" fmla="*/ 0 w 597967"/>
                <a:gd name="connsiteY3" fmla="*/ 835812 h 896192"/>
                <a:gd name="connsiteX4" fmla="*/ 98203 w 597967"/>
                <a:gd name="connsiteY4" fmla="*/ 882579 h 896192"/>
                <a:gd name="connsiteX5" fmla="*/ 575596 w 597967"/>
                <a:gd name="connsiteY5" fmla="*/ 494912 h 896192"/>
                <a:gd name="connsiteX6" fmla="*/ 575691 w 597967"/>
                <a:gd name="connsiteY6" fmla="*/ 401281 h 89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967" h="896192">
                  <a:moveTo>
                    <a:pt x="575691" y="401281"/>
                  </a:moveTo>
                  <a:lnTo>
                    <a:pt x="98203" y="13614"/>
                  </a:lnTo>
                  <a:cubicBezTo>
                    <a:pt x="58865" y="-18390"/>
                    <a:pt x="0" y="9613"/>
                    <a:pt x="0" y="60381"/>
                  </a:cubicBezTo>
                  <a:lnTo>
                    <a:pt x="0" y="835812"/>
                  </a:lnTo>
                  <a:cubicBezTo>
                    <a:pt x="0" y="886580"/>
                    <a:pt x="58865" y="914583"/>
                    <a:pt x="98203" y="882579"/>
                  </a:cubicBezTo>
                  <a:lnTo>
                    <a:pt x="575596" y="494912"/>
                  </a:lnTo>
                  <a:cubicBezTo>
                    <a:pt x="605409" y="470718"/>
                    <a:pt x="605409" y="425379"/>
                    <a:pt x="575691" y="401281"/>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sp>
          <p:nvSpPr>
            <p:cNvPr id="21" name="Rectangle: Rounded Corners 20">
              <a:extLst>
                <a:ext uri="{FF2B5EF4-FFF2-40B4-BE49-F238E27FC236}">
                  <a16:creationId xmlns:a16="http://schemas.microsoft.com/office/drawing/2014/main" id="{4D4E34AD-F136-4E53-904A-0C2239F7F0D0}"/>
                </a:ext>
              </a:extLst>
            </p:cNvPr>
            <p:cNvSpPr/>
            <p:nvPr/>
          </p:nvSpPr>
          <p:spPr>
            <a:xfrm>
              <a:off x="0" y="2287197"/>
              <a:ext cx="11327478" cy="464274"/>
            </a:xfrm>
            <a:prstGeom prst="roundRect">
              <a:avLst>
                <a:gd name="adj" fmla="val 0"/>
              </a:avLst>
            </a:prstGeom>
            <a:gradFill>
              <a:gsLst>
                <a:gs pos="76000">
                  <a:schemeClr val="accent2"/>
                </a:gs>
                <a:gs pos="173">
                  <a:schemeClr val="accent5"/>
                </a:gs>
                <a:gs pos="92000">
                  <a:schemeClr val="accent1"/>
                </a:gs>
                <a:gs pos="60000">
                  <a:schemeClr val="accent2"/>
                </a:gs>
                <a:gs pos="20000">
                  <a:schemeClr val="accent6"/>
                </a:gs>
                <a:gs pos="48000">
                  <a:schemeClr val="accent4"/>
                </a:gs>
                <a:gs pos="35000">
                  <a:schemeClr val="accent3"/>
                </a:gs>
              </a:gsLst>
              <a:lin ang="0" scaled="1"/>
            </a:gradFill>
            <a:ln w="10795" cap="flat" cmpd="sng" algn="ctr">
              <a:noFill/>
              <a:prstDash val="solid"/>
            </a:ln>
            <a:effectLst/>
          </p:spPr>
          <p:txBody>
            <a:bodyPr rtlCol="0" anchor="ctr"/>
            <a:lstStyle/>
            <a:p>
              <a:pPr marL="0" marR="0" lvl="0" indent="0" algn="ctr" defTabSz="677134" rtl="0" eaLnBrk="1" fontAlgn="auto" latinLnBrk="0" hangingPunct="1">
                <a:lnSpc>
                  <a:spcPct val="100000"/>
                </a:lnSpc>
                <a:spcBef>
                  <a:spcPts val="0"/>
                </a:spcBef>
                <a:spcAft>
                  <a:spcPts val="0"/>
                </a:spcAft>
                <a:buClrTx/>
                <a:buSzTx/>
                <a:buFontTx/>
                <a:buNone/>
                <a:tabLst/>
                <a:defRPr/>
              </a:pPr>
              <a:endParaRPr kumimoji="0" lang="en-US" sz="889"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25" name="TextBox 24">
            <a:extLst>
              <a:ext uri="{FF2B5EF4-FFF2-40B4-BE49-F238E27FC236}">
                <a16:creationId xmlns:a16="http://schemas.microsoft.com/office/drawing/2014/main" id="{7E549BC7-71E7-4E50-9786-875A2610281D}"/>
              </a:ext>
            </a:extLst>
          </p:cNvPr>
          <p:cNvSpPr txBox="1"/>
          <p:nvPr/>
        </p:nvSpPr>
        <p:spPr>
          <a:xfrm>
            <a:off x="598944" y="2755857"/>
            <a:ext cx="2864135" cy="11079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Vis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Identifying a problem or need, and establishing system requireme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e envisioned a more efficient</a:t>
            </a:r>
            <a:b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ay to deliver mass media over</a:t>
            </a:r>
            <a:b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cellular networks</a:t>
            </a:r>
          </a:p>
        </p:txBody>
      </p:sp>
      <p:grpSp>
        <p:nvGrpSpPr>
          <p:cNvPr id="88" name="Group 87">
            <a:extLst>
              <a:ext uri="{FF2B5EF4-FFF2-40B4-BE49-F238E27FC236}">
                <a16:creationId xmlns:a16="http://schemas.microsoft.com/office/drawing/2014/main" id="{CC34080B-CCAF-459A-A349-66FEA6E01B13}"/>
              </a:ext>
            </a:extLst>
          </p:cNvPr>
          <p:cNvGrpSpPr/>
          <p:nvPr/>
        </p:nvGrpSpPr>
        <p:grpSpPr>
          <a:xfrm>
            <a:off x="693942" y="3980289"/>
            <a:ext cx="1827880" cy="1018320"/>
            <a:chOff x="489520" y="3617731"/>
            <a:chExt cx="1549539" cy="863255"/>
          </a:xfrm>
        </p:grpSpPr>
        <p:grpSp>
          <p:nvGrpSpPr>
            <p:cNvPr id="30" name="Group 29">
              <a:extLst>
                <a:ext uri="{FF2B5EF4-FFF2-40B4-BE49-F238E27FC236}">
                  <a16:creationId xmlns:a16="http://schemas.microsoft.com/office/drawing/2014/main" id="{89556828-49B7-47CE-9861-5E208B63EDEF}"/>
                </a:ext>
              </a:extLst>
            </p:cNvPr>
            <p:cNvGrpSpPr/>
            <p:nvPr/>
          </p:nvGrpSpPr>
          <p:grpSpPr>
            <a:xfrm>
              <a:off x="1172655" y="3617731"/>
              <a:ext cx="866404" cy="863255"/>
              <a:chOff x="3471562" y="4116086"/>
              <a:chExt cx="866404" cy="863255"/>
            </a:xfrm>
          </p:grpSpPr>
          <p:sp>
            <p:nvSpPr>
              <p:cNvPr id="31" name="Isosceles Triangle 30">
                <a:extLst>
                  <a:ext uri="{FF2B5EF4-FFF2-40B4-BE49-F238E27FC236}">
                    <a16:creationId xmlns:a16="http://schemas.microsoft.com/office/drawing/2014/main" id="{8C185536-1DCE-4C9F-A316-151B8188D287}"/>
                  </a:ext>
                </a:extLst>
              </p:cNvPr>
              <p:cNvSpPr/>
              <p:nvPr/>
            </p:nvSpPr>
            <p:spPr bwMode="auto">
              <a:xfrm rot="16200000" flipH="1">
                <a:off x="3469257" y="4217939"/>
                <a:ext cx="863255" cy="659549"/>
              </a:xfrm>
              <a:prstGeom prst="triangle">
                <a:avLst/>
              </a:prstGeom>
              <a:gradFill flip="none" rotWithShape="1">
                <a:gsLst>
                  <a:gs pos="8000">
                    <a:schemeClr val="accent2">
                      <a:alpha val="0"/>
                    </a:schemeClr>
                  </a:gs>
                  <a:gs pos="30000">
                    <a:schemeClr val="accent2"/>
                  </a:gs>
                  <a:gs pos="78000">
                    <a:schemeClr val="accent2">
                      <a:alpha val="0"/>
                    </a:schemeClr>
                  </a:gs>
                </a:gsLst>
                <a:lin ang="5400000" scaled="0"/>
                <a:tileRect/>
              </a:gradFill>
              <a:ln>
                <a:noFill/>
              </a:ln>
            </p:spPr>
            <p:txBody>
              <a:bodyPr rot="0" spcFirstLastPara="0" vertOverflow="overflow" horzOverflow="overflow" vert="horz" wrap="square" lIns="91396" tIns="45699" rIns="91396" bIns="45699"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err="1">
                  <a:ln>
                    <a:noFill/>
                  </a:ln>
                  <a:solidFill>
                    <a:srgbClr val="FFFFFF"/>
                  </a:solidFill>
                  <a:effectLst/>
                  <a:uLnTx/>
                  <a:uFillTx/>
                  <a:latin typeface="Microsoft Sans Serif"/>
                  <a:ea typeface="+mn-ea"/>
                  <a:cs typeface="+mn-cs"/>
                </a:endParaRPr>
              </a:p>
            </p:txBody>
          </p:sp>
          <p:grpSp>
            <p:nvGrpSpPr>
              <p:cNvPr id="32" name="Group 31">
                <a:extLst>
                  <a:ext uri="{FF2B5EF4-FFF2-40B4-BE49-F238E27FC236}">
                    <a16:creationId xmlns:a16="http://schemas.microsoft.com/office/drawing/2014/main" id="{BAEE302B-9E30-437C-8B57-FD91F0E27B2C}"/>
                  </a:ext>
                </a:extLst>
              </p:cNvPr>
              <p:cNvGrpSpPr/>
              <p:nvPr/>
            </p:nvGrpSpPr>
            <p:grpSpPr>
              <a:xfrm>
                <a:off x="3934836" y="4274746"/>
                <a:ext cx="262505" cy="298816"/>
                <a:chOff x="1106629" y="2244435"/>
                <a:chExt cx="889676" cy="1012740"/>
              </a:xfrm>
            </p:grpSpPr>
            <p:grpSp>
              <p:nvGrpSpPr>
                <p:cNvPr id="72" name="Group 71">
                  <a:extLst>
                    <a:ext uri="{FF2B5EF4-FFF2-40B4-BE49-F238E27FC236}">
                      <a16:creationId xmlns:a16="http://schemas.microsoft.com/office/drawing/2014/main" id="{6DDBA090-B200-49E8-8B2D-FD479EF0948D}"/>
                    </a:ext>
                  </a:extLst>
                </p:cNvPr>
                <p:cNvGrpSpPr/>
                <p:nvPr/>
              </p:nvGrpSpPr>
              <p:grpSpPr>
                <a:xfrm>
                  <a:off x="1106629" y="2244435"/>
                  <a:ext cx="341169" cy="340200"/>
                  <a:chOff x="2744787" y="87313"/>
                  <a:chExt cx="6702426" cy="6683376"/>
                </a:xfrm>
              </p:grpSpPr>
              <p:sp>
                <p:nvSpPr>
                  <p:cNvPr id="78" name="Oval 12">
                    <a:extLst>
                      <a:ext uri="{FF2B5EF4-FFF2-40B4-BE49-F238E27FC236}">
                        <a16:creationId xmlns:a16="http://schemas.microsoft.com/office/drawing/2014/main" id="{EDE8B0ED-47A5-44A3-8F7E-F7E708264EE2}"/>
                      </a:ext>
                    </a:extLst>
                  </p:cNvPr>
                  <p:cNvSpPr>
                    <a:spLocks noChangeArrowheads="1"/>
                  </p:cNvSpPr>
                  <p:nvPr/>
                </p:nvSpPr>
                <p:spPr bwMode="auto">
                  <a:xfrm>
                    <a:off x="4408488" y="1746250"/>
                    <a:ext cx="3375025" cy="3365500"/>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9" name="Freeform: Shape 78">
                    <a:extLst>
                      <a:ext uri="{FF2B5EF4-FFF2-40B4-BE49-F238E27FC236}">
                        <a16:creationId xmlns:a16="http://schemas.microsoft.com/office/drawing/2014/main" id="{EFF68D20-3DCF-4BC8-B33E-F5DC6573DCA4}"/>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73" name="Freeform 7">
                  <a:extLst>
                    <a:ext uri="{FF2B5EF4-FFF2-40B4-BE49-F238E27FC236}">
                      <a16:creationId xmlns:a16="http://schemas.microsoft.com/office/drawing/2014/main" id="{81220552-B8C8-4506-B899-45814681B495}"/>
                    </a:ext>
                  </a:extLst>
                </p:cNvPr>
                <p:cNvSpPr>
                  <a:spLocks/>
                </p:cNvSpPr>
                <p:nvPr/>
              </p:nvSpPr>
              <p:spPr bwMode="auto">
                <a:xfrm>
                  <a:off x="1189404" y="2364884"/>
                  <a:ext cx="770268" cy="892291"/>
                </a:xfrm>
                <a:custGeom>
                  <a:avLst/>
                  <a:gdLst>
                    <a:gd name="T0" fmla="*/ 4215 w 5201"/>
                    <a:gd name="T1" fmla="*/ 4752 h 6040"/>
                    <a:gd name="T2" fmla="*/ 4680 w 5201"/>
                    <a:gd name="T3" fmla="*/ 4290 h 6040"/>
                    <a:gd name="T4" fmla="*/ 4680 w 5201"/>
                    <a:gd name="T5" fmla="*/ 4290 h 6040"/>
                    <a:gd name="T6" fmla="*/ 4680 w 5201"/>
                    <a:gd name="T7" fmla="*/ 3452 h 6040"/>
                    <a:gd name="T8" fmla="*/ 4986 w 5201"/>
                    <a:gd name="T9" fmla="*/ 3452 h 6040"/>
                    <a:gd name="T10" fmla="*/ 5201 w 5201"/>
                    <a:gd name="T11" fmla="*/ 3245 h 6040"/>
                    <a:gd name="T12" fmla="*/ 5133 w 5201"/>
                    <a:gd name="T13" fmla="*/ 3087 h 6040"/>
                    <a:gd name="T14" fmla="*/ 4510 w 5201"/>
                    <a:gd name="T15" fmla="*/ 2576 h 6040"/>
                    <a:gd name="T16" fmla="*/ 4510 w 5201"/>
                    <a:gd name="T17" fmla="*/ 1313 h 6040"/>
                    <a:gd name="T18" fmla="*/ 4420 w 5201"/>
                    <a:gd name="T19" fmla="*/ 1229 h 6040"/>
                    <a:gd name="T20" fmla="*/ 3899 w 5201"/>
                    <a:gd name="T21" fmla="*/ 1229 h 6040"/>
                    <a:gd name="T22" fmla="*/ 3814 w 5201"/>
                    <a:gd name="T23" fmla="*/ 1313 h 6040"/>
                    <a:gd name="T24" fmla="*/ 3814 w 5201"/>
                    <a:gd name="T25" fmla="*/ 2010 h 6040"/>
                    <a:gd name="T26" fmla="*/ 2750 w 5201"/>
                    <a:gd name="T27" fmla="*/ 1140 h 6040"/>
                    <a:gd name="T28" fmla="*/ 2604 w 5201"/>
                    <a:gd name="T29" fmla="*/ 1078 h 6040"/>
                    <a:gd name="T30" fmla="*/ 2450 w 5201"/>
                    <a:gd name="T31" fmla="*/ 1140 h 6040"/>
                    <a:gd name="T32" fmla="*/ 699 w 5201"/>
                    <a:gd name="T33" fmla="*/ 2574 h 6040"/>
                    <a:gd name="T34" fmla="*/ 699 w 5201"/>
                    <a:gd name="T35" fmla="*/ 660 h 6040"/>
                    <a:gd name="T36" fmla="*/ 948 w 5201"/>
                    <a:gd name="T37" fmla="*/ 333 h 6040"/>
                    <a:gd name="T38" fmla="*/ 614 w 5201"/>
                    <a:gd name="T39" fmla="*/ 0 h 6040"/>
                    <a:gd name="T40" fmla="*/ 275 w 5201"/>
                    <a:gd name="T41" fmla="*/ 333 h 6040"/>
                    <a:gd name="T42" fmla="*/ 529 w 5201"/>
                    <a:gd name="T43" fmla="*/ 660 h 6040"/>
                    <a:gd name="T44" fmla="*/ 529 w 5201"/>
                    <a:gd name="T45" fmla="*/ 2713 h 6040"/>
                    <a:gd name="T46" fmla="*/ 73 w 5201"/>
                    <a:gd name="T47" fmla="*/ 3087 h 6040"/>
                    <a:gd name="T48" fmla="*/ 0 w 5201"/>
                    <a:gd name="T49" fmla="*/ 3245 h 6040"/>
                    <a:gd name="T50" fmla="*/ 216 w 5201"/>
                    <a:gd name="T51" fmla="*/ 3452 h 6040"/>
                    <a:gd name="T52" fmla="*/ 522 w 5201"/>
                    <a:gd name="T53" fmla="*/ 3452 h 6040"/>
                    <a:gd name="T54" fmla="*/ 522 w 5201"/>
                    <a:gd name="T55" fmla="*/ 3463 h 6040"/>
                    <a:gd name="T56" fmla="*/ 522 w 5201"/>
                    <a:gd name="T57" fmla="*/ 5871 h 6040"/>
                    <a:gd name="T58" fmla="*/ 696 w 5201"/>
                    <a:gd name="T59" fmla="*/ 6040 h 6040"/>
                    <a:gd name="T60" fmla="*/ 4510 w 5201"/>
                    <a:gd name="T61" fmla="*/ 6040 h 6040"/>
                    <a:gd name="T62" fmla="*/ 4680 w 5201"/>
                    <a:gd name="T63" fmla="*/ 5871 h 6040"/>
                    <a:gd name="T64" fmla="*/ 4680 w 5201"/>
                    <a:gd name="T65" fmla="*/ 5212 h 6040"/>
                    <a:gd name="T66" fmla="*/ 4680 w 5201"/>
                    <a:gd name="T67" fmla="*/ 5212 h 6040"/>
                    <a:gd name="T68" fmla="*/ 4215 w 5201"/>
                    <a:gd name="T69" fmla="*/ 4752 h 6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01" h="6040">
                      <a:moveTo>
                        <a:pt x="4215" y="4752"/>
                      </a:moveTo>
                      <a:cubicBezTo>
                        <a:pt x="4215" y="4496"/>
                        <a:pt x="4424" y="4290"/>
                        <a:pt x="4680" y="4290"/>
                      </a:cubicBezTo>
                      <a:cubicBezTo>
                        <a:pt x="4680" y="4290"/>
                        <a:pt x="4680" y="4290"/>
                        <a:pt x="4680" y="4290"/>
                      </a:cubicBezTo>
                      <a:cubicBezTo>
                        <a:pt x="4680" y="3833"/>
                        <a:pt x="4680" y="3455"/>
                        <a:pt x="4680" y="3452"/>
                      </a:cubicBezTo>
                      <a:cubicBezTo>
                        <a:pt x="4986" y="3452"/>
                        <a:pt x="4986" y="3452"/>
                        <a:pt x="4986" y="3452"/>
                      </a:cubicBezTo>
                      <a:cubicBezTo>
                        <a:pt x="5105" y="3452"/>
                        <a:pt x="5201" y="3362"/>
                        <a:pt x="5201" y="3245"/>
                      </a:cubicBezTo>
                      <a:cubicBezTo>
                        <a:pt x="5201" y="3183"/>
                        <a:pt x="5178" y="3127"/>
                        <a:pt x="5133" y="3087"/>
                      </a:cubicBezTo>
                      <a:cubicBezTo>
                        <a:pt x="4510" y="2576"/>
                        <a:pt x="4510" y="2576"/>
                        <a:pt x="4510" y="2576"/>
                      </a:cubicBezTo>
                      <a:cubicBezTo>
                        <a:pt x="4510" y="1313"/>
                        <a:pt x="4510" y="1313"/>
                        <a:pt x="4510" y="1313"/>
                      </a:cubicBezTo>
                      <a:cubicBezTo>
                        <a:pt x="4510" y="1269"/>
                        <a:pt x="4471" y="1229"/>
                        <a:pt x="4420" y="1229"/>
                      </a:cubicBezTo>
                      <a:cubicBezTo>
                        <a:pt x="3899" y="1229"/>
                        <a:pt x="3899" y="1229"/>
                        <a:pt x="3899" y="1229"/>
                      </a:cubicBezTo>
                      <a:cubicBezTo>
                        <a:pt x="3854" y="1229"/>
                        <a:pt x="3814" y="1269"/>
                        <a:pt x="3814" y="1313"/>
                      </a:cubicBezTo>
                      <a:cubicBezTo>
                        <a:pt x="3814" y="2010"/>
                        <a:pt x="3814" y="2010"/>
                        <a:pt x="3814" y="2010"/>
                      </a:cubicBezTo>
                      <a:cubicBezTo>
                        <a:pt x="2750" y="1140"/>
                        <a:pt x="2750" y="1140"/>
                        <a:pt x="2750" y="1140"/>
                      </a:cubicBezTo>
                      <a:cubicBezTo>
                        <a:pt x="2712" y="1100"/>
                        <a:pt x="2660" y="1078"/>
                        <a:pt x="2604" y="1078"/>
                      </a:cubicBezTo>
                      <a:cubicBezTo>
                        <a:pt x="2541" y="1078"/>
                        <a:pt x="2490" y="1100"/>
                        <a:pt x="2450" y="1140"/>
                      </a:cubicBezTo>
                      <a:cubicBezTo>
                        <a:pt x="1597" y="1839"/>
                        <a:pt x="1050" y="2287"/>
                        <a:pt x="699" y="2574"/>
                      </a:cubicBezTo>
                      <a:cubicBezTo>
                        <a:pt x="699" y="2292"/>
                        <a:pt x="699" y="1735"/>
                        <a:pt x="699" y="660"/>
                      </a:cubicBezTo>
                      <a:cubicBezTo>
                        <a:pt x="840" y="620"/>
                        <a:pt x="948" y="491"/>
                        <a:pt x="948" y="333"/>
                      </a:cubicBezTo>
                      <a:cubicBezTo>
                        <a:pt x="948" y="147"/>
                        <a:pt x="801" y="0"/>
                        <a:pt x="614" y="0"/>
                      </a:cubicBezTo>
                      <a:cubicBezTo>
                        <a:pt x="427" y="0"/>
                        <a:pt x="275" y="147"/>
                        <a:pt x="275" y="333"/>
                      </a:cubicBezTo>
                      <a:cubicBezTo>
                        <a:pt x="275" y="491"/>
                        <a:pt x="382" y="620"/>
                        <a:pt x="529" y="660"/>
                      </a:cubicBezTo>
                      <a:cubicBezTo>
                        <a:pt x="529" y="660"/>
                        <a:pt x="529" y="911"/>
                        <a:pt x="529" y="2713"/>
                      </a:cubicBezTo>
                      <a:cubicBezTo>
                        <a:pt x="73" y="3087"/>
                        <a:pt x="73" y="3087"/>
                        <a:pt x="73" y="3087"/>
                      </a:cubicBezTo>
                      <a:cubicBezTo>
                        <a:pt x="29" y="3127"/>
                        <a:pt x="0" y="3183"/>
                        <a:pt x="0" y="3245"/>
                      </a:cubicBezTo>
                      <a:cubicBezTo>
                        <a:pt x="0" y="3362"/>
                        <a:pt x="97" y="3452"/>
                        <a:pt x="216" y="3452"/>
                      </a:cubicBezTo>
                      <a:cubicBezTo>
                        <a:pt x="522" y="3452"/>
                        <a:pt x="522" y="3452"/>
                        <a:pt x="522" y="3452"/>
                      </a:cubicBezTo>
                      <a:cubicBezTo>
                        <a:pt x="522" y="3458"/>
                        <a:pt x="522" y="3458"/>
                        <a:pt x="522" y="3463"/>
                      </a:cubicBezTo>
                      <a:cubicBezTo>
                        <a:pt x="522" y="5871"/>
                        <a:pt x="522" y="5871"/>
                        <a:pt x="522" y="5871"/>
                      </a:cubicBezTo>
                      <a:cubicBezTo>
                        <a:pt x="522" y="5965"/>
                        <a:pt x="600" y="6040"/>
                        <a:pt x="696" y="6040"/>
                      </a:cubicBezTo>
                      <a:cubicBezTo>
                        <a:pt x="4510" y="6040"/>
                        <a:pt x="4510" y="6040"/>
                        <a:pt x="4510" y="6040"/>
                      </a:cubicBezTo>
                      <a:cubicBezTo>
                        <a:pt x="4607" y="6040"/>
                        <a:pt x="4680" y="5965"/>
                        <a:pt x="4680" y="5871"/>
                      </a:cubicBezTo>
                      <a:cubicBezTo>
                        <a:pt x="4680" y="5871"/>
                        <a:pt x="4680" y="5586"/>
                        <a:pt x="4680" y="5212"/>
                      </a:cubicBezTo>
                      <a:cubicBezTo>
                        <a:pt x="4680" y="5212"/>
                        <a:pt x="4680" y="5212"/>
                        <a:pt x="4680" y="5212"/>
                      </a:cubicBezTo>
                      <a:cubicBezTo>
                        <a:pt x="4424" y="5212"/>
                        <a:pt x="4215" y="5006"/>
                        <a:pt x="4215" y="47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nvGrpSpPr>
                <p:cNvPr id="74" name="Group 73">
                  <a:extLst>
                    <a:ext uri="{FF2B5EF4-FFF2-40B4-BE49-F238E27FC236}">
                      <a16:creationId xmlns:a16="http://schemas.microsoft.com/office/drawing/2014/main" id="{ACBAE939-0986-48B9-BC4B-0C90B05B5CE0}"/>
                    </a:ext>
                  </a:extLst>
                </p:cNvPr>
                <p:cNvGrpSpPr/>
                <p:nvPr/>
              </p:nvGrpSpPr>
              <p:grpSpPr>
                <a:xfrm>
                  <a:off x="1761801" y="2947554"/>
                  <a:ext cx="234504" cy="233064"/>
                  <a:chOff x="4162156" y="1116013"/>
                  <a:chExt cx="4654550" cy="4625975"/>
                </a:xfrm>
              </p:grpSpPr>
              <p:sp>
                <p:nvSpPr>
                  <p:cNvPr id="75" name="Oval 5">
                    <a:extLst>
                      <a:ext uri="{FF2B5EF4-FFF2-40B4-BE49-F238E27FC236}">
                        <a16:creationId xmlns:a16="http://schemas.microsoft.com/office/drawing/2014/main" id="{9DFB48EB-3FA7-4118-B715-F43F0BE50CED}"/>
                      </a:ext>
                    </a:extLst>
                  </p:cNvPr>
                  <p:cNvSpPr>
                    <a:spLocks noChangeArrowheads="1"/>
                  </p:cNvSpPr>
                  <p:nvPr/>
                </p:nvSpPr>
                <p:spPr bwMode="auto">
                  <a:xfrm>
                    <a:off x="4976546" y="1925641"/>
                    <a:ext cx="3013071" cy="299561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6" name="Freeform 6">
                    <a:extLst>
                      <a:ext uri="{FF2B5EF4-FFF2-40B4-BE49-F238E27FC236}">
                        <a16:creationId xmlns:a16="http://schemas.microsoft.com/office/drawing/2014/main" id="{54E9C77A-7AE0-482F-9D25-0A982B29864A}"/>
                      </a:ext>
                    </a:extLst>
                  </p:cNvPr>
                  <p:cNvSpPr>
                    <a:spLocks noEditPoints="1"/>
                  </p:cNvSpPr>
                  <p:nvPr/>
                </p:nvSpPr>
                <p:spPr bwMode="auto">
                  <a:xfrm>
                    <a:off x="4162156"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7" name="Oval 7">
                    <a:extLst>
                      <a:ext uri="{FF2B5EF4-FFF2-40B4-BE49-F238E27FC236}">
                        <a16:creationId xmlns:a16="http://schemas.microsoft.com/office/drawing/2014/main" id="{00086CCC-C894-4291-A09A-14EF6637085D}"/>
                      </a:ext>
                    </a:extLst>
                  </p:cNvPr>
                  <p:cNvSpPr>
                    <a:spLocks noChangeArrowheads="1"/>
                  </p:cNvSpPr>
                  <p:nvPr/>
                </p:nvSpPr>
                <p:spPr bwMode="auto">
                  <a:xfrm>
                    <a:off x="5749659" y="2667002"/>
                    <a:ext cx="1466852" cy="151129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grpSp>
            <p:nvGrpSpPr>
              <p:cNvPr id="33" name="Group 32">
                <a:extLst>
                  <a:ext uri="{FF2B5EF4-FFF2-40B4-BE49-F238E27FC236}">
                    <a16:creationId xmlns:a16="http://schemas.microsoft.com/office/drawing/2014/main" id="{DB03BE1F-D94C-4766-AD8D-F90B9C73B0C6}"/>
                  </a:ext>
                </a:extLst>
              </p:cNvPr>
              <p:cNvGrpSpPr/>
              <p:nvPr/>
            </p:nvGrpSpPr>
            <p:grpSpPr>
              <a:xfrm>
                <a:off x="3471562" y="4459247"/>
                <a:ext cx="245632" cy="282510"/>
                <a:chOff x="1156464" y="2287783"/>
                <a:chExt cx="803098" cy="923672"/>
              </a:xfrm>
            </p:grpSpPr>
            <p:grpSp>
              <p:nvGrpSpPr>
                <p:cNvPr id="68" name="Group 67">
                  <a:extLst>
                    <a:ext uri="{FF2B5EF4-FFF2-40B4-BE49-F238E27FC236}">
                      <a16:creationId xmlns:a16="http://schemas.microsoft.com/office/drawing/2014/main" id="{4F50A920-F34A-4427-8D71-63EE3D94AF93}"/>
                    </a:ext>
                  </a:extLst>
                </p:cNvPr>
                <p:cNvGrpSpPr/>
                <p:nvPr/>
              </p:nvGrpSpPr>
              <p:grpSpPr>
                <a:xfrm>
                  <a:off x="1266649" y="2287783"/>
                  <a:ext cx="578218" cy="576574"/>
                  <a:chOff x="2744787" y="87313"/>
                  <a:chExt cx="6702426" cy="6683376"/>
                </a:xfrm>
              </p:grpSpPr>
              <p:sp>
                <p:nvSpPr>
                  <p:cNvPr id="70" name="Oval 12">
                    <a:extLst>
                      <a:ext uri="{FF2B5EF4-FFF2-40B4-BE49-F238E27FC236}">
                        <a16:creationId xmlns:a16="http://schemas.microsoft.com/office/drawing/2014/main" id="{41B698C3-57FA-4303-89BF-6F4526D9B5A4}"/>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1" name="Freeform: Shape 70">
                    <a:extLst>
                      <a:ext uri="{FF2B5EF4-FFF2-40B4-BE49-F238E27FC236}">
                        <a16:creationId xmlns:a16="http://schemas.microsoft.com/office/drawing/2014/main" id="{79D4B602-3368-4900-B08B-A76D1C05085F}"/>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69" name="Freeform: Shape 38">
                  <a:extLst>
                    <a:ext uri="{FF2B5EF4-FFF2-40B4-BE49-F238E27FC236}">
                      <a16:creationId xmlns:a16="http://schemas.microsoft.com/office/drawing/2014/main" id="{24407082-0242-4C4E-9E97-1F76AF8E3BBD}"/>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34" name="Group 33">
                <a:extLst>
                  <a:ext uri="{FF2B5EF4-FFF2-40B4-BE49-F238E27FC236}">
                    <a16:creationId xmlns:a16="http://schemas.microsoft.com/office/drawing/2014/main" id="{D409E9B2-4B0B-49EC-A6E5-B75D8772EA7B}"/>
                  </a:ext>
                </a:extLst>
              </p:cNvPr>
              <p:cNvGrpSpPr/>
              <p:nvPr/>
            </p:nvGrpSpPr>
            <p:grpSpPr>
              <a:xfrm>
                <a:off x="3766893" y="4642702"/>
                <a:ext cx="571073" cy="234421"/>
                <a:chOff x="3758673" y="4666080"/>
                <a:chExt cx="626973" cy="257368"/>
              </a:xfrm>
            </p:grpSpPr>
            <p:grpSp>
              <p:nvGrpSpPr>
                <p:cNvPr id="35" name="Group 34">
                  <a:extLst>
                    <a:ext uri="{FF2B5EF4-FFF2-40B4-BE49-F238E27FC236}">
                      <a16:creationId xmlns:a16="http://schemas.microsoft.com/office/drawing/2014/main" id="{D0D16123-237A-4986-BA60-BCA74DF75704}"/>
                    </a:ext>
                  </a:extLst>
                </p:cNvPr>
                <p:cNvGrpSpPr/>
                <p:nvPr/>
              </p:nvGrpSpPr>
              <p:grpSpPr>
                <a:xfrm>
                  <a:off x="3758673" y="4666080"/>
                  <a:ext cx="403711" cy="257368"/>
                  <a:chOff x="8425358" y="-975869"/>
                  <a:chExt cx="914400" cy="582935"/>
                </a:xfrm>
              </p:grpSpPr>
              <p:grpSp>
                <p:nvGrpSpPr>
                  <p:cNvPr id="58" name="Group 4">
                    <a:extLst>
                      <a:ext uri="{FF2B5EF4-FFF2-40B4-BE49-F238E27FC236}">
                        <a16:creationId xmlns:a16="http://schemas.microsoft.com/office/drawing/2014/main" id="{BD5822CB-0ACA-4FE0-90DB-AB8EA8B93C53}"/>
                      </a:ext>
                    </a:extLst>
                  </p:cNvPr>
                  <p:cNvGrpSpPr>
                    <a:grpSpLocks noChangeAspect="1"/>
                  </p:cNvGrpSpPr>
                  <p:nvPr/>
                </p:nvGrpSpPr>
                <p:grpSpPr bwMode="auto">
                  <a:xfrm>
                    <a:off x="8425358" y="-975869"/>
                    <a:ext cx="914400" cy="582935"/>
                    <a:chOff x="942" y="1778"/>
                    <a:chExt cx="2149" cy="1370"/>
                  </a:xfrm>
                  <a:solidFill>
                    <a:srgbClr val="3253DC"/>
                  </a:solidFill>
                </p:grpSpPr>
                <p:sp>
                  <p:nvSpPr>
                    <p:cNvPr id="66" name="Freeform 5">
                      <a:extLst>
                        <a:ext uri="{FF2B5EF4-FFF2-40B4-BE49-F238E27FC236}">
                          <a16:creationId xmlns:a16="http://schemas.microsoft.com/office/drawing/2014/main" id="{D92E66DB-E9AD-43A7-ACA7-18EB121F67DD}"/>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67" name="Freeform 6">
                      <a:extLst>
                        <a:ext uri="{FF2B5EF4-FFF2-40B4-BE49-F238E27FC236}">
                          <a16:creationId xmlns:a16="http://schemas.microsoft.com/office/drawing/2014/main" id="{EBBA2B88-CBE5-403B-A395-49F751A84215}"/>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59" name="Group 58">
                    <a:extLst>
                      <a:ext uri="{FF2B5EF4-FFF2-40B4-BE49-F238E27FC236}">
                        <a16:creationId xmlns:a16="http://schemas.microsoft.com/office/drawing/2014/main" id="{7CCA73E8-058E-4B59-8D91-7F79F64E4836}"/>
                      </a:ext>
                    </a:extLst>
                  </p:cNvPr>
                  <p:cNvGrpSpPr/>
                  <p:nvPr/>
                </p:nvGrpSpPr>
                <p:grpSpPr>
                  <a:xfrm>
                    <a:off x="8630641" y="-781032"/>
                    <a:ext cx="503834" cy="158506"/>
                    <a:chOff x="10828433" y="2483528"/>
                    <a:chExt cx="258463" cy="81313"/>
                  </a:xfrm>
                </p:grpSpPr>
                <p:sp>
                  <p:nvSpPr>
                    <p:cNvPr id="60" name="Freeform 21">
                      <a:extLst>
                        <a:ext uri="{FF2B5EF4-FFF2-40B4-BE49-F238E27FC236}">
                          <a16:creationId xmlns:a16="http://schemas.microsoft.com/office/drawing/2014/main" id="{4DD970F2-2459-4C75-A5C1-4515755DB0AE}"/>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1" name="Freeform 22">
                      <a:extLst>
                        <a:ext uri="{FF2B5EF4-FFF2-40B4-BE49-F238E27FC236}">
                          <a16:creationId xmlns:a16="http://schemas.microsoft.com/office/drawing/2014/main" id="{F23BF92F-4B53-4689-B4BD-DC939DD363E1}"/>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62" name="Freeform 23">
                      <a:extLst>
                        <a:ext uri="{FF2B5EF4-FFF2-40B4-BE49-F238E27FC236}">
                          <a16:creationId xmlns:a16="http://schemas.microsoft.com/office/drawing/2014/main" id="{299F6EA7-1820-425E-8DE8-C3D5D5840CA4}"/>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63" name="Freeform 24">
                      <a:extLst>
                        <a:ext uri="{FF2B5EF4-FFF2-40B4-BE49-F238E27FC236}">
                          <a16:creationId xmlns:a16="http://schemas.microsoft.com/office/drawing/2014/main" id="{70ED1D17-3F56-4762-B89F-3281DAD1C0E4}"/>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40FC7F46-DD86-4C1D-A1FC-A40723CE26C3}"/>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65" name="Freeform 26">
                      <a:extLst>
                        <a:ext uri="{FF2B5EF4-FFF2-40B4-BE49-F238E27FC236}">
                          <a16:creationId xmlns:a16="http://schemas.microsoft.com/office/drawing/2014/main" id="{21B79EDF-1CAA-48D4-8EB3-E66F2503DDDE}"/>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nvGrpSpPr>
                <p:cNvPr id="36" name="Group 35">
                  <a:extLst>
                    <a:ext uri="{FF2B5EF4-FFF2-40B4-BE49-F238E27FC236}">
                      <a16:creationId xmlns:a16="http://schemas.microsoft.com/office/drawing/2014/main" id="{D22CCA72-6226-4B87-8436-D97742CD6138}"/>
                    </a:ext>
                  </a:extLst>
                </p:cNvPr>
                <p:cNvGrpSpPr/>
                <p:nvPr/>
              </p:nvGrpSpPr>
              <p:grpSpPr>
                <a:xfrm>
                  <a:off x="4108554" y="4704564"/>
                  <a:ext cx="161190" cy="218884"/>
                  <a:chOff x="4431738" y="8389545"/>
                  <a:chExt cx="360862" cy="490024"/>
                </a:xfrm>
              </p:grpSpPr>
              <p:grpSp>
                <p:nvGrpSpPr>
                  <p:cNvPr id="48" name="Group 47">
                    <a:extLst>
                      <a:ext uri="{FF2B5EF4-FFF2-40B4-BE49-F238E27FC236}">
                        <a16:creationId xmlns:a16="http://schemas.microsoft.com/office/drawing/2014/main" id="{6E36CC1E-D91D-4850-8B01-E1A2A5836B95}"/>
                      </a:ext>
                    </a:extLst>
                  </p:cNvPr>
                  <p:cNvGrpSpPr>
                    <a:grpSpLocks noChangeAspect="1"/>
                  </p:cNvGrpSpPr>
                  <p:nvPr/>
                </p:nvGrpSpPr>
                <p:grpSpPr>
                  <a:xfrm>
                    <a:off x="4431738" y="8389545"/>
                    <a:ext cx="360862" cy="490024"/>
                    <a:chOff x="1105197" y="2827506"/>
                    <a:chExt cx="1396843" cy="1896808"/>
                  </a:xfrm>
                </p:grpSpPr>
                <p:sp>
                  <p:nvSpPr>
                    <p:cNvPr id="56" name="Freeform 9">
                      <a:extLst>
                        <a:ext uri="{FF2B5EF4-FFF2-40B4-BE49-F238E27FC236}">
                          <a16:creationId xmlns:a16="http://schemas.microsoft.com/office/drawing/2014/main" id="{700858D1-83D4-4F9A-99D5-47B0E59F91AF}"/>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7" name="Freeform 10">
                      <a:extLst>
                        <a:ext uri="{FF2B5EF4-FFF2-40B4-BE49-F238E27FC236}">
                          <a16:creationId xmlns:a16="http://schemas.microsoft.com/office/drawing/2014/main" id="{AEEE7269-78F8-46F5-9D1E-68160F7DC931}"/>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60000"/>
                        <a:lumOff val="4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49" name="Group 48">
                    <a:extLst>
                      <a:ext uri="{FF2B5EF4-FFF2-40B4-BE49-F238E27FC236}">
                        <a16:creationId xmlns:a16="http://schemas.microsoft.com/office/drawing/2014/main" id="{D69F502F-CF1D-46CF-AAAF-9846948BBB97}"/>
                      </a:ext>
                    </a:extLst>
                  </p:cNvPr>
                  <p:cNvGrpSpPr/>
                  <p:nvPr/>
                </p:nvGrpSpPr>
                <p:grpSpPr>
                  <a:xfrm>
                    <a:off x="4478290" y="8572500"/>
                    <a:ext cx="267758" cy="84236"/>
                    <a:chOff x="10828433" y="2483528"/>
                    <a:chExt cx="258463" cy="81313"/>
                  </a:xfrm>
                </p:grpSpPr>
                <p:sp>
                  <p:nvSpPr>
                    <p:cNvPr id="50" name="Freeform 21">
                      <a:extLst>
                        <a:ext uri="{FF2B5EF4-FFF2-40B4-BE49-F238E27FC236}">
                          <a16:creationId xmlns:a16="http://schemas.microsoft.com/office/drawing/2014/main" id="{C3CC129A-7DB2-47BB-A575-C9DAFC286EFA}"/>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1" name="Freeform 22">
                      <a:extLst>
                        <a:ext uri="{FF2B5EF4-FFF2-40B4-BE49-F238E27FC236}">
                          <a16:creationId xmlns:a16="http://schemas.microsoft.com/office/drawing/2014/main" id="{D2F73BB7-68F1-45F4-BC14-23F5AE837B67}"/>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2" name="Freeform 23">
                      <a:extLst>
                        <a:ext uri="{FF2B5EF4-FFF2-40B4-BE49-F238E27FC236}">
                          <a16:creationId xmlns:a16="http://schemas.microsoft.com/office/drawing/2014/main" id="{3619FC87-8F0A-412B-BA59-9AC4C07D991E}"/>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3" name="Freeform 24">
                      <a:extLst>
                        <a:ext uri="{FF2B5EF4-FFF2-40B4-BE49-F238E27FC236}">
                          <a16:creationId xmlns:a16="http://schemas.microsoft.com/office/drawing/2014/main" id="{3E59626E-D322-4A86-A051-1ECE486CA1D6}"/>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4" name="Rectangle 53">
                      <a:extLst>
                        <a:ext uri="{FF2B5EF4-FFF2-40B4-BE49-F238E27FC236}">
                          <a16:creationId xmlns:a16="http://schemas.microsoft.com/office/drawing/2014/main" id="{C5E21AE4-27B7-412F-89A0-6484BA68517F}"/>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5" name="Freeform 26">
                      <a:extLst>
                        <a:ext uri="{FF2B5EF4-FFF2-40B4-BE49-F238E27FC236}">
                          <a16:creationId xmlns:a16="http://schemas.microsoft.com/office/drawing/2014/main" id="{7485CDDB-77FD-4CCD-80AD-0E711AA6BF6F}"/>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nvGrpSpPr>
                <p:cNvPr id="37" name="Group 36">
                  <a:extLst>
                    <a:ext uri="{FF2B5EF4-FFF2-40B4-BE49-F238E27FC236}">
                      <a16:creationId xmlns:a16="http://schemas.microsoft.com/office/drawing/2014/main" id="{C59D8131-063F-4BB9-83B6-B726BF294526}"/>
                    </a:ext>
                  </a:extLst>
                </p:cNvPr>
                <p:cNvGrpSpPr/>
                <p:nvPr/>
              </p:nvGrpSpPr>
              <p:grpSpPr>
                <a:xfrm>
                  <a:off x="4288516" y="4743397"/>
                  <a:ext cx="97130" cy="180051"/>
                  <a:chOff x="4885568" y="8611204"/>
                  <a:chExt cx="262612" cy="486809"/>
                </a:xfrm>
              </p:grpSpPr>
              <p:grpSp>
                <p:nvGrpSpPr>
                  <p:cNvPr id="38" name="Group 37">
                    <a:extLst>
                      <a:ext uri="{FF2B5EF4-FFF2-40B4-BE49-F238E27FC236}">
                        <a16:creationId xmlns:a16="http://schemas.microsoft.com/office/drawing/2014/main" id="{19B2BC2C-6D99-44BC-A1EE-DC509A594720}"/>
                      </a:ext>
                    </a:extLst>
                  </p:cNvPr>
                  <p:cNvGrpSpPr>
                    <a:grpSpLocks noChangeAspect="1"/>
                  </p:cNvGrpSpPr>
                  <p:nvPr/>
                </p:nvGrpSpPr>
                <p:grpSpPr>
                  <a:xfrm>
                    <a:off x="4885568" y="8611204"/>
                    <a:ext cx="262612" cy="486809"/>
                    <a:chOff x="5434013" y="2201863"/>
                    <a:chExt cx="1323975" cy="2454275"/>
                  </a:xfrm>
                </p:grpSpPr>
                <p:sp>
                  <p:nvSpPr>
                    <p:cNvPr id="46" name="Freeform 5">
                      <a:extLst>
                        <a:ext uri="{FF2B5EF4-FFF2-40B4-BE49-F238E27FC236}">
                          <a16:creationId xmlns:a16="http://schemas.microsoft.com/office/drawing/2014/main" id="{5A155347-BD8A-4547-9670-9A3E5E4B3F95}"/>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47" name="Freeform: Shape 15">
                      <a:extLst>
                        <a:ext uri="{FF2B5EF4-FFF2-40B4-BE49-F238E27FC236}">
                          <a16:creationId xmlns:a16="http://schemas.microsoft.com/office/drawing/2014/main" id="{3BBD5091-4F29-4CD7-AACD-BBC148B31875}"/>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39" name="Group 38">
                    <a:extLst>
                      <a:ext uri="{FF2B5EF4-FFF2-40B4-BE49-F238E27FC236}">
                        <a16:creationId xmlns:a16="http://schemas.microsoft.com/office/drawing/2014/main" id="{9D4AE720-50A7-4463-900E-BC7275150BA1}"/>
                      </a:ext>
                    </a:extLst>
                  </p:cNvPr>
                  <p:cNvGrpSpPr/>
                  <p:nvPr/>
                </p:nvGrpSpPr>
                <p:grpSpPr>
                  <a:xfrm>
                    <a:off x="4922149" y="8795008"/>
                    <a:ext cx="189451" cy="59601"/>
                    <a:chOff x="10828433" y="2483528"/>
                    <a:chExt cx="258463" cy="81313"/>
                  </a:xfrm>
                </p:grpSpPr>
                <p:sp>
                  <p:nvSpPr>
                    <p:cNvPr id="40" name="Freeform 21">
                      <a:extLst>
                        <a:ext uri="{FF2B5EF4-FFF2-40B4-BE49-F238E27FC236}">
                          <a16:creationId xmlns:a16="http://schemas.microsoft.com/office/drawing/2014/main" id="{427F3920-6D82-4321-B7C5-CF974635164B}"/>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1" name="Freeform 22">
                      <a:extLst>
                        <a:ext uri="{FF2B5EF4-FFF2-40B4-BE49-F238E27FC236}">
                          <a16:creationId xmlns:a16="http://schemas.microsoft.com/office/drawing/2014/main" id="{B9BBE4F2-873E-4721-AB20-A2C35CB296FB}"/>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2" name="Freeform 23">
                      <a:extLst>
                        <a:ext uri="{FF2B5EF4-FFF2-40B4-BE49-F238E27FC236}">
                          <a16:creationId xmlns:a16="http://schemas.microsoft.com/office/drawing/2014/main" id="{7C4866F9-411E-461F-91D9-25B0B3398683}"/>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3" name="Freeform 24">
                      <a:extLst>
                        <a:ext uri="{FF2B5EF4-FFF2-40B4-BE49-F238E27FC236}">
                          <a16:creationId xmlns:a16="http://schemas.microsoft.com/office/drawing/2014/main" id="{09CA7B55-5D1C-4A9A-A8CF-16E4F19FA788}"/>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4" name="Rectangle 43">
                      <a:extLst>
                        <a:ext uri="{FF2B5EF4-FFF2-40B4-BE49-F238E27FC236}">
                          <a16:creationId xmlns:a16="http://schemas.microsoft.com/office/drawing/2014/main" id="{AF7229C5-FD89-4CFC-AB23-9A5FC07FD93D}"/>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5" name="Freeform 26">
                      <a:extLst>
                        <a:ext uri="{FF2B5EF4-FFF2-40B4-BE49-F238E27FC236}">
                          <a16:creationId xmlns:a16="http://schemas.microsoft.com/office/drawing/2014/main" id="{03CA9A01-8893-47F7-93F4-7F365B6B5EAC}"/>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grpSp>
        <p:grpSp>
          <p:nvGrpSpPr>
            <p:cNvPr id="85" name="Group 84">
              <a:extLst>
                <a:ext uri="{FF2B5EF4-FFF2-40B4-BE49-F238E27FC236}">
                  <a16:creationId xmlns:a16="http://schemas.microsoft.com/office/drawing/2014/main" id="{A82B5066-05B8-41BA-AA83-7BF8435F3875}"/>
                </a:ext>
              </a:extLst>
            </p:cNvPr>
            <p:cNvGrpSpPr>
              <a:grpSpLocks noChangeAspect="1"/>
            </p:cNvGrpSpPr>
            <p:nvPr/>
          </p:nvGrpSpPr>
          <p:grpSpPr>
            <a:xfrm>
              <a:off x="489520" y="3699723"/>
              <a:ext cx="543994" cy="699271"/>
              <a:chOff x="1163367" y="3118491"/>
              <a:chExt cx="1020009" cy="1321986"/>
            </a:xfrm>
          </p:grpSpPr>
          <p:sp>
            <p:nvSpPr>
              <p:cNvPr id="86" name="Freeform 5">
                <a:extLst>
                  <a:ext uri="{FF2B5EF4-FFF2-40B4-BE49-F238E27FC236}">
                    <a16:creationId xmlns:a16="http://schemas.microsoft.com/office/drawing/2014/main" id="{30A8AA92-5991-44D7-830A-44D85D5B6FF9}"/>
                  </a:ext>
                </a:extLst>
              </p:cNvPr>
              <p:cNvSpPr>
                <a:spLocks/>
              </p:cNvSpPr>
              <p:nvPr/>
            </p:nvSpPr>
            <p:spPr bwMode="auto">
              <a:xfrm flipH="1">
                <a:off x="1163367" y="3118491"/>
                <a:ext cx="1020009" cy="1321986"/>
              </a:xfrm>
              <a:custGeom>
                <a:avLst/>
                <a:gdLst>
                  <a:gd name="T0" fmla="*/ 18 w 935"/>
                  <a:gd name="T1" fmla="*/ 593 h 1212"/>
                  <a:gd name="T2" fmla="*/ 18 w 935"/>
                  <a:gd name="T3" fmla="*/ 592 h 1212"/>
                  <a:gd name="T4" fmla="*/ 89 w 935"/>
                  <a:gd name="T5" fmla="*/ 453 h 1212"/>
                  <a:gd name="T6" fmla="*/ 87 w 935"/>
                  <a:gd name="T7" fmla="*/ 321 h 1212"/>
                  <a:gd name="T8" fmla="*/ 224 w 935"/>
                  <a:gd name="T9" fmla="*/ 77 h 1212"/>
                  <a:gd name="T10" fmla="*/ 501 w 935"/>
                  <a:gd name="T11" fmla="*/ 6 h 1212"/>
                  <a:gd name="T12" fmla="*/ 758 w 935"/>
                  <a:gd name="T13" fmla="*/ 101 h 1212"/>
                  <a:gd name="T14" fmla="*/ 878 w 935"/>
                  <a:gd name="T15" fmla="*/ 540 h 1212"/>
                  <a:gd name="T16" fmla="*/ 792 w 935"/>
                  <a:gd name="T17" fmla="*/ 708 h 1212"/>
                  <a:gd name="T18" fmla="*/ 760 w 935"/>
                  <a:gd name="T19" fmla="*/ 891 h 1212"/>
                  <a:gd name="T20" fmla="*/ 780 w 935"/>
                  <a:gd name="T21" fmla="*/ 982 h 1212"/>
                  <a:gd name="T22" fmla="*/ 722 w 935"/>
                  <a:gd name="T23" fmla="*/ 1059 h 1212"/>
                  <a:gd name="T24" fmla="*/ 529 w 935"/>
                  <a:gd name="T25" fmla="*/ 1181 h 1212"/>
                  <a:gd name="T26" fmla="*/ 434 w 935"/>
                  <a:gd name="T27" fmla="*/ 1212 h 1212"/>
                  <a:gd name="T28" fmla="*/ 404 w 935"/>
                  <a:gd name="T29" fmla="*/ 1201 h 1212"/>
                  <a:gd name="T30" fmla="*/ 399 w 935"/>
                  <a:gd name="T31" fmla="*/ 1182 h 1212"/>
                  <a:gd name="T32" fmla="*/ 388 w 935"/>
                  <a:gd name="T33" fmla="*/ 1041 h 1212"/>
                  <a:gd name="T34" fmla="*/ 374 w 935"/>
                  <a:gd name="T35" fmla="*/ 954 h 1212"/>
                  <a:gd name="T36" fmla="*/ 318 w 935"/>
                  <a:gd name="T37" fmla="*/ 890 h 1212"/>
                  <a:gd name="T38" fmla="*/ 139 w 935"/>
                  <a:gd name="T39" fmla="*/ 876 h 1212"/>
                  <a:gd name="T40" fmla="*/ 113 w 935"/>
                  <a:gd name="T41" fmla="*/ 837 h 1212"/>
                  <a:gd name="T42" fmla="*/ 119 w 935"/>
                  <a:gd name="T43" fmla="*/ 788 h 1212"/>
                  <a:gd name="T44" fmla="*/ 99 w 935"/>
                  <a:gd name="T45" fmla="*/ 765 h 1212"/>
                  <a:gd name="T46" fmla="*/ 90 w 935"/>
                  <a:gd name="T47" fmla="*/ 719 h 1212"/>
                  <a:gd name="T48" fmla="*/ 60 w 935"/>
                  <a:gd name="T49" fmla="*/ 703 h 1212"/>
                  <a:gd name="T50" fmla="*/ 60 w 935"/>
                  <a:gd name="T51" fmla="*/ 684 h 1212"/>
                  <a:gd name="T52" fmla="*/ 69 w 935"/>
                  <a:gd name="T53" fmla="*/ 666 h 1212"/>
                  <a:gd name="T54" fmla="*/ 36 w 935"/>
                  <a:gd name="T55" fmla="*/ 653 h 1212"/>
                  <a:gd name="T56" fmla="*/ 6 w 935"/>
                  <a:gd name="T57" fmla="*/ 633 h 1212"/>
                  <a:gd name="T58" fmla="*/ 18 w 935"/>
                  <a:gd name="T59" fmla="*/ 593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5" h="1212">
                    <a:moveTo>
                      <a:pt x="18" y="593"/>
                    </a:moveTo>
                    <a:cubicBezTo>
                      <a:pt x="18" y="592"/>
                      <a:pt x="18" y="592"/>
                      <a:pt x="18" y="592"/>
                    </a:cubicBezTo>
                    <a:cubicBezTo>
                      <a:pt x="49" y="549"/>
                      <a:pt x="81" y="505"/>
                      <a:pt x="89" y="453"/>
                    </a:cubicBezTo>
                    <a:cubicBezTo>
                      <a:pt x="96" y="409"/>
                      <a:pt x="86" y="365"/>
                      <a:pt x="87" y="321"/>
                    </a:cubicBezTo>
                    <a:cubicBezTo>
                      <a:pt x="89" y="224"/>
                      <a:pt x="145" y="132"/>
                      <a:pt x="224" y="77"/>
                    </a:cubicBezTo>
                    <a:cubicBezTo>
                      <a:pt x="304" y="21"/>
                      <a:pt x="404" y="0"/>
                      <a:pt x="501" y="6"/>
                    </a:cubicBezTo>
                    <a:cubicBezTo>
                      <a:pt x="594" y="12"/>
                      <a:pt x="686" y="43"/>
                      <a:pt x="758" y="101"/>
                    </a:cubicBezTo>
                    <a:cubicBezTo>
                      <a:pt x="885" y="202"/>
                      <a:pt x="935" y="388"/>
                      <a:pt x="878" y="540"/>
                    </a:cubicBezTo>
                    <a:cubicBezTo>
                      <a:pt x="856" y="599"/>
                      <a:pt x="819" y="652"/>
                      <a:pt x="792" y="708"/>
                    </a:cubicBezTo>
                    <a:cubicBezTo>
                      <a:pt x="764" y="765"/>
                      <a:pt x="745" y="830"/>
                      <a:pt x="760" y="891"/>
                    </a:cubicBezTo>
                    <a:cubicBezTo>
                      <a:pt x="768" y="921"/>
                      <a:pt x="785" y="951"/>
                      <a:pt x="780" y="982"/>
                    </a:cubicBezTo>
                    <a:cubicBezTo>
                      <a:pt x="774" y="1015"/>
                      <a:pt x="748" y="1039"/>
                      <a:pt x="722" y="1059"/>
                    </a:cubicBezTo>
                    <a:cubicBezTo>
                      <a:pt x="662" y="1106"/>
                      <a:pt x="597" y="1147"/>
                      <a:pt x="529" y="1181"/>
                    </a:cubicBezTo>
                    <a:cubicBezTo>
                      <a:pt x="499" y="1196"/>
                      <a:pt x="468" y="1210"/>
                      <a:pt x="434" y="1212"/>
                    </a:cubicBezTo>
                    <a:cubicBezTo>
                      <a:pt x="423" y="1212"/>
                      <a:pt x="410" y="1211"/>
                      <a:pt x="404" y="1201"/>
                    </a:cubicBezTo>
                    <a:cubicBezTo>
                      <a:pt x="400" y="1196"/>
                      <a:pt x="399" y="1189"/>
                      <a:pt x="399" y="1182"/>
                    </a:cubicBezTo>
                    <a:cubicBezTo>
                      <a:pt x="395" y="1135"/>
                      <a:pt x="392" y="1088"/>
                      <a:pt x="388" y="1041"/>
                    </a:cubicBezTo>
                    <a:cubicBezTo>
                      <a:pt x="386" y="1011"/>
                      <a:pt x="384" y="982"/>
                      <a:pt x="374" y="954"/>
                    </a:cubicBezTo>
                    <a:cubicBezTo>
                      <a:pt x="364" y="927"/>
                      <a:pt x="345" y="901"/>
                      <a:pt x="318" y="890"/>
                    </a:cubicBezTo>
                    <a:cubicBezTo>
                      <a:pt x="261" y="867"/>
                      <a:pt x="188" y="911"/>
                      <a:pt x="139" y="876"/>
                    </a:cubicBezTo>
                    <a:cubicBezTo>
                      <a:pt x="126" y="867"/>
                      <a:pt x="117" y="852"/>
                      <a:pt x="113" y="837"/>
                    </a:cubicBezTo>
                    <a:cubicBezTo>
                      <a:pt x="109" y="818"/>
                      <a:pt x="115" y="805"/>
                      <a:pt x="119" y="788"/>
                    </a:cubicBezTo>
                    <a:cubicBezTo>
                      <a:pt x="123" y="771"/>
                      <a:pt x="111" y="770"/>
                      <a:pt x="99" y="765"/>
                    </a:cubicBezTo>
                    <a:cubicBezTo>
                      <a:pt x="83" y="757"/>
                      <a:pt x="78" y="733"/>
                      <a:pt x="90" y="719"/>
                    </a:cubicBezTo>
                    <a:cubicBezTo>
                      <a:pt x="78" y="722"/>
                      <a:pt x="64" y="715"/>
                      <a:pt x="60" y="703"/>
                    </a:cubicBezTo>
                    <a:cubicBezTo>
                      <a:pt x="57" y="697"/>
                      <a:pt x="58" y="690"/>
                      <a:pt x="60" y="684"/>
                    </a:cubicBezTo>
                    <a:cubicBezTo>
                      <a:pt x="63" y="678"/>
                      <a:pt x="71" y="672"/>
                      <a:pt x="69" y="666"/>
                    </a:cubicBezTo>
                    <a:cubicBezTo>
                      <a:pt x="66" y="656"/>
                      <a:pt x="44" y="655"/>
                      <a:pt x="36" y="653"/>
                    </a:cubicBezTo>
                    <a:cubicBezTo>
                      <a:pt x="24" y="650"/>
                      <a:pt x="11" y="646"/>
                      <a:pt x="6" y="633"/>
                    </a:cubicBezTo>
                    <a:cubicBezTo>
                      <a:pt x="0" y="620"/>
                      <a:pt x="9" y="605"/>
                      <a:pt x="18" y="593"/>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87" name="Freeform 10">
                <a:extLst>
                  <a:ext uri="{FF2B5EF4-FFF2-40B4-BE49-F238E27FC236}">
                    <a16:creationId xmlns:a16="http://schemas.microsoft.com/office/drawing/2014/main" id="{F8660B00-919B-43C4-A66B-DF3CA7EECEAD}"/>
                  </a:ext>
                </a:extLst>
              </p:cNvPr>
              <p:cNvSpPr>
                <a:spLocks noEditPoints="1"/>
              </p:cNvSpPr>
              <p:nvPr/>
            </p:nvSpPr>
            <p:spPr bwMode="auto">
              <a:xfrm>
                <a:off x="1368542" y="3221815"/>
                <a:ext cx="609658" cy="654222"/>
              </a:xfrm>
              <a:custGeom>
                <a:avLst/>
                <a:gdLst>
                  <a:gd name="T0" fmla="*/ 624 w 624"/>
                  <a:gd name="T1" fmla="*/ 368 h 670"/>
                  <a:gd name="T2" fmla="*/ 568 w 624"/>
                  <a:gd name="T3" fmla="*/ 312 h 670"/>
                  <a:gd name="T4" fmla="*/ 516 w 624"/>
                  <a:gd name="T5" fmla="*/ 347 h 670"/>
                  <a:gd name="T6" fmla="*/ 363 w 624"/>
                  <a:gd name="T7" fmla="*/ 347 h 670"/>
                  <a:gd name="T8" fmla="*/ 439 w 624"/>
                  <a:gd name="T9" fmla="*/ 201 h 670"/>
                  <a:gd name="T10" fmla="*/ 326 w 624"/>
                  <a:gd name="T11" fmla="*/ 36 h 670"/>
                  <a:gd name="T12" fmla="*/ 274 w 624"/>
                  <a:gd name="T13" fmla="*/ 0 h 670"/>
                  <a:gd name="T14" fmla="*/ 218 w 624"/>
                  <a:gd name="T15" fmla="*/ 57 h 670"/>
                  <a:gd name="T16" fmla="*/ 253 w 624"/>
                  <a:gd name="T17" fmla="*/ 109 h 670"/>
                  <a:gd name="T18" fmla="*/ 253 w 624"/>
                  <a:gd name="T19" fmla="*/ 274 h 670"/>
                  <a:gd name="T20" fmla="*/ 173 w 624"/>
                  <a:gd name="T21" fmla="*/ 250 h 670"/>
                  <a:gd name="T22" fmla="*/ 54 w 624"/>
                  <a:gd name="T23" fmla="*/ 312 h 670"/>
                  <a:gd name="T24" fmla="*/ 0 w 624"/>
                  <a:gd name="T25" fmla="*/ 368 h 670"/>
                  <a:gd name="T26" fmla="*/ 56 w 624"/>
                  <a:gd name="T27" fmla="*/ 424 h 670"/>
                  <a:gd name="T28" fmla="*/ 109 w 624"/>
                  <a:gd name="T29" fmla="*/ 387 h 670"/>
                  <a:gd name="T30" fmla="*/ 178 w 624"/>
                  <a:gd name="T31" fmla="*/ 387 h 670"/>
                  <a:gd name="T32" fmla="*/ 172 w 624"/>
                  <a:gd name="T33" fmla="*/ 393 h 670"/>
                  <a:gd name="T34" fmla="*/ 135 w 624"/>
                  <a:gd name="T35" fmla="*/ 489 h 670"/>
                  <a:gd name="T36" fmla="*/ 168 w 624"/>
                  <a:gd name="T37" fmla="*/ 580 h 670"/>
                  <a:gd name="T38" fmla="*/ 218 w 624"/>
                  <a:gd name="T39" fmla="*/ 619 h 670"/>
                  <a:gd name="T40" fmla="*/ 274 w 624"/>
                  <a:gd name="T41" fmla="*/ 670 h 670"/>
                  <a:gd name="T42" fmla="*/ 330 w 624"/>
                  <a:gd name="T43" fmla="*/ 613 h 670"/>
                  <a:gd name="T44" fmla="*/ 293 w 624"/>
                  <a:gd name="T45" fmla="*/ 560 h 670"/>
                  <a:gd name="T46" fmla="*/ 293 w 624"/>
                  <a:gd name="T47" fmla="*/ 447 h 670"/>
                  <a:gd name="T48" fmla="*/ 322 w 624"/>
                  <a:gd name="T49" fmla="*/ 479 h 670"/>
                  <a:gd name="T50" fmla="*/ 426 w 624"/>
                  <a:gd name="T51" fmla="*/ 516 h 670"/>
                  <a:gd name="T52" fmla="*/ 440 w 624"/>
                  <a:gd name="T53" fmla="*/ 516 h 670"/>
                  <a:gd name="T54" fmla="*/ 571 w 624"/>
                  <a:gd name="T55" fmla="*/ 424 h 670"/>
                  <a:gd name="T56" fmla="*/ 624 w 624"/>
                  <a:gd name="T57" fmla="*/ 368 h 670"/>
                  <a:gd name="T58" fmla="*/ 419 w 624"/>
                  <a:gd name="T59" fmla="*/ 201 h 670"/>
                  <a:gd name="T60" fmla="*/ 322 w 624"/>
                  <a:gd name="T61" fmla="*/ 347 h 670"/>
                  <a:gd name="T62" fmla="*/ 293 w 624"/>
                  <a:gd name="T63" fmla="*/ 347 h 670"/>
                  <a:gd name="T64" fmla="*/ 293 w 624"/>
                  <a:gd name="T65" fmla="*/ 110 h 670"/>
                  <a:gd name="T66" fmla="*/ 330 w 624"/>
                  <a:gd name="T67" fmla="*/ 60 h 670"/>
                  <a:gd name="T68" fmla="*/ 419 w 624"/>
                  <a:gd name="T69" fmla="*/ 201 h 670"/>
                  <a:gd name="T70" fmla="*/ 173 w 624"/>
                  <a:gd name="T71" fmla="*/ 270 h 670"/>
                  <a:gd name="T72" fmla="*/ 253 w 624"/>
                  <a:gd name="T73" fmla="*/ 299 h 670"/>
                  <a:gd name="T74" fmla="*/ 253 w 624"/>
                  <a:gd name="T75" fmla="*/ 347 h 670"/>
                  <a:gd name="T76" fmla="*/ 108 w 624"/>
                  <a:gd name="T77" fmla="*/ 347 h 670"/>
                  <a:gd name="T78" fmla="*/ 76 w 624"/>
                  <a:gd name="T79" fmla="*/ 316 h 670"/>
                  <a:gd name="T80" fmla="*/ 173 w 624"/>
                  <a:gd name="T81" fmla="*/ 270 h 670"/>
                  <a:gd name="T82" fmla="*/ 155 w 624"/>
                  <a:gd name="T83" fmla="*/ 489 h 670"/>
                  <a:gd name="T84" fmla="*/ 210 w 624"/>
                  <a:gd name="T85" fmla="*/ 387 h 670"/>
                  <a:gd name="T86" fmla="*/ 253 w 624"/>
                  <a:gd name="T87" fmla="*/ 387 h 670"/>
                  <a:gd name="T88" fmla="*/ 253 w 624"/>
                  <a:gd name="T89" fmla="*/ 561 h 670"/>
                  <a:gd name="T90" fmla="*/ 220 w 624"/>
                  <a:gd name="T91" fmla="*/ 597 h 670"/>
                  <a:gd name="T92" fmla="*/ 155 w 624"/>
                  <a:gd name="T93" fmla="*/ 489 h 670"/>
                  <a:gd name="T94" fmla="*/ 438 w 624"/>
                  <a:gd name="T95" fmla="*/ 496 h 670"/>
                  <a:gd name="T96" fmla="*/ 335 w 624"/>
                  <a:gd name="T97" fmla="*/ 463 h 670"/>
                  <a:gd name="T98" fmla="*/ 293 w 624"/>
                  <a:gd name="T99" fmla="*/ 404 h 670"/>
                  <a:gd name="T100" fmla="*/ 293 w 624"/>
                  <a:gd name="T101" fmla="*/ 387 h 670"/>
                  <a:gd name="T102" fmla="*/ 514 w 624"/>
                  <a:gd name="T103" fmla="*/ 387 h 670"/>
                  <a:gd name="T104" fmla="*/ 550 w 624"/>
                  <a:gd name="T105" fmla="*/ 422 h 670"/>
                  <a:gd name="T106" fmla="*/ 438 w 624"/>
                  <a:gd name="T107" fmla="*/ 496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4" h="670">
                    <a:moveTo>
                      <a:pt x="624" y="368"/>
                    </a:moveTo>
                    <a:cubicBezTo>
                      <a:pt x="624" y="337"/>
                      <a:pt x="599" y="312"/>
                      <a:pt x="568" y="312"/>
                    </a:cubicBezTo>
                    <a:cubicBezTo>
                      <a:pt x="544" y="312"/>
                      <a:pt x="524" y="326"/>
                      <a:pt x="516" y="347"/>
                    </a:cubicBezTo>
                    <a:cubicBezTo>
                      <a:pt x="363" y="347"/>
                      <a:pt x="363" y="347"/>
                      <a:pt x="363" y="347"/>
                    </a:cubicBezTo>
                    <a:cubicBezTo>
                      <a:pt x="409" y="314"/>
                      <a:pt x="439" y="261"/>
                      <a:pt x="439" y="201"/>
                    </a:cubicBezTo>
                    <a:cubicBezTo>
                      <a:pt x="439" y="126"/>
                      <a:pt x="392" y="62"/>
                      <a:pt x="326" y="36"/>
                    </a:cubicBezTo>
                    <a:cubicBezTo>
                      <a:pt x="318" y="15"/>
                      <a:pt x="298" y="0"/>
                      <a:pt x="274" y="0"/>
                    </a:cubicBezTo>
                    <a:cubicBezTo>
                      <a:pt x="243" y="0"/>
                      <a:pt x="218" y="26"/>
                      <a:pt x="218" y="57"/>
                    </a:cubicBezTo>
                    <a:cubicBezTo>
                      <a:pt x="218" y="81"/>
                      <a:pt x="232" y="101"/>
                      <a:pt x="253" y="109"/>
                    </a:cubicBezTo>
                    <a:cubicBezTo>
                      <a:pt x="253" y="274"/>
                      <a:pt x="253" y="274"/>
                      <a:pt x="253" y="274"/>
                    </a:cubicBezTo>
                    <a:cubicBezTo>
                      <a:pt x="230" y="259"/>
                      <a:pt x="202" y="250"/>
                      <a:pt x="173" y="250"/>
                    </a:cubicBezTo>
                    <a:cubicBezTo>
                      <a:pt x="125" y="250"/>
                      <a:pt x="81" y="274"/>
                      <a:pt x="54" y="312"/>
                    </a:cubicBezTo>
                    <a:cubicBezTo>
                      <a:pt x="24" y="313"/>
                      <a:pt x="0" y="338"/>
                      <a:pt x="0" y="368"/>
                    </a:cubicBezTo>
                    <a:cubicBezTo>
                      <a:pt x="0" y="399"/>
                      <a:pt x="25" y="424"/>
                      <a:pt x="56" y="424"/>
                    </a:cubicBezTo>
                    <a:cubicBezTo>
                      <a:pt x="81" y="424"/>
                      <a:pt x="102" y="409"/>
                      <a:pt x="109" y="387"/>
                    </a:cubicBezTo>
                    <a:cubicBezTo>
                      <a:pt x="178" y="387"/>
                      <a:pt x="178" y="387"/>
                      <a:pt x="178" y="387"/>
                    </a:cubicBezTo>
                    <a:cubicBezTo>
                      <a:pt x="176" y="389"/>
                      <a:pt x="174" y="391"/>
                      <a:pt x="172" y="393"/>
                    </a:cubicBezTo>
                    <a:cubicBezTo>
                      <a:pt x="148" y="419"/>
                      <a:pt x="135" y="453"/>
                      <a:pt x="135" y="489"/>
                    </a:cubicBezTo>
                    <a:cubicBezTo>
                      <a:pt x="135" y="522"/>
                      <a:pt x="147" y="554"/>
                      <a:pt x="168" y="580"/>
                    </a:cubicBezTo>
                    <a:cubicBezTo>
                      <a:pt x="181" y="596"/>
                      <a:pt x="199" y="610"/>
                      <a:pt x="218" y="619"/>
                    </a:cubicBezTo>
                    <a:cubicBezTo>
                      <a:pt x="221" y="647"/>
                      <a:pt x="245" y="670"/>
                      <a:pt x="274" y="670"/>
                    </a:cubicBezTo>
                    <a:cubicBezTo>
                      <a:pt x="305" y="670"/>
                      <a:pt x="330" y="644"/>
                      <a:pt x="330" y="613"/>
                    </a:cubicBezTo>
                    <a:cubicBezTo>
                      <a:pt x="330" y="589"/>
                      <a:pt x="315" y="568"/>
                      <a:pt x="293" y="560"/>
                    </a:cubicBezTo>
                    <a:cubicBezTo>
                      <a:pt x="293" y="447"/>
                      <a:pt x="293" y="447"/>
                      <a:pt x="293" y="447"/>
                    </a:cubicBezTo>
                    <a:cubicBezTo>
                      <a:pt x="302" y="459"/>
                      <a:pt x="311" y="469"/>
                      <a:pt x="322" y="479"/>
                    </a:cubicBezTo>
                    <a:cubicBezTo>
                      <a:pt x="352" y="503"/>
                      <a:pt x="388" y="516"/>
                      <a:pt x="426" y="516"/>
                    </a:cubicBezTo>
                    <a:cubicBezTo>
                      <a:pt x="430" y="516"/>
                      <a:pt x="435" y="516"/>
                      <a:pt x="440" y="516"/>
                    </a:cubicBezTo>
                    <a:cubicBezTo>
                      <a:pt x="498" y="511"/>
                      <a:pt x="547" y="474"/>
                      <a:pt x="571" y="424"/>
                    </a:cubicBezTo>
                    <a:cubicBezTo>
                      <a:pt x="601" y="423"/>
                      <a:pt x="624" y="398"/>
                      <a:pt x="624" y="368"/>
                    </a:cubicBezTo>
                    <a:close/>
                    <a:moveTo>
                      <a:pt x="419" y="201"/>
                    </a:moveTo>
                    <a:cubicBezTo>
                      <a:pt x="419" y="267"/>
                      <a:pt x="379" y="323"/>
                      <a:pt x="322" y="347"/>
                    </a:cubicBezTo>
                    <a:cubicBezTo>
                      <a:pt x="293" y="347"/>
                      <a:pt x="293" y="347"/>
                      <a:pt x="293" y="347"/>
                    </a:cubicBezTo>
                    <a:cubicBezTo>
                      <a:pt x="293" y="110"/>
                      <a:pt x="293" y="110"/>
                      <a:pt x="293" y="110"/>
                    </a:cubicBezTo>
                    <a:cubicBezTo>
                      <a:pt x="314" y="102"/>
                      <a:pt x="329" y="83"/>
                      <a:pt x="330" y="60"/>
                    </a:cubicBezTo>
                    <a:cubicBezTo>
                      <a:pt x="383" y="85"/>
                      <a:pt x="419" y="139"/>
                      <a:pt x="419" y="201"/>
                    </a:cubicBezTo>
                    <a:close/>
                    <a:moveTo>
                      <a:pt x="173" y="270"/>
                    </a:moveTo>
                    <a:cubicBezTo>
                      <a:pt x="203" y="270"/>
                      <a:pt x="231" y="280"/>
                      <a:pt x="253" y="299"/>
                    </a:cubicBezTo>
                    <a:cubicBezTo>
                      <a:pt x="253" y="347"/>
                      <a:pt x="253" y="347"/>
                      <a:pt x="253" y="347"/>
                    </a:cubicBezTo>
                    <a:cubicBezTo>
                      <a:pt x="108" y="347"/>
                      <a:pt x="108" y="347"/>
                      <a:pt x="108" y="347"/>
                    </a:cubicBezTo>
                    <a:cubicBezTo>
                      <a:pt x="102" y="332"/>
                      <a:pt x="91" y="321"/>
                      <a:pt x="76" y="316"/>
                    </a:cubicBezTo>
                    <a:cubicBezTo>
                      <a:pt x="100" y="287"/>
                      <a:pt x="135" y="270"/>
                      <a:pt x="173" y="270"/>
                    </a:cubicBezTo>
                    <a:close/>
                    <a:moveTo>
                      <a:pt x="155" y="489"/>
                    </a:moveTo>
                    <a:cubicBezTo>
                      <a:pt x="155" y="446"/>
                      <a:pt x="177" y="409"/>
                      <a:pt x="210" y="387"/>
                    </a:cubicBezTo>
                    <a:cubicBezTo>
                      <a:pt x="253" y="387"/>
                      <a:pt x="253" y="387"/>
                      <a:pt x="253" y="387"/>
                    </a:cubicBezTo>
                    <a:cubicBezTo>
                      <a:pt x="253" y="561"/>
                      <a:pt x="253" y="561"/>
                      <a:pt x="253" y="561"/>
                    </a:cubicBezTo>
                    <a:cubicBezTo>
                      <a:pt x="237" y="567"/>
                      <a:pt x="225" y="581"/>
                      <a:pt x="220" y="597"/>
                    </a:cubicBezTo>
                    <a:cubicBezTo>
                      <a:pt x="181" y="576"/>
                      <a:pt x="155" y="535"/>
                      <a:pt x="155" y="489"/>
                    </a:cubicBezTo>
                    <a:close/>
                    <a:moveTo>
                      <a:pt x="438" y="496"/>
                    </a:moveTo>
                    <a:cubicBezTo>
                      <a:pt x="400" y="499"/>
                      <a:pt x="364" y="488"/>
                      <a:pt x="335" y="463"/>
                    </a:cubicBezTo>
                    <a:cubicBezTo>
                      <a:pt x="316" y="447"/>
                      <a:pt x="302" y="427"/>
                      <a:pt x="293" y="404"/>
                    </a:cubicBezTo>
                    <a:cubicBezTo>
                      <a:pt x="293" y="387"/>
                      <a:pt x="293" y="387"/>
                      <a:pt x="293" y="387"/>
                    </a:cubicBezTo>
                    <a:cubicBezTo>
                      <a:pt x="514" y="387"/>
                      <a:pt x="514" y="387"/>
                      <a:pt x="514" y="387"/>
                    </a:cubicBezTo>
                    <a:cubicBezTo>
                      <a:pt x="520" y="403"/>
                      <a:pt x="533" y="416"/>
                      <a:pt x="550" y="422"/>
                    </a:cubicBezTo>
                    <a:cubicBezTo>
                      <a:pt x="528" y="462"/>
                      <a:pt x="487" y="492"/>
                      <a:pt x="438" y="49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cxnSp>
        <p:nvCxnSpPr>
          <p:cNvPr id="90" name="Straight Connector 89">
            <a:extLst>
              <a:ext uri="{FF2B5EF4-FFF2-40B4-BE49-F238E27FC236}">
                <a16:creationId xmlns:a16="http://schemas.microsoft.com/office/drawing/2014/main" id="{B51D4734-CD41-4CB1-A434-31F0509E6C1B}"/>
              </a:ext>
            </a:extLst>
          </p:cNvPr>
          <p:cNvCxnSpPr>
            <a:cxnSpLocks/>
          </p:cNvCxnSpPr>
          <p:nvPr/>
        </p:nvCxnSpPr>
        <p:spPr>
          <a:xfrm>
            <a:off x="587904" y="2550177"/>
            <a:ext cx="0" cy="2484673"/>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8ACB0D8-2785-4745-9A89-DB0C50EC53C6}"/>
              </a:ext>
            </a:extLst>
          </p:cNvPr>
          <p:cNvCxnSpPr>
            <a:cxnSpLocks/>
          </p:cNvCxnSpPr>
          <p:nvPr/>
        </p:nvCxnSpPr>
        <p:spPr>
          <a:xfrm>
            <a:off x="2282794" y="391440"/>
            <a:ext cx="0" cy="2138457"/>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79340BB1-1B80-428D-BEDB-9240A30523BA}"/>
              </a:ext>
            </a:extLst>
          </p:cNvPr>
          <p:cNvSpPr txBox="1"/>
          <p:nvPr/>
        </p:nvSpPr>
        <p:spPr>
          <a:xfrm>
            <a:off x="2282794" y="1007058"/>
            <a:ext cx="3728875" cy="9417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Inven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Inventing new technologies and</a:t>
            </a:r>
            <a:b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end-to-end system archite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e pioneered key cellular broadcast</a:t>
            </a:r>
            <a:b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technologies for 3G, 4G, and 5G</a:t>
            </a:r>
          </a:p>
        </p:txBody>
      </p:sp>
      <p:sp>
        <p:nvSpPr>
          <p:cNvPr id="108" name="TextBox 107">
            <a:extLst>
              <a:ext uri="{FF2B5EF4-FFF2-40B4-BE49-F238E27FC236}">
                <a16:creationId xmlns:a16="http://schemas.microsoft.com/office/drawing/2014/main" id="{C49D858E-5631-4E1A-B2B4-AD970D13D0DD}"/>
              </a:ext>
            </a:extLst>
          </p:cNvPr>
          <p:cNvSpPr txBox="1"/>
          <p:nvPr/>
        </p:nvSpPr>
        <p:spPr>
          <a:xfrm>
            <a:off x="3977684" y="2755857"/>
            <a:ext cx="4420668" cy="9417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Proof-of-concep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Delivering end-to-end prototypes</a:t>
            </a:r>
            <a:b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and impactful demonstration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e showcased cellular broadcast</a:t>
            </a:r>
            <a:b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b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technologies at various industry events</a:t>
            </a:r>
          </a:p>
        </p:txBody>
      </p:sp>
      <p:cxnSp>
        <p:nvCxnSpPr>
          <p:cNvPr id="109" name="Straight Connector 108">
            <a:extLst>
              <a:ext uri="{FF2B5EF4-FFF2-40B4-BE49-F238E27FC236}">
                <a16:creationId xmlns:a16="http://schemas.microsoft.com/office/drawing/2014/main" id="{83615471-7CF2-4CBE-8433-40A35C9F0215}"/>
              </a:ext>
            </a:extLst>
          </p:cNvPr>
          <p:cNvCxnSpPr>
            <a:cxnSpLocks/>
          </p:cNvCxnSpPr>
          <p:nvPr/>
        </p:nvCxnSpPr>
        <p:spPr>
          <a:xfrm>
            <a:off x="3977684" y="2550177"/>
            <a:ext cx="0" cy="2484673"/>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20D4A68E-1822-4367-A4BC-E709766AF734}"/>
              </a:ext>
            </a:extLst>
          </p:cNvPr>
          <p:cNvGrpSpPr>
            <a:grpSpLocks noChangeAspect="1"/>
          </p:cNvGrpSpPr>
          <p:nvPr/>
        </p:nvGrpSpPr>
        <p:grpSpPr>
          <a:xfrm>
            <a:off x="2361098" y="435953"/>
            <a:ext cx="519478" cy="505527"/>
            <a:chOff x="1743099" y="1622425"/>
            <a:chExt cx="3712863" cy="3613150"/>
          </a:xfrm>
        </p:grpSpPr>
        <p:grpSp>
          <p:nvGrpSpPr>
            <p:cNvPr id="114" name="Group 113">
              <a:extLst>
                <a:ext uri="{FF2B5EF4-FFF2-40B4-BE49-F238E27FC236}">
                  <a16:creationId xmlns:a16="http://schemas.microsoft.com/office/drawing/2014/main" id="{B2FC4900-B5F4-4B54-AF10-17459D9BCB3C}"/>
                </a:ext>
              </a:extLst>
            </p:cNvPr>
            <p:cNvGrpSpPr/>
            <p:nvPr/>
          </p:nvGrpSpPr>
          <p:grpSpPr>
            <a:xfrm>
              <a:off x="1743099" y="1622425"/>
              <a:ext cx="3712863" cy="3613150"/>
              <a:chOff x="4269731" y="1622425"/>
              <a:chExt cx="3712863" cy="3613150"/>
            </a:xfrm>
          </p:grpSpPr>
          <p:sp>
            <p:nvSpPr>
              <p:cNvPr id="118" name="Freeform 24">
                <a:extLst>
                  <a:ext uri="{FF2B5EF4-FFF2-40B4-BE49-F238E27FC236}">
                    <a16:creationId xmlns:a16="http://schemas.microsoft.com/office/drawing/2014/main" id="{98C71ED9-8E08-4B12-84A5-5A49F193F5A1}"/>
                  </a:ext>
                </a:extLst>
              </p:cNvPr>
              <p:cNvSpPr>
                <a:spLocks/>
              </p:cNvSpPr>
              <p:nvPr/>
            </p:nvSpPr>
            <p:spPr bwMode="auto">
              <a:xfrm>
                <a:off x="4269731" y="1622425"/>
                <a:ext cx="3712863" cy="3613150"/>
              </a:xfrm>
              <a:custGeom>
                <a:avLst/>
                <a:gdLst>
                  <a:gd name="T0" fmla="*/ 7931 w 8468"/>
                  <a:gd name="T1" fmla="*/ 4100 h 8000"/>
                  <a:gd name="T2" fmla="*/ 7931 w 8468"/>
                  <a:gd name="T3" fmla="*/ 4100 h 8000"/>
                  <a:gd name="T4" fmla="*/ 8062 w 8468"/>
                  <a:gd name="T5" fmla="*/ 3577 h 8000"/>
                  <a:gd name="T6" fmla="*/ 7291 w 8468"/>
                  <a:gd name="T7" fmla="*/ 2511 h 8000"/>
                  <a:gd name="T8" fmla="*/ 7015 w 8468"/>
                  <a:gd name="T9" fmla="*/ 1362 h 8000"/>
                  <a:gd name="T10" fmla="*/ 6286 w 8468"/>
                  <a:gd name="T11" fmla="*/ 1032 h 8000"/>
                  <a:gd name="T12" fmla="*/ 5163 w 8468"/>
                  <a:gd name="T13" fmla="*/ 0 h 8000"/>
                  <a:gd name="T14" fmla="*/ 5163 w 8468"/>
                  <a:gd name="T15" fmla="*/ 0 h 8000"/>
                  <a:gd name="T16" fmla="*/ 4372 w 8468"/>
                  <a:gd name="T17" fmla="*/ 323 h 8000"/>
                  <a:gd name="T18" fmla="*/ 4165 w 8468"/>
                  <a:gd name="T19" fmla="*/ 605 h 8000"/>
                  <a:gd name="T20" fmla="*/ 3959 w 8468"/>
                  <a:gd name="T21" fmla="*/ 323 h 8000"/>
                  <a:gd name="T22" fmla="*/ 3167 w 8468"/>
                  <a:gd name="T23" fmla="*/ 0 h 8000"/>
                  <a:gd name="T24" fmla="*/ 2045 w 8468"/>
                  <a:gd name="T25" fmla="*/ 1032 h 8000"/>
                  <a:gd name="T26" fmla="*/ 1315 w 8468"/>
                  <a:gd name="T27" fmla="*/ 1362 h 8000"/>
                  <a:gd name="T28" fmla="*/ 1040 w 8468"/>
                  <a:gd name="T29" fmla="*/ 2511 h 8000"/>
                  <a:gd name="T30" fmla="*/ 269 w 8468"/>
                  <a:gd name="T31" fmla="*/ 3577 h 8000"/>
                  <a:gd name="T32" fmla="*/ 400 w 8468"/>
                  <a:gd name="T33" fmla="*/ 4100 h 8000"/>
                  <a:gd name="T34" fmla="*/ 400 w 8468"/>
                  <a:gd name="T35" fmla="*/ 4100 h 8000"/>
                  <a:gd name="T36" fmla="*/ 0 w 8468"/>
                  <a:gd name="T37" fmla="*/ 5063 h 8000"/>
                  <a:gd name="T38" fmla="*/ 400 w 8468"/>
                  <a:gd name="T39" fmla="*/ 6026 h 8000"/>
                  <a:gd name="T40" fmla="*/ 985 w 8468"/>
                  <a:gd name="T41" fmla="*/ 6370 h 8000"/>
                  <a:gd name="T42" fmla="*/ 2651 w 8468"/>
                  <a:gd name="T43" fmla="*/ 8000 h 8000"/>
                  <a:gd name="T44" fmla="*/ 4165 w 8468"/>
                  <a:gd name="T45" fmla="*/ 7030 h 8000"/>
                  <a:gd name="T46" fmla="*/ 5680 w 8468"/>
                  <a:gd name="T47" fmla="*/ 8000 h 8000"/>
                  <a:gd name="T48" fmla="*/ 7346 w 8468"/>
                  <a:gd name="T49" fmla="*/ 6370 h 8000"/>
                  <a:gd name="T50" fmla="*/ 7931 w 8468"/>
                  <a:gd name="T51" fmla="*/ 6026 h 8000"/>
                  <a:gd name="T52" fmla="*/ 7931 w 8468"/>
                  <a:gd name="T53" fmla="*/ 4100 h 8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68" h="8000">
                    <a:moveTo>
                      <a:pt x="7931" y="4100"/>
                    </a:moveTo>
                    <a:cubicBezTo>
                      <a:pt x="7931" y="4100"/>
                      <a:pt x="7931" y="4100"/>
                      <a:pt x="7931" y="4100"/>
                    </a:cubicBezTo>
                    <a:cubicBezTo>
                      <a:pt x="8014" y="3942"/>
                      <a:pt x="8062" y="3763"/>
                      <a:pt x="8062" y="3577"/>
                    </a:cubicBezTo>
                    <a:cubicBezTo>
                      <a:pt x="8062" y="3095"/>
                      <a:pt x="7738" y="2662"/>
                      <a:pt x="7291" y="2511"/>
                    </a:cubicBezTo>
                    <a:cubicBezTo>
                      <a:pt x="7422" y="2119"/>
                      <a:pt x="7332" y="1672"/>
                      <a:pt x="7015" y="1362"/>
                    </a:cubicBezTo>
                    <a:cubicBezTo>
                      <a:pt x="6823" y="1163"/>
                      <a:pt x="6561" y="1046"/>
                      <a:pt x="6286" y="1032"/>
                    </a:cubicBezTo>
                    <a:cubicBezTo>
                      <a:pt x="6237" y="454"/>
                      <a:pt x="5756" y="0"/>
                      <a:pt x="5163" y="0"/>
                    </a:cubicBezTo>
                    <a:cubicBezTo>
                      <a:pt x="5163" y="0"/>
                      <a:pt x="5163" y="0"/>
                      <a:pt x="5163" y="0"/>
                    </a:cubicBezTo>
                    <a:cubicBezTo>
                      <a:pt x="4867" y="0"/>
                      <a:pt x="4585" y="117"/>
                      <a:pt x="4372" y="323"/>
                    </a:cubicBezTo>
                    <a:cubicBezTo>
                      <a:pt x="4289" y="413"/>
                      <a:pt x="4220" y="502"/>
                      <a:pt x="4165" y="605"/>
                    </a:cubicBezTo>
                    <a:cubicBezTo>
                      <a:pt x="4110" y="502"/>
                      <a:pt x="4041" y="413"/>
                      <a:pt x="3959" y="323"/>
                    </a:cubicBezTo>
                    <a:cubicBezTo>
                      <a:pt x="3745" y="117"/>
                      <a:pt x="3463" y="0"/>
                      <a:pt x="3167" y="0"/>
                    </a:cubicBezTo>
                    <a:cubicBezTo>
                      <a:pt x="2575" y="0"/>
                      <a:pt x="2093" y="454"/>
                      <a:pt x="2045" y="1032"/>
                    </a:cubicBezTo>
                    <a:cubicBezTo>
                      <a:pt x="1770" y="1046"/>
                      <a:pt x="1508" y="1163"/>
                      <a:pt x="1315" y="1362"/>
                    </a:cubicBezTo>
                    <a:cubicBezTo>
                      <a:pt x="999" y="1672"/>
                      <a:pt x="909" y="2119"/>
                      <a:pt x="1040" y="2511"/>
                    </a:cubicBezTo>
                    <a:cubicBezTo>
                      <a:pt x="592" y="2662"/>
                      <a:pt x="269" y="3095"/>
                      <a:pt x="269" y="3577"/>
                    </a:cubicBezTo>
                    <a:cubicBezTo>
                      <a:pt x="269" y="3763"/>
                      <a:pt x="317" y="3942"/>
                      <a:pt x="400" y="4100"/>
                    </a:cubicBezTo>
                    <a:cubicBezTo>
                      <a:pt x="400" y="4100"/>
                      <a:pt x="400" y="4100"/>
                      <a:pt x="400" y="4100"/>
                    </a:cubicBezTo>
                    <a:cubicBezTo>
                      <a:pt x="138" y="4361"/>
                      <a:pt x="0" y="4698"/>
                      <a:pt x="0" y="5063"/>
                    </a:cubicBezTo>
                    <a:cubicBezTo>
                      <a:pt x="0" y="5427"/>
                      <a:pt x="138" y="5771"/>
                      <a:pt x="400" y="6026"/>
                    </a:cubicBezTo>
                    <a:cubicBezTo>
                      <a:pt x="565" y="6198"/>
                      <a:pt x="771" y="6308"/>
                      <a:pt x="985" y="6370"/>
                    </a:cubicBezTo>
                    <a:cubicBezTo>
                      <a:pt x="1005" y="7271"/>
                      <a:pt x="1742" y="8000"/>
                      <a:pt x="2651" y="8000"/>
                    </a:cubicBezTo>
                    <a:cubicBezTo>
                      <a:pt x="3319" y="8000"/>
                      <a:pt x="3904" y="7601"/>
                      <a:pt x="4165" y="7030"/>
                    </a:cubicBezTo>
                    <a:cubicBezTo>
                      <a:pt x="4427" y="7601"/>
                      <a:pt x="5012" y="8000"/>
                      <a:pt x="5680" y="8000"/>
                    </a:cubicBezTo>
                    <a:cubicBezTo>
                      <a:pt x="6589" y="8000"/>
                      <a:pt x="7325" y="7271"/>
                      <a:pt x="7346" y="6370"/>
                    </a:cubicBezTo>
                    <a:cubicBezTo>
                      <a:pt x="7566" y="6308"/>
                      <a:pt x="7766" y="6198"/>
                      <a:pt x="7931" y="6026"/>
                    </a:cubicBezTo>
                    <a:cubicBezTo>
                      <a:pt x="8468" y="5496"/>
                      <a:pt x="8468" y="4629"/>
                      <a:pt x="7931" y="4100"/>
                    </a:cubicBezTo>
                    <a:close/>
                  </a:path>
                </a:pathLst>
              </a:custGeom>
              <a:solidFill>
                <a:srgbClr val="3253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9" name="Freeform: Shape 39">
                <a:extLst>
                  <a:ext uri="{FF2B5EF4-FFF2-40B4-BE49-F238E27FC236}">
                    <a16:creationId xmlns:a16="http://schemas.microsoft.com/office/drawing/2014/main" id="{0C75585A-06EC-4DDC-ADC0-E102EA30214A}"/>
                  </a:ext>
                </a:extLst>
              </p:cNvPr>
              <p:cNvSpPr>
                <a:spLocks noChangeArrowheads="1"/>
              </p:cNvSpPr>
              <p:nvPr/>
            </p:nvSpPr>
            <p:spPr bwMode="auto">
              <a:xfrm>
                <a:off x="4702175" y="1989138"/>
                <a:ext cx="2787651" cy="2973388"/>
              </a:xfrm>
              <a:custGeom>
                <a:avLst/>
                <a:gdLst>
                  <a:gd name="connsiteX0" fmla="*/ 1393825 w 2787651"/>
                  <a:gd name="connsiteY0" fmla="*/ 2339974 h 2973388"/>
                  <a:gd name="connsiteX1" fmla="*/ 1311275 w 2787651"/>
                  <a:gd name="connsiteY1" fmla="*/ 2421731 h 2973388"/>
                  <a:gd name="connsiteX2" fmla="*/ 1393825 w 2787651"/>
                  <a:gd name="connsiteY2" fmla="*/ 2503488 h 2973388"/>
                  <a:gd name="connsiteX3" fmla="*/ 1476375 w 2787651"/>
                  <a:gd name="connsiteY3" fmla="*/ 2421731 h 2973388"/>
                  <a:gd name="connsiteX4" fmla="*/ 1393825 w 2787651"/>
                  <a:gd name="connsiteY4" fmla="*/ 2339974 h 2973388"/>
                  <a:gd name="connsiteX5" fmla="*/ 920533 w 2787651"/>
                  <a:gd name="connsiteY5" fmla="*/ 2191638 h 2973388"/>
                  <a:gd name="connsiteX6" fmla="*/ 972769 w 2787651"/>
                  <a:gd name="connsiteY6" fmla="*/ 2213354 h 2973388"/>
                  <a:gd name="connsiteX7" fmla="*/ 972769 w 2787651"/>
                  <a:gd name="connsiteY7" fmla="*/ 2317859 h 2973388"/>
                  <a:gd name="connsiteX8" fmla="*/ 803173 w 2787651"/>
                  <a:gd name="connsiteY8" fmla="*/ 2487509 h 2973388"/>
                  <a:gd name="connsiteX9" fmla="*/ 803173 w 2787651"/>
                  <a:gd name="connsiteY9" fmla="*/ 2767546 h 2973388"/>
                  <a:gd name="connsiteX10" fmla="*/ 845685 w 2787651"/>
                  <a:gd name="connsiteY10" fmla="*/ 2856669 h 2973388"/>
                  <a:gd name="connsiteX11" fmla="*/ 729456 w 2787651"/>
                  <a:gd name="connsiteY11" fmla="*/ 2973388 h 2973388"/>
                  <a:gd name="connsiteX12" fmla="*/ 612775 w 2787651"/>
                  <a:gd name="connsiteY12" fmla="*/ 2856669 h 2973388"/>
                  <a:gd name="connsiteX13" fmla="*/ 655287 w 2787651"/>
                  <a:gd name="connsiteY13" fmla="*/ 2767546 h 2973388"/>
                  <a:gd name="connsiteX14" fmla="*/ 655287 w 2787651"/>
                  <a:gd name="connsiteY14" fmla="*/ 2457198 h 2973388"/>
                  <a:gd name="connsiteX15" fmla="*/ 676995 w 2787651"/>
                  <a:gd name="connsiteY15" fmla="*/ 2404720 h 2973388"/>
                  <a:gd name="connsiteX16" fmla="*/ 868298 w 2787651"/>
                  <a:gd name="connsiteY16" fmla="*/ 2213354 h 2973388"/>
                  <a:gd name="connsiteX17" fmla="*/ 920533 w 2787651"/>
                  <a:gd name="connsiteY17" fmla="*/ 2191638 h 2973388"/>
                  <a:gd name="connsiteX18" fmla="*/ 1867118 w 2787651"/>
                  <a:gd name="connsiteY18" fmla="*/ 2191638 h 2973388"/>
                  <a:gd name="connsiteX19" fmla="*/ 1919353 w 2787651"/>
                  <a:gd name="connsiteY19" fmla="*/ 2213354 h 2973388"/>
                  <a:gd name="connsiteX20" fmla="*/ 2110656 w 2787651"/>
                  <a:gd name="connsiteY20" fmla="*/ 2404720 h 2973388"/>
                  <a:gd name="connsiteX21" fmla="*/ 2132364 w 2787651"/>
                  <a:gd name="connsiteY21" fmla="*/ 2457198 h 2973388"/>
                  <a:gd name="connsiteX22" fmla="*/ 2132364 w 2787651"/>
                  <a:gd name="connsiteY22" fmla="*/ 2767546 h 2973388"/>
                  <a:gd name="connsiteX23" fmla="*/ 2174876 w 2787651"/>
                  <a:gd name="connsiteY23" fmla="*/ 2856669 h 2973388"/>
                  <a:gd name="connsiteX24" fmla="*/ 2058195 w 2787651"/>
                  <a:gd name="connsiteY24" fmla="*/ 2973388 h 2973388"/>
                  <a:gd name="connsiteX25" fmla="*/ 1941966 w 2787651"/>
                  <a:gd name="connsiteY25" fmla="*/ 2856669 h 2973388"/>
                  <a:gd name="connsiteX26" fmla="*/ 1984478 w 2787651"/>
                  <a:gd name="connsiteY26" fmla="*/ 2767546 h 2973388"/>
                  <a:gd name="connsiteX27" fmla="*/ 1984478 w 2787651"/>
                  <a:gd name="connsiteY27" fmla="*/ 2487509 h 2973388"/>
                  <a:gd name="connsiteX28" fmla="*/ 1814882 w 2787651"/>
                  <a:gd name="connsiteY28" fmla="*/ 2317859 h 2973388"/>
                  <a:gd name="connsiteX29" fmla="*/ 1814882 w 2787651"/>
                  <a:gd name="connsiteY29" fmla="*/ 2213354 h 2973388"/>
                  <a:gd name="connsiteX30" fmla="*/ 1867118 w 2787651"/>
                  <a:gd name="connsiteY30" fmla="*/ 2191638 h 2973388"/>
                  <a:gd name="connsiteX31" fmla="*/ 542554 w 2787651"/>
                  <a:gd name="connsiteY31" fmla="*/ 1524000 h 2973388"/>
                  <a:gd name="connsiteX32" fmla="*/ 616889 w 2787651"/>
                  <a:gd name="connsiteY32" fmla="*/ 1598020 h 2973388"/>
                  <a:gd name="connsiteX33" fmla="*/ 616889 w 2787651"/>
                  <a:gd name="connsiteY33" fmla="*/ 1904478 h 2973388"/>
                  <a:gd name="connsiteX34" fmla="*/ 921028 w 2787651"/>
                  <a:gd name="connsiteY34" fmla="*/ 1904478 h 2973388"/>
                  <a:gd name="connsiteX35" fmla="*/ 995363 w 2787651"/>
                  <a:gd name="connsiteY35" fmla="*/ 1978047 h 2973388"/>
                  <a:gd name="connsiteX36" fmla="*/ 921028 w 2787651"/>
                  <a:gd name="connsiteY36" fmla="*/ 2052066 h 2973388"/>
                  <a:gd name="connsiteX37" fmla="*/ 542554 w 2787651"/>
                  <a:gd name="connsiteY37" fmla="*/ 2052066 h 2973388"/>
                  <a:gd name="connsiteX38" fmla="*/ 468673 w 2787651"/>
                  <a:gd name="connsiteY38" fmla="*/ 1978047 h 2973388"/>
                  <a:gd name="connsiteX39" fmla="*/ 468673 w 2787651"/>
                  <a:gd name="connsiteY39" fmla="*/ 1856637 h 2973388"/>
                  <a:gd name="connsiteX40" fmla="*/ 288274 w 2787651"/>
                  <a:gd name="connsiteY40" fmla="*/ 1856637 h 2973388"/>
                  <a:gd name="connsiteX41" fmla="*/ 190823 w 2787651"/>
                  <a:gd name="connsiteY41" fmla="*/ 1953674 h 2973388"/>
                  <a:gd name="connsiteX42" fmla="*/ 190823 w 2787651"/>
                  <a:gd name="connsiteY42" fmla="*/ 2052066 h 2973388"/>
                  <a:gd name="connsiteX43" fmla="*/ 233430 w 2787651"/>
                  <a:gd name="connsiteY43" fmla="*/ 2140980 h 2973388"/>
                  <a:gd name="connsiteX44" fmla="*/ 116941 w 2787651"/>
                  <a:gd name="connsiteY44" fmla="*/ 2257425 h 2973388"/>
                  <a:gd name="connsiteX45" fmla="*/ 0 w 2787651"/>
                  <a:gd name="connsiteY45" fmla="*/ 2140980 h 2973388"/>
                  <a:gd name="connsiteX46" fmla="*/ 42606 w 2787651"/>
                  <a:gd name="connsiteY46" fmla="*/ 2052066 h 2973388"/>
                  <a:gd name="connsiteX47" fmla="*/ 42606 w 2787651"/>
                  <a:gd name="connsiteY47" fmla="*/ 1922983 h 2973388"/>
                  <a:gd name="connsiteX48" fmla="*/ 64363 w 2787651"/>
                  <a:gd name="connsiteY48" fmla="*/ 1871079 h 2973388"/>
                  <a:gd name="connsiteX49" fmla="*/ 205327 w 2787651"/>
                  <a:gd name="connsiteY49" fmla="*/ 1730713 h 2973388"/>
                  <a:gd name="connsiteX50" fmla="*/ 257452 w 2787651"/>
                  <a:gd name="connsiteY50" fmla="*/ 1709049 h 2973388"/>
                  <a:gd name="connsiteX51" fmla="*/ 468673 w 2787651"/>
                  <a:gd name="connsiteY51" fmla="*/ 1709049 h 2973388"/>
                  <a:gd name="connsiteX52" fmla="*/ 468673 w 2787651"/>
                  <a:gd name="connsiteY52" fmla="*/ 1598020 h 2973388"/>
                  <a:gd name="connsiteX53" fmla="*/ 542554 w 2787651"/>
                  <a:gd name="connsiteY53" fmla="*/ 1524000 h 2973388"/>
                  <a:gd name="connsiteX54" fmla="*/ 2245097 w 2787651"/>
                  <a:gd name="connsiteY54" fmla="*/ 1493837 h 2973388"/>
                  <a:gd name="connsiteX55" fmla="*/ 2318978 w 2787651"/>
                  <a:gd name="connsiteY55" fmla="*/ 1567398 h 2973388"/>
                  <a:gd name="connsiteX56" fmla="*/ 2318978 w 2787651"/>
                  <a:gd name="connsiteY56" fmla="*/ 1709104 h 2973388"/>
                  <a:gd name="connsiteX57" fmla="*/ 2530198 w 2787651"/>
                  <a:gd name="connsiteY57" fmla="*/ 1709104 h 2973388"/>
                  <a:gd name="connsiteX58" fmla="*/ 2582324 w 2787651"/>
                  <a:gd name="connsiteY58" fmla="*/ 1730766 h 2973388"/>
                  <a:gd name="connsiteX59" fmla="*/ 2723288 w 2787651"/>
                  <a:gd name="connsiteY59" fmla="*/ 1871118 h 2973388"/>
                  <a:gd name="connsiteX60" fmla="*/ 2745045 w 2787651"/>
                  <a:gd name="connsiteY60" fmla="*/ 1923017 h 2973388"/>
                  <a:gd name="connsiteX61" fmla="*/ 2745045 w 2787651"/>
                  <a:gd name="connsiteY61" fmla="*/ 2052087 h 2973388"/>
                  <a:gd name="connsiteX62" fmla="*/ 2787651 w 2787651"/>
                  <a:gd name="connsiteY62" fmla="*/ 2140992 h 2973388"/>
                  <a:gd name="connsiteX63" fmla="*/ 2670710 w 2787651"/>
                  <a:gd name="connsiteY63" fmla="*/ 2257425 h 2973388"/>
                  <a:gd name="connsiteX64" fmla="*/ 2554221 w 2787651"/>
                  <a:gd name="connsiteY64" fmla="*/ 2140992 h 2973388"/>
                  <a:gd name="connsiteX65" fmla="*/ 2596828 w 2787651"/>
                  <a:gd name="connsiteY65" fmla="*/ 2052087 h 2973388"/>
                  <a:gd name="connsiteX66" fmla="*/ 2596828 w 2787651"/>
                  <a:gd name="connsiteY66" fmla="*/ 1953705 h 2973388"/>
                  <a:gd name="connsiteX67" fmla="*/ 2499377 w 2787651"/>
                  <a:gd name="connsiteY67" fmla="*/ 1856677 h 2973388"/>
                  <a:gd name="connsiteX68" fmla="*/ 2318978 w 2787651"/>
                  <a:gd name="connsiteY68" fmla="*/ 1856677 h 2973388"/>
                  <a:gd name="connsiteX69" fmla="*/ 2318978 w 2787651"/>
                  <a:gd name="connsiteY69" fmla="*/ 1978075 h 2973388"/>
                  <a:gd name="connsiteX70" fmla="*/ 2245097 w 2787651"/>
                  <a:gd name="connsiteY70" fmla="*/ 2052087 h 2973388"/>
                  <a:gd name="connsiteX71" fmla="*/ 1866623 w 2787651"/>
                  <a:gd name="connsiteY71" fmla="*/ 2052087 h 2973388"/>
                  <a:gd name="connsiteX72" fmla="*/ 1792288 w 2787651"/>
                  <a:gd name="connsiteY72" fmla="*/ 1978075 h 2973388"/>
                  <a:gd name="connsiteX73" fmla="*/ 1866623 w 2787651"/>
                  <a:gd name="connsiteY73" fmla="*/ 1904514 h 2973388"/>
                  <a:gd name="connsiteX74" fmla="*/ 2170762 w 2787651"/>
                  <a:gd name="connsiteY74" fmla="*/ 1904514 h 2973388"/>
                  <a:gd name="connsiteX75" fmla="*/ 2170762 w 2787651"/>
                  <a:gd name="connsiteY75" fmla="*/ 1567398 h 2973388"/>
                  <a:gd name="connsiteX76" fmla="*/ 2245097 w 2787651"/>
                  <a:gd name="connsiteY76" fmla="*/ 1493837 h 2973388"/>
                  <a:gd name="connsiteX77" fmla="*/ 2350098 w 2787651"/>
                  <a:gd name="connsiteY77" fmla="*/ 944562 h 2973388"/>
                  <a:gd name="connsiteX78" fmla="*/ 2623022 w 2787651"/>
                  <a:gd name="connsiteY78" fmla="*/ 944562 h 2973388"/>
                  <a:gd name="connsiteX79" fmla="*/ 2697251 w 2787651"/>
                  <a:gd name="connsiteY79" fmla="*/ 1018535 h 2973388"/>
                  <a:gd name="connsiteX80" fmla="*/ 2697251 w 2787651"/>
                  <a:gd name="connsiteY80" fmla="*/ 1268872 h 2973388"/>
                  <a:gd name="connsiteX81" fmla="*/ 2738438 w 2787651"/>
                  <a:gd name="connsiteY81" fmla="*/ 1356828 h 2973388"/>
                  <a:gd name="connsiteX82" fmla="*/ 2622117 w 2787651"/>
                  <a:gd name="connsiteY82" fmla="*/ 1473200 h 2973388"/>
                  <a:gd name="connsiteX83" fmla="*/ 2505344 w 2787651"/>
                  <a:gd name="connsiteY83" fmla="*/ 1356828 h 2973388"/>
                  <a:gd name="connsiteX84" fmla="*/ 2549247 w 2787651"/>
                  <a:gd name="connsiteY84" fmla="*/ 1266616 h 2973388"/>
                  <a:gd name="connsiteX85" fmla="*/ 2549247 w 2787651"/>
                  <a:gd name="connsiteY85" fmla="*/ 1092058 h 2973388"/>
                  <a:gd name="connsiteX86" fmla="*/ 2380876 w 2787651"/>
                  <a:gd name="connsiteY86" fmla="*/ 1092058 h 2973388"/>
                  <a:gd name="connsiteX87" fmla="*/ 2124698 w 2787651"/>
                  <a:gd name="connsiteY87" fmla="*/ 1347355 h 2973388"/>
                  <a:gd name="connsiteX88" fmla="*/ 2019692 w 2787651"/>
                  <a:gd name="connsiteY88" fmla="*/ 1347355 h 2973388"/>
                  <a:gd name="connsiteX89" fmla="*/ 2019692 w 2787651"/>
                  <a:gd name="connsiteY89" fmla="*/ 1243161 h 2973388"/>
                  <a:gd name="connsiteX90" fmla="*/ 2297595 w 2787651"/>
                  <a:gd name="connsiteY90" fmla="*/ 966213 h 2973388"/>
                  <a:gd name="connsiteX91" fmla="*/ 2350098 w 2787651"/>
                  <a:gd name="connsiteY91" fmla="*/ 944562 h 2973388"/>
                  <a:gd name="connsiteX92" fmla="*/ 164629 w 2787651"/>
                  <a:gd name="connsiteY92" fmla="*/ 944562 h 2973388"/>
                  <a:gd name="connsiteX93" fmla="*/ 437553 w 2787651"/>
                  <a:gd name="connsiteY93" fmla="*/ 944562 h 2973388"/>
                  <a:gd name="connsiteX94" fmla="*/ 490056 w 2787651"/>
                  <a:gd name="connsiteY94" fmla="*/ 966213 h 2973388"/>
                  <a:gd name="connsiteX95" fmla="*/ 767959 w 2787651"/>
                  <a:gd name="connsiteY95" fmla="*/ 1243161 h 2973388"/>
                  <a:gd name="connsiteX96" fmla="*/ 767959 w 2787651"/>
                  <a:gd name="connsiteY96" fmla="*/ 1347355 h 2973388"/>
                  <a:gd name="connsiteX97" fmla="*/ 663406 w 2787651"/>
                  <a:gd name="connsiteY97" fmla="*/ 1347355 h 2973388"/>
                  <a:gd name="connsiteX98" fmla="*/ 406775 w 2787651"/>
                  <a:gd name="connsiteY98" fmla="*/ 1092058 h 2973388"/>
                  <a:gd name="connsiteX99" fmla="*/ 238404 w 2787651"/>
                  <a:gd name="connsiteY99" fmla="*/ 1092058 h 2973388"/>
                  <a:gd name="connsiteX100" fmla="*/ 238404 w 2787651"/>
                  <a:gd name="connsiteY100" fmla="*/ 1266616 h 2973388"/>
                  <a:gd name="connsiteX101" fmla="*/ 282307 w 2787651"/>
                  <a:gd name="connsiteY101" fmla="*/ 1356828 h 2973388"/>
                  <a:gd name="connsiteX102" fmla="*/ 165534 w 2787651"/>
                  <a:gd name="connsiteY102" fmla="*/ 1473200 h 2973388"/>
                  <a:gd name="connsiteX103" fmla="*/ 49213 w 2787651"/>
                  <a:gd name="connsiteY103" fmla="*/ 1356828 h 2973388"/>
                  <a:gd name="connsiteX104" fmla="*/ 90400 w 2787651"/>
                  <a:gd name="connsiteY104" fmla="*/ 1268872 h 2973388"/>
                  <a:gd name="connsiteX105" fmla="*/ 90400 w 2787651"/>
                  <a:gd name="connsiteY105" fmla="*/ 1018535 h 2973388"/>
                  <a:gd name="connsiteX106" fmla="*/ 164629 w 2787651"/>
                  <a:gd name="connsiteY106" fmla="*/ 944562 h 2973388"/>
                  <a:gd name="connsiteX107" fmla="*/ 1393825 w 2787651"/>
                  <a:gd name="connsiteY107" fmla="*/ 206374 h 2973388"/>
                  <a:gd name="connsiteX108" fmla="*/ 1311275 w 2787651"/>
                  <a:gd name="connsiteY108" fmla="*/ 288131 h 2973388"/>
                  <a:gd name="connsiteX109" fmla="*/ 1393825 w 2787651"/>
                  <a:gd name="connsiteY109" fmla="*/ 369888 h 2973388"/>
                  <a:gd name="connsiteX110" fmla="*/ 1476375 w 2787651"/>
                  <a:gd name="connsiteY110" fmla="*/ 288131 h 2973388"/>
                  <a:gd name="connsiteX111" fmla="*/ 1393825 w 2787651"/>
                  <a:gd name="connsiteY111" fmla="*/ 206374 h 2973388"/>
                  <a:gd name="connsiteX112" fmla="*/ 1393599 w 2787651"/>
                  <a:gd name="connsiteY112" fmla="*/ 77786 h 2973388"/>
                  <a:gd name="connsiteX113" fmla="*/ 1604963 w 2787651"/>
                  <a:gd name="connsiteY113" fmla="*/ 287858 h 2973388"/>
                  <a:gd name="connsiteX114" fmla="*/ 1467985 w 2787651"/>
                  <a:gd name="connsiteY114" fmla="*/ 484828 h 2973388"/>
                  <a:gd name="connsiteX115" fmla="*/ 1467985 w 2787651"/>
                  <a:gd name="connsiteY115" fmla="*/ 2225032 h 2973388"/>
                  <a:gd name="connsiteX116" fmla="*/ 1604963 w 2787651"/>
                  <a:gd name="connsiteY116" fmla="*/ 2422003 h 2973388"/>
                  <a:gd name="connsiteX117" fmla="*/ 1393599 w 2787651"/>
                  <a:gd name="connsiteY117" fmla="*/ 2632074 h 2973388"/>
                  <a:gd name="connsiteX118" fmla="*/ 1182688 w 2787651"/>
                  <a:gd name="connsiteY118" fmla="*/ 2422003 h 2973388"/>
                  <a:gd name="connsiteX119" fmla="*/ 1319213 w 2787651"/>
                  <a:gd name="connsiteY119" fmla="*/ 2225032 h 2973388"/>
                  <a:gd name="connsiteX120" fmla="*/ 1319213 w 2787651"/>
                  <a:gd name="connsiteY120" fmla="*/ 484828 h 2973388"/>
                  <a:gd name="connsiteX121" fmla="*/ 1182688 w 2787651"/>
                  <a:gd name="connsiteY121" fmla="*/ 287858 h 2973388"/>
                  <a:gd name="connsiteX122" fmla="*/ 1393599 w 2787651"/>
                  <a:gd name="connsiteY122" fmla="*/ 77786 h 2973388"/>
                  <a:gd name="connsiteX123" fmla="*/ 1983801 w 2787651"/>
                  <a:gd name="connsiteY123" fmla="*/ 0 h 2973388"/>
                  <a:gd name="connsiteX124" fmla="*/ 2100702 w 2787651"/>
                  <a:gd name="connsiteY124" fmla="*/ 115838 h 2973388"/>
                  <a:gd name="connsiteX125" fmla="*/ 2057657 w 2787651"/>
                  <a:gd name="connsiteY125" fmla="*/ 205083 h 2973388"/>
                  <a:gd name="connsiteX126" fmla="*/ 2057657 w 2787651"/>
                  <a:gd name="connsiteY126" fmla="*/ 457492 h 2973388"/>
                  <a:gd name="connsiteX127" fmla="*/ 2319551 w 2787651"/>
                  <a:gd name="connsiteY127" fmla="*/ 457492 h 2973388"/>
                  <a:gd name="connsiteX128" fmla="*/ 2409266 w 2787651"/>
                  <a:gd name="connsiteY128" fmla="*/ 415123 h 2973388"/>
                  <a:gd name="connsiteX129" fmla="*/ 2525713 w 2787651"/>
                  <a:gd name="connsiteY129" fmla="*/ 531412 h 2973388"/>
                  <a:gd name="connsiteX130" fmla="*/ 2409266 w 2787651"/>
                  <a:gd name="connsiteY130" fmla="*/ 647700 h 2973388"/>
                  <a:gd name="connsiteX131" fmla="*/ 2319551 w 2787651"/>
                  <a:gd name="connsiteY131" fmla="*/ 604881 h 2973388"/>
                  <a:gd name="connsiteX132" fmla="*/ 1983801 w 2787651"/>
                  <a:gd name="connsiteY132" fmla="*/ 604881 h 2973388"/>
                  <a:gd name="connsiteX133" fmla="*/ 1909492 w 2787651"/>
                  <a:gd name="connsiteY133" fmla="*/ 531412 h 2973388"/>
                  <a:gd name="connsiteX134" fmla="*/ 1909492 w 2787651"/>
                  <a:gd name="connsiteY134" fmla="*/ 205083 h 2973388"/>
                  <a:gd name="connsiteX135" fmla="*/ 1866900 w 2787651"/>
                  <a:gd name="connsiteY135" fmla="*/ 115838 h 2973388"/>
                  <a:gd name="connsiteX136" fmla="*/ 1983801 w 2787651"/>
                  <a:gd name="connsiteY136" fmla="*/ 0 h 2973388"/>
                  <a:gd name="connsiteX137" fmla="*/ 803850 w 2787651"/>
                  <a:gd name="connsiteY137" fmla="*/ 0 h 2973388"/>
                  <a:gd name="connsiteX138" fmla="*/ 920751 w 2787651"/>
                  <a:gd name="connsiteY138" fmla="*/ 115838 h 2973388"/>
                  <a:gd name="connsiteX139" fmla="*/ 878159 w 2787651"/>
                  <a:gd name="connsiteY139" fmla="*/ 205083 h 2973388"/>
                  <a:gd name="connsiteX140" fmla="*/ 878159 w 2787651"/>
                  <a:gd name="connsiteY140" fmla="*/ 531412 h 2973388"/>
                  <a:gd name="connsiteX141" fmla="*/ 803850 w 2787651"/>
                  <a:gd name="connsiteY141" fmla="*/ 604881 h 2973388"/>
                  <a:gd name="connsiteX142" fmla="*/ 468100 w 2787651"/>
                  <a:gd name="connsiteY142" fmla="*/ 604881 h 2973388"/>
                  <a:gd name="connsiteX143" fmla="*/ 378385 w 2787651"/>
                  <a:gd name="connsiteY143" fmla="*/ 647700 h 2973388"/>
                  <a:gd name="connsiteX144" fmla="*/ 261938 w 2787651"/>
                  <a:gd name="connsiteY144" fmla="*/ 531412 h 2973388"/>
                  <a:gd name="connsiteX145" fmla="*/ 378385 w 2787651"/>
                  <a:gd name="connsiteY145" fmla="*/ 415123 h 2973388"/>
                  <a:gd name="connsiteX146" fmla="*/ 468100 w 2787651"/>
                  <a:gd name="connsiteY146" fmla="*/ 457492 h 2973388"/>
                  <a:gd name="connsiteX147" fmla="*/ 729994 w 2787651"/>
                  <a:gd name="connsiteY147" fmla="*/ 457492 h 2973388"/>
                  <a:gd name="connsiteX148" fmla="*/ 729994 w 2787651"/>
                  <a:gd name="connsiteY148" fmla="*/ 205083 h 2973388"/>
                  <a:gd name="connsiteX149" fmla="*/ 686949 w 2787651"/>
                  <a:gd name="connsiteY149" fmla="*/ 115838 h 2973388"/>
                  <a:gd name="connsiteX150" fmla="*/ 803850 w 2787651"/>
                  <a:gd name="connsiteY150" fmla="*/ 0 h 297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2787651" h="2973388">
                    <a:moveTo>
                      <a:pt x="1393825" y="2339974"/>
                    </a:moveTo>
                    <a:cubicBezTo>
                      <a:pt x="1348234" y="2339974"/>
                      <a:pt x="1311275" y="2376578"/>
                      <a:pt x="1311275" y="2421731"/>
                    </a:cubicBezTo>
                    <a:cubicBezTo>
                      <a:pt x="1311275" y="2466884"/>
                      <a:pt x="1348234" y="2503488"/>
                      <a:pt x="1393825" y="2503488"/>
                    </a:cubicBezTo>
                    <a:cubicBezTo>
                      <a:pt x="1439416" y="2503488"/>
                      <a:pt x="1476375" y="2466884"/>
                      <a:pt x="1476375" y="2421731"/>
                    </a:cubicBezTo>
                    <a:cubicBezTo>
                      <a:pt x="1476375" y="2376578"/>
                      <a:pt x="1439416" y="2339974"/>
                      <a:pt x="1393825" y="2339974"/>
                    </a:cubicBezTo>
                    <a:close/>
                    <a:moveTo>
                      <a:pt x="920533" y="2191638"/>
                    </a:moveTo>
                    <a:cubicBezTo>
                      <a:pt x="939415" y="2191638"/>
                      <a:pt x="958297" y="2198877"/>
                      <a:pt x="972769" y="2213354"/>
                    </a:cubicBezTo>
                    <a:cubicBezTo>
                      <a:pt x="1001713" y="2242308"/>
                      <a:pt x="1001713" y="2289357"/>
                      <a:pt x="972769" y="2317859"/>
                    </a:cubicBezTo>
                    <a:cubicBezTo>
                      <a:pt x="972769" y="2317859"/>
                      <a:pt x="972769" y="2317859"/>
                      <a:pt x="803173" y="2487509"/>
                    </a:cubicBezTo>
                    <a:cubicBezTo>
                      <a:pt x="803173" y="2487509"/>
                      <a:pt x="803173" y="2487509"/>
                      <a:pt x="803173" y="2767546"/>
                    </a:cubicBezTo>
                    <a:cubicBezTo>
                      <a:pt x="828952" y="2788808"/>
                      <a:pt x="845685" y="2820477"/>
                      <a:pt x="845685" y="2856669"/>
                    </a:cubicBezTo>
                    <a:cubicBezTo>
                      <a:pt x="845685" y="2920910"/>
                      <a:pt x="793676" y="2973388"/>
                      <a:pt x="729456" y="2973388"/>
                    </a:cubicBezTo>
                    <a:cubicBezTo>
                      <a:pt x="665236" y="2973388"/>
                      <a:pt x="612775" y="2920910"/>
                      <a:pt x="612775" y="2856669"/>
                    </a:cubicBezTo>
                    <a:cubicBezTo>
                      <a:pt x="612775" y="2820477"/>
                      <a:pt x="629508" y="2788808"/>
                      <a:pt x="655287" y="2767546"/>
                    </a:cubicBezTo>
                    <a:cubicBezTo>
                      <a:pt x="655287" y="2767546"/>
                      <a:pt x="655287" y="2767546"/>
                      <a:pt x="655287" y="2457198"/>
                    </a:cubicBezTo>
                    <a:cubicBezTo>
                      <a:pt x="655287" y="2437293"/>
                      <a:pt x="662975" y="2418744"/>
                      <a:pt x="676995" y="2404720"/>
                    </a:cubicBezTo>
                    <a:cubicBezTo>
                      <a:pt x="676995" y="2404720"/>
                      <a:pt x="676995" y="2404720"/>
                      <a:pt x="868298" y="2213354"/>
                    </a:cubicBezTo>
                    <a:cubicBezTo>
                      <a:pt x="882770" y="2198877"/>
                      <a:pt x="901652" y="2191638"/>
                      <a:pt x="920533" y="2191638"/>
                    </a:cubicBezTo>
                    <a:close/>
                    <a:moveTo>
                      <a:pt x="1867118" y="2191638"/>
                    </a:moveTo>
                    <a:cubicBezTo>
                      <a:pt x="1885999" y="2191638"/>
                      <a:pt x="1904881" y="2198877"/>
                      <a:pt x="1919353" y="2213354"/>
                    </a:cubicBezTo>
                    <a:cubicBezTo>
                      <a:pt x="1919353" y="2213354"/>
                      <a:pt x="1919353" y="2213354"/>
                      <a:pt x="2110656" y="2404720"/>
                    </a:cubicBezTo>
                    <a:cubicBezTo>
                      <a:pt x="2124676" y="2418744"/>
                      <a:pt x="2132364" y="2437293"/>
                      <a:pt x="2132364" y="2457198"/>
                    </a:cubicBezTo>
                    <a:cubicBezTo>
                      <a:pt x="2132364" y="2457198"/>
                      <a:pt x="2132364" y="2457198"/>
                      <a:pt x="2132364" y="2767546"/>
                    </a:cubicBezTo>
                    <a:cubicBezTo>
                      <a:pt x="2158143" y="2788808"/>
                      <a:pt x="2174876" y="2820477"/>
                      <a:pt x="2174876" y="2856669"/>
                    </a:cubicBezTo>
                    <a:cubicBezTo>
                      <a:pt x="2174876" y="2920910"/>
                      <a:pt x="2122415" y="2973388"/>
                      <a:pt x="2058195" y="2973388"/>
                    </a:cubicBezTo>
                    <a:cubicBezTo>
                      <a:pt x="1993975" y="2973388"/>
                      <a:pt x="1941966" y="2920910"/>
                      <a:pt x="1941966" y="2856669"/>
                    </a:cubicBezTo>
                    <a:cubicBezTo>
                      <a:pt x="1941966" y="2820477"/>
                      <a:pt x="1958699" y="2788808"/>
                      <a:pt x="1984478" y="2767546"/>
                    </a:cubicBezTo>
                    <a:cubicBezTo>
                      <a:pt x="1984478" y="2767546"/>
                      <a:pt x="1984478" y="2767546"/>
                      <a:pt x="1984478" y="2487509"/>
                    </a:cubicBezTo>
                    <a:cubicBezTo>
                      <a:pt x="1984478" y="2487509"/>
                      <a:pt x="1984478" y="2487509"/>
                      <a:pt x="1814882" y="2317859"/>
                    </a:cubicBezTo>
                    <a:cubicBezTo>
                      <a:pt x="1785938" y="2289357"/>
                      <a:pt x="1785938" y="2242308"/>
                      <a:pt x="1814882" y="2213354"/>
                    </a:cubicBezTo>
                    <a:cubicBezTo>
                      <a:pt x="1829354" y="2198877"/>
                      <a:pt x="1848236" y="2191638"/>
                      <a:pt x="1867118" y="2191638"/>
                    </a:cubicBezTo>
                    <a:close/>
                    <a:moveTo>
                      <a:pt x="542554" y="1524000"/>
                    </a:moveTo>
                    <a:cubicBezTo>
                      <a:pt x="583348" y="1524000"/>
                      <a:pt x="616889" y="1557399"/>
                      <a:pt x="616889" y="1598020"/>
                    </a:cubicBezTo>
                    <a:cubicBezTo>
                      <a:pt x="616889" y="1598020"/>
                      <a:pt x="616889" y="1598020"/>
                      <a:pt x="616889" y="1904478"/>
                    </a:cubicBezTo>
                    <a:cubicBezTo>
                      <a:pt x="616889" y="1904478"/>
                      <a:pt x="616889" y="1904478"/>
                      <a:pt x="921028" y="1904478"/>
                    </a:cubicBezTo>
                    <a:cubicBezTo>
                      <a:pt x="961821" y="1904478"/>
                      <a:pt x="995363" y="1937426"/>
                      <a:pt x="995363" y="1978047"/>
                    </a:cubicBezTo>
                    <a:cubicBezTo>
                      <a:pt x="995363" y="2018667"/>
                      <a:pt x="961821" y="2052066"/>
                      <a:pt x="921028" y="2052066"/>
                    </a:cubicBezTo>
                    <a:cubicBezTo>
                      <a:pt x="921028" y="2052066"/>
                      <a:pt x="921028" y="2052066"/>
                      <a:pt x="542554" y="2052066"/>
                    </a:cubicBezTo>
                    <a:cubicBezTo>
                      <a:pt x="501761" y="2052066"/>
                      <a:pt x="468673" y="2018667"/>
                      <a:pt x="468673" y="1978047"/>
                    </a:cubicBezTo>
                    <a:cubicBezTo>
                      <a:pt x="468673" y="1978047"/>
                      <a:pt x="468673" y="1978047"/>
                      <a:pt x="468673" y="1856637"/>
                    </a:cubicBezTo>
                    <a:cubicBezTo>
                      <a:pt x="468673" y="1856637"/>
                      <a:pt x="468673" y="1856637"/>
                      <a:pt x="288274" y="1856637"/>
                    </a:cubicBezTo>
                    <a:cubicBezTo>
                      <a:pt x="288274" y="1856637"/>
                      <a:pt x="288274" y="1856637"/>
                      <a:pt x="190823" y="1953674"/>
                    </a:cubicBezTo>
                    <a:cubicBezTo>
                      <a:pt x="190823" y="1953674"/>
                      <a:pt x="190823" y="1953674"/>
                      <a:pt x="190823" y="2052066"/>
                    </a:cubicBezTo>
                    <a:cubicBezTo>
                      <a:pt x="216659" y="2073279"/>
                      <a:pt x="233430" y="2104873"/>
                      <a:pt x="233430" y="2140980"/>
                    </a:cubicBezTo>
                    <a:cubicBezTo>
                      <a:pt x="233430" y="2205070"/>
                      <a:pt x="181304" y="2257425"/>
                      <a:pt x="116941" y="2257425"/>
                    </a:cubicBezTo>
                    <a:cubicBezTo>
                      <a:pt x="52578" y="2257425"/>
                      <a:pt x="0" y="2205070"/>
                      <a:pt x="0" y="2140980"/>
                    </a:cubicBezTo>
                    <a:cubicBezTo>
                      <a:pt x="0" y="2104873"/>
                      <a:pt x="16770" y="2073279"/>
                      <a:pt x="42606" y="2052066"/>
                    </a:cubicBezTo>
                    <a:cubicBezTo>
                      <a:pt x="42606" y="2052066"/>
                      <a:pt x="42606" y="2052066"/>
                      <a:pt x="42606" y="1922983"/>
                    </a:cubicBezTo>
                    <a:cubicBezTo>
                      <a:pt x="42606" y="1903576"/>
                      <a:pt x="50312" y="1884620"/>
                      <a:pt x="64363" y="1871079"/>
                    </a:cubicBezTo>
                    <a:cubicBezTo>
                      <a:pt x="64363" y="1871079"/>
                      <a:pt x="64363" y="1871079"/>
                      <a:pt x="205327" y="1730713"/>
                    </a:cubicBezTo>
                    <a:cubicBezTo>
                      <a:pt x="218925" y="1716722"/>
                      <a:pt x="237962" y="1709049"/>
                      <a:pt x="257452" y="1709049"/>
                    </a:cubicBezTo>
                    <a:cubicBezTo>
                      <a:pt x="257452" y="1709049"/>
                      <a:pt x="257452" y="1709049"/>
                      <a:pt x="468673" y="1709049"/>
                    </a:cubicBezTo>
                    <a:cubicBezTo>
                      <a:pt x="468673" y="1709049"/>
                      <a:pt x="468673" y="1709049"/>
                      <a:pt x="468673" y="1598020"/>
                    </a:cubicBezTo>
                    <a:cubicBezTo>
                      <a:pt x="468673" y="1557399"/>
                      <a:pt x="501761" y="1524000"/>
                      <a:pt x="542554" y="1524000"/>
                    </a:cubicBezTo>
                    <a:close/>
                    <a:moveTo>
                      <a:pt x="2245097" y="1493837"/>
                    </a:moveTo>
                    <a:cubicBezTo>
                      <a:pt x="2285890" y="1493837"/>
                      <a:pt x="2318978" y="1526782"/>
                      <a:pt x="2318978" y="1567398"/>
                    </a:cubicBezTo>
                    <a:cubicBezTo>
                      <a:pt x="2318978" y="1567398"/>
                      <a:pt x="2318978" y="1567398"/>
                      <a:pt x="2318978" y="1709104"/>
                    </a:cubicBezTo>
                    <a:cubicBezTo>
                      <a:pt x="2318978" y="1709104"/>
                      <a:pt x="2318978" y="1709104"/>
                      <a:pt x="2530198" y="1709104"/>
                    </a:cubicBezTo>
                    <a:cubicBezTo>
                      <a:pt x="2549689" y="1709104"/>
                      <a:pt x="2568726" y="1716776"/>
                      <a:pt x="2582324" y="1730766"/>
                    </a:cubicBezTo>
                    <a:cubicBezTo>
                      <a:pt x="2582324" y="1730766"/>
                      <a:pt x="2582324" y="1730766"/>
                      <a:pt x="2723288" y="1871118"/>
                    </a:cubicBezTo>
                    <a:cubicBezTo>
                      <a:pt x="2737339" y="1884657"/>
                      <a:pt x="2745045" y="1903611"/>
                      <a:pt x="2745045" y="1923017"/>
                    </a:cubicBezTo>
                    <a:cubicBezTo>
                      <a:pt x="2745045" y="1923017"/>
                      <a:pt x="2745045" y="1923017"/>
                      <a:pt x="2745045" y="2052087"/>
                    </a:cubicBezTo>
                    <a:cubicBezTo>
                      <a:pt x="2770881" y="2073298"/>
                      <a:pt x="2787651" y="2104888"/>
                      <a:pt x="2787651" y="2140992"/>
                    </a:cubicBezTo>
                    <a:cubicBezTo>
                      <a:pt x="2787651" y="2205075"/>
                      <a:pt x="2735073" y="2257425"/>
                      <a:pt x="2670710" y="2257425"/>
                    </a:cubicBezTo>
                    <a:cubicBezTo>
                      <a:pt x="2606346" y="2257425"/>
                      <a:pt x="2554221" y="2205075"/>
                      <a:pt x="2554221" y="2140992"/>
                    </a:cubicBezTo>
                    <a:cubicBezTo>
                      <a:pt x="2554221" y="2104888"/>
                      <a:pt x="2570992" y="2073298"/>
                      <a:pt x="2596828" y="2052087"/>
                    </a:cubicBezTo>
                    <a:cubicBezTo>
                      <a:pt x="2596828" y="2052087"/>
                      <a:pt x="2596828" y="2052087"/>
                      <a:pt x="2596828" y="1953705"/>
                    </a:cubicBezTo>
                    <a:cubicBezTo>
                      <a:pt x="2596828" y="1953705"/>
                      <a:pt x="2596828" y="1953705"/>
                      <a:pt x="2499377" y="1856677"/>
                    </a:cubicBezTo>
                    <a:cubicBezTo>
                      <a:pt x="2499377" y="1856677"/>
                      <a:pt x="2499377" y="1856677"/>
                      <a:pt x="2318978" y="1856677"/>
                    </a:cubicBezTo>
                    <a:cubicBezTo>
                      <a:pt x="2318978" y="1856677"/>
                      <a:pt x="2318978" y="1856677"/>
                      <a:pt x="2318978" y="1978075"/>
                    </a:cubicBezTo>
                    <a:cubicBezTo>
                      <a:pt x="2318978" y="2018691"/>
                      <a:pt x="2285890" y="2052087"/>
                      <a:pt x="2245097" y="2052087"/>
                    </a:cubicBezTo>
                    <a:cubicBezTo>
                      <a:pt x="2245097" y="2052087"/>
                      <a:pt x="2245097" y="2052087"/>
                      <a:pt x="1866623" y="2052087"/>
                    </a:cubicBezTo>
                    <a:cubicBezTo>
                      <a:pt x="1825830" y="2052087"/>
                      <a:pt x="1792288" y="2018691"/>
                      <a:pt x="1792288" y="1978075"/>
                    </a:cubicBezTo>
                    <a:cubicBezTo>
                      <a:pt x="1792288" y="1937458"/>
                      <a:pt x="1825830" y="1904514"/>
                      <a:pt x="1866623" y="1904514"/>
                    </a:cubicBezTo>
                    <a:cubicBezTo>
                      <a:pt x="1866623" y="1904514"/>
                      <a:pt x="1866623" y="1904514"/>
                      <a:pt x="2170762" y="1904514"/>
                    </a:cubicBezTo>
                    <a:cubicBezTo>
                      <a:pt x="2170762" y="1904514"/>
                      <a:pt x="2170762" y="1904514"/>
                      <a:pt x="2170762" y="1567398"/>
                    </a:cubicBezTo>
                    <a:cubicBezTo>
                      <a:pt x="2170762" y="1526782"/>
                      <a:pt x="2203850" y="1493837"/>
                      <a:pt x="2245097" y="1493837"/>
                    </a:cubicBezTo>
                    <a:close/>
                    <a:moveTo>
                      <a:pt x="2350098" y="944562"/>
                    </a:moveTo>
                    <a:cubicBezTo>
                      <a:pt x="2350098" y="944562"/>
                      <a:pt x="2350098" y="944562"/>
                      <a:pt x="2623022" y="944562"/>
                    </a:cubicBezTo>
                    <a:cubicBezTo>
                      <a:pt x="2664210" y="944562"/>
                      <a:pt x="2697251" y="977489"/>
                      <a:pt x="2697251" y="1018535"/>
                    </a:cubicBezTo>
                    <a:cubicBezTo>
                      <a:pt x="2697251" y="1018535"/>
                      <a:pt x="2697251" y="1018535"/>
                      <a:pt x="2697251" y="1268872"/>
                    </a:cubicBezTo>
                    <a:cubicBezTo>
                      <a:pt x="2722144" y="1290071"/>
                      <a:pt x="2738438" y="1321645"/>
                      <a:pt x="2738438" y="1356828"/>
                    </a:cubicBezTo>
                    <a:cubicBezTo>
                      <a:pt x="2738438" y="1420878"/>
                      <a:pt x="2686388" y="1473200"/>
                      <a:pt x="2622117" y="1473200"/>
                    </a:cubicBezTo>
                    <a:cubicBezTo>
                      <a:pt x="2557394" y="1473200"/>
                      <a:pt x="2505344" y="1420878"/>
                      <a:pt x="2505344" y="1356828"/>
                    </a:cubicBezTo>
                    <a:cubicBezTo>
                      <a:pt x="2505344" y="1320292"/>
                      <a:pt x="2522543" y="1288267"/>
                      <a:pt x="2549247" y="1266616"/>
                    </a:cubicBezTo>
                    <a:cubicBezTo>
                      <a:pt x="2549247" y="1266616"/>
                      <a:pt x="2549247" y="1266616"/>
                      <a:pt x="2549247" y="1092058"/>
                    </a:cubicBezTo>
                    <a:cubicBezTo>
                      <a:pt x="2549247" y="1092058"/>
                      <a:pt x="2549247" y="1092058"/>
                      <a:pt x="2380876" y="1092058"/>
                    </a:cubicBezTo>
                    <a:cubicBezTo>
                      <a:pt x="2380876" y="1092058"/>
                      <a:pt x="2380876" y="1092058"/>
                      <a:pt x="2124698" y="1347355"/>
                    </a:cubicBezTo>
                    <a:cubicBezTo>
                      <a:pt x="2095731" y="1376223"/>
                      <a:pt x="2048659" y="1376223"/>
                      <a:pt x="2019692" y="1347355"/>
                    </a:cubicBezTo>
                    <a:cubicBezTo>
                      <a:pt x="1990725" y="1318939"/>
                      <a:pt x="1990725" y="1272029"/>
                      <a:pt x="2019692" y="1243161"/>
                    </a:cubicBezTo>
                    <a:cubicBezTo>
                      <a:pt x="2019692" y="1243161"/>
                      <a:pt x="2019692" y="1243161"/>
                      <a:pt x="2297595" y="966213"/>
                    </a:cubicBezTo>
                    <a:cubicBezTo>
                      <a:pt x="2311626" y="952230"/>
                      <a:pt x="2330636" y="944562"/>
                      <a:pt x="2350098" y="944562"/>
                    </a:cubicBezTo>
                    <a:close/>
                    <a:moveTo>
                      <a:pt x="164629" y="944562"/>
                    </a:moveTo>
                    <a:cubicBezTo>
                      <a:pt x="164629" y="944562"/>
                      <a:pt x="164629" y="944562"/>
                      <a:pt x="437553" y="944562"/>
                    </a:cubicBezTo>
                    <a:cubicBezTo>
                      <a:pt x="457015" y="944562"/>
                      <a:pt x="476025" y="952230"/>
                      <a:pt x="490056" y="966213"/>
                    </a:cubicBezTo>
                    <a:cubicBezTo>
                      <a:pt x="490056" y="966213"/>
                      <a:pt x="490056" y="966213"/>
                      <a:pt x="767959" y="1243161"/>
                    </a:cubicBezTo>
                    <a:cubicBezTo>
                      <a:pt x="796926" y="1272029"/>
                      <a:pt x="796926" y="1318939"/>
                      <a:pt x="767959" y="1347355"/>
                    </a:cubicBezTo>
                    <a:cubicBezTo>
                      <a:pt x="738992" y="1376223"/>
                      <a:pt x="691920" y="1376223"/>
                      <a:pt x="663406" y="1347355"/>
                    </a:cubicBezTo>
                    <a:cubicBezTo>
                      <a:pt x="663406" y="1347355"/>
                      <a:pt x="663406" y="1347355"/>
                      <a:pt x="406775" y="1092058"/>
                    </a:cubicBezTo>
                    <a:cubicBezTo>
                      <a:pt x="406775" y="1092058"/>
                      <a:pt x="406775" y="1092058"/>
                      <a:pt x="238404" y="1092058"/>
                    </a:cubicBezTo>
                    <a:cubicBezTo>
                      <a:pt x="238404" y="1092058"/>
                      <a:pt x="238404" y="1092058"/>
                      <a:pt x="238404" y="1266616"/>
                    </a:cubicBezTo>
                    <a:cubicBezTo>
                      <a:pt x="265108" y="1288267"/>
                      <a:pt x="282307" y="1320292"/>
                      <a:pt x="282307" y="1356828"/>
                    </a:cubicBezTo>
                    <a:cubicBezTo>
                      <a:pt x="282307" y="1420878"/>
                      <a:pt x="230257" y="1473200"/>
                      <a:pt x="165534" y="1473200"/>
                    </a:cubicBezTo>
                    <a:cubicBezTo>
                      <a:pt x="101263" y="1473200"/>
                      <a:pt x="49213" y="1420878"/>
                      <a:pt x="49213" y="1356828"/>
                    </a:cubicBezTo>
                    <a:cubicBezTo>
                      <a:pt x="49213" y="1321645"/>
                      <a:pt x="65507" y="1290071"/>
                      <a:pt x="90400" y="1268872"/>
                    </a:cubicBezTo>
                    <a:cubicBezTo>
                      <a:pt x="90400" y="1268872"/>
                      <a:pt x="90400" y="1268872"/>
                      <a:pt x="90400" y="1018535"/>
                    </a:cubicBezTo>
                    <a:cubicBezTo>
                      <a:pt x="90400" y="977489"/>
                      <a:pt x="123441" y="944562"/>
                      <a:pt x="164629" y="944562"/>
                    </a:cubicBezTo>
                    <a:close/>
                    <a:moveTo>
                      <a:pt x="1393825" y="206374"/>
                    </a:moveTo>
                    <a:cubicBezTo>
                      <a:pt x="1348234" y="206374"/>
                      <a:pt x="1311275" y="242978"/>
                      <a:pt x="1311275" y="288131"/>
                    </a:cubicBezTo>
                    <a:cubicBezTo>
                      <a:pt x="1311275" y="333284"/>
                      <a:pt x="1348234" y="369888"/>
                      <a:pt x="1393825" y="369888"/>
                    </a:cubicBezTo>
                    <a:cubicBezTo>
                      <a:pt x="1439416" y="369888"/>
                      <a:pt x="1476375" y="333284"/>
                      <a:pt x="1476375" y="288131"/>
                    </a:cubicBezTo>
                    <a:cubicBezTo>
                      <a:pt x="1476375" y="242978"/>
                      <a:pt x="1439416" y="206374"/>
                      <a:pt x="1393825" y="206374"/>
                    </a:cubicBezTo>
                    <a:close/>
                    <a:moveTo>
                      <a:pt x="1393599" y="77786"/>
                    </a:moveTo>
                    <a:cubicBezTo>
                      <a:pt x="1510167" y="77786"/>
                      <a:pt x="1604963" y="172205"/>
                      <a:pt x="1604963" y="287858"/>
                    </a:cubicBezTo>
                    <a:cubicBezTo>
                      <a:pt x="1604963" y="378211"/>
                      <a:pt x="1547813" y="454559"/>
                      <a:pt x="1467985" y="484828"/>
                    </a:cubicBezTo>
                    <a:cubicBezTo>
                      <a:pt x="1467985" y="484828"/>
                      <a:pt x="1467985" y="484828"/>
                      <a:pt x="1467985" y="2225032"/>
                    </a:cubicBezTo>
                    <a:cubicBezTo>
                      <a:pt x="1547813" y="2255301"/>
                      <a:pt x="1604963" y="2332101"/>
                      <a:pt x="1604963" y="2422003"/>
                    </a:cubicBezTo>
                    <a:cubicBezTo>
                      <a:pt x="1604963" y="2537655"/>
                      <a:pt x="1510167" y="2632074"/>
                      <a:pt x="1393599" y="2632074"/>
                    </a:cubicBezTo>
                    <a:cubicBezTo>
                      <a:pt x="1277031" y="2632074"/>
                      <a:pt x="1182688" y="2537655"/>
                      <a:pt x="1182688" y="2422003"/>
                    </a:cubicBezTo>
                    <a:cubicBezTo>
                      <a:pt x="1182688" y="2332101"/>
                      <a:pt x="1239384" y="2255301"/>
                      <a:pt x="1319213" y="2225032"/>
                    </a:cubicBezTo>
                    <a:cubicBezTo>
                      <a:pt x="1319213" y="2225032"/>
                      <a:pt x="1319213" y="2225032"/>
                      <a:pt x="1319213" y="484828"/>
                    </a:cubicBezTo>
                    <a:cubicBezTo>
                      <a:pt x="1239384" y="454559"/>
                      <a:pt x="1182688" y="378211"/>
                      <a:pt x="1182688" y="287858"/>
                    </a:cubicBezTo>
                    <a:cubicBezTo>
                      <a:pt x="1182688" y="172205"/>
                      <a:pt x="1277031" y="77786"/>
                      <a:pt x="1393599" y="77786"/>
                    </a:cubicBezTo>
                    <a:close/>
                    <a:moveTo>
                      <a:pt x="1983801" y="0"/>
                    </a:moveTo>
                    <a:cubicBezTo>
                      <a:pt x="2048142" y="0"/>
                      <a:pt x="2100702" y="51834"/>
                      <a:pt x="2100702" y="115838"/>
                    </a:cubicBezTo>
                    <a:cubicBezTo>
                      <a:pt x="2100702" y="151896"/>
                      <a:pt x="2083484" y="183898"/>
                      <a:pt x="2057657" y="205083"/>
                    </a:cubicBezTo>
                    <a:cubicBezTo>
                      <a:pt x="2057657" y="205083"/>
                      <a:pt x="2057657" y="205083"/>
                      <a:pt x="2057657" y="457492"/>
                    </a:cubicBezTo>
                    <a:cubicBezTo>
                      <a:pt x="2057657" y="457492"/>
                      <a:pt x="2057657" y="457492"/>
                      <a:pt x="2319551" y="457492"/>
                    </a:cubicBezTo>
                    <a:cubicBezTo>
                      <a:pt x="2340847" y="431800"/>
                      <a:pt x="2373017" y="415123"/>
                      <a:pt x="2409266" y="415123"/>
                    </a:cubicBezTo>
                    <a:cubicBezTo>
                      <a:pt x="2473606" y="415123"/>
                      <a:pt x="2525713" y="467408"/>
                      <a:pt x="2525713" y="531412"/>
                    </a:cubicBezTo>
                    <a:cubicBezTo>
                      <a:pt x="2525713" y="595415"/>
                      <a:pt x="2473606" y="647700"/>
                      <a:pt x="2409266" y="647700"/>
                    </a:cubicBezTo>
                    <a:cubicBezTo>
                      <a:pt x="2373017" y="647700"/>
                      <a:pt x="2340847" y="630572"/>
                      <a:pt x="2319551" y="604881"/>
                    </a:cubicBezTo>
                    <a:cubicBezTo>
                      <a:pt x="2319551" y="604881"/>
                      <a:pt x="2319551" y="604881"/>
                      <a:pt x="1983801" y="604881"/>
                    </a:cubicBezTo>
                    <a:cubicBezTo>
                      <a:pt x="1943022" y="604881"/>
                      <a:pt x="1909492" y="571977"/>
                      <a:pt x="1909492" y="531412"/>
                    </a:cubicBezTo>
                    <a:cubicBezTo>
                      <a:pt x="1909492" y="531412"/>
                      <a:pt x="1909492" y="531412"/>
                      <a:pt x="1909492" y="205083"/>
                    </a:cubicBezTo>
                    <a:cubicBezTo>
                      <a:pt x="1883665" y="183898"/>
                      <a:pt x="1866900" y="151896"/>
                      <a:pt x="1866900" y="115838"/>
                    </a:cubicBezTo>
                    <a:cubicBezTo>
                      <a:pt x="1866900" y="51834"/>
                      <a:pt x="1919460" y="0"/>
                      <a:pt x="1983801" y="0"/>
                    </a:cubicBezTo>
                    <a:close/>
                    <a:moveTo>
                      <a:pt x="803850" y="0"/>
                    </a:moveTo>
                    <a:cubicBezTo>
                      <a:pt x="868191" y="0"/>
                      <a:pt x="920751" y="51834"/>
                      <a:pt x="920751" y="115838"/>
                    </a:cubicBezTo>
                    <a:cubicBezTo>
                      <a:pt x="920751" y="151896"/>
                      <a:pt x="903986" y="183898"/>
                      <a:pt x="878159" y="205083"/>
                    </a:cubicBezTo>
                    <a:cubicBezTo>
                      <a:pt x="878159" y="205083"/>
                      <a:pt x="878159" y="205083"/>
                      <a:pt x="878159" y="531412"/>
                    </a:cubicBezTo>
                    <a:cubicBezTo>
                      <a:pt x="878159" y="571977"/>
                      <a:pt x="844629" y="604881"/>
                      <a:pt x="803850" y="604881"/>
                    </a:cubicBezTo>
                    <a:cubicBezTo>
                      <a:pt x="803850" y="604881"/>
                      <a:pt x="803850" y="604881"/>
                      <a:pt x="468100" y="604881"/>
                    </a:cubicBezTo>
                    <a:cubicBezTo>
                      <a:pt x="446804" y="630572"/>
                      <a:pt x="414634" y="647700"/>
                      <a:pt x="378385" y="647700"/>
                    </a:cubicBezTo>
                    <a:cubicBezTo>
                      <a:pt x="314045" y="647700"/>
                      <a:pt x="261938" y="595415"/>
                      <a:pt x="261938" y="531412"/>
                    </a:cubicBezTo>
                    <a:cubicBezTo>
                      <a:pt x="261938" y="467408"/>
                      <a:pt x="314045" y="415123"/>
                      <a:pt x="378385" y="415123"/>
                    </a:cubicBezTo>
                    <a:cubicBezTo>
                      <a:pt x="414634" y="415123"/>
                      <a:pt x="446804" y="431800"/>
                      <a:pt x="468100" y="457492"/>
                    </a:cubicBezTo>
                    <a:cubicBezTo>
                      <a:pt x="468100" y="457492"/>
                      <a:pt x="468100" y="457492"/>
                      <a:pt x="729994" y="457492"/>
                    </a:cubicBezTo>
                    <a:cubicBezTo>
                      <a:pt x="729994" y="457492"/>
                      <a:pt x="729994" y="457492"/>
                      <a:pt x="729994" y="205083"/>
                    </a:cubicBezTo>
                    <a:cubicBezTo>
                      <a:pt x="704167" y="183898"/>
                      <a:pt x="686949" y="151896"/>
                      <a:pt x="686949" y="115838"/>
                    </a:cubicBezTo>
                    <a:cubicBezTo>
                      <a:pt x="686949" y="51834"/>
                      <a:pt x="739509" y="0"/>
                      <a:pt x="803850" y="0"/>
                    </a:cubicBezTo>
                    <a:close/>
                  </a:path>
                </a:pathLst>
              </a:custGeom>
              <a:solidFill>
                <a:srgbClr val="A4BD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grpSp>
        <p:grpSp>
          <p:nvGrpSpPr>
            <p:cNvPr id="115" name="Group 114">
              <a:extLst>
                <a:ext uri="{FF2B5EF4-FFF2-40B4-BE49-F238E27FC236}">
                  <a16:creationId xmlns:a16="http://schemas.microsoft.com/office/drawing/2014/main" id="{03670C0C-2603-4F0D-98CD-88232AA5FE9F}"/>
                </a:ext>
              </a:extLst>
            </p:cNvPr>
            <p:cNvGrpSpPr/>
            <p:nvPr/>
          </p:nvGrpSpPr>
          <p:grpSpPr>
            <a:xfrm>
              <a:off x="3051072" y="2704290"/>
              <a:ext cx="1036592" cy="1035084"/>
              <a:chOff x="3023268" y="2676525"/>
              <a:chExt cx="1092200" cy="1090613"/>
            </a:xfrm>
          </p:grpSpPr>
          <p:sp>
            <p:nvSpPr>
              <p:cNvPr id="116" name="Freeform 34">
                <a:extLst>
                  <a:ext uri="{FF2B5EF4-FFF2-40B4-BE49-F238E27FC236}">
                    <a16:creationId xmlns:a16="http://schemas.microsoft.com/office/drawing/2014/main" id="{90348273-C09F-4513-B6E9-BE3B87EB8686}"/>
                  </a:ext>
                </a:extLst>
              </p:cNvPr>
              <p:cNvSpPr>
                <a:spLocks/>
              </p:cNvSpPr>
              <p:nvPr/>
            </p:nvSpPr>
            <p:spPr bwMode="auto">
              <a:xfrm>
                <a:off x="3023268" y="2676525"/>
                <a:ext cx="1092200" cy="1090613"/>
              </a:xfrm>
              <a:custGeom>
                <a:avLst/>
                <a:gdLst>
                  <a:gd name="T0" fmla="*/ 0 w 2408"/>
                  <a:gd name="T1" fmla="*/ 242 h 2416"/>
                  <a:gd name="T2" fmla="*/ 242 w 2408"/>
                  <a:gd name="T3" fmla="*/ 0 h 2416"/>
                  <a:gd name="T4" fmla="*/ 2163 w 2408"/>
                  <a:gd name="T5" fmla="*/ 0 h 2416"/>
                  <a:gd name="T6" fmla="*/ 2408 w 2408"/>
                  <a:gd name="T7" fmla="*/ 242 h 2416"/>
                  <a:gd name="T8" fmla="*/ 2408 w 2408"/>
                  <a:gd name="T9" fmla="*/ 2171 h 2416"/>
                  <a:gd name="T10" fmla="*/ 2163 w 2408"/>
                  <a:gd name="T11" fmla="*/ 2416 h 2416"/>
                  <a:gd name="T12" fmla="*/ 242 w 2408"/>
                  <a:gd name="T13" fmla="*/ 2416 h 2416"/>
                  <a:gd name="T14" fmla="*/ 0 w 2408"/>
                  <a:gd name="T15" fmla="*/ 2171 h 2416"/>
                  <a:gd name="T16" fmla="*/ 0 w 2408"/>
                  <a:gd name="T17" fmla="*/ 242 h 2416"/>
                  <a:gd name="T18" fmla="*/ 0 w 2408"/>
                  <a:gd name="T19" fmla="*/ 242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8" h="2416">
                    <a:moveTo>
                      <a:pt x="0" y="242"/>
                    </a:moveTo>
                    <a:cubicBezTo>
                      <a:pt x="0" y="109"/>
                      <a:pt x="110" y="0"/>
                      <a:pt x="242" y="0"/>
                    </a:cubicBezTo>
                    <a:cubicBezTo>
                      <a:pt x="2163" y="0"/>
                      <a:pt x="2163" y="0"/>
                      <a:pt x="2163" y="0"/>
                    </a:cubicBezTo>
                    <a:cubicBezTo>
                      <a:pt x="2298" y="0"/>
                      <a:pt x="2408" y="109"/>
                      <a:pt x="2408" y="242"/>
                    </a:cubicBezTo>
                    <a:cubicBezTo>
                      <a:pt x="2408" y="2171"/>
                      <a:pt x="2408" y="2171"/>
                      <a:pt x="2408" y="2171"/>
                    </a:cubicBezTo>
                    <a:cubicBezTo>
                      <a:pt x="2408" y="2307"/>
                      <a:pt x="2298" y="2416"/>
                      <a:pt x="2163" y="2416"/>
                    </a:cubicBezTo>
                    <a:cubicBezTo>
                      <a:pt x="242" y="2416"/>
                      <a:pt x="242" y="2416"/>
                      <a:pt x="242" y="2416"/>
                    </a:cubicBezTo>
                    <a:cubicBezTo>
                      <a:pt x="110" y="2416"/>
                      <a:pt x="0" y="2307"/>
                      <a:pt x="0" y="2171"/>
                    </a:cubicBezTo>
                    <a:cubicBezTo>
                      <a:pt x="0" y="242"/>
                      <a:pt x="0" y="242"/>
                      <a:pt x="0" y="242"/>
                    </a:cubicBezTo>
                    <a:cubicBezTo>
                      <a:pt x="0" y="242"/>
                      <a:pt x="0" y="242"/>
                      <a:pt x="0" y="242"/>
                    </a:cubicBezTo>
                    <a:close/>
                  </a:path>
                </a:pathLst>
              </a:custGeom>
              <a:solidFill>
                <a:srgbClr val="A4BD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17" name="Freeform: Shape 33">
                <a:extLst>
                  <a:ext uri="{FF2B5EF4-FFF2-40B4-BE49-F238E27FC236}">
                    <a16:creationId xmlns:a16="http://schemas.microsoft.com/office/drawing/2014/main" id="{5626D835-9C09-4E7B-8476-2BC35EFBF262}"/>
                  </a:ext>
                </a:extLst>
              </p:cNvPr>
              <p:cNvSpPr>
                <a:spLocks/>
              </p:cNvSpPr>
              <p:nvPr/>
            </p:nvSpPr>
            <p:spPr bwMode="auto">
              <a:xfrm>
                <a:off x="3118517" y="2770187"/>
                <a:ext cx="903288" cy="904876"/>
              </a:xfrm>
              <a:custGeom>
                <a:avLst/>
                <a:gdLst>
                  <a:gd name="connsiteX0" fmla="*/ 478975 w 903288"/>
                  <a:gd name="connsiteY0" fmla="*/ 760413 h 904876"/>
                  <a:gd name="connsiteX1" fmla="*/ 550863 w 903288"/>
                  <a:gd name="connsiteY1" fmla="*/ 832081 h 904876"/>
                  <a:gd name="connsiteX2" fmla="*/ 478975 w 903288"/>
                  <a:gd name="connsiteY2" fmla="*/ 904876 h 904876"/>
                  <a:gd name="connsiteX3" fmla="*/ 407988 w 903288"/>
                  <a:gd name="connsiteY3" fmla="*/ 832081 h 904876"/>
                  <a:gd name="connsiteX4" fmla="*/ 478975 w 903288"/>
                  <a:gd name="connsiteY4" fmla="*/ 760413 h 904876"/>
                  <a:gd name="connsiteX5" fmla="*/ 72687 w 903288"/>
                  <a:gd name="connsiteY5" fmla="*/ 760413 h 904876"/>
                  <a:gd name="connsiteX6" fmla="*/ 144463 w 903288"/>
                  <a:gd name="connsiteY6" fmla="*/ 832081 h 904876"/>
                  <a:gd name="connsiteX7" fmla="*/ 72687 w 903288"/>
                  <a:gd name="connsiteY7" fmla="*/ 904876 h 904876"/>
                  <a:gd name="connsiteX8" fmla="*/ 0 w 903288"/>
                  <a:gd name="connsiteY8" fmla="*/ 832081 h 904876"/>
                  <a:gd name="connsiteX9" fmla="*/ 72687 w 903288"/>
                  <a:gd name="connsiteY9" fmla="*/ 760413 h 904876"/>
                  <a:gd name="connsiteX10" fmla="*/ 549905 w 903288"/>
                  <a:gd name="connsiteY10" fmla="*/ 0 h 904876"/>
                  <a:gd name="connsiteX11" fmla="*/ 612875 w 903288"/>
                  <a:gd name="connsiteY11" fmla="*/ 39815 h 904876"/>
                  <a:gd name="connsiteX12" fmla="*/ 831793 w 903288"/>
                  <a:gd name="connsiteY12" fmla="*/ 39815 h 904876"/>
                  <a:gd name="connsiteX13" fmla="*/ 861687 w 903288"/>
                  <a:gd name="connsiteY13" fmla="*/ 69902 h 904876"/>
                  <a:gd name="connsiteX14" fmla="*/ 861687 w 903288"/>
                  <a:gd name="connsiteY14" fmla="*/ 698564 h 904876"/>
                  <a:gd name="connsiteX15" fmla="*/ 861687 w 903288"/>
                  <a:gd name="connsiteY15" fmla="*/ 767334 h 904876"/>
                  <a:gd name="connsiteX16" fmla="*/ 881919 w 903288"/>
                  <a:gd name="connsiteY16" fmla="*/ 781360 h 904876"/>
                  <a:gd name="connsiteX17" fmla="*/ 903288 w 903288"/>
                  <a:gd name="connsiteY17" fmla="*/ 831807 h 904876"/>
                  <a:gd name="connsiteX18" fmla="*/ 830770 w 903288"/>
                  <a:gd name="connsiteY18" fmla="*/ 904875 h 904876"/>
                  <a:gd name="connsiteX19" fmla="*/ 759161 w 903288"/>
                  <a:gd name="connsiteY19" fmla="*/ 831807 h 904876"/>
                  <a:gd name="connsiteX20" fmla="*/ 779507 w 903288"/>
                  <a:gd name="connsiteY20" fmla="*/ 781360 h 904876"/>
                  <a:gd name="connsiteX21" fmla="*/ 801899 w 903288"/>
                  <a:gd name="connsiteY21" fmla="*/ 766316 h 904876"/>
                  <a:gd name="connsiteX22" fmla="*/ 801899 w 903288"/>
                  <a:gd name="connsiteY22" fmla="*/ 740414 h 904876"/>
                  <a:gd name="connsiteX23" fmla="*/ 801899 w 903288"/>
                  <a:gd name="connsiteY23" fmla="*/ 99989 h 904876"/>
                  <a:gd name="connsiteX24" fmla="*/ 615035 w 903288"/>
                  <a:gd name="connsiteY24" fmla="*/ 99989 h 904876"/>
                  <a:gd name="connsiteX25" fmla="*/ 549905 w 903288"/>
                  <a:gd name="connsiteY25" fmla="*/ 143988 h 904876"/>
                  <a:gd name="connsiteX26" fmla="*/ 476250 w 903288"/>
                  <a:gd name="connsiteY26" fmla="*/ 70920 h 904876"/>
                  <a:gd name="connsiteX27" fmla="*/ 549905 w 903288"/>
                  <a:gd name="connsiteY27" fmla="*/ 0 h 904876"/>
                  <a:gd name="connsiteX28" fmla="*/ 71386 w 903288"/>
                  <a:gd name="connsiteY28" fmla="*/ 0 h 904876"/>
                  <a:gd name="connsiteX29" fmla="*/ 143908 w 903288"/>
                  <a:gd name="connsiteY29" fmla="*/ 70855 h 904876"/>
                  <a:gd name="connsiteX30" fmla="*/ 101235 w 903288"/>
                  <a:gd name="connsiteY30" fmla="*/ 136399 h 904876"/>
                  <a:gd name="connsiteX31" fmla="*/ 101235 w 903288"/>
                  <a:gd name="connsiteY31" fmla="*/ 464909 h 904876"/>
                  <a:gd name="connsiteX32" fmla="*/ 287815 w 903288"/>
                  <a:gd name="connsiteY32" fmla="*/ 464909 h 904876"/>
                  <a:gd name="connsiteX33" fmla="*/ 287815 w 903288"/>
                  <a:gd name="connsiteY33" fmla="*/ 317888 h 904876"/>
                  <a:gd name="connsiteX34" fmla="*/ 321976 w 903288"/>
                  <a:gd name="connsiteY34" fmla="*/ 283421 h 904876"/>
                  <a:gd name="connsiteX35" fmla="*/ 618302 w 903288"/>
                  <a:gd name="connsiteY35" fmla="*/ 283421 h 904876"/>
                  <a:gd name="connsiteX36" fmla="*/ 652463 w 903288"/>
                  <a:gd name="connsiteY36" fmla="*/ 317888 h 904876"/>
                  <a:gd name="connsiteX37" fmla="*/ 652463 w 903288"/>
                  <a:gd name="connsiteY37" fmla="*/ 629221 h 904876"/>
                  <a:gd name="connsiteX38" fmla="*/ 618302 w 903288"/>
                  <a:gd name="connsiteY38" fmla="*/ 663575 h 904876"/>
                  <a:gd name="connsiteX39" fmla="*/ 321976 w 903288"/>
                  <a:gd name="connsiteY39" fmla="*/ 663575 h 904876"/>
                  <a:gd name="connsiteX40" fmla="*/ 287815 w 903288"/>
                  <a:gd name="connsiteY40" fmla="*/ 629221 h 904876"/>
                  <a:gd name="connsiteX41" fmla="*/ 287815 w 903288"/>
                  <a:gd name="connsiteY41" fmla="*/ 525029 h 904876"/>
                  <a:gd name="connsiteX42" fmla="*/ 71386 w 903288"/>
                  <a:gd name="connsiteY42" fmla="*/ 525029 h 904876"/>
                  <a:gd name="connsiteX43" fmla="*/ 41538 w 903288"/>
                  <a:gd name="connsiteY43" fmla="*/ 494969 h 904876"/>
                  <a:gd name="connsiteX44" fmla="*/ 41538 w 903288"/>
                  <a:gd name="connsiteY44" fmla="*/ 136399 h 904876"/>
                  <a:gd name="connsiteX45" fmla="*/ 0 w 903288"/>
                  <a:gd name="connsiteY45" fmla="*/ 70855 h 904876"/>
                  <a:gd name="connsiteX46" fmla="*/ 71386 w 903288"/>
                  <a:gd name="connsiteY46" fmla="*/ 0 h 90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03288" h="904876">
                    <a:moveTo>
                      <a:pt x="478975" y="760413"/>
                    </a:moveTo>
                    <a:cubicBezTo>
                      <a:pt x="519201" y="760413"/>
                      <a:pt x="550863" y="792529"/>
                      <a:pt x="550863" y="832081"/>
                    </a:cubicBezTo>
                    <a:cubicBezTo>
                      <a:pt x="550863" y="871747"/>
                      <a:pt x="519201" y="904876"/>
                      <a:pt x="478975" y="904876"/>
                    </a:cubicBezTo>
                    <a:cubicBezTo>
                      <a:pt x="439763" y="904876"/>
                      <a:pt x="407988" y="871747"/>
                      <a:pt x="407988" y="832081"/>
                    </a:cubicBezTo>
                    <a:cubicBezTo>
                      <a:pt x="407988" y="792529"/>
                      <a:pt x="439763" y="760413"/>
                      <a:pt x="478975" y="760413"/>
                    </a:cubicBezTo>
                    <a:close/>
                    <a:moveTo>
                      <a:pt x="72687" y="760413"/>
                    </a:moveTo>
                    <a:cubicBezTo>
                      <a:pt x="112335" y="760413"/>
                      <a:pt x="144463" y="792529"/>
                      <a:pt x="144463" y="832081"/>
                    </a:cubicBezTo>
                    <a:cubicBezTo>
                      <a:pt x="144463" y="871747"/>
                      <a:pt x="112335" y="904876"/>
                      <a:pt x="72687" y="904876"/>
                    </a:cubicBezTo>
                    <a:cubicBezTo>
                      <a:pt x="32128" y="904876"/>
                      <a:pt x="0" y="871747"/>
                      <a:pt x="0" y="832081"/>
                    </a:cubicBezTo>
                    <a:cubicBezTo>
                      <a:pt x="0" y="792529"/>
                      <a:pt x="32128" y="760413"/>
                      <a:pt x="72687" y="760413"/>
                    </a:cubicBezTo>
                    <a:close/>
                    <a:moveTo>
                      <a:pt x="549905" y="0"/>
                    </a:moveTo>
                    <a:cubicBezTo>
                      <a:pt x="577639" y="0"/>
                      <a:pt x="601168" y="16175"/>
                      <a:pt x="612875" y="39815"/>
                    </a:cubicBezTo>
                    <a:cubicBezTo>
                      <a:pt x="612875" y="39815"/>
                      <a:pt x="612875" y="39815"/>
                      <a:pt x="831793" y="39815"/>
                    </a:cubicBezTo>
                    <a:cubicBezTo>
                      <a:pt x="847820" y="39815"/>
                      <a:pt x="861687" y="52709"/>
                      <a:pt x="861687" y="69902"/>
                    </a:cubicBezTo>
                    <a:cubicBezTo>
                      <a:pt x="861687" y="69902"/>
                      <a:pt x="861687" y="69902"/>
                      <a:pt x="861687" y="698564"/>
                    </a:cubicBezTo>
                    <a:cubicBezTo>
                      <a:pt x="861687" y="767334"/>
                      <a:pt x="861687" y="767334"/>
                      <a:pt x="861687" y="767334"/>
                    </a:cubicBezTo>
                    <a:cubicBezTo>
                      <a:pt x="881919" y="781360"/>
                      <a:pt x="881919" y="781360"/>
                      <a:pt x="881919" y="781360"/>
                    </a:cubicBezTo>
                    <a:cubicBezTo>
                      <a:pt x="894763" y="794254"/>
                      <a:pt x="903288" y="812465"/>
                      <a:pt x="903288" y="831807"/>
                    </a:cubicBezTo>
                    <a:cubicBezTo>
                      <a:pt x="903288" y="871621"/>
                      <a:pt x="871235" y="904875"/>
                      <a:pt x="830770" y="904875"/>
                    </a:cubicBezTo>
                    <a:cubicBezTo>
                      <a:pt x="791215" y="904875"/>
                      <a:pt x="759161" y="871621"/>
                      <a:pt x="759161" y="831807"/>
                    </a:cubicBezTo>
                    <a:cubicBezTo>
                      <a:pt x="759161" y="812465"/>
                      <a:pt x="766663" y="794254"/>
                      <a:pt x="779507" y="781360"/>
                    </a:cubicBezTo>
                    <a:cubicBezTo>
                      <a:pt x="801899" y="766316"/>
                      <a:pt x="801899" y="766316"/>
                      <a:pt x="801899" y="766316"/>
                    </a:cubicBezTo>
                    <a:cubicBezTo>
                      <a:pt x="801899" y="740414"/>
                      <a:pt x="801899" y="740414"/>
                      <a:pt x="801899" y="740414"/>
                    </a:cubicBezTo>
                    <a:cubicBezTo>
                      <a:pt x="801899" y="649135"/>
                      <a:pt x="801899" y="465332"/>
                      <a:pt x="801899" y="99989"/>
                    </a:cubicBezTo>
                    <a:cubicBezTo>
                      <a:pt x="801899" y="99989"/>
                      <a:pt x="801899" y="99989"/>
                      <a:pt x="615035" y="99989"/>
                    </a:cubicBezTo>
                    <a:cubicBezTo>
                      <a:pt x="604350" y="124647"/>
                      <a:pt x="578776" y="143988"/>
                      <a:pt x="549905" y="143988"/>
                    </a:cubicBezTo>
                    <a:cubicBezTo>
                      <a:pt x="509327" y="143988"/>
                      <a:pt x="476250" y="111752"/>
                      <a:pt x="476250" y="70920"/>
                    </a:cubicBezTo>
                    <a:cubicBezTo>
                      <a:pt x="476250" y="31218"/>
                      <a:pt x="509327" y="0"/>
                      <a:pt x="549905" y="0"/>
                    </a:cubicBezTo>
                    <a:close/>
                    <a:moveTo>
                      <a:pt x="71386" y="0"/>
                    </a:moveTo>
                    <a:cubicBezTo>
                      <a:pt x="111903" y="0"/>
                      <a:pt x="143908" y="31190"/>
                      <a:pt x="143908" y="70855"/>
                    </a:cubicBezTo>
                    <a:cubicBezTo>
                      <a:pt x="143908" y="100915"/>
                      <a:pt x="125749" y="125664"/>
                      <a:pt x="101235" y="136399"/>
                    </a:cubicBezTo>
                    <a:cubicBezTo>
                      <a:pt x="101235" y="464909"/>
                      <a:pt x="101235" y="464909"/>
                      <a:pt x="101235" y="464909"/>
                    </a:cubicBezTo>
                    <a:cubicBezTo>
                      <a:pt x="287815" y="464909"/>
                      <a:pt x="287815" y="464909"/>
                      <a:pt x="287815" y="464909"/>
                    </a:cubicBezTo>
                    <a:cubicBezTo>
                      <a:pt x="287815" y="317888"/>
                      <a:pt x="287815" y="317888"/>
                      <a:pt x="287815" y="317888"/>
                    </a:cubicBezTo>
                    <a:cubicBezTo>
                      <a:pt x="287815" y="299581"/>
                      <a:pt x="303817" y="283421"/>
                      <a:pt x="321976" y="283421"/>
                    </a:cubicBezTo>
                    <a:cubicBezTo>
                      <a:pt x="618302" y="283421"/>
                      <a:pt x="618302" y="283421"/>
                      <a:pt x="618302" y="283421"/>
                    </a:cubicBezTo>
                    <a:cubicBezTo>
                      <a:pt x="636461" y="283421"/>
                      <a:pt x="652463" y="299581"/>
                      <a:pt x="652463" y="317888"/>
                    </a:cubicBezTo>
                    <a:cubicBezTo>
                      <a:pt x="652463" y="629221"/>
                      <a:pt x="652463" y="629221"/>
                      <a:pt x="652463" y="629221"/>
                    </a:cubicBezTo>
                    <a:cubicBezTo>
                      <a:pt x="652463" y="648545"/>
                      <a:pt x="636461" y="663575"/>
                      <a:pt x="618302" y="663575"/>
                    </a:cubicBezTo>
                    <a:cubicBezTo>
                      <a:pt x="321976" y="663575"/>
                      <a:pt x="321976" y="663575"/>
                      <a:pt x="321976" y="663575"/>
                    </a:cubicBezTo>
                    <a:cubicBezTo>
                      <a:pt x="303817" y="663575"/>
                      <a:pt x="287815" y="648545"/>
                      <a:pt x="287815" y="629221"/>
                    </a:cubicBezTo>
                    <a:cubicBezTo>
                      <a:pt x="287815" y="525029"/>
                      <a:pt x="287815" y="525029"/>
                      <a:pt x="287815" y="525029"/>
                    </a:cubicBezTo>
                    <a:cubicBezTo>
                      <a:pt x="287815" y="525029"/>
                      <a:pt x="287815" y="525029"/>
                      <a:pt x="71386" y="525029"/>
                    </a:cubicBezTo>
                    <a:cubicBezTo>
                      <a:pt x="55384" y="525029"/>
                      <a:pt x="41538" y="511129"/>
                      <a:pt x="41538" y="494969"/>
                    </a:cubicBezTo>
                    <a:cubicBezTo>
                      <a:pt x="41538" y="494969"/>
                      <a:pt x="41538" y="494969"/>
                      <a:pt x="41538" y="136399"/>
                    </a:cubicBezTo>
                    <a:cubicBezTo>
                      <a:pt x="18045" y="125664"/>
                      <a:pt x="0" y="100915"/>
                      <a:pt x="0" y="70855"/>
                    </a:cubicBezTo>
                    <a:cubicBezTo>
                      <a:pt x="0" y="31190"/>
                      <a:pt x="33026" y="0"/>
                      <a:pt x="71386" y="0"/>
                    </a:cubicBezTo>
                    <a:close/>
                  </a:path>
                </a:pathLst>
              </a:custGeom>
              <a:solidFill>
                <a:srgbClr val="3253DC"/>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grpSp>
      </p:grpSp>
      <p:pic>
        <p:nvPicPr>
          <p:cNvPr id="120" name="Picture 119">
            <a:extLst>
              <a:ext uri="{FF2B5EF4-FFF2-40B4-BE49-F238E27FC236}">
                <a16:creationId xmlns:a16="http://schemas.microsoft.com/office/drawing/2014/main" id="{3091FD4B-C256-491D-A7C4-9637864763B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0922" r="10922"/>
          <a:stretch/>
        </p:blipFill>
        <p:spPr>
          <a:xfrm>
            <a:off x="4102078" y="3757011"/>
            <a:ext cx="790159" cy="658863"/>
          </a:xfrm>
          <a:prstGeom prst="rect">
            <a:avLst/>
          </a:prstGeom>
        </p:spPr>
      </p:pic>
      <p:pic>
        <p:nvPicPr>
          <p:cNvPr id="121" name="Picture 2" descr="C:\Users\hagardh\Documents\Carriers\TIM\Expo Demo Oct 2015\IMG_1052.jpg">
            <a:extLst>
              <a:ext uri="{FF2B5EF4-FFF2-40B4-BE49-F238E27FC236}">
                <a16:creationId xmlns:a16="http://schemas.microsoft.com/office/drawing/2014/main" id="{4CDBFDED-FCAF-4B6E-98B8-6B40321A810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714" r="7886" b="26515"/>
          <a:stretch/>
        </p:blipFill>
        <p:spPr bwMode="auto">
          <a:xfrm>
            <a:off x="4102069" y="4443134"/>
            <a:ext cx="790168" cy="555475"/>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a:extLst>
              <a:ext uri="{FF2B5EF4-FFF2-40B4-BE49-F238E27FC236}">
                <a16:creationId xmlns:a16="http://schemas.microsoft.com/office/drawing/2014/main" id="{88DCD42E-43F9-4E1E-AAB9-CDF81E629FE7}"/>
              </a:ext>
            </a:extLst>
          </p:cNvPr>
          <p:cNvPicPr>
            <a:picLocks noChangeAspect="1"/>
          </p:cNvPicPr>
          <p:nvPr/>
        </p:nvPicPr>
        <p:blipFill rotWithShape="1">
          <a:blip r:embed="rId4">
            <a:extLst>
              <a:ext uri="{28A0092B-C50C-407E-A947-70E740481C1C}">
                <a14:useLocalDpi xmlns:a14="http://schemas.microsoft.com/office/drawing/2010/main" val="0"/>
              </a:ext>
            </a:extLst>
          </a:blip>
          <a:srcRect l="8053" t="22840" r="51752" b="5770"/>
          <a:stretch/>
        </p:blipFill>
        <p:spPr>
          <a:xfrm>
            <a:off x="5029511" y="3755025"/>
            <a:ext cx="1243584" cy="1243584"/>
          </a:xfrm>
          <a:prstGeom prst="ellipse">
            <a:avLst/>
          </a:prstGeom>
        </p:spPr>
      </p:pic>
      <p:cxnSp>
        <p:nvCxnSpPr>
          <p:cNvPr id="124" name="Straight Connector 123">
            <a:extLst>
              <a:ext uri="{FF2B5EF4-FFF2-40B4-BE49-F238E27FC236}">
                <a16:creationId xmlns:a16="http://schemas.microsoft.com/office/drawing/2014/main" id="{7B2DB031-0A80-44B6-AC08-13218F47D999}"/>
              </a:ext>
            </a:extLst>
          </p:cNvPr>
          <p:cNvCxnSpPr>
            <a:cxnSpLocks/>
          </p:cNvCxnSpPr>
          <p:nvPr/>
        </p:nvCxnSpPr>
        <p:spPr>
          <a:xfrm>
            <a:off x="5672574" y="391440"/>
            <a:ext cx="0" cy="2138457"/>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93F6CCCF-5C81-45C8-8675-66DAB8DDB8E8}"/>
              </a:ext>
            </a:extLst>
          </p:cNvPr>
          <p:cNvSpPr txBox="1"/>
          <p:nvPr/>
        </p:nvSpPr>
        <p:spPr>
          <a:xfrm>
            <a:off x="5672574" y="1007058"/>
            <a:ext cx="3157443" cy="9417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Standardiz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Leading ecosystem towards new projects and driving new system design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e led the mobile and broader industries to standardize cellular broadcast</a:t>
            </a:r>
          </a:p>
        </p:txBody>
      </p:sp>
      <p:grpSp>
        <p:nvGrpSpPr>
          <p:cNvPr id="129" name="Group 128">
            <a:extLst>
              <a:ext uri="{FF2B5EF4-FFF2-40B4-BE49-F238E27FC236}">
                <a16:creationId xmlns:a16="http://schemas.microsoft.com/office/drawing/2014/main" id="{7E159E02-9CB7-4117-B3EB-0FC2CDAF7721}"/>
              </a:ext>
            </a:extLst>
          </p:cNvPr>
          <p:cNvGrpSpPr>
            <a:grpSpLocks noChangeAspect="1"/>
          </p:cNvGrpSpPr>
          <p:nvPr/>
        </p:nvGrpSpPr>
        <p:grpSpPr>
          <a:xfrm>
            <a:off x="5815371" y="403382"/>
            <a:ext cx="455064" cy="538822"/>
            <a:chOff x="1339675" y="3217863"/>
            <a:chExt cx="930450" cy="1101706"/>
          </a:xfrm>
        </p:grpSpPr>
        <p:grpSp>
          <p:nvGrpSpPr>
            <p:cNvPr id="130" name="Group 129">
              <a:extLst>
                <a:ext uri="{FF2B5EF4-FFF2-40B4-BE49-F238E27FC236}">
                  <a16:creationId xmlns:a16="http://schemas.microsoft.com/office/drawing/2014/main" id="{42D2A759-7F44-4850-8217-26BC7047B1A0}"/>
                </a:ext>
              </a:extLst>
            </p:cNvPr>
            <p:cNvGrpSpPr/>
            <p:nvPr/>
          </p:nvGrpSpPr>
          <p:grpSpPr>
            <a:xfrm>
              <a:off x="1339701" y="3217863"/>
              <a:ext cx="930424" cy="1101706"/>
              <a:chOff x="1339701" y="3217863"/>
              <a:chExt cx="930424" cy="1101706"/>
            </a:xfrm>
          </p:grpSpPr>
          <p:sp>
            <p:nvSpPr>
              <p:cNvPr id="132" name="Rectangle: Rounded Corners 6">
                <a:extLst>
                  <a:ext uri="{FF2B5EF4-FFF2-40B4-BE49-F238E27FC236}">
                    <a16:creationId xmlns:a16="http://schemas.microsoft.com/office/drawing/2014/main" id="{C0970359-D392-4A0C-90A0-A3CFDD65585F}"/>
                  </a:ext>
                </a:extLst>
              </p:cNvPr>
              <p:cNvSpPr/>
              <p:nvPr/>
            </p:nvSpPr>
            <p:spPr>
              <a:xfrm>
                <a:off x="1339701" y="4132675"/>
                <a:ext cx="919521" cy="186894"/>
              </a:xfrm>
              <a:prstGeom prst="roundRect">
                <a:avLst>
                  <a:gd name="adj" fmla="val 9743"/>
                </a:avLst>
              </a:pr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33" name="Freeform 101">
                <a:extLst>
                  <a:ext uri="{FF2B5EF4-FFF2-40B4-BE49-F238E27FC236}">
                    <a16:creationId xmlns:a16="http://schemas.microsoft.com/office/drawing/2014/main" id="{67BDA5E9-B283-49D2-88A0-1DAD265FDFC3}"/>
                  </a:ext>
                </a:extLst>
              </p:cNvPr>
              <p:cNvSpPr>
                <a:spLocks noEditPoints="1"/>
              </p:cNvSpPr>
              <p:nvPr/>
            </p:nvSpPr>
            <p:spPr bwMode="auto">
              <a:xfrm>
                <a:off x="1341438" y="3217863"/>
                <a:ext cx="928687" cy="881062"/>
              </a:xfrm>
              <a:custGeom>
                <a:avLst/>
                <a:gdLst>
                  <a:gd name="T0" fmla="*/ 4047 w 4086"/>
                  <a:gd name="T1" fmla="*/ 3736 h 3892"/>
                  <a:gd name="T2" fmla="*/ 187 w 4086"/>
                  <a:gd name="T3" fmla="*/ 43 h 3892"/>
                  <a:gd name="T4" fmla="*/ 47 w 4086"/>
                  <a:gd name="T5" fmla="*/ 35 h 3892"/>
                  <a:gd name="T6" fmla="*/ 0 w 4086"/>
                  <a:gd name="T7" fmla="*/ 124 h 3892"/>
                  <a:gd name="T8" fmla="*/ 0 w 4086"/>
                  <a:gd name="T9" fmla="*/ 3783 h 3892"/>
                  <a:gd name="T10" fmla="*/ 109 w 4086"/>
                  <a:gd name="T11" fmla="*/ 3892 h 3892"/>
                  <a:gd name="T12" fmla="*/ 3980 w 4086"/>
                  <a:gd name="T13" fmla="*/ 3892 h 3892"/>
                  <a:gd name="T14" fmla="*/ 4059 w 4086"/>
                  <a:gd name="T15" fmla="*/ 3853 h 3892"/>
                  <a:gd name="T16" fmla="*/ 4047 w 4086"/>
                  <a:gd name="T17" fmla="*/ 3736 h 3892"/>
                  <a:gd name="T18" fmla="*/ 2328 w 4086"/>
                  <a:gd name="T19" fmla="*/ 3132 h 3892"/>
                  <a:gd name="T20" fmla="*/ 807 w 4086"/>
                  <a:gd name="T21" fmla="*/ 3132 h 3892"/>
                  <a:gd name="T22" fmla="*/ 721 w 4086"/>
                  <a:gd name="T23" fmla="*/ 3050 h 3892"/>
                  <a:gd name="T24" fmla="*/ 721 w 4086"/>
                  <a:gd name="T25" fmla="*/ 1552 h 3892"/>
                  <a:gd name="T26" fmla="*/ 753 w 4086"/>
                  <a:gd name="T27" fmla="*/ 1538 h 3892"/>
                  <a:gd name="T28" fmla="*/ 2341 w 4086"/>
                  <a:gd name="T29" fmla="*/ 3099 h 3892"/>
                  <a:gd name="T30" fmla="*/ 2328 w 4086"/>
                  <a:gd name="T31" fmla="*/ 3132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6" h="3892">
                    <a:moveTo>
                      <a:pt x="4047" y="3736"/>
                    </a:moveTo>
                    <a:cubicBezTo>
                      <a:pt x="187" y="43"/>
                      <a:pt x="187" y="43"/>
                      <a:pt x="187" y="43"/>
                    </a:cubicBezTo>
                    <a:cubicBezTo>
                      <a:pt x="148" y="7"/>
                      <a:pt x="90" y="0"/>
                      <a:pt x="47" y="35"/>
                    </a:cubicBezTo>
                    <a:cubicBezTo>
                      <a:pt x="15" y="54"/>
                      <a:pt x="0" y="89"/>
                      <a:pt x="0" y="124"/>
                    </a:cubicBezTo>
                    <a:cubicBezTo>
                      <a:pt x="0" y="3783"/>
                      <a:pt x="0" y="3783"/>
                      <a:pt x="0" y="3783"/>
                    </a:cubicBezTo>
                    <a:cubicBezTo>
                      <a:pt x="0" y="3841"/>
                      <a:pt x="51" y="3892"/>
                      <a:pt x="109" y="3892"/>
                    </a:cubicBezTo>
                    <a:cubicBezTo>
                      <a:pt x="3980" y="3892"/>
                      <a:pt x="3980" y="3892"/>
                      <a:pt x="3980" y="3892"/>
                    </a:cubicBezTo>
                    <a:cubicBezTo>
                      <a:pt x="4012" y="3892"/>
                      <a:pt x="4039" y="3876"/>
                      <a:pt x="4059" y="3853"/>
                    </a:cubicBezTo>
                    <a:cubicBezTo>
                      <a:pt x="4086" y="3814"/>
                      <a:pt x="4078" y="3763"/>
                      <a:pt x="4047" y="3736"/>
                    </a:cubicBezTo>
                    <a:close/>
                    <a:moveTo>
                      <a:pt x="2328" y="3132"/>
                    </a:moveTo>
                    <a:cubicBezTo>
                      <a:pt x="807" y="3132"/>
                      <a:pt x="807" y="3132"/>
                      <a:pt x="807" y="3132"/>
                    </a:cubicBezTo>
                    <a:cubicBezTo>
                      <a:pt x="760" y="3132"/>
                      <a:pt x="721" y="3093"/>
                      <a:pt x="721" y="3050"/>
                    </a:cubicBezTo>
                    <a:cubicBezTo>
                      <a:pt x="721" y="1552"/>
                      <a:pt x="721" y="1552"/>
                      <a:pt x="721" y="1552"/>
                    </a:cubicBezTo>
                    <a:cubicBezTo>
                      <a:pt x="721" y="1535"/>
                      <a:pt x="741" y="1526"/>
                      <a:pt x="753" y="1538"/>
                    </a:cubicBezTo>
                    <a:cubicBezTo>
                      <a:pt x="2341" y="3099"/>
                      <a:pt x="2341" y="3099"/>
                      <a:pt x="2341" y="3099"/>
                    </a:cubicBezTo>
                    <a:cubicBezTo>
                      <a:pt x="2353" y="3111"/>
                      <a:pt x="2345" y="3132"/>
                      <a:pt x="2328" y="3132"/>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sp>
          <p:nvSpPr>
            <p:cNvPr id="131" name="Freeform: Shape 7">
              <a:extLst>
                <a:ext uri="{FF2B5EF4-FFF2-40B4-BE49-F238E27FC236}">
                  <a16:creationId xmlns:a16="http://schemas.microsoft.com/office/drawing/2014/main" id="{EB11012B-D3C7-4A13-BBCF-09A89B21FA00}"/>
                </a:ext>
              </a:extLst>
            </p:cNvPr>
            <p:cNvSpPr/>
            <p:nvPr/>
          </p:nvSpPr>
          <p:spPr>
            <a:xfrm>
              <a:off x="1339675" y="4132675"/>
              <a:ext cx="919547" cy="186894"/>
            </a:xfrm>
            <a:custGeom>
              <a:avLst/>
              <a:gdLst>
                <a:gd name="connsiteX0" fmla="*/ 2207645 w 2249488"/>
                <a:gd name="connsiteY0" fmla="*/ 456054 h 457200"/>
                <a:gd name="connsiteX1" fmla="*/ 2204879 w 2249488"/>
                <a:gd name="connsiteY1" fmla="*/ 457200 h 457200"/>
                <a:gd name="connsiteX2" fmla="*/ 2202085 w 2249488"/>
                <a:gd name="connsiteY2" fmla="*/ 457200 h 457200"/>
                <a:gd name="connsiteX3" fmla="*/ 41716 w 2249488"/>
                <a:gd name="connsiteY3" fmla="*/ 456028 h 457200"/>
                <a:gd name="connsiteX4" fmla="*/ 47403 w 2249488"/>
                <a:gd name="connsiteY4" fmla="*/ 457200 h 457200"/>
                <a:gd name="connsiteX5" fmla="*/ 44545 w 2249488"/>
                <a:gd name="connsiteY5" fmla="*/ 457200 h 457200"/>
                <a:gd name="connsiteX6" fmla="*/ 19170 w 2249488"/>
                <a:gd name="connsiteY6" fmla="*/ 446690 h 457200"/>
                <a:gd name="connsiteX7" fmla="*/ 41716 w 2249488"/>
                <a:gd name="connsiteY7" fmla="*/ 456028 h 457200"/>
                <a:gd name="connsiteX8" fmla="*/ 29089 w 2249488"/>
                <a:gd name="connsiteY8" fmla="*/ 453426 h 457200"/>
                <a:gd name="connsiteX9" fmla="*/ 2230419 w 2249488"/>
                <a:gd name="connsiteY9" fmla="*/ 446622 h 457200"/>
                <a:gd name="connsiteX10" fmla="*/ 2220400 w 2249488"/>
                <a:gd name="connsiteY10" fmla="*/ 453426 h 457200"/>
                <a:gd name="connsiteX11" fmla="*/ 2207645 w 2249488"/>
                <a:gd name="connsiteY11" fmla="*/ 456054 h 457200"/>
                <a:gd name="connsiteX12" fmla="*/ 2249424 w 2249488"/>
                <a:gd name="connsiteY12" fmla="*/ 409907 h 457200"/>
                <a:gd name="connsiteX13" fmla="*/ 2249424 w 2249488"/>
                <a:gd name="connsiteY13" fmla="*/ 412655 h 457200"/>
                <a:gd name="connsiteX14" fmla="*/ 2236378 w 2249488"/>
                <a:gd name="connsiteY14" fmla="*/ 444153 h 457200"/>
                <a:gd name="connsiteX15" fmla="*/ 2230419 w 2249488"/>
                <a:gd name="connsiteY15" fmla="*/ 446622 h 457200"/>
                <a:gd name="connsiteX16" fmla="*/ 2235483 w 2249488"/>
                <a:gd name="connsiteY16" fmla="*/ 443182 h 457200"/>
                <a:gd name="connsiteX17" fmla="*/ 0 w 2249488"/>
                <a:gd name="connsiteY17" fmla="*/ 409755 h 457200"/>
                <a:gd name="connsiteX18" fmla="*/ 14006 w 2249488"/>
                <a:gd name="connsiteY18" fmla="*/ 443182 h 457200"/>
                <a:gd name="connsiteX19" fmla="*/ 19170 w 2249488"/>
                <a:gd name="connsiteY19" fmla="*/ 446690 h 457200"/>
                <a:gd name="connsiteX20" fmla="*/ 13047 w 2249488"/>
                <a:gd name="connsiteY20" fmla="*/ 444153 h 457200"/>
                <a:gd name="connsiteX21" fmla="*/ 0 w 2249488"/>
                <a:gd name="connsiteY21" fmla="*/ 412655 h 457200"/>
                <a:gd name="connsiteX22" fmla="*/ 1956451 w 2249488"/>
                <a:gd name="connsiteY22" fmla="*/ 342900 h 457200"/>
                <a:gd name="connsiteX23" fmla="*/ 1986617 w 2249488"/>
                <a:gd name="connsiteY23" fmla="*/ 368779 h 457200"/>
                <a:gd name="connsiteX24" fmla="*/ 1986617 w 2249488"/>
                <a:gd name="connsiteY24" fmla="*/ 457200 h 457200"/>
                <a:gd name="connsiteX25" fmla="*/ 1937059 w 2249488"/>
                <a:gd name="connsiteY25" fmla="*/ 457200 h 457200"/>
                <a:gd name="connsiteX26" fmla="*/ 1937059 w 2249488"/>
                <a:gd name="connsiteY26" fmla="*/ 368779 h 457200"/>
                <a:gd name="connsiteX27" fmla="*/ 1956451 w 2249488"/>
                <a:gd name="connsiteY27" fmla="*/ 342900 h 457200"/>
                <a:gd name="connsiteX28" fmla="*/ 1391925 w 2249488"/>
                <a:gd name="connsiteY28" fmla="*/ 342900 h 457200"/>
                <a:gd name="connsiteX29" fmla="*/ 1422090 w 2249488"/>
                <a:gd name="connsiteY29" fmla="*/ 368779 h 457200"/>
                <a:gd name="connsiteX30" fmla="*/ 1422090 w 2249488"/>
                <a:gd name="connsiteY30" fmla="*/ 457200 h 457200"/>
                <a:gd name="connsiteX31" fmla="*/ 1370378 w 2249488"/>
                <a:gd name="connsiteY31" fmla="*/ 457200 h 457200"/>
                <a:gd name="connsiteX32" fmla="*/ 1370378 w 2249488"/>
                <a:gd name="connsiteY32" fmla="*/ 368779 h 457200"/>
                <a:gd name="connsiteX33" fmla="*/ 1391925 w 2249488"/>
                <a:gd name="connsiteY33" fmla="*/ 342900 h 457200"/>
                <a:gd name="connsiteX34" fmla="*/ 825243 w 2249488"/>
                <a:gd name="connsiteY34" fmla="*/ 342900 h 457200"/>
                <a:gd name="connsiteX35" fmla="*/ 855409 w 2249488"/>
                <a:gd name="connsiteY35" fmla="*/ 368779 h 457200"/>
                <a:gd name="connsiteX36" fmla="*/ 855409 w 2249488"/>
                <a:gd name="connsiteY36" fmla="*/ 457200 h 457200"/>
                <a:gd name="connsiteX37" fmla="*/ 805851 w 2249488"/>
                <a:gd name="connsiteY37" fmla="*/ 457200 h 457200"/>
                <a:gd name="connsiteX38" fmla="*/ 805851 w 2249488"/>
                <a:gd name="connsiteY38" fmla="*/ 368779 h 457200"/>
                <a:gd name="connsiteX39" fmla="*/ 825243 w 2249488"/>
                <a:gd name="connsiteY39" fmla="*/ 342900 h 457200"/>
                <a:gd name="connsiteX40" fmla="*/ 258562 w 2249488"/>
                <a:gd name="connsiteY40" fmla="*/ 342900 h 457200"/>
                <a:gd name="connsiteX41" fmla="*/ 288728 w 2249488"/>
                <a:gd name="connsiteY41" fmla="*/ 368779 h 457200"/>
                <a:gd name="connsiteX42" fmla="*/ 288728 w 2249488"/>
                <a:gd name="connsiteY42" fmla="*/ 457200 h 457200"/>
                <a:gd name="connsiteX43" fmla="*/ 239170 w 2249488"/>
                <a:gd name="connsiteY43" fmla="*/ 457200 h 457200"/>
                <a:gd name="connsiteX44" fmla="*/ 239170 w 2249488"/>
                <a:gd name="connsiteY44" fmla="*/ 368779 h 457200"/>
                <a:gd name="connsiteX45" fmla="*/ 258562 w 2249488"/>
                <a:gd name="connsiteY45" fmla="*/ 342900 h 457200"/>
                <a:gd name="connsiteX46" fmla="*/ 1674188 w 2249488"/>
                <a:gd name="connsiteY46" fmla="*/ 228600 h 457200"/>
                <a:gd name="connsiteX47" fmla="*/ 1704354 w 2249488"/>
                <a:gd name="connsiteY47" fmla="*/ 254479 h 457200"/>
                <a:gd name="connsiteX48" fmla="*/ 1704354 w 2249488"/>
                <a:gd name="connsiteY48" fmla="*/ 457200 h 457200"/>
                <a:gd name="connsiteX49" fmla="*/ 1654796 w 2249488"/>
                <a:gd name="connsiteY49" fmla="*/ 457200 h 457200"/>
                <a:gd name="connsiteX50" fmla="*/ 1654796 w 2249488"/>
                <a:gd name="connsiteY50" fmla="*/ 254479 h 457200"/>
                <a:gd name="connsiteX51" fmla="*/ 1674188 w 2249488"/>
                <a:gd name="connsiteY51" fmla="*/ 228600 h 457200"/>
                <a:gd name="connsiteX52" fmla="*/ 1107507 w 2249488"/>
                <a:gd name="connsiteY52" fmla="*/ 228600 h 457200"/>
                <a:gd name="connsiteX53" fmla="*/ 1137672 w 2249488"/>
                <a:gd name="connsiteY53" fmla="*/ 254479 h 457200"/>
                <a:gd name="connsiteX54" fmla="*/ 1137672 w 2249488"/>
                <a:gd name="connsiteY54" fmla="*/ 457200 h 457200"/>
                <a:gd name="connsiteX55" fmla="*/ 1088115 w 2249488"/>
                <a:gd name="connsiteY55" fmla="*/ 457200 h 457200"/>
                <a:gd name="connsiteX56" fmla="*/ 1088115 w 2249488"/>
                <a:gd name="connsiteY56" fmla="*/ 254479 h 457200"/>
                <a:gd name="connsiteX57" fmla="*/ 1107507 w 2249488"/>
                <a:gd name="connsiteY57" fmla="*/ 228600 h 457200"/>
                <a:gd name="connsiteX58" fmla="*/ 542980 w 2249488"/>
                <a:gd name="connsiteY58" fmla="*/ 228600 h 457200"/>
                <a:gd name="connsiteX59" fmla="*/ 573146 w 2249488"/>
                <a:gd name="connsiteY59" fmla="*/ 254479 h 457200"/>
                <a:gd name="connsiteX60" fmla="*/ 573146 w 2249488"/>
                <a:gd name="connsiteY60" fmla="*/ 457200 h 457200"/>
                <a:gd name="connsiteX61" fmla="*/ 521433 w 2249488"/>
                <a:gd name="connsiteY61" fmla="*/ 457200 h 457200"/>
                <a:gd name="connsiteX62" fmla="*/ 521433 w 2249488"/>
                <a:gd name="connsiteY62" fmla="*/ 254479 h 457200"/>
                <a:gd name="connsiteX63" fmla="*/ 542980 w 2249488"/>
                <a:gd name="connsiteY63" fmla="*/ 228600 h 457200"/>
                <a:gd name="connsiteX64" fmla="*/ 2249424 w 2249488"/>
                <a:gd name="connsiteY64" fmla="*/ 47293 h 457200"/>
                <a:gd name="connsiteX65" fmla="*/ 2249488 w 2249488"/>
                <a:gd name="connsiteY65" fmla="*/ 47446 h 457200"/>
                <a:gd name="connsiteX66" fmla="*/ 2249488 w 2249488"/>
                <a:gd name="connsiteY66" fmla="*/ 409755 h 457200"/>
                <a:gd name="connsiteX67" fmla="*/ 2249424 w 2249488"/>
                <a:gd name="connsiteY67" fmla="*/ 409907 h 457200"/>
                <a:gd name="connsiteX68" fmla="*/ 2230419 w 2249488"/>
                <a:gd name="connsiteY68" fmla="*/ 10579 h 457200"/>
                <a:gd name="connsiteX69" fmla="*/ 2236378 w 2249488"/>
                <a:gd name="connsiteY69" fmla="*/ 13047 h 457200"/>
                <a:gd name="connsiteX70" fmla="*/ 2249424 w 2249488"/>
                <a:gd name="connsiteY70" fmla="*/ 44545 h 457200"/>
                <a:gd name="connsiteX71" fmla="*/ 2249424 w 2249488"/>
                <a:gd name="connsiteY71" fmla="*/ 47293 h 457200"/>
                <a:gd name="connsiteX72" fmla="*/ 2235483 w 2249488"/>
                <a:gd name="connsiteY72" fmla="*/ 14018 h 457200"/>
                <a:gd name="connsiteX73" fmla="*/ 19170 w 2249488"/>
                <a:gd name="connsiteY73" fmla="*/ 10511 h 457200"/>
                <a:gd name="connsiteX74" fmla="*/ 14006 w 2249488"/>
                <a:gd name="connsiteY74" fmla="*/ 14018 h 457200"/>
                <a:gd name="connsiteX75" fmla="*/ 0 w 2249488"/>
                <a:gd name="connsiteY75" fmla="*/ 47446 h 457200"/>
                <a:gd name="connsiteX76" fmla="*/ 0 w 2249488"/>
                <a:gd name="connsiteY76" fmla="*/ 44545 h 457200"/>
                <a:gd name="connsiteX77" fmla="*/ 13047 w 2249488"/>
                <a:gd name="connsiteY77" fmla="*/ 13047 h 457200"/>
                <a:gd name="connsiteX78" fmla="*/ 41716 w 2249488"/>
                <a:gd name="connsiteY78" fmla="*/ 1172 h 457200"/>
                <a:gd name="connsiteX79" fmla="*/ 19170 w 2249488"/>
                <a:gd name="connsiteY79" fmla="*/ 10511 h 457200"/>
                <a:gd name="connsiteX80" fmla="*/ 29089 w 2249488"/>
                <a:gd name="connsiteY80" fmla="*/ 3774 h 457200"/>
                <a:gd name="connsiteX81" fmla="*/ 2207645 w 2249488"/>
                <a:gd name="connsiteY81" fmla="*/ 1146 h 457200"/>
                <a:gd name="connsiteX82" fmla="*/ 2220400 w 2249488"/>
                <a:gd name="connsiteY82" fmla="*/ 3774 h 457200"/>
                <a:gd name="connsiteX83" fmla="*/ 2230419 w 2249488"/>
                <a:gd name="connsiteY83" fmla="*/ 10579 h 457200"/>
                <a:gd name="connsiteX84" fmla="*/ 2202085 w 2249488"/>
                <a:gd name="connsiteY84" fmla="*/ 0 h 457200"/>
                <a:gd name="connsiteX85" fmla="*/ 2204879 w 2249488"/>
                <a:gd name="connsiteY85" fmla="*/ 0 h 457200"/>
                <a:gd name="connsiteX86" fmla="*/ 2207645 w 2249488"/>
                <a:gd name="connsiteY86" fmla="*/ 1146 h 457200"/>
                <a:gd name="connsiteX87" fmla="*/ 44545 w 2249488"/>
                <a:gd name="connsiteY87" fmla="*/ 0 h 457200"/>
                <a:gd name="connsiteX88" fmla="*/ 47403 w 2249488"/>
                <a:gd name="connsiteY88" fmla="*/ 0 h 457200"/>
                <a:gd name="connsiteX89" fmla="*/ 41716 w 2249488"/>
                <a:gd name="connsiteY89" fmla="*/ 1172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249488" h="457200">
                  <a:moveTo>
                    <a:pt x="2207645" y="456054"/>
                  </a:moveTo>
                  <a:lnTo>
                    <a:pt x="2204879" y="457200"/>
                  </a:lnTo>
                  <a:lnTo>
                    <a:pt x="2202085" y="457200"/>
                  </a:lnTo>
                  <a:close/>
                  <a:moveTo>
                    <a:pt x="41716" y="456028"/>
                  </a:moveTo>
                  <a:lnTo>
                    <a:pt x="47403" y="457200"/>
                  </a:lnTo>
                  <a:lnTo>
                    <a:pt x="44545" y="457200"/>
                  </a:lnTo>
                  <a:close/>
                  <a:moveTo>
                    <a:pt x="19170" y="446690"/>
                  </a:moveTo>
                  <a:lnTo>
                    <a:pt x="41716" y="456028"/>
                  </a:lnTo>
                  <a:lnTo>
                    <a:pt x="29089" y="453426"/>
                  </a:lnTo>
                  <a:close/>
                  <a:moveTo>
                    <a:pt x="2230419" y="446622"/>
                  </a:moveTo>
                  <a:lnTo>
                    <a:pt x="2220400" y="453426"/>
                  </a:lnTo>
                  <a:lnTo>
                    <a:pt x="2207645" y="456054"/>
                  </a:lnTo>
                  <a:close/>
                  <a:moveTo>
                    <a:pt x="2249424" y="409907"/>
                  </a:moveTo>
                  <a:lnTo>
                    <a:pt x="2249424" y="412655"/>
                  </a:lnTo>
                  <a:cubicBezTo>
                    <a:pt x="2249424" y="424956"/>
                    <a:pt x="2244438" y="436092"/>
                    <a:pt x="2236378" y="444153"/>
                  </a:cubicBezTo>
                  <a:lnTo>
                    <a:pt x="2230419" y="446622"/>
                  </a:lnTo>
                  <a:lnTo>
                    <a:pt x="2235483" y="443182"/>
                  </a:lnTo>
                  <a:close/>
                  <a:moveTo>
                    <a:pt x="0" y="409755"/>
                  </a:moveTo>
                  <a:cubicBezTo>
                    <a:pt x="0" y="422694"/>
                    <a:pt x="5387" y="434556"/>
                    <a:pt x="14006" y="443182"/>
                  </a:cubicBezTo>
                  <a:lnTo>
                    <a:pt x="19170" y="446690"/>
                  </a:lnTo>
                  <a:lnTo>
                    <a:pt x="13047" y="444153"/>
                  </a:lnTo>
                  <a:cubicBezTo>
                    <a:pt x="4986" y="436092"/>
                    <a:pt x="0" y="424956"/>
                    <a:pt x="0" y="412655"/>
                  </a:cubicBezTo>
                  <a:close/>
                  <a:moveTo>
                    <a:pt x="1956451" y="342900"/>
                  </a:moveTo>
                  <a:cubicBezTo>
                    <a:pt x="1973689" y="340744"/>
                    <a:pt x="1986617" y="351527"/>
                    <a:pt x="1986617" y="368779"/>
                  </a:cubicBezTo>
                  <a:cubicBezTo>
                    <a:pt x="1986617" y="457200"/>
                    <a:pt x="1986617" y="457200"/>
                    <a:pt x="1986617" y="457200"/>
                  </a:cubicBezTo>
                  <a:lnTo>
                    <a:pt x="1937059" y="457200"/>
                  </a:lnTo>
                  <a:cubicBezTo>
                    <a:pt x="1937059" y="368779"/>
                    <a:pt x="1937059" y="368779"/>
                    <a:pt x="1937059" y="368779"/>
                  </a:cubicBezTo>
                  <a:cubicBezTo>
                    <a:pt x="1937059" y="355840"/>
                    <a:pt x="1945678" y="345057"/>
                    <a:pt x="1956451" y="342900"/>
                  </a:cubicBezTo>
                  <a:close/>
                  <a:moveTo>
                    <a:pt x="1391925" y="342900"/>
                  </a:moveTo>
                  <a:cubicBezTo>
                    <a:pt x="1407008" y="340744"/>
                    <a:pt x="1422090" y="351527"/>
                    <a:pt x="1422090" y="368779"/>
                  </a:cubicBezTo>
                  <a:cubicBezTo>
                    <a:pt x="1422090" y="457200"/>
                    <a:pt x="1422090" y="457200"/>
                    <a:pt x="1422090" y="457200"/>
                  </a:cubicBezTo>
                  <a:lnTo>
                    <a:pt x="1370378" y="457200"/>
                  </a:lnTo>
                  <a:cubicBezTo>
                    <a:pt x="1370378" y="368779"/>
                    <a:pt x="1370378" y="368779"/>
                    <a:pt x="1370378" y="368779"/>
                  </a:cubicBezTo>
                  <a:cubicBezTo>
                    <a:pt x="1370378" y="355840"/>
                    <a:pt x="1378997" y="345057"/>
                    <a:pt x="1391925" y="342900"/>
                  </a:cubicBezTo>
                  <a:close/>
                  <a:moveTo>
                    <a:pt x="825243" y="342900"/>
                  </a:moveTo>
                  <a:cubicBezTo>
                    <a:pt x="840326" y="340744"/>
                    <a:pt x="855409" y="351527"/>
                    <a:pt x="855409" y="368779"/>
                  </a:cubicBezTo>
                  <a:cubicBezTo>
                    <a:pt x="855409" y="457200"/>
                    <a:pt x="855409" y="457200"/>
                    <a:pt x="855409" y="457200"/>
                  </a:cubicBezTo>
                  <a:lnTo>
                    <a:pt x="805851" y="457200"/>
                  </a:lnTo>
                  <a:cubicBezTo>
                    <a:pt x="805851" y="368779"/>
                    <a:pt x="805851" y="368779"/>
                    <a:pt x="805851" y="368779"/>
                  </a:cubicBezTo>
                  <a:cubicBezTo>
                    <a:pt x="805851" y="355840"/>
                    <a:pt x="812315" y="345057"/>
                    <a:pt x="825243" y="342900"/>
                  </a:cubicBezTo>
                  <a:close/>
                  <a:moveTo>
                    <a:pt x="258562" y="342900"/>
                  </a:moveTo>
                  <a:cubicBezTo>
                    <a:pt x="275800" y="340744"/>
                    <a:pt x="288728" y="351527"/>
                    <a:pt x="288728" y="368779"/>
                  </a:cubicBezTo>
                  <a:cubicBezTo>
                    <a:pt x="288728" y="457200"/>
                    <a:pt x="288728" y="457200"/>
                    <a:pt x="288728" y="457200"/>
                  </a:cubicBezTo>
                  <a:lnTo>
                    <a:pt x="239170" y="457200"/>
                  </a:lnTo>
                  <a:cubicBezTo>
                    <a:pt x="239170" y="368779"/>
                    <a:pt x="239170" y="368779"/>
                    <a:pt x="239170" y="368779"/>
                  </a:cubicBezTo>
                  <a:cubicBezTo>
                    <a:pt x="239170" y="355840"/>
                    <a:pt x="247789" y="345057"/>
                    <a:pt x="258562" y="342900"/>
                  </a:cubicBezTo>
                  <a:close/>
                  <a:moveTo>
                    <a:pt x="1674188" y="228600"/>
                  </a:moveTo>
                  <a:cubicBezTo>
                    <a:pt x="1691426" y="226444"/>
                    <a:pt x="1704354" y="237227"/>
                    <a:pt x="1704354" y="254479"/>
                  </a:cubicBezTo>
                  <a:cubicBezTo>
                    <a:pt x="1704354" y="457200"/>
                    <a:pt x="1704354" y="457200"/>
                    <a:pt x="1704354" y="457200"/>
                  </a:cubicBezTo>
                  <a:lnTo>
                    <a:pt x="1654796" y="457200"/>
                  </a:lnTo>
                  <a:cubicBezTo>
                    <a:pt x="1654796" y="254479"/>
                    <a:pt x="1654796" y="254479"/>
                    <a:pt x="1654796" y="254479"/>
                  </a:cubicBezTo>
                  <a:cubicBezTo>
                    <a:pt x="1654796" y="241540"/>
                    <a:pt x="1663415" y="230757"/>
                    <a:pt x="1674188" y="228600"/>
                  </a:cubicBezTo>
                  <a:close/>
                  <a:moveTo>
                    <a:pt x="1107507" y="228600"/>
                  </a:moveTo>
                  <a:cubicBezTo>
                    <a:pt x="1124744" y="226444"/>
                    <a:pt x="1137672" y="237227"/>
                    <a:pt x="1137672" y="254479"/>
                  </a:cubicBezTo>
                  <a:cubicBezTo>
                    <a:pt x="1137672" y="457200"/>
                    <a:pt x="1137672" y="457200"/>
                    <a:pt x="1137672" y="457200"/>
                  </a:cubicBezTo>
                  <a:lnTo>
                    <a:pt x="1088115" y="457200"/>
                  </a:lnTo>
                  <a:cubicBezTo>
                    <a:pt x="1088115" y="254479"/>
                    <a:pt x="1088115" y="254479"/>
                    <a:pt x="1088115" y="254479"/>
                  </a:cubicBezTo>
                  <a:cubicBezTo>
                    <a:pt x="1088115" y="241540"/>
                    <a:pt x="1096733" y="230757"/>
                    <a:pt x="1107507" y="228600"/>
                  </a:cubicBezTo>
                  <a:close/>
                  <a:moveTo>
                    <a:pt x="542980" y="228600"/>
                  </a:moveTo>
                  <a:cubicBezTo>
                    <a:pt x="558063" y="226444"/>
                    <a:pt x="573146" y="237227"/>
                    <a:pt x="573146" y="254479"/>
                  </a:cubicBezTo>
                  <a:cubicBezTo>
                    <a:pt x="573146" y="457200"/>
                    <a:pt x="573146" y="457200"/>
                    <a:pt x="573146" y="457200"/>
                  </a:cubicBezTo>
                  <a:lnTo>
                    <a:pt x="521433" y="457200"/>
                  </a:lnTo>
                  <a:cubicBezTo>
                    <a:pt x="521433" y="254479"/>
                    <a:pt x="521433" y="254479"/>
                    <a:pt x="521433" y="254479"/>
                  </a:cubicBezTo>
                  <a:cubicBezTo>
                    <a:pt x="521433" y="241540"/>
                    <a:pt x="530052" y="230757"/>
                    <a:pt x="542980" y="228600"/>
                  </a:cubicBezTo>
                  <a:close/>
                  <a:moveTo>
                    <a:pt x="2249424" y="47293"/>
                  </a:moveTo>
                  <a:lnTo>
                    <a:pt x="2249488" y="47446"/>
                  </a:lnTo>
                  <a:cubicBezTo>
                    <a:pt x="2249488" y="47446"/>
                    <a:pt x="2249488" y="47446"/>
                    <a:pt x="2249488" y="409755"/>
                  </a:cubicBezTo>
                  <a:lnTo>
                    <a:pt x="2249424" y="409907"/>
                  </a:lnTo>
                  <a:close/>
                  <a:moveTo>
                    <a:pt x="2230419" y="10579"/>
                  </a:moveTo>
                  <a:lnTo>
                    <a:pt x="2236378" y="13047"/>
                  </a:lnTo>
                  <a:cubicBezTo>
                    <a:pt x="2244438" y="21108"/>
                    <a:pt x="2249424" y="32244"/>
                    <a:pt x="2249424" y="44545"/>
                  </a:cubicBezTo>
                  <a:lnTo>
                    <a:pt x="2249424" y="47293"/>
                  </a:lnTo>
                  <a:lnTo>
                    <a:pt x="2235483" y="14018"/>
                  </a:lnTo>
                  <a:close/>
                  <a:moveTo>
                    <a:pt x="19170" y="10511"/>
                  </a:moveTo>
                  <a:lnTo>
                    <a:pt x="14006" y="14018"/>
                  </a:lnTo>
                  <a:cubicBezTo>
                    <a:pt x="5387" y="22645"/>
                    <a:pt x="0" y="34506"/>
                    <a:pt x="0" y="47446"/>
                  </a:cubicBezTo>
                  <a:lnTo>
                    <a:pt x="0" y="44545"/>
                  </a:lnTo>
                  <a:cubicBezTo>
                    <a:pt x="0" y="32244"/>
                    <a:pt x="4986" y="21108"/>
                    <a:pt x="13047" y="13047"/>
                  </a:cubicBezTo>
                  <a:close/>
                  <a:moveTo>
                    <a:pt x="41716" y="1172"/>
                  </a:moveTo>
                  <a:lnTo>
                    <a:pt x="19170" y="10511"/>
                  </a:lnTo>
                  <a:lnTo>
                    <a:pt x="29089" y="3774"/>
                  </a:lnTo>
                  <a:close/>
                  <a:moveTo>
                    <a:pt x="2207645" y="1146"/>
                  </a:moveTo>
                  <a:lnTo>
                    <a:pt x="2220400" y="3774"/>
                  </a:lnTo>
                  <a:lnTo>
                    <a:pt x="2230419" y="10579"/>
                  </a:lnTo>
                  <a:close/>
                  <a:moveTo>
                    <a:pt x="2202085" y="0"/>
                  </a:moveTo>
                  <a:lnTo>
                    <a:pt x="2204879" y="0"/>
                  </a:lnTo>
                  <a:lnTo>
                    <a:pt x="2207645" y="1146"/>
                  </a:lnTo>
                  <a:close/>
                  <a:moveTo>
                    <a:pt x="44545" y="0"/>
                  </a:moveTo>
                  <a:lnTo>
                    <a:pt x="47403" y="0"/>
                  </a:lnTo>
                  <a:lnTo>
                    <a:pt x="41716" y="1172"/>
                  </a:lnTo>
                  <a:close/>
                </a:path>
              </a:pathLst>
            </a:custGeom>
            <a:solidFill>
              <a:schemeClr val="accent2">
                <a:lumMod val="60000"/>
                <a:lumOff val="4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sp>
        <p:nvSpPr>
          <p:cNvPr id="134" name="TextBox 133">
            <a:extLst>
              <a:ext uri="{FF2B5EF4-FFF2-40B4-BE49-F238E27FC236}">
                <a16:creationId xmlns:a16="http://schemas.microsoft.com/office/drawing/2014/main" id="{BA793B9B-D4F8-4B9A-87B9-3F4465841A87}"/>
              </a:ext>
            </a:extLst>
          </p:cNvPr>
          <p:cNvSpPr txBox="1"/>
          <p:nvPr/>
        </p:nvSpPr>
        <p:spPr>
          <a:xfrm>
            <a:off x="7367464" y="2755857"/>
            <a:ext cx="3836129" cy="9417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System Trial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2853DC"/>
                </a:solidFill>
                <a:effectLst/>
                <a:uLnTx/>
                <a:uFillTx/>
                <a:latin typeface="Microsoft Sans Serif"/>
                <a:ea typeface="+mn-ea"/>
                <a:cs typeface="Microsoft Sans Serif" panose="020B0604020202020204" pitchFamily="34" charset="0"/>
              </a:rPr>
              <a:t>Collaborating on field trials that track standards development, preparing for commercializ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We worked with mobile operators, device manufacturer and content providers on trials</a:t>
            </a:r>
          </a:p>
        </p:txBody>
      </p:sp>
      <p:cxnSp>
        <p:nvCxnSpPr>
          <p:cNvPr id="135" name="Straight Connector 134">
            <a:extLst>
              <a:ext uri="{FF2B5EF4-FFF2-40B4-BE49-F238E27FC236}">
                <a16:creationId xmlns:a16="http://schemas.microsoft.com/office/drawing/2014/main" id="{CB02E878-BA00-4DCE-BEF5-D0B624938B4C}"/>
              </a:ext>
            </a:extLst>
          </p:cNvPr>
          <p:cNvCxnSpPr>
            <a:cxnSpLocks/>
          </p:cNvCxnSpPr>
          <p:nvPr/>
        </p:nvCxnSpPr>
        <p:spPr>
          <a:xfrm>
            <a:off x="7367464" y="2550177"/>
            <a:ext cx="0" cy="2484673"/>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194" name="Group 193">
            <a:extLst>
              <a:ext uri="{FF2B5EF4-FFF2-40B4-BE49-F238E27FC236}">
                <a16:creationId xmlns:a16="http://schemas.microsoft.com/office/drawing/2014/main" id="{88D70FFE-FFFC-4778-864D-2C44F054A07C}"/>
              </a:ext>
            </a:extLst>
          </p:cNvPr>
          <p:cNvGrpSpPr/>
          <p:nvPr/>
        </p:nvGrpSpPr>
        <p:grpSpPr>
          <a:xfrm>
            <a:off x="7497535" y="3904515"/>
            <a:ext cx="1817413" cy="1006444"/>
            <a:chOff x="6538368" y="4231626"/>
            <a:chExt cx="1438240" cy="796466"/>
          </a:xfrm>
        </p:grpSpPr>
        <p:grpSp>
          <p:nvGrpSpPr>
            <p:cNvPr id="140" name="Group 139">
              <a:extLst>
                <a:ext uri="{FF2B5EF4-FFF2-40B4-BE49-F238E27FC236}">
                  <a16:creationId xmlns:a16="http://schemas.microsoft.com/office/drawing/2014/main" id="{E1111C0E-29D4-4E23-A1BB-3382CDCC848F}"/>
                </a:ext>
              </a:extLst>
            </p:cNvPr>
            <p:cNvGrpSpPr>
              <a:grpSpLocks noChangeAspect="1"/>
            </p:cNvGrpSpPr>
            <p:nvPr/>
          </p:nvGrpSpPr>
          <p:grpSpPr>
            <a:xfrm>
              <a:off x="6872995" y="4414033"/>
              <a:ext cx="431254" cy="431653"/>
              <a:chOff x="771439" y="-752819"/>
              <a:chExt cx="8450938" cy="8458754"/>
            </a:xfrm>
            <a:solidFill>
              <a:schemeClr val="accent2"/>
            </a:solidFill>
          </p:grpSpPr>
          <p:sp>
            <p:nvSpPr>
              <p:cNvPr id="141" name="Freeform 22">
                <a:extLst>
                  <a:ext uri="{FF2B5EF4-FFF2-40B4-BE49-F238E27FC236}">
                    <a16:creationId xmlns:a16="http://schemas.microsoft.com/office/drawing/2014/main" id="{22473590-5992-4228-94DF-BDDDADB9970C}"/>
                  </a:ext>
                </a:extLst>
              </p:cNvPr>
              <p:cNvSpPr>
                <a:spLocks/>
              </p:cNvSpPr>
              <p:nvPr/>
            </p:nvSpPr>
            <p:spPr bwMode="auto">
              <a:xfrm>
                <a:off x="771439" y="-752819"/>
                <a:ext cx="8450938" cy="8458754"/>
              </a:xfrm>
              <a:custGeom>
                <a:avLst/>
                <a:gdLst>
                  <a:gd name="T0" fmla="*/ 608 w 1213"/>
                  <a:gd name="T1" fmla="*/ 0 h 1214"/>
                  <a:gd name="T2" fmla="*/ 0 w 1213"/>
                  <a:gd name="T3" fmla="*/ 608 h 1214"/>
                  <a:gd name="T4" fmla="*/ 608 w 1213"/>
                  <a:gd name="T5" fmla="*/ 1214 h 1214"/>
                  <a:gd name="T6" fmla="*/ 1213 w 1213"/>
                  <a:gd name="T7" fmla="*/ 608 h 1214"/>
                  <a:gd name="T8" fmla="*/ 608 w 1213"/>
                  <a:gd name="T9" fmla="*/ 0 h 1214"/>
                </a:gdLst>
                <a:ahLst/>
                <a:cxnLst>
                  <a:cxn ang="0">
                    <a:pos x="T0" y="T1"/>
                  </a:cxn>
                  <a:cxn ang="0">
                    <a:pos x="T2" y="T3"/>
                  </a:cxn>
                  <a:cxn ang="0">
                    <a:pos x="T4" y="T5"/>
                  </a:cxn>
                  <a:cxn ang="0">
                    <a:pos x="T6" y="T7"/>
                  </a:cxn>
                  <a:cxn ang="0">
                    <a:pos x="T8" y="T9"/>
                  </a:cxn>
                </a:cxnLst>
                <a:rect l="0" t="0" r="r" b="b"/>
                <a:pathLst>
                  <a:path w="1213" h="1214">
                    <a:moveTo>
                      <a:pt x="608" y="0"/>
                    </a:moveTo>
                    <a:cubicBezTo>
                      <a:pt x="273" y="0"/>
                      <a:pt x="0" y="273"/>
                      <a:pt x="0" y="608"/>
                    </a:cubicBezTo>
                    <a:cubicBezTo>
                      <a:pt x="0" y="942"/>
                      <a:pt x="273" y="1214"/>
                      <a:pt x="608" y="1214"/>
                    </a:cubicBezTo>
                    <a:cubicBezTo>
                      <a:pt x="941" y="1214"/>
                      <a:pt x="1213" y="942"/>
                      <a:pt x="1213" y="608"/>
                    </a:cubicBezTo>
                    <a:cubicBezTo>
                      <a:pt x="1213" y="273"/>
                      <a:pt x="941" y="0"/>
                      <a:pt x="608" y="0"/>
                    </a:cubicBezTo>
                    <a:close/>
                  </a:path>
                </a:pathLst>
              </a:cu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42" name="Freeform: Shape 42">
                <a:extLst>
                  <a:ext uri="{FF2B5EF4-FFF2-40B4-BE49-F238E27FC236}">
                    <a16:creationId xmlns:a16="http://schemas.microsoft.com/office/drawing/2014/main" id="{CA1C33F0-D059-45DF-9A43-A31FB1F45F83}"/>
                  </a:ext>
                </a:extLst>
              </p:cNvPr>
              <p:cNvSpPr>
                <a:spLocks/>
              </p:cNvSpPr>
              <p:nvPr/>
            </p:nvSpPr>
            <p:spPr bwMode="auto">
              <a:xfrm>
                <a:off x="1349947" y="-544347"/>
                <a:ext cx="7419005" cy="7822926"/>
              </a:xfrm>
              <a:custGeom>
                <a:avLst/>
                <a:gdLst>
                  <a:gd name="connsiteX0" fmla="*/ 6513588 w 7419002"/>
                  <a:gd name="connsiteY0" fmla="*/ 6632022 h 7822924"/>
                  <a:gd name="connsiteX1" fmla="*/ 6562354 w 7419002"/>
                  <a:gd name="connsiteY1" fmla="*/ 6659880 h 7822924"/>
                  <a:gd name="connsiteX2" fmla="*/ 6590221 w 7419002"/>
                  <a:gd name="connsiteY2" fmla="*/ 6673808 h 7822924"/>
                  <a:gd name="connsiteX3" fmla="*/ 6632020 w 7419002"/>
                  <a:gd name="connsiteY3" fmla="*/ 6708630 h 7822924"/>
                  <a:gd name="connsiteX4" fmla="*/ 4925209 w 7419002"/>
                  <a:gd name="connsiteY4" fmla="*/ 7822924 h 7822924"/>
                  <a:gd name="connsiteX5" fmla="*/ 4918242 w 7419002"/>
                  <a:gd name="connsiteY5" fmla="*/ 7815960 h 7822924"/>
                  <a:gd name="connsiteX6" fmla="*/ 4911276 w 7419002"/>
                  <a:gd name="connsiteY6" fmla="*/ 7795067 h 7822924"/>
                  <a:gd name="connsiteX7" fmla="*/ 4904309 w 7419002"/>
                  <a:gd name="connsiteY7" fmla="*/ 7760245 h 7822924"/>
                  <a:gd name="connsiteX8" fmla="*/ 4911276 w 7419002"/>
                  <a:gd name="connsiteY8" fmla="*/ 7739352 h 7822924"/>
                  <a:gd name="connsiteX9" fmla="*/ 4932176 w 7419002"/>
                  <a:gd name="connsiteY9" fmla="*/ 7711495 h 7822924"/>
                  <a:gd name="connsiteX10" fmla="*/ 4973975 w 7419002"/>
                  <a:gd name="connsiteY10" fmla="*/ 7641851 h 7822924"/>
                  <a:gd name="connsiteX11" fmla="*/ 4980942 w 7419002"/>
                  <a:gd name="connsiteY11" fmla="*/ 7600065 h 7822924"/>
                  <a:gd name="connsiteX12" fmla="*/ 4987908 w 7419002"/>
                  <a:gd name="connsiteY12" fmla="*/ 7600065 h 7822924"/>
                  <a:gd name="connsiteX13" fmla="*/ 4987908 w 7419002"/>
                  <a:gd name="connsiteY13" fmla="*/ 7544351 h 7822924"/>
                  <a:gd name="connsiteX14" fmla="*/ 4994875 w 7419002"/>
                  <a:gd name="connsiteY14" fmla="*/ 7537386 h 7822924"/>
                  <a:gd name="connsiteX15" fmla="*/ 5022741 w 7419002"/>
                  <a:gd name="connsiteY15" fmla="*/ 7530422 h 7822924"/>
                  <a:gd name="connsiteX16" fmla="*/ 5050607 w 7419002"/>
                  <a:gd name="connsiteY16" fmla="*/ 7523458 h 7822924"/>
                  <a:gd name="connsiteX17" fmla="*/ 5078474 w 7419002"/>
                  <a:gd name="connsiteY17" fmla="*/ 7509529 h 7822924"/>
                  <a:gd name="connsiteX18" fmla="*/ 5134206 w 7419002"/>
                  <a:gd name="connsiteY18" fmla="*/ 7474707 h 7822924"/>
                  <a:gd name="connsiteX19" fmla="*/ 5189939 w 7419002"/>
                  <a:gd name="connsiteY19" fmla="*/ 7439886 h 7822924"/>
                  <a:gd name="connsiteX20" fmla="*/ 5217805 w 7419002"/>
                  <a:gd name="connsiteY20" fmla="*/ 7412028 h 7822924"/>
                  <a:gd name="connsiteX21" fmla="*/ 5322304 w 7419002"/>
                  <a:gd name="connsiteY21" fmla="*/ 7356313 h 7822924"/>
                  <a:gd name="connsiteX22" fmla="*/ 5364103 w 7419002"/>
                  <a:gd name="connsiteY22" fmla="*/ 7356313 h 7822924"/>
                  <a:gd name="connsiteX23" fmla="*/ 5378036 w 7419002"/>
                  <a:gd name="connsiteY23" fmla="*/ 7370242 h 7822924"/>
                  <a:gd name="connsiteX24" fmla="*/ 5391970 w 7419002"/>
                  <a:gd name="connsiteY24" fmla="*/ 7356313 h 7822924"/>
                  <a:gd name="connsiteX25" fmla="*/ 5489502 w 7419002"/>
                  <a:gd name="connsiteY25" fmla="*/ 7328456 h 7822924"/>
                  <a:gd name="connsiteX26" fmla="*/ 5580067 w 7419002"/>
                  <a:gd name="connsiteY26" fmla="*/ 7286670 h 7822924"/>
                  <a:gd name="connsiteX27" fmla="*/ 5663666 w 7419002"/>
                  <a:gd name="connsiteY27" fmla="*/ 7272741 h 7822924"/>
                  <a:gd name="connsiteX28" fmla="*/ 5789064 w 7419002"/>
                  <a:gd name="connsiteY28" fmla="*/ 7244884 h 7822924"/>
                  <a:gd name="connsiteX29" fmla="*/ 5970195 w 7419002"/>
                  <a:gd name="connsiteY29" fmla="*/ 7056847 h 7822924"/>
                  <a:gd name="connsiteX30" fmla="*/ 5977162 w 7419002"/>
                  <a:gd name="connsiteY30" fmla="*/ 7028990 h 7822924"/>
                  <a:gd name="connsiteX31" fmla="*/ 5984129 w 7419002"/>
                  <a:gd name="connsiteY31" fmla="*/ 7001132 h 7822924"/>
                  <a:gd name="connsiteX32" fmla="*/ 5984129 w 7419002"/>
                  <a:gd name="connsiteY32" fmla="*/ 6980239 h 7822924"/>
                  <a:gd name="connsiteX33" fmla="*/ 6018961 w 7419002"/>
                  <a:gd name="connsiteY33" fmla="*/ 6931489 h 7822924"/>
                  <a:gd name="connsiteX34" fmla="*/ 6088627 w 7419002"/>
                  <a:gd name="connsiteY34" fmla="*/ 6931489 h 7822924"/>
                  <a:gd name="connsiteX35" fmla="*/ 6109527 w 7419002"/>
                  <a:gd name="connsiteY35" fmla="*/ 6924524 h 7822924"/>
                  <a:gd name="connsiteX36" fmla="*/ 6214026 w 7419002"/>
                  <a:gd name="connsiteY36" fmla="*/ 6868810 h 7822924"/>
                  <a:gd name="connsiteX37" fmla="*/ 6255825 w 7419002"/>
                  <a:gd name="connsiteY37" fmla="*/ 6799166 h 7822924"/>
                  <a:gd name="connsiteX38" fmla="*/ 6304591 w 7419002"/>
                  <a:gd name="connsiteY38" fmla="*/ 6729523 h 7822924"/>
                  <a:gd name="connsiteX39" fmla="*/ 6388190 w 7419002"/>
                  <a:gd name="connsiteY39" fmla="*/ 6680773 h 7822924"/>
                  <a:gd name="connsiteX40" fmla="*/ 6429989 w 7419002"/>
                  <a:gd name="connsiteY40" fmla="*/ 6645951 h 7822924"/>
                  <a:gd name="connsiteX41" fmla="*/ 6513588 w 7419002"/>
                  <a:gd name="connsiteY41" fmla="*/ 6632022 h 7822924"/>
                  <a:gd name="connsiteX42" fmla="*/ 6479777 w 7419002"/>
                  <a:gd name="connsiteY42" fmla="*/ 6021847 h 7822924"/>
                  <a:gd name="connsiteX43" fmla="*/ 6512142 w 7419002"/>
                  <a:gd name="connsiteY43" fmla="*/ 6025928 h 7822924"/>
                  <a:gd name="connsiteX44" fmla="*/ 6456720 w 7419002"/>
                  <a:gd name="connsiteY44" fmla="*/ 6047101 h 7822924"/>
                  <a:gd name="connsiteX45" fmla="*/ 6449792 w 7419002"/>
                  <a:gd name="connsiteY45" fmla="*/ 6047101 h 7822924"/>
                  <a:gd name="connsiteX46" fmla="*/ 6429009 w 7419002"/>
                  <a:gd name="connsiteY46" fmla="*/ 6054159 h 7822924"/>
                  <a:gd name="connsiteX47" fmla="*/ 6387443 w 7419002"/>
                  <a:gd name="connsiteY47" fmla="*/ 6089447 h 7822924"/>
                  <a:gd name="connsiteX48" fmla="*/ 6359732 w 7419002"/>
                  <a:gd name="connsiteY48" fmla="*/ 6103563 h 7822924"/>
                  <a:gd name="connsiteX49" fmla="*/ 6332021 w 7419002"/>
                  <a:gd name="connsiteY49" fmla="*/ 6117678 h 7822924"/>
                  <a:gd name="connsiteX50" fmla="*/ 6241960 w 7419002"/>
                  <a:gd name="connsiteY50" fmla="*/ 6181198 h 7822924"/>
                  <a:gd name="connsiteX51" fmla="*/ 6228104 w 7419002"/>
                  <a:gd name="connsiteY51" fmla="*/ 6174140 h 7822924"/>
                  <a:gd name="connsiteX52" fmla="*/ 6290454 w 7419002"/>
                  <a:gd name="connsiteY52" fmla="*/ 6124736 h 7822924"/>
                  <a:gd name="connsiteX53" fmla="*/ 6318165 w 7419002"/>
                  <a:gd name="connsiteY53" fmla="*/ 6103563 h 7822924"/>
                  <a:gd name="connsiteX54" fmla="*/ 6345876 w 7419002"/>
                  <a:gd name="connsiteY54" fmla="*/ 6089447 h 7822924"/>
                  <a:gd name="connsiteX55" fmla="*/ 6373587 w 7419002"/>
                  <a:gd name="connsiteY55" fmla="*/ 6082390 h 7822924"/>
                  <a:gd name="connsiteX56" fmla="*/ 6479777 w 7419002"/>
                  <a:gd name="connsiteY56" fmla="*/ 6021847 h 7822924"/>
                  <a:gd name="connsiteX57" fmla="*/ 5656204 w 7419002"/>
                  <a:gd name="connsiteY57" fmla="*/ 5998785 h 7822924"/>
                  <a:gd name="connsiteX58" fmla="*/ 5712134 w 7419002"/>
                  <a:gd name="connsiteY58" fmla="*/ 6019307 h 7822924"/>
                  <a:gd name="connsiteX59" fmla="*/ 5649212 w 7419002"/>
                  <a:gd name="connsiteY59" fmla="*/ 6019307 h 7822924"/>
                  <a:gd name="connsiteX60" fmla="*/ 5537351 w 7419002"/>
                  <a:gd name="connsiteY60" fmla="*/ 6053510 h 7822924"/>
                  <a:gd name="connsiteX61" fmla="*/ 5425489 w 7419002"/>
                  <a:gd name="connsiteY61" fmla="*/ 6026148 h 7822924"/>
                  <a:gd name="connsiteX62" fmla="*/ 5523368 w 7419002"/>
                  <a:gd name="connsiteY62" fmla="*/ 6026148 h 7822924"/>
                  <a:gd name="connsiteX63" fmla="*/ 5593281 w 7419002"/>
                  <a:gd name="connsiteY63" fmla="*/ 6005626 h 7822924"/>
                  <a:gd name="connsiteX64" fmla="*/ 5656204 w 7419002"/>
                  <a:gd name="connsiteY64" fmla="*/ 5998785 h 7822924"/>
                  <a:gd name="connsiteX65" fmla="*/ 4429417 w 7419002"/>
                  <a:gd name="connsiteY65" fmla="*/ 5769464 h 7822924"/>
                  <a:gd name="connsiteX66" fmla="*/ 4485165 w 7419002"/>
                  <a:gd name="connsiteY66" fmla="*/ 5769464 h 7822924"/>
                  <a:gd name="connsiteX67" fmla="*/ 4582722 w 7419002"/>
                  <a:gd name="connsiteY67" fmla="*/ 5811159 h 7822924"/>
                  <a:gd name="connsiteX68" fmla="*/ 4749964 w 7419002"/>
                  <a:gd name="connsiteY68" fmla="*/ 5852854 h 7822924"/>
                  <a:gd name="connsiteX69" fmla="*/ 4805711 w 7419002"/>
                  <a:gd name="connsiteY69" fmla="*/ 5852854 h 7822924"/>
                  <a:gd name="connsiteX70" fmla="*/ 4847521 w 7419002"/>
                  <a:gd name="connsiteY70" fmla="*/ 5838955 h 7822924"/>
                  <a:gd name="connsiteX71" fmla="*/ 4889332 w 7419002"/>
                  <a:gd name="connsiteY71" fmla="*/ 5825057 h 7822924"/>
                  <a:gd name="connsiteX72" fmla="*/ 4965984 w 7419002"/>
                  <a:gd name="connsiteY72" fmla="*/ 5845905 h 7822924"/>
                  <a:gd name="connsiteX73" fmla="*/ 5091415 w 7419002"/>
                  <a:gd name="connsiteY73" fmla="*/ 5859803 h 7822924"/>
                  <a:gd name="connsiteX74" fmla="*/ 5091415 w 7419002"/>
                  <a:gd name="connsiteY74" fmla="*/ 5866752 h 7822924"/>
                  <a:gd name="connsiteX75" fmla="*/ 5077479 w 7419002"/>
                  <a:gd name="connsiteY75" fmla="*/ 5901498 h 7822924"/>
                  <a:gd name="connsiteX76" fmla="*/ 5077479 w 7419002"/>
                  <a:gd name="connsiteY76" fmla="*/ 5915396 h 7822924"/>
                  <a:gd name="connsiteX77" fmla="*/ 5091415 w 7419002"/>
                  <a:gd name="connsiteY77" fmla="*/ 5929294 h 7822924"/>
                  <a:gd name="connsiteX78" fmla="*/ 5188973 w 7419002"/>
                  <a:gd name="connsiteY78" fmla="*/ 5957091 h 7822924"/>
                  <a:gd name="connsiteX79" fmla="*/ 5223815 w 7419002"/>
                  <a:gd name="connsiteY79" fmla="*/ 5964040 h 7822924"/>
                  <a:gd name="connsiteX80" fmla="*/ 5279562 w 7419002"/>
                  <a:gd name="connsiteY80" fmla="*/ 5991836 h 7822924"/>
                  <a:gd name="connsiteX81" fmla="*/ 5244720 w 7419002"/>
                  <a:gd name="connsiteY81" fmla="*/ 5998785 h 7822924"/>
                  <a:gd name="connsiteX82" fmla="*/ 5188973 w 7419002"/>
                  <a:gd name="connsiteY82" fmla="*/ 5991836 h 7822924"/>
                  <a:gd name="connsiteX83" fmla="*/ 5175036 w 7419002"/>
                  <a:gd name="connsiteY83" fmla="*/ 5984887 h 7822924"/>
                  <a:gd name="connsiteX84" fmla="*/ 5133226 w 7419002"/>
                  <a:gd name="connsiteY84" fmla="*/ 5977938 h 7822924"/>
                  <a:gd name="connsiteX85" fmla="*/ 5105352 w 7419002"/>
                  <a:gd name="connsiteY85" fmla="*/ 5977938 h 7822924"/>
                  <a:gd name="connsiteX86" fmla="*/ 5091415 w 7419002"/>
                  <a:gd name="connsiteY86" fmla="*/ 5970989 h 7822924"/>
                  <a:gd name="connsiteX87" fmla="*/ 5049605 w 7419002"/>
                  <a:gd name="connsiteY87" fmla="*/ 5964040 h 7822924"/>
                  <a:gd name="connsiteX88" fmla="*/ 4938111 w 7419002"/>
                  <a:gd name="connsiteY88" fmla="*/ 5964040 h 7822924"/>
                  <a:gd name="connsiteX89" fmla="*/ 4833585 w 7419002"/>
                  <a:gd name="connsiteY89" fmla="*/ 5936243 h 7822924"/>
                  <a:gd name="connsiteX90" fmla="*/ 4819648 w 7419002"/>
                  <a:gd name="connsiteY90" fmla="*/ 5929294 h 7822924"/>
                  <a:gd name="connsiteX91" fmla="*/ 4819648 w 7419002"/>
                  <a:gd name="connsiteY91" fmla="*/ 5922345 h 7822924"/>
                  <a:gd name="connsiteX92" fmla="*/ 4763901 w 7419002"/>
                  <a:gd name="connsiteY92" fmla="*/ 5915396 h 7822924"/>
                  <a:gd name="connsiteX93" fmla="*/ 4708153 w 7419002"/>
                  <a:gd name="connsiteY93" fmla="*/ 5908447 h 7822924"/>
                  <a:gd name="connsiteX94" fmla="*/ 4680280 w 7419002"/>
                  <a:gd name="connsiteY94" fmla="*/ 5894548 h 7822924"/>
                  <a:gd name="connsiteX95" fmla="*/ 4659375 w 7419002"/>
                  <a:gd name="connsiteY95" fmla="*/ 5901498 h 7822924"/>
                  <a:gd name="connsiteX96" fmla="*/ 4638469 w 7419002"/>
                  <a:gd name="connsiteY96" fmla="*/ 5908447 h 7822924"/>
                  <a:gd name="connsiteX97" fmla="*/ 4568785 w 7419002"/>
                  <a:gd name="connsiteY97" fmla="*/ 5908447 h 7822924"/>
                  <a:gd name="connsiteX98" fmla="*/ 4561817 w 7419002"/>
                  <a:gd name="connsiteY98" fmla="*/ 5901498 h 7822924"/>
                  <a:gd name="connsiteX99" fmla="*/ 4561817 w 7419002"/>
                  <a:gd name="connsiteY99" fmla="*/ 5894548 h 7822924"/>
                  <a:gd name="connsiteX100" fmla="*/ 4554849 w 7419002"/>
                  <a:gd name="connsiteY100" fmla="*/ 5894548 h 7822924"/>
                  <a:gd name="connsiteX101" fmla="*/ 4338828 w 7419002"/>
                  <a:gd name="connsiteY101" fmla="*/ 5790312 h 7822924"/>
                  <a:gd name="connsiteX102" fmla="*/ 4338828 w 7419002"/>
                  <a:gd name="connsiteY102" fmla="*/ 5783362 h 7822924"/>
                  <a:gd name="connsiteX103" fmla="*/ 4359733 w 7419002"/>
                  <a:gd name="connsiteY103" fmla="*/ 5776413 h 7822924"/>
                  <a:gd name="connsiteX104" fmla="*/ 4429417 w 7419002"/>
                  <a:gd name="connsiteY104" fmla="*/ 5769464 h 7822924"/>
                  <a:gd name="connsiteX105" fmla="*/ 4568600 w 7419002"/>
                  <a:gd name="connsiteY105" fmla="*/ 5316037 h 7822924"/>
                  <a:gd name="connsiteX106" fmla="*/ 4651534 w 7419002"/>
                  <a:gd name="connsiteY106" fmla="*/ 5406829 h 7822924"/>
                  <a:gd name="connsiteX107" fmla="*/ 4637712 w 7419002"/>
                  <a:gd name="connsiteY107" fmla="*/ 5462700 h 7822924"/>
                  <a:gd name="connsiteX108" fmla="*/ 4568600 w 7419002"/>
                  <a:gd name="connsiteY108" fmla="*/ 5490636 h 7822924"/>
                  <a:gd name="connsiteX109" fmla="*/ 4492576 w 7419002"/>
                  <a:gd name="connsiteY109" fmla="*/ 5406829 h 7822924"/>
                  <a:gd name="connsiteX110" fmla="*/ 4520221 w 7419002"/>
                  <a:gd name="connsiteY110" fmla="*/ 5343973 h 7822924"/>
                  <a:gd name="connsiteX111" fmla="*/ 4568600 w 7419002"/>
                  <a:gd name="connsiteY111" fmla="*/ 5316037 h 7822924"/>
                  <a:gd name="connsiteX112" fmla="*/ 5865208 w 7419002"/>
                  <a:gd name="connsiteY112" fmla="*/ 5170109 h 7822924"/>
                  <a:gd name="connsiteX113" fmla="*/ 5948777 w 7419002"/>
                  <a:gd name="connsiteY113" fmla="*/ 5246686 h 7822924"/>
                  <a:gd name="connsiteX114" fmla="*/ 6032345 w 7419002"/>
                  <a:gd name="connsiteY114" fmla="*/ 5225801 h 7822924"/>
                  <a:gd name="connsiteX115" fmla="*/ 6074129 w 7419002"/>
                  <a:gd name="connsiteY115" fmla="*/ 5204917 h 7822924"/>
                  <a:gd name="connsiteX116" fmla="*/ 6101985 w 7419002"/>
                  <a:gd name="connsiteY116" fmla="*/ 5197955 h 7822924"/>
                  <a:gd name="connsiteX117" fmla="*/ 6178589 w 7419002"/>
                  <a:gd name="connsiteY117" fmla="*/ 5184032 h 7822924"/>
                  <a:gd name="connsiteX118" fmla="*/ 6129841 w 7419002"/>
                  <a:gd name="connsiteY118" fmla="*/ 5225801 h 7822924"/>
                  <a:gd name="connsiteX119" fmla="*/ 6046273 w 7419002"/>
                  <a:gd name="connsiteY119" fmla="*/ 5295417 h 7822924"/>
                  <a:gd name="connsiteX120" fmla="*/ 6046273 w 7419002"/>
                  <a:gd name="connsiteY120" fmla="*/ 5316301 h 7822924"/>
                  <a:gd name="connsiteX121" fmla="*/ 6060201 w 7419002"/>
                  <a:gd name="connsiteY121" fmla="*/ 5330224 h 7822924"/>
                  <a:gd name="connsiteX122" fmla="*/ 6074129 w 7419002"/>
                  <a:gd name="connsiteY122" fmla="*/ 5351109 h 7822924"/>
                  <a:gd name="connsiteX123" fmla="*/ 6115913 w 7419002"/>
                  <a:gd name="connsiteY123" fmla="*/ 5434647 h 7822924"/>
                  <a:gd name="connsiteX124" fmla="*/ 6136805 w 7419002"/>
                  <a:gd name="connsiteY124" fmla="*/ 5483377 h 7822924"/>
                  <a:gd name="connsiteX125" fmla="*/ 6157697 w 7419002"/>
                  <a:gd name="connsiteY125" fmla="*/ 5525146 h 7822924"/>
                  <a:gd name="connsiteX126" fmla="*/ 6171625 w 7419002"/>
                  <a:gd name="connsiteY126" fmla="*/ 5566916 h 7822924"/>
                  <a:gd name="connsiteX127" fmla="*/ 6171625 w 7419002"/>
                  <a:gd name="connsiteY127" fmla="*/ 5643492 h 7822924"/>
                  <a:gd name="connsiteX128" fmla="*/ 6115913 w 7419002"/>
                  <a:gd name="connsiteY128" fmla="*/ 5615646 h 7822924"/>
                  <a:gd name="connsiteX129" fmla="*/ 6095021 w 7419002"/>
                  <a:gd name="connsiteY129" fmla="*/ 5594762 h 7822924"/>
                  <a:gd name="connsiteX130" fmla="*/ 6025381 w 7419002"/>
                  <a:gd name="connsiteY130" fmla="*/ 5469454 h 7822924"/>
                  <a:gd name="connsiteX131" fmla="*/ 6004489 w 7419002"/>
                  <a:gd name="connsiteY131" fmla="*/ 5441608 h 7822924"/>
                  <a:gd name="connsiteX132" fmla="*/ 5983597 w 7419002"/>
                  <a:gd name="connsiteY132" fmla="*/ 5392878 h 7822924"/>
                  <a:gd name="connsiteX133" fmla="*/ 5969669 w 7419002"/>
                  <a:gd name="connsiteY133" fmla="*/ 5378955 h 7822924"/>
                  <a:gd name="connsiteX134" fmla="*/ 5948777 w 7419002"/>
                  <a:gd name="connsiteY134" fmla="*/ 5378955 h 7822924"/>
                  <a:gd name="connsiteX135" fmla="*/ 5872172 w 7419002"/>
                  <a:gd name="connsiteY135" fmla="*/ 5504262 h 7822924"/>
                  <a:gd name="connsiteX136" fmla="*/ 5865208 w 7419002"/>
                  <a:gd name="connsiteY136" fmla="*/ 5539069 h 7822924"/>
                  <a:gd name="connsiteX137" fmla="*/ 5844316 w 7419002"/>
                  <a:gd name="connsiteY137" fmla="*/ 5657415 h 7822924"/>
                  <a:gd name="connsiteX138" fmla="*/ 5830388 w 7419002"/>
                  <a:gd name="connsiteY138" fmla="*/ 5643492 h 7822924"/>
                  <a:gd name="connsiteX139" fmla="*/ 5830388 w 7419002"/>
                  <a:gd name="connsiteY139" fmla="*/ 5594762 h 7822924"/>
                  <a:gd name="connsiteX140" fmla="*/ 5844316 w 7419002"/>
                  <a:gd name="connsiteY140" fmla="*/ 5511223 h 7822924"/>
                  <a:gd name="connsiteX141" fmla="*/ 5788604 w 7419002"/>
                  <a:gd name="connsiteY141" fmla="*/ 5427685 h 7822924"/>
                  <a:gd name="connsiteX142" fmla="*/ 5774676 w 7419002"/>
                  <a:gd name="connsiteY142" fmla="*/ 5406801 h 7822924"/>
                  <a:gd name="connsiteX143" fmla="*/ 5788604 w 7419002"/>
                  <a:gd name="connsiteY143" fmla="*/ 5358070 h 7822924"/>
                  <a:gd name="connsiteX144" fmla="*/ 5830388 w 7419002"/>
                  <a:gd name="connsiteY144" fmla="*/ 5302378 h 7822924"/>
                  <a:gd name="connsiteX145" fmla="*/ 5830388 w 7419002"/>
                  <a:gd name="connsiteY145" fmla="*/ 5246686 h 7822924"/>
                  <a:gd name="connsiteX146" fmla="*/ 5837352 w 7419002"/>
                  <a:gd name="connsiteY146" fmla="*/ 5218840 h 7822924"/>
                  <a:gd name="connsiteX147" fmla="*/ 5865208 w 7419002"/>
                  <a:gd name="connsiteY147" fmla="*/ 5170109 h 7822924"/>
                  <a:gd name="connsiteX148" fmla="*/ 7195940 w 7419002"/>
                  <a:gd name="connsiteY148" fmla="*/ 5120594 h 7822924"/>
                  <a:gd name="connsiteX149" fmla="*/ 7363236 w 7419002"/>
                  <a:gd name="connsiteY149" fmla="*/ 5225350 h 7822924"/>
                  <a:gd name="connsiteX150" fmla="*/ 7363236 w 7419002"/>
                  <a:gd name="connsiteY150" fmla="*/ 5309155 h 7822924"/>
                  <a:gd name="connsiteX151" fmla="*/ 7419002 w 7419002"/>
                  <a:gd name="connsiteY151" fmla="*/ 5420895 h 7822924"/>
                  <a:gd name="connsiteX152" fmla="*/ 7398090 w 7419002"/>
                  <a:gd name="connsiteY152" fmla="*/ 5469781 h 7822924"/>
                  <a:gd name="connsiteX153" fmla="*/ 7384149 w 7419002"/>
                  <a:gd name="connsiteY153" fmla="*/ 5469781 h 7822924"/>
                  <a:gd name="connsiteX154" fmla="*/ 7356266 w 7419002"/>
                  <a:gd name="connsiteY154" fmla="*/ 5462797 h 7822924"/>
                  <a:gd name="connsiteX155" fmla="*/ 7251705 w 7419002"/>
                  <a:gd name="connsiteY155" fmla="*/ 5406928 h 7822924"/>
                  <a:gd name="connsiteX156" fmla="*/ 7251705 w 7419002"/>
                  <a:gd name="connsiteY156" fmla="*/ 5392960 h 7822924"/>
                  <a:gd name="connsiteX157" fmla="*/ 7237764 w 7419002"/>
                  <a:gd name="connsiteY157" fmla="*/ 5351058 h 7822924"/>
                  <a:gd name="connsiteX158" fmla="*/ 7181998 w 7419002"/>
                  <a:gd name="connsiteY158" fmla="*/ 5295188 h 7822924"/>
                  <a:gd name="connsiteX159" fmla="*/ 7168057 w 7419002"/>
                  <a:gd name="connsiteY159" fmla="*/ 5274237 h 7822924"/>
                  <a:gd name="connsiteX160" fmla="*/ 7154115 w 7419002"/>
                  <a:gd name="connsiteY160" fmla="*/ 5267253 h 7822924"/>
                  <a:gd name="connsiteX161" fmla="*/ 7154115 w 7419002"/>
                  <a:gd name="connsiteY161" fmla="*/ 5162497 h 7822924"/>
                  <a:gd name="connsiteX162" fmla="*/ 7168057 w 7419002"/>
                  <a:gd name="connsiteY162" fmla="*/ 5148529 h 7822924"/>
                  <a:gd name="connsiteX163" fmla="*/ 7195940 w 7419002"/>
                  <a:gd name="connsiteY163" fmla="*/ 5120594 h 7822924"/>
                  <a:gd name="connsiteX164" fmla="*/ 6011822 w 7419002"/>
                  <a:gd name="connsiteY164" fmla="*/ 4974666 h 7822924"/>
                  <a:gd name="connsiteX165" fmla="*/ 6032669 w 7419002"/>
                  <a:gd name="connsiteY165" fmla="*/ 4981616 h 7822924"/>
                  <a:gd name="connsiteX166" fmla="*/ 6060465 w 7419002"/>
                  <a:gd name="connsiteY166" fmla="*/ 4981616 h 7822924"/>
                  <a:gd name="connsiteX167" fmla="*/ 6227244 w 7419002"/>
                  <a:gd name="connsiteY167" fmla="*/ 4995516 h 7822924"/>
                  <a:gd name="connsiteX168" fmla="*/ 6255040 w 7419002"/>
                  <a:gd name="connsiteY168" fmla="*/ 4995516 h 7822924"/>
                  <a:gd name="connsiteX169" fmla="*/ 6282837 w 7419002"/>
                  <a:gd name="connsiteY169" fmla="*/ 4988566 h 7822924"/>
                  <a:gd name="connsiteX170" fmla="*/ 6303684 w 7419002"/>
                  <a:gd name="connsiteY170" fmla="*/ 4995516 h 7822924"/>
                  <a:gd name="connsiteX171" fmla="*/ 6241142 w 7419002"/>
                  <a:gd name="connsiteY171" fmla="*/ 5016365 h 7822924"/>
                  <a:gd name="connsiteX172" fmla="*/ 6213346 w 7419002"/>
                  <a:gd name="connsiteY172" fmla="*/ 5016365 h 7822924"/>
                  <a:gd name="connsiteX173" fmla="*/ 6129956 w 7419002"/>
                  <a:gd name="connsiteY173" fmla="*/ 5002466 h 7822924"/>
                  <a:gd name="connsiteX174" fmla="*/ 5942330 w 7419002"/>
                  <a:gd name="connsiteY174" fmla="*/ 5002466 h 7822924"/>
                  <a:gd name="connsiteX175" fmla="*/ 5928432 w 7419002"/>
                  <a:gd name="connsiteY175" fmla="*/ 5009415 h 7822924"/>
                  <a:gd name="connsiteX176" fmla="*/ 5984025 w 7419002"/>
                  <a:gd name="connsiteY176" fmla="*/ 4981616 h 7822924"/>
                  <a:gd name="connsiteX177" fmla="*/ 6011822 w 7419002"/>
                  <a:gd name="connsiteY177" fmla="*/ 4974666 h 7822924"/>
                  <a:gd name="connsiteX178" fmla="*/ 3252167 w 7419002"/>
                  <a:gd name="connsiteY178" fmla="*/ 4508212 h 7822924"/>
                  <a:gd name="connsiteX179" fmla="*/ 3273077 w 7419002"/>
                  <a:gd name="connsiteY179" fmla="*/ 4508212 h 7822924"/>
                  <a:gd name="connsiteX180" fmla="*/ 3328837 w 7419002"/>
                  <a:gd name="connsiteY180" fmla="*/ 4536070 h 7822924"/>
                  <a:gd name="connsiteX181" fmla="*/ 3426417 w 7419002"/>
                  <a:gd name="connsiteY181" fmla="*/ 4536070 h 7822924"/>
                  <a:gd name="connsiteX182" fmla="*/ 3503087 w 7419002"/>
                  <a:gd name="connsiteY182" fmla="*/ 4605716 h 7822924"/>
                  <a:gd name="connsiteX183" fmla="*/ 3572787 w 7419002"/>
                  <a:gd name="connsiteY183" fmla="*/ 4689291 h 7822924"/>
                  <a:gd name="connsiteX184" fmla="*/ 3614607 w 7419002"/>
                  <a:gd name="connsiteY184" fmla="*/ 4717149 h 7822924"/>
                  <a:gd name="connsiteX185" fmla="*/ 3670367 w 7419002"/>
                  <a:gd name="connsiteY185" fmla="*/ 4751972 h 7822924"/>
                  <a:gd name="connsiteX186" fmla="*/ 3712187 w 7419002"/>
                  <a:gd name="connsiteY186" fmla="*/ 4793759 h 7822924"/>
                  <a:gd name="connsiteX187" fmla="*/ 3747037 w 7419002"/>
                  <a:gd name="connsiteY187" fmla="*/ 4821618 h 7822924"/>
                  <a:gd name="connsiteX188" fmla="*/ 3767947 w 7419002"/>
                  <a:gd name="connsiteY188" fmla="*/ 4835547 h 7822924"/>
                  <a:gd name="connsiteX189" fmla="*/ 3837647 w 7419002"/>
                  <a:gd name="connsiteY189" fmla="*/ 4877334 h 7822924"/>
                  <a:gd name="connsiteX190" fmla="*/ 3872497 w 7419002"/>
                  <a:gd name="connsiteY190" fmla="*/ 4898228 h 7822924"/>
                  <a:gd name="connsiteX191" fmla="*/ 3900377 w 7419002"/>
                  <a:gd name="connsiteY191" fmla="*/ 4919122 h 7822924"/>
                  <a:gd name="connsiteX192" fmla="*/ 3907347 w 7419002"/>
                  <a:gd name="connsiteY192" fmla="*/ 4919122 h 7822924"/>
                  <a:gd name="connsiteX193" fmla="*/ 3956137 w 7419002"/>
                  <a:gd name="connsiteY193" fmla="*/ 4946980 h 7822924"/>
                  <a:gd name="connsiteX194" fmla="*/ 3990987 w 7419002"/>
                  <a:gd name="connsiteY194" fmla="*/ 4960909 h 7822924"/>
                  <a:gd name="connsiteX195" fmla="*/ 4095537 w 7419002"/>
                  <a:gd name="connsiteY195" fmla="*/ 5079307 h 7822924"/>
                  <a:gd name="connsiteX196" fmla="*/ 4095537 w 7419002"/>
                  <a:gd name="connsiteY196" fmla="*/ 5148952 h 7822924"/>
                  <a:gd name="connsiteX197" fmla="*/ 4151297 w 7419002"/>
                  <a:gd name="connsiteY197" fmla="*/ 5204669 h 7822924"/>
                  <a:gd name="connsiteX198" fmla="*/ 4165237 w 7419002"/>
                  <a:gd name="connsiteY198" fmla="*/ 5218598 h 7822924"/>
                  <a:gd name="connsiteX199" fmla="*/ 4179177 w 7419002"/>
                  <a:gd name="connsiteY199" fmla="*/ 5232527 h 7822924"/>
                  <a:gd name="connsiteX200" fmla="*/ 4186147 w 7419002"/>
                  <a:gd name="connsiteY200" fmla="*/ 5253421 h 7822924"/>
                  <a:gd name="connsiteX201" fmla="*/ 4186147 w 7419002"/>
                  <a:gd name="connsiteY201" fmla="*/ 5267350 h 7822924"/>
                  <a:gd name="connsiteX202" fmla="*/ 4186147 w 7419002"/>
                  <a:gd name="connsiteY202" fmla="*/ 5274314 h 7822924"/>
                  <a:gd name="connsiteX203" fmla="*/ 4193117 w 7419002"/>
                  <a:gd name="connsiteY203" fmla="*/ 5274314 h 7822924"/>
                  <a:gd name="connsiteX204" fmla="*/ 4200087 w 7419002"/>
                  <a:gd name="connsiteY204" fmla="*/ 5288244 h 7822924"/>
                  <a:gd name="connsiteX205" fmla="*/ 4262817 w 7419002"/>
                  <a:gd name="connsiteY205" fmla="*/ 5330031 h 7822924"/>
                  <a:gd name="connsiteX206" fmla="*/ 4283727 w 7419002"/>
                  <a:gd name="connsiteY206" fmla="*/ 5330031 h 7822924"/>
                  <a:gd name="connsiteX207" fmla="*/ 4325547 w 7419002"/>
                  <a:gd name="connsiteY207" fmla="*/ 5309137 h 7822924"/>
                  <a:gd name="connsiteX208" fmla="*/ 4332517 w 7419002"/>
                  <a:gd name="connsiteY208" fmla="*/ 5302173 h 7822924"/>
                  <a:gd name="connsiteX209" fmla="*/ 4346457 w 7419002"/>
                  <a:gd name="connsiteY209" fmla="*/ 5288244 h 7822924"/>
                  <a:gd name="connsiteX210" fmla="*/ 4409187 w 7419002"/>
                  <a:gd name="connsiteY210" fmla="*/ 5378783 h 7822924"/>
                  <a:gd name="connsiteX211" fmla="*/ 4395247 w 7419002"/>
                  <a:gd name="connsiteY211" fmla="*/ 5392712 h 7822924"/>
                  <a:gd name="connsiteX212" fmla="*/ 4325547 w 7419002"/>
                  <a:gd name="connsiteY212" fmla="*/ 5462358 h 7822924"/>
                  <a:gd name="connsiteX213" fmla="*/ 4325547 w 7419002"/>
                  <a:gd name="connsiteY213" fmla="*/ 5545932 h 7822924"/>
                  <a:gd name="connsiteX214" fmla="*/ 4325547 w 7419002"/>
                  <a:gd name="connsiteY214" fmla="*/ 5587720 h 7822924"/>
                  <a:gd name="connsiteX215" fmla="*/ 4311607 w 7419002"/>
                  <a:gd name="connsiteY215" fmla="*/ 5664330 h 7822924"/>
                  <a:gd name="connsiteX216" fmla="*/ 4304637 w 7419002"/>
                  <a:gd name="connsiteY216" fmla="*/ 5664330 h 7822924"/>
                  <a:gd name="connsiteX217" fmla="*/ 4297667 w 7419002"/>
                  <a:gd name="connsiteY217" fmla="*/ 5664330 h 7822924"/>
                  <a:gd name="connsiteX218" fmla="*/ 4248877 w 7419002"/>
                  <a:gd name="connsiteY218" fmla="*/ 5678259 h 7822924"/>
                  <a:gd name="connsiteX219" fmla="*/ 4220997 w 7419002"/>
                  <a:gd name="connsiteY219" fmla="*/ 5678259 h 7822924"/>
                  <a:gd name="connsiteX220" fmla="*/ 3949167 w 7419002"/>
                  <a:gd name="connsiteY220" fmla="*/ 5434499 h 7822924"/>
                  <a:gd name="connsiteX221" fmla="*/ 3907347 w 7419002"/>
                  <a:gd name="connsiteY221" fmla="*/ 5392712 h 7822924"/>
                  <a:gd name="connsiteX222" fmla="*/ 3879467 w 7419002"/>
                  <a:gd name="connsiteY222" fmla="*/ 5357889 h 7822924"/>
                  <a:gd name="connsiteX223" fmla="*/ 3851587 w 7419002"/>
                  <a:gd name="connsiteY223" fmla="*/ 5323066 h 7822924"/>
                  <a:gd name="connsiteX224" fmla="*/ 3844617 w 7419002"/>
                  <a:gd name="connsiteY224" fmla="*/ 5288244 h 7822924"/>
                  <a:gd name="connsiteX225" fmla="*/ 3823707 w 7419002"/>
                  <a:gd name="connsiteY225" fmla="*/ 5253421 h 7822924"/>
                  <a:gd name="connsiteX226" fmla="*/ 3774917 w 7419002"/>
                  <a:gd name="connsiteY226" fmla="*/ 5148952 h 7822924"/>
                  <a:gd name="connsiteX227" fmla="*/ 3719157 w 7419002"/>
                  <a:gd name="connsiteY227" fmla="*/ 5093236 h 7822924"/>
                  <a:gd name="connsiteX228" fmla="*/ 3663397 w 7419002"/>
                  <a:gd name="connsiteY228" fmla="*/ 5023590 h 7822924"/>
                  <a:gd name="connsiteX229" fmla="*/ 3649457 w 7419002"/>
                  <a:gd name="connsiteY229" fmla="*/ 4995732 h 7822924"/>
                  <a:gd name="connsiteX230" fmla="*/ 3635517 w 7419002"/>
                  <a:gd name="connsiteY230" fmla="*/ 4967874 h 7822924"/>
                  <a:gd name="connsiteX231" fmla="*/ 3621577 w 7419002"/>
                  <a:gd name="connsiteY231" fmla="*/ 4933051 h 7822924"/>
                  <a:gd name="connsiteX232" fmla="*/ 3607637 w 7419002"/>
                  <a:gd name="connsiteY232" fmla="*/ 4884299 h 7822924"/>
                  <a:gd name="connsiteX233" fmla="*/ 3565817 w 7419002"/>
                  <a:gd name="connsiteY233" fmla="*/ 4842511 h 7822924"/>
                  <a:gd name="connsiteX234" fmla="*/ 3551877 w 7419002"/>
                  <a:gd name="connsiteY234" fmla="*/ 4828582 h 7822924"/>
                  <a:gd name="connsiteX235" fmla="*/ 3510057 w 7419002"/>
                  <a:gd name="connsiteY235" fmla="*/ 4807689 h 7822924"/>
                  <a:gd name="connsiteX236" fmla="*/ 3496117 w 7419002"/>
                  <a:gd name="connsiteY236" fmla="*/ 4786795 h 7822924"/>
                  <a:gd name="connsiteX237" fmla="*/ 3482177 w 7419002"/>
                  <a:gd name="connsiteY237" fmla="*/ 4765901 h 7822924"/>
                  <a:gd name="connsiteX238" fmla="*/ 3475207 w 7419002"/>
                  <a:gd name="connsiteY238" fmla="*/ 4745007 h 7822924"/>
                  <a:gd name="connsiteX239" fmla="*/ 3468237 w 7419002"/>
                  <a:gd name="connsiteY239" fmla="*/ 4724114 h 7822924"/>
                  <a:gd name="connsiteX240" fmla="*/ 3454297 w 7419002"/>
                  <a:gd name="connsiteY240" fmla="*/ 4710185 h 7822924"/>
                  <a:gd name="connsiteX241" fmla="*/ 3370657 w 7419002"/>
                  <a:gd name="connsiteY241" fmla="*/ 4640539 h 7822924"/>
                  <a:gd name="connsiteX242" fmla="*/ 3252167 w 7419002"/>
                  <a:gd name="connsiteY242" fmla="*/ 4508212 h 7822924"/>
                  <a:gd name="connsiteX243" fmla="*/ 5530999 w 7419002"/>
                  <a:gd name="connsiteY243" fmla="*/ 4320586 h 7822924"/>
                  <a:gd name="connsiteX244" fmla="*/ 5593704 w 7419002"/>
                  <a:gd name="connsiteY244" fmla="*/ 4432019 h 7822924"/>
                  <a:gd name="connsiteX245" fmla="*/ 5607638 w 7419002"/>
                  <a:gd name="connsiteY245" fmla="*/ 4432019 h 7822924"/>
                  <a:gd name="connsiteX246" fmla="*/ 5642474 w 7419002"/>
                  <a:gd name="connsiteY246" fmla="*/ 4473807 h 7822924"/>
                  <a:gd name="connsiteX247" fmla="*/ 5663376 w 7419002"/>
                  <a:gd name="connsiteY247" fmla="*/ 4487736 h 7822924"/>
                  <a:gd name="connsiteX248" fmla="*/ 5684277 w 7419002"/>
                  <a:gd name="connsiteY248" fmla="*/ 4494700 h 7822924"/>
                  <a:gd name="connsiteX249" fmla="*/ 5712146 w 7419002"/>
                  <a:gd name="connsiteY249" fmla="*/ 4508629 h 7822924"/>
                  <a:gd name="connsiteX250" fmla="*/ 5656409 w 7419002"/>
                  <a:gd name="connsiteY250" fmla="*/ 4578275 h 7822924"/>
                  <a:gd name="connsiteX251" fmla="*/ 5642474 w 7419002"/>
                  <a:gd name="connsiteY251" fmla="*/ 4599169 h 7822924"/>
                  <a:gd name="connsiteX252" fmla="*/ 5593704 w 7419002"/>
                  <a:gd name="connsiteY252" fmla="*/ 4773283 h 7822924"/>
                  <a:gd name="connsiteX253" fmla="*/ 5635507 w 7419002"/>
                  <a:gd name="connsiteY253" fmla="*/ 4877751 h 7822924"/>
                  <a:gd name="connsiteX254" fmla="*/ 5635507 w 7419002"/>
                  <a:gd name="connsiteY254" fmla="*/ 4884716 h 7822924"/>
                  <a:gd name="connsiteX255" fmla="*/ 5670343 w 7419002"/>
                  <a:gd name="connsiteY255" fmla="*/ 4933468 h 7822924"/>
                  <a:gd name="connsiteX256" fmla="*/ 5677310 w 7419002"/>
                  <a:gd name="connsiteY256" fmla="*/ 4940433 h 7822924"/>
                  <a:gd name="connsiteX257" fmla="*/ 5698212 w 7419002"/>
                  <a:gd name="connsiteY257" fmla="*/ 4947397 h 7822924"/>
                  <a:gd name="connsiteX258" fmla="*/ 5663376 w 7419002"/>
                  <a:gd name="connsiteY258" fmla="*/ 4968291 h 7822924"/>
                  <a:gd name="connsiteX259" fmla="*/ 5593704 w 7419002"/>
                  <a:gd name="connsiteY259" fmla="*/ 5030972 h 7822924"/>
                  <a:gd name="connsiteX260" fmla="*/ 5579770 w 7419002"/>
                  <a:gd name="connsiteY260" fmla="*/ 5093653 h 7822924"/>
                  <a:gd name="connsiteX261" fmla="*/ 5579770 w 7419002"/>
                  <a:gd name="connsiteY261" fmla="*/ 5149370 h 7822924"/>
                  <a:gd name="connsiteX262" fmla="*/ 5537966 w 7419002"/>
                  <a:gd name="connsiteY262" fmla="*/ 5191157 h 7822924"/>
                  <a:gd name="connsiteX263" fmla="*/ 5524032 w 7419002"/>
                  <a:gd name="connsiteY263" fmla="*/ 5198121 h 7822924"/>
                  <a:gd name="connsiteX264" fmla="*/ 5468294 w 7419002"/>
                  <a:gd name="connsiteY264" fmla="*/ 5274732 h 7822924"/>
                  <a:gd name="connsiteX265" fmla="*/ 5454360 w 7419002"/>
                  <a:gd name="connsiteY265" fmla="*/ 5358306 h 7822924"/>
                  <a:gd name="connsiteX266" fmla="*/ 5447393 w 7419002"/>
                  <a:gd name="connsiteY266" fmla="*/ 5462775 h 7822924"/>
                  <a:gd name="connsiteX267" fmla="*/ 5377721 w 7419002"/>
                  <a:gd name="connsiteY267" fmla="*/ 5476704 h 7822924"/>
                  <a:gd name="connsiteX268" fmla="*/ 5363786 w 7419002"/>
                  <a:gd name="connsiteY268" fmla="*/ 5476704 h 7822924"/>
                  <a:gd name="connsiteX269" fmla="*/ 5349852 w 7419002"/>
                  <a:gd name="connsiteY269" fmla="*/ 5490633 h 7822924"/>
                  <a:gd name="connsiteX270" fmla="*/ 5321983 w 7419002"/>
                  <a:gd name="connsiteY270" fmla="*/ 5490633 h 7822924"/>
                  <a:gd name="connsiteX271" fmla="*/ 5273213 w 7419002"/>
                  <a:gd name="connsiteY271" fmla="*/ 5462775 h 7822924"/>
                  <a:gd name="connsiteX272" fmla="*/ 5224443 w 7419002"/>
                  <a:gd name="connsiteY272" fmla="*/ 5434917 h 7822924"/>
                  <a:gd name="connsiteX273" fmla="*/ 5189607 w 7419002"/>
                  <a:gd name="connsiteY273" fmla="*/ 5420988 h 7822924"/>
                  <a:gd name="connsiteX274" fmla="*/ 5133869 w 7419002"/>
                  <a:gd name="connsiteY274" fmla="*/ 5407058 h 7822924"/>
                  <a:gd name="connsiteX275" fmla="*/ 5078132 w 7419002"/>
                  <a:gd name="connsiteY275" fmla="*/ 5420988 h 7822924"/>
                  <a:gd name="connsiteX276" fmla="*/ 5064197 w 7419002"/>
                  <a:gd name="connsiteY276" fmla="*/ 5427952 h 7822924"/>
                  <a:gd name="connsiteX277" fmla="*/ 5043296 w 7419002"/>
                  <a:gd name="connsiteY277" fmla="*/ 5434917 h 7822924"/>
                  <a:gd name="connsiteX278" fmla="*/ 5015427 w 7419002"/>
                  <a:gd name="connsiteY278" fmla="*/ 5407058 h 7822924"/>
                  <a:gd name="connsiteX279" fmla="*/ 4994525 w 7419002"/>
                  <a:gd name="connsiteY279" fmla="*/ 5400094 h 7822924"/>
                  <a:gd name="connsiteX280" fmla="*/ 4973624 w 7419002"/>
                  <a:gd name="connsiteY280" fmla="*/ 5393129 h 7822924"/>
                  <a:gd name="connsiteX281" fmla="*/ 4931820 w 7419002"/>
                  <a:gd name="connsiteY281" fmla="*/ 5393129 h 7822924"/>
                  <a:gd name="connsiteX282" fmla="*/ 4890017 w 7419002"/>
                  <a:gd name="connsiteY282" fmla="*/ 5379200 h 7822924"/>
                  <a:gd name="connsiteX283" fmla="*/ 4883050 w 7419002"/>
                  <a:gd name="connsiteY283" fmla="*/ 5379200 h 7822924"/>
                  <a:gd name="connsiteX284" fmla="*/ 4848214 w 7419002"/>
                  <a:gd name="connsiteY284" fmla="*/ 5330448 h 7822924"/>
                  <a:gd name="connsiteX285" fmla="*/ 4841247 w 7419002"/>
                  <a:gd name="connsiteY285" fmla="*/ 5302590 h 7822924"/>
                  <a:gd name="connsiteX286" fmla="*/ 4841247 w 7419002"/>
                  <a:gd name="connsiteY286" fmla="*/ 5260803 h 7822924"/>
                  <a:gd name="connsiteX287" fmla="*/ 4820345 w 7419002"/>
                  <a:gd name="connsiteY287" fmla="*/ 5225980 h 7822924"/>
                  <a:gd name="connsiteX288" fmla="*/ 4799444 w 7419002"/>
                  <a:gd name="connsiteY288" fmla="*/ 5191157 h 7822924"/>
                  <a:gd name="connsiteX289" fmla="*/ 4743706 w 7419002"/>
                  <a:gd name="connsiteY289" fmla="*/ 5149370 h 7822924"/>
                  <a:gd name="connsiteX290" fmla="*/ 4729772 w 7419002"/>
                  <a:gd name="connsiteY290" fmla="*/ 4933468 h 7822924"/>
                  <a:gd name="connsiteX291" fmla="*/ 4771575 w 7419002"/>
                  <a:gd name="connsiteY291" fmla="*/ 4912574 h 7822924"/>
                  <a:gd name="connsiteX292" fmla="*/ 4820345 w 7419002"/>
                  <a:gd name="connsiteY292" fmla="*/ 4912574 h 7822924"/>
                  <a:gd name="connsiteX293" fmla="*/ 4890017 w 7419002"/>
                  <a:gd name="connsiteY293" fmla="*/ 4926503 h 7822924"/>
                  <a:gd name="connsiteX294" fmla="*/ 4896984 w 7419002"/>
                  <a:gd name="connsiteY294" fmla="*/ 4926503 h 7822924"/>
                  <a:gd name="connsiteX295" fmla="*/ 4959689 w 7419002"/>
                  <a:gd name="connsiteY295" fmla="*/ 4842929 h 7822924"/>
                  <a:gd name="connsiteX296" fmla="*/ 4973624 w 7419002"/>
                  <a:gd name="connsiteY296" fmla="*/ 4822035 h 7822924"/>
                  <a:gd name="connsiteX297" fmla="*/ 4987558 w 7419002"/>
                  <a:gd name="connsiteY297" fmla="*/ 4801141 h 7822924"/>
                  <a:gd name="connsiteX298" fmla="*/ 5029361 w 7419002"/>
                  <a:gd name="connsiteY298" fmla="*/ 4801141 h 7822924"/>
                  <a:gd name="connsiteX299" fmla="*/ 5092066 w 7419002"/>
                  <a:gd name="connsiteY299" fmla="*/ 4787212 h 7822924"/>
                  <a:gd name="connsiteX300" fmla="*/ 5099033 w 7419002"/>
                  <a:gd name="connsiteY300" fmla="*/ 4787212 h 7822924"/>
                  <a:gd name="connsiteX301" fmla="*/ 5189607 w 7419002"/>
                  <a:gd name="connsiteY301" fmla="*/ 4703637 h 7822924"/>
                  <a:gd name="connsiteX302" fmla="*/ 5196574 w 7419002"/>
                  <a:gd name="connsiteY302" fmla="*/ 4703637 h 7822924"/>
                  <a:gd name="connsiteX303" fmla="*/ 5196574 w 7419002"/>
                  <a:gd name="connsiteY303" fmla="*/ 4689708 h 7822924"/>
                  <a:gd name="connsiteX304" fmla="*/ 5217475 w 7419002"/>
                  <a:gd name="connsiteY304" fmla="*/ 4647921 h 7822924"/>
                  <a:gd name="connsiteX305" fmla="*/ 5259279 w 7419002"/>
                  <a:gd name="connsiteY305" fmla="*/ 4606133 h 7822924"/>
                  <a:gd name="connsiteX306" fmla="*/ 5273213 w 7419002"/>
                  <a:gd name="connsiteY306" fmla="*/ 4599169 h 7822924"/>
                  <a:gd name="connsiteX307" fmla="*/ 5315016 w 7419002"/>
                  <a:gd name="connsiteY307" fmla="*/ 4571310 h 7822924"/>
                  <a:gd name="connsiteX308" fmla="*/ 5349852 w 7419002"/>
                  <a:gd name="connsiteY308" fmla="*/ 4557381 h 7822924"/>
                  <a:gd name="connsiteX309" fmla="*/ 5363786 w 7419002"/>
                  <a:gd name="connsiteY309" fmla="*/ 4557381 h 7822924"/>
                  <a:gd name="connsiteX310" fmla="*/ 5370754 w 7419002"/>
                  <a:gd name="connsiteY310" fmla="*/ 4557381 h 7822924"/>
                  <a:gd name="connsiteX311" fmla="*/ 5440426 w 7419002"/>
                  <a:gd name="connsiteY311" fmla="*/ 4452913 h 7822924"/>
                  <a:gd name="connsiteX312" fmla="*/ 5461327 w 7419002"/>
                  <a:gd name="connsiteY312" fmla="*/ 4418090 h 7822924"/>
                  <a:gd name="connsiteX313" fmla="*/ 5503130 w 7419002"/>
                  <a:gd name="connsiteY313" fmla="*/ 4334515 h 7822924"/>
                  <a:gd name="connsiteX314" fmla="*/ 5530999 w 7419002"/>
                  <a:gd name="connsiteY314" fmla="*/ 4320586 h 7822924"/>
                  <a:gd name="connsiteX315" fmla="*/ 1595442 w 7419002"/>
                  <a:gd name="connsiteY315" fmla="*/ 4062605 h 7822924"/>
                  <a:gd name="connsiteX316" fmla="*/ 1713066 w 7419002"/>
                  <a:gd name="connsiteY316" fmla="*/ 4236774 h 7822924"/>
                  <a:gd name="connsiteX317" fmla="*/ 1726904 w 7419002"/>
                  <a:gd name="connsiteY317" fmla="*/ 4341275 h 7822924"/>
                  <a:gd name="connsiteX318" fmla="*/ 1678471 w 7419002"/>
                  <a:gd name="connsiteY318" fmla="*/ 4397008 h 7822924"/>
                  <a:gd name="connsiteX319" fmla="*/ 1664632 w 7419002"/>
                  <a:gd name="connsiteY319" fmla="*/ 4397008 h 7822924"/>
                  <a:gd name="connsiteX320" fmla="*/ 1643875 w 7419002"/>
                  <a:gd name="connsiteY320" fmla="*/ 4403975 h 7822924"/>
                  <a:gd name="connsiteX321" fmla="*/ 1623118 w 7419002"/>
                  <a:gd name="connsiteY321" fmla="*/ 4397008 h 7822924"/>
                  <a:gd name="connsiteX322" fmla="*/ 1602361 w 7419002"/>
                  <a:gd name="connsiteY322" fmla="*/ 4369141 h 7822924"/>
                  <a:gd name="connsiteX323" fmla="*/ 1595442 w 7419002"/>
                  <a:gd name="connsiteY323" fmla="*/ 4062605 h 7822924"/>
                  <a:gd name="connsiteX324" fmla="*/ 4610521 w 7419002"/>
                  <a:gd name="connsiteY324" fmla="*/ 2835218 h 7822924"/>
                  <a:gd name="connsiteX325" fmla="*/ 4638620 w 7419002"/>
                  <a:gd name="connsiteY325" fmla="*/ 2870297 h 7822924"/>
                  <a:gd name="connsiteX326" fmla="*/ 4708867 w 7419002"/>
                  <a:gd name="connsiteY326" fmla="*/ 2940456 h 7822924"/>
                  <a:gd name="connsiteX327" fmla="*/ 4694818 w 7419002"/>
                  <a:gd name="connsiteY327" fmla="*/ 2975535 h 7822924"/>
                  <a:gd name="connsiteX328" fmla="*/ 4589447 w 7419002"/>
                  <a:gd name="connsiteY328" fmla="*/ 3017630 h 7822924"/>
                  <a:gd name="connsiteX329" fmla="*/ 4561348 w 7419002"/>
                  <a:gd name="connsiteY329" fmla="*/ 3010614 h 7822924"/>
                  <a:gd name="connsiteX330" fmla="*/ 4547298 w 7419002"/>
                  <a:gd name="connsiteY330" fmla="*/ 2975535 h 7822924"/>
                  <a:gd name="connsiteX331" fmla="*/ 4547298 w 7419002"/>
                  <a:gd name="connsiteY331" fmla="*/ 2947471 h 7822924"/>
                  <a:gd name="connsiteX332" fmla="*/ 4554323 w 7419002"/>
                  <a:gd name="connsiteY332" fmla="*/ 2947471 h 7822924"/>
                  <a:gd name="connsiteX333" fmla="*/ 4561348 w 7419002"/>
                  <a:gd name="connsiteY333" fmla="*/ 2961504 h 7822924"/>
                  <a:gd name="connsiteX334" fmla="*/ 4561348 w 7419002"/>
                  <a:gd name="connsiteY334" fmla="*/ 2933440 h 7822924"/>
                  <a:gd name="connsiteX335" fmla="*/ 4617546 w 7419002"/>
                  <a:gd name="connsiteY335" fmla="*/ 2863281 h 7822924"/>
                  <a:gd name="connsiteX336" fmla="*/ 4610521 w 7419002"/>
                  <a:gd name="connsiteY336" fmla="*/ 2835218 h 7822924"/>
                  <a:gd name="connsiteX337" fmla="*/ 6512240 w 7419002"/>
                  <a:gd name="connsiteY337" fmla="*/ 1235203 h 7822924"/>
                  <a:gd name="connsiteX338" fmla="*/ 6533180 w 7419002"/>
                  <a:gd name="connsiteY338" fmla="*/ 1235203 h 7822924"/>
                  <a:gd name="connsiteX339" fmla="*/ 6686742 w 7419002"/>
                  <a:gd name="connsiteY339" fmla="*/ 1394691 h 7822924"/>
                  <a:gd name="connsiteX340" fmla="*/ 6658822 w 7419002"/>
                  <a:gd name="connsiteY340" fmla="*/ 1415494 h 7822924"/>
                  <a:gd name="connsiteX341" fmla="*/ 6630901 w 7419002"/>
                  <a:gd name="connsiteY341" fmla="*/ 1436297 h 7822924"/>
                  <a:gd name="connsiteX342" fmla="*/ 6575061 w 7419002"/>
                  <a:gd name="connsiteY342" fmla="*/ 1470968 h 7822924"/>
                  <a:gd name="connsiteX343" fmla="*/ 6540160 w 7419002"/>
                  <a:gd name="connsiteY343" fmla="*/ 1457100 h 7822924"/>
                  <a:gd name="connsiteX344" fmla="*/ 6519220 w 7419002"/>
                  <a:gd name="connsiteY344" fmla="*/ 1457100 h 7822924"/>
                  <a:gd name="connsiteX345" fmla="*/ 6477339 w 7419002"/>
                  <a:gd name="connsiteY345" fmla="*/ 1581916 h 7822924"/>
                  <a:gd name="connsiteX346" fmla="*/ 6463379 w 7419002"/>
                  <a:gd name="connsiteY346" fmla="*/ 1644325 h 7822924"/>
                  <a:gd name="connsiteX347" fmla="*/ 6442438 w 7419002"/>
                  <a:gd name="connsiteY347" fmla="*/ 1637391 h 7822924"/>
                  <a:gd name="connsiteX348" fmla="*/ 6428478 w 7419002"/>
                  <a:gd name="connsiteY348" fmla="*/ 1623522 h 7822924"/>
                  <a:gd name="connsiteX349" fmla="*/ 6400558 w 7419002"/>
                  <a:gd name="connsiteY349" fmla="*/ 1595785 h 7822924"/>
                  <a:gd name="connsiteX350" fmla="*/ 6386598 w 7419002"/>
                  <a:gd name="connsiteY350" fmla="*/ 1574982 h 7822924"/>
                  <a:gd name="connsiteX351" fmla="*/ 6372637 w 7419002"/>
                  <a:gd name="connsiteY351" fmla="*/ 1554179 h 7822924"/>
                  <a:gd name="connsiteX352" fmla="*/ 6316797 w 7419002"/>
                  <a:gd name="connsiteY352" fmla="*/ 1498705 h 7822924"/>
                  <a:gd name="connsiteX353" fmla="*/ 6295856 w 7419002"/>
                  <a:gd name="connsiteY353" fmla="*/ 1457100 h 7822924"/>
                  <a:gd name="connsiteX354" fmla="*/ 6372637 w 7419002"/>
                  <a:gd name="connsiteY354" fmla="*/ 1353085 h 7822924"/>
                  <a:gd name="connsiteX355" fmla="*/ 6386598 w 7419002"/>
                  <a:gd name="connsiteY355" fmla="*/ 1339217 h 7822924"/>
                  <a:gd name="connsiteX356" fmla="*/ 6512240 w 7419002"/>
                  <a:gd name="connsiteY356" fmla="*/ 1235203 h 7822924"/>
                  <a:gd name="connsiteX357" fmla="*/ 3643190 w 7419002"/>
                  <a:gd name="connsiteY357" fmla="*/ 0 h 7822924"/>
                  <a:gd name="connsiteX358" fmla="*/ 5809599 w 7419002"/>
                  <a:gd name="connsiteY358" fmla="*/ 633938 h 7822924"/>
                  <a:gd name="connsiteX359" fmla="*/ 5809599 w 7419002"/>
                  <a:gd name="connsiteY359" fmla="*/ 640904 h 7822924"/>
                  <a:gd name="connsiteX360" fmla="*/ 5760838 w 7419002"/>
                  <a:gd name="connsiteY360" fmla="*/ 675736 h 7822924"/>
                  <a:gd name="connsiteX361" fmla="*/ 5753872 w 7419002"/>
                  <a:gd name="connsiteY361" fmla="*/ 682702 h 7822924"/>
                  <a:gd name="connsiteX362" fmla="*/ 5746906 w 7419002"/>
                  <a:gd name="connsiteY362" fmla="*/ 689668 h 7822924"/>
                  <a:gd name="connsiteX363" fmla="*/ 5712076 w 7419002"/>
                  <a:gd name="connsiteY363" fmla="*/ 766298 h 7822924"/>
                  <a:gd name="connsiteX364" fmla="*/ 5795668 w 7419002"/>
                  <a:gd name="connsiteY364" fmla="*/ 870793 h 7822924"/>
                  <a:gd name="connsiteX365" fmla="*/ 5809599 w 7419002"/>
                  <a:gd name="connsiteY365" fmla="*/ 877760 h 7822924"/>
                  <a:gd name="connsiteX366" fmla="*/ 5816565 w 7419002"/>
                  <a:gd name="connsiteY366" fmla="*/ 877760 h 7822924"/>
                  <a:gd name="connsiteX367" fmla="*/ 5837463 w 7419002"/>
                  <a:gd name="connsiteY367" fmla="*/ 891692 h 7822924"/>
                  <a:gd name="connsiteX368" fmla="*/ 6032510 w 7419002"/>
                  <a:gd name="connsiteY368" fmla="*/ 1051918 h 7822924"/>
                  <a:gd name="connsiteX369" fmla="*/ 6053408 w 7419002"/>
                  <a:gd name="connsiteY369" fmla="*/ 1093717 h 7822924"/>
                  <a:gd name="connsiteX370" fmla="*/ 6095203 w 7419002"/>
                  <a:gd name="connsiteY370" fmla="*/ 1198212 h 7822924"/>
                  <a:gd name="connsiteX371" fmla="*/ 6060374 w 7419002"/>
                  <a:gd name="connsiteY371" fmla="*/ 1240010 h 7822924"/>
                  <a:gd name="connsiteX372" fmla="*/ 5976782 w 7419002"/>
                  <a:gd name="connsiteY372" fmla="*/ 1281808 h 7822924"/>
                  <a:gd name="connsiteX373" fmla="*/ 5921055 w 7419002"/>
                  <a:gd name="connsiteY373" fmla="*/ 1295741 h 7822924"/>
                  <a:gd name="connsiteX374" fmla="*/ 5879259 w 7419002"/>
                  <a:gd name="connsiteY374" fmla="*/ 1295741 h 7822924"/>
                  <a:gd name="connsiteX375" fmla="*/ 5858361 w 7419002"/>
                  <a:gd name="connsiteY375" fmla="*/ 1226077 h 7822924"/>
                  <a:gd name="connsiteX376" fmla="*/ 5858361 w 7419002"/>
                  <a:gd name="connsiteY376" fmla="*/ 1170346 h 7822924"/>
                  <a:gd name="connsiteX377" fmla="*/ 5816565 w 7419002"/>
                  <a:gd name="connsiteY377" fmla="*/ 1100683 h 7822924"/>
                  <a:gd name="connsiteX378" fmla="*/ 5788702 w 7419002"/>
                  <a:gd name="connsiteY378" fmla="*/ 1065851 h 7822924"/>
                  <a:gd name="connsiteX379" fmla="*/ 5788702 w 7419002"/>
                  <a:gd name="connsiteY379" fmla="*/ 1058885 h 7822924"/>
                  <a:gd name="connsiteX380" fmla="*/ 5774770 w 7419002"/>
                  <a:gd name="connsiteY380" fmla="*/ 1051918 h 7822924"/>
                  <a:gd name="connsiteX381" fmla="*/ 5760838 w 7419002"/>
                  <a:gd name="connsiteY381" fmla="*/ 996188 h 7822924"/>
                  <a:gd name="connsiteX382" fmla="*/ 5663315 w 7419002"/>
                  <a:gd name="connsiteY382" fmla="*/ 940457 h 7822924"/>
                  <a:gd name="connsiteX383" fmla="*/ 5586689 w 7419002"/>
                  <a:gd name="connsiteY383" fmla="*/ 926524 h 7822924"/>
                  <a:gd name="connsiteX384" fmla="*/ 5565791 w 7419002"/>
                  <a:gd name="connsiteY384" fmla="*/ 884726 h 7822924"/>
                  <a:gd name="connsiteX385" fmla="*/ 5558825 w 7419002"/>
                  <a:gd name="connsiteY385" fmla="*/ 856861 h 7822924"/>
                  <a:gd name="connsiteX386" fmla="*/ 5544893 w 7419002"/>
                  <a:gd name="connsiteY386" fmla="*/ 815063 h 7822924"/>
                  <a:gd name="connsiteX387" fmla="*/ 5447370 w 7419002"/>
                  <a:gd name="connsiteY387" fmla="*/ 731467 h 7822924"/>
                  <a:gd name="connsiteX388" fmla="*/ 5433438 w 7419002"/>
                  <a:gd name="connsiteY388" fmla="*/ 731467 h 7822924"/>
                  <a:gd name="connsiteX389" fmla="*/ 5342881 w 7419002"/>
                  <a:gd name="connsiteY389" fmla="*/ 710567 h 7822924"/>
                  <a:gd name="connsiteX390" fmla="*/ 5294119 w 7419002"/>
                  <a:gd name="connsiteY390" fmla="*/ 717534 h 7822924"/>
                  <a:gd name="connsiteX391" fmla="*/ 5210528 w 7419002"/>
                  <a:gd name="connsiteY391" fmla="*/ 759332 h 7822924"/>
                  <a:gd name="connsiteX392" fmla="*/ 5175698 w 7419002"/>
                  <a:gd name="connsiteY392" fmla="*/ 787197 h 7822924"/>
                  <a:gd name="connsiteX393" fmla="*/ 5161766 w 7419002"/>
                  <a:gd name="connsiteY393" fmla="*/ 724500 h 7822924"/>
                  <a:gd name="connsiteX394" fmla="*/ 5078175 w 7419002"/>
                  <a:gd name="connsiteY394" fmla="*/ 599106 h 7822924"/>
                  <a:gd name="connsiteX395" fmla="*/ 5057277 w 7419002"/>
                  <a:gd name="connsiteY395" fmla="*/ 613039 h 7822924"/>
                  <a:gd name="connsiteX396" fmla="*/ 4910992 w 7419002"/>
                  <a:gd name="connsiteY396" fmla="*/ 717534 h 7822924"/>
                  <a:gd name="connsiteX397" fmla="*/ 4869197 w 7419002"/>
                  <a:gd name="connsiteY397" fmla="*/ 759332 h 7822924"/>
                  <a:gd name="connsiteX398" fmla="*/ 4869197 w 7419002"/>
                  <a:gd name="connsiteY398" fmla="*/ 766298 h 7822924"/>
                  <a:gd name="connsiteX399" fmla="*/ 4827401 w 7419002"/>
                  <a:gd name="connsiteY399" fmla="*/ 773265 h 7822924"/>
                  <a:gd name="connsiteX400" fmla="*/ 4771673 w 7419002"/>
                  <a:gd name="connsiteY400" fmla="*/ 842928 h 7822924"/>
                  <a:gd name="connsiteX401" fmla="*/ 4869197 w 7419002"/>
                  <a:gd name="connsiteY401" fmla="*/ 947423 h 7822924"/>
                  <a:gd name="connsiteX402" fmla="*/ 4910992 w 7419002"/>
                  <a:gd name="connsiteY402" fmla="*/ 954390 h 7822924"/>
                  <a:gd name="connsiteX403" fmla="*/ 4910992 w 7419002"/>
                  <a:gd name="connsiteY403" fmla="*/ 961356 h 7822924"/>
                  <a:gd name="connsiteX404" fmla="*/ 4966720 w 7419002"/>
                  <a:gd name="connsiteY404" fmla="*/ 996188 h 7822924"/>
                  <a:gd name="connsiteX405" fmla="*/ 4973686 w 7419002"/>
                  <a:gd name="connsiteY405" fmla="*/ 1010120 h 7822924"/>
                  <a:gd name="connsiteX406" fmla="*/ 5036379 w 7419002"/>
                  <a:gd name="connsiteY406" fmla="*/ 1037986 h 7822924"/>
                  <a:gd name="connsiteX407" fmla="*/ 5057277 w 7419002"/>
                  <a:gd name="connsiteY407" fmla="*/ 1044952 h 7822924"/>
                  <a:gd name="connsiteX408" fmla="*/ 5106039 w 7419002"/>
                  <a:gd name="connsiteY408" fmla="*/ 1024053 h 7822924"/>
                  <a:gd name="connsiteX409" fmla="*/ 5161766 w 7419002"/>
                  <a:gd name="connsiteY409" fmla="*/ 996188 h 7822924"/>
                  <a:gd name="connsiteX410" fmla="*/ 5182664 w 7419002"/>
                  <a:gd name="connsiteY410" fmla="*/ 996188 h 7822924"/>
                  <a:gd name="connsiteX411" fmla="*/ 5273222 w 7419002"/>
                  <a:gd name="connsiteY411" fmla="*/ 1037986 h 7822924"/>
                  <a:gd name="connsiteX412" fmla="*/ 5224460 w 7419002"/>
                  <a:gd name="connsiteY412" fmla="*/ 1072818 h 7822924"/>
                  <a:gd name="connsiteX413" fmla="*/ 5182664 w 7419002"/>
                  <a:gd name="connsiteY413" fmla="*/ 1107649 h 7822924"/>
                  <a:gd name="connsiteX414" fmla="*/ 5099073 w 7419002"/>
                  <a:gd name="connsiteY414" fmla="*/ 1240010 h 7822924"/>
                  <a:gd name="connsiteX415" fmla="*/ 5182664 w 7419002"/>
                  <a:gd name="connsiteY415" fmla="*/ 1337539 h 7822924"/>
                  <a:gd name="connsiteX416" fmla="*/ 5224460 w 7419002"/>
                  <a:gd name="connsiteY416" fmla="*/ 1365404 h 7822924"/>
                  <a:gd name="connsiteX417" fmla="*/ 5308051 w 7419002"/>
                  <a:gd name="connsiteY417" fmla="*/ 1449000 h 7822924"/>
                  <a:gd name="connsiteX418" fmla="*/ 5370745 w 7419002"/>
                  <a:gd name="connsiteY418" fmla="*/ 1532596 h 7822924"/>
                  <a:gd name="connsiteX419" fmla="*/ 5377711 w 7419002"/>
                  <a:gd name="connsiteY419" fmla="*/ 1532596 h 7822924"/>
                  <a:gd name="connsiteX420" fmla="*/ 5426472 w 7419002"/>
                  <a:gd name="connsiteY420" fmla="*/ 1574395 h 7822924"/>
                  <a:gd name="connsiteX421" fmla="*/ 5447370 w 7419002"/>
                  <a:gd name="connsiteY421" fmla="*/ 1581361 h 7822924"/>
                  <a:gd name="connsiteX422" fmla="*/ 5454336 w 7419002"/>
                  <a:gd name="connsiteY422" fmla="*/ 1595294 h 7822924"/>
                  <a:gd name="connsiteX423" fmla="*/ 5454336 w 7419002"/>
                  <a:gd name="connsiteY423" fmla="*/ 1602260 h 7822924"/>
                  <a:gd name="connsiteX424" fmla="*/ 5468268 w 7419002"/>
                  <a:gd name="connsiteY424" fmla="*/ 1637091 h 7822924"/>
                  <a:gd name="connsiteX425" fmla="*/ 5482200 w 7419002"/>
                  <a:gd name="connsiteY425" fmla="*/ 1664957 h 7822924"/>
                  <a:gd name="connsiteX426" fmla="*/ 5496132 w 7419002"/>
                  <a:gd name="connsiteY426" fmla="*/ 1692823 h 7822924"/>
                  <a:gd name="connsiteX427" fmla="*/ 5496132 w 7419002"/>
                  <a:gd name="connsiteY427" fmla="*/ 1706755 h 7822924"/>
                  <a:gd name="connsiteX428" fmla="*/ 5489166 w 7419002"/>
                  <a:gd name="connsiteY428" fmla="*/ 1720688 h 7822924"/>
                  <a:gd name="connsiteX429" fmla="*/ 5482200 w 7419002"/>
                  <a:gd name="connsiteY429" fmla="*/ 1776419 h 7822924"/>
                  <a:gd name="connsiteX430" fmla="*/ 5551859 w 7419002"/>
                  <a:gd name="connsiteY430" fmla="*/ 1818217 h 7822924"/>
                  <a:gd name="connsiteX431" fmla="*/ 5579723 w 7419002"/>
                  <a:gd name="connsiteY431" fmla="*/ 1832150 h 7822924"/>
                  <a:gd name="connsiteX432" fmla="*/ 5579723 w 7419002"/>
                  <a:gd name="connsiteY432" fmla="*/ 1922712 h 7822924"/>
                  <a:gd name="connsiteX433" fmla="*/ 5551859 w 7419002"/>
                  <a:gd name="connsiteY433" fmla="*/ 2041140 h 7822924"/>
                  <a:gd name="connsiteX434" fmla="*/ 5537928 w 7419002"/>
                  <a:gd name="connsiteY434" fmla="*/ 2062039 h 7822924"/>
                  <a:gd name="connsiteX435" fmla="*/ 5335915 w 7419002"/>
                  <a:gd name="connsiteY435" fmla="*/ 2466087 h 7822924"/>
                  <a:gd name="connsiteX436" fmla="*/ 5099073 w 7419002"/>
                  <a:gd name="connsiteY436" fmla="*/ 2584515 h 7822924"/>
                  <a:gd name="connsiteX437" fmla="*/ 5050311 w 7419002"/>
                  <a:gd name="connsiteY437" fmla="*/ 2605415 h 7822924"/>
                  <a:gd name="connsiteX438" fmla="*/ 4987618 w 7419002"/>
                  <a:gd name="connsiteY438" fmla="*/ 2612381 h 7822924"/>
                  <a:gd name="connsiteX439" fmla="*/ 4952788 w 7419002"/>
                  <a:gd name="connsiteY439" fmla="*/ 2619347 h 7822924"/>
                  <a:gd name="connsiteX440" fmla="*/ 4897060 w 7419002"/>
                  <a:gd name="connsiteY440" fmla="*/ 2661144 h 7822924"/>
                  <a:gd name="connsiteX441" fmla="*/ 4855265 w 7419002"/>
                  <a:gd name="connsiteY441" fmla="*/ 2668110 h 7822924"/>
                  <a:gd name="connsiteX442" fmla="*/ 4834367 w 7419002"/>
                  <a:gd name="connsiteY442" fmla="*/ 2682043 h 7822924"/>
                  <a:gd name="connsiteX443" fmla="*/ 4785605 w 7419002"/>
                  <a:gd name="connsiteY443" fmla="*/ 2695976 h 7822924"/>
                  <a:gd name="connsiteX444" fmla="*/ 4611457 w 7419002"/>
                  <a:gd name="connsiteY444" fmla="*/ 2807437 h 7822924"/>
                  <a:gd name="connsiteX445" fmla="*/ 4611457 w 7419002"/>
                  <a:gd name="connsiteY445" fmla="*/ 2821370 h 7822924"/>
                  <a:gd name="connsiteX446" fmla="*/ 4576627 w 7419002"/>
                  <a:gd name="connsiteY446" fmla="*/ 2751706 h 7822924"/>
                  <a:gd name="connsiteX447" fmla="*/ 4437308 w 7419002"/>
                  <a:gd name="connsiteY447" fmla="*/ 2695976 h 7822924"/>
                  <a:gd name="connsiteX448" fmla="*/ 4256193 w 7419002"/>
                  <a:gd name="connsiteY448" fmla="*/ 2793505 h 7822924"/>
                  <a:gd name="connsiteX449" fmla="*/ 4144738 w 7419002"/>
                  <a:gd name="connsiteY449" fmla="*/ 2974630 h 7822924"/>
                  <a:gd name="connsiteX450" fmla="*/ 4325853 w 7419002"/>
                  <a:gd name="connsiteY450" fmla="*/ 3225418 h 7822924"/>
                  <a:gd name="connsiteX451" fmla="*/ 4388546 w 7419002"/>
                  <a:gd name="connsiteY451" fmla="*/ 3288115 h 7822924"/>
                  <a:gd name="connsiteX452" fmla="*/ 4395512 w 7419002"/>
                  <a:gd name="connsiteY452" fmla="*/ 3295082 h 7822924"/>
                  <a:gd name="connsiteX453" fmla="*/ 4625389 w 7419002"/>
                  <a:gd name="connsiteY453" fmla="*/ 3775759 h 7822924"/>
                  <a:gd name="connsiteX454" fmla="*/ 4513933 w 7419002"/>
                  <a:gd name="connsiteY454" fmla="*/ 3873289 h 7822924"/>
                  <a:gd name="connsiteX455" fmla="*/ 4486070 w 7419002"/>
                  <a:gd name="connsiteY455" fmla="*/ 3887221 h 7822924"/>
                  <a:gd name="connsiteX456" fmla="*/ 4402478 w 7419002"/>
                  <a:gd name="connsiteY456" fmla="*/ 3929019 h 7822924"/>
                  <a:gd name="connsiteX457" fmla="*/ 4339785 w 7419002"/>
                  <a:gd name="connsiteY457" fmla="*/ 3998683 h 7822924"/>
                  <a:gd name="connsiteX458" fmla="*/ 4235296 w 7419002"/>
                  <a:gd name="connsiteY458" fmla="*/ 4089245 h 7822924"/>
                  <a:gd name="connsiteX459" fmla="*/ 4235296 w 7419002"/>
                  <a:gd name="connsiteY459" fmla="*/ 4054413 h 7822924"/>
                  <a:gd name="connsiteX460" fmla="*/ 4221364 w 7419002"/>
                  <a:gd name="connsiteY460" fmla="*/ 3998683 h 7822924"/>
                  <a:gd name="connsiteX461" fmla="*/ 4151704 w 7419002"/>
                  <a:gd name="connsiteY461" fmla="*/ 3935986 h 7822924"/>
                  <a:gd name="connsiteX462" fmla="*/ 4137772 w 7419002"/>
                  <a:gd name="connsiteY462" fmla="*/ 3929019 h 7822924"/>
                  <a:gd name="connsiteX463" fmla="*/ 4089011 w 7419002"/>
                  <a:gd name="connsiteY463" fmla="*/ 3887221 h 7822924"/>
                  <a:gd name="connsiteX464" fmla="*/ 4068113 w 7419002"/>
                  <a:gd name="connsiteY464" fmla="*/ 3873289 h 7822924"/>
                  <a:gd name="connsiteX465" fmla="*/ 4012385 w 7419002"/>
                  <a:gd name="connsiteY465" fmla="*/ 3803625 h 7822924"/>
                  <a:gd name="connsiteX466" fmla="*/ 3970590 w 7419002"/>
                  <a:gd name="connsiteY466" fmla="*/ 3761827 h 7822924"/>
                  <a:gd name="connsiteX467" fmla="*/ 3859134 w 7419002"/>
                  <a:gd name="connsiteY467" fmla="*/ 3692163 h 7822924"/>
                  <a:gd name="connsiteX468" fmla="*/ 3831271 w 7419002"/>
                  <a:gd name="connsiteY468" fmla="*/ 3685197 h 7822924"/>
                  <a:gd name="connsiteX469" fmla="*/ 3810373 w 7419002"/>
                  <a:gd name="connsiteY469" fmla="*/ 3664298 h 7822924"/>
                  <a:gd name="connsiteX470" fmla="*/ 3803407 w 7419002"/>
                  <a:gd name="connsiteY470" fmla="*/ 3664298 h 7822924"/>
                  <a:gd name="connsiteX471" fmla="*/ 3796441 w 7419002"/>
                  <a:gd name="connsiteY471" fmla="*/ 3657332 h 7822924"/>
                  <a:gd name="connsiteX472" fmla="*/ 3782509 w 7419002"/>
                  <a:gd name="connsiteY472" fmla="*/ 3643399 h 7822924"/>
                  <a:gd name="connsiteX473" fmla="*/ 3712849 w 7419002"/>
                  <a:gd name="connsiteY473" fmla="*/ 3601601 h 7822924"/>
                  <a:gd name="connsiteX474" fmla="*/ 3636224 w 7419002"/>
                  <a:gd name="connsiteY474" fmla="*/ 3699130 h 7822924"/>
                  <a:gd name="connsiteX475" fmla="*/ 3636224 w 7419002"/>
                  <a:gd name="connsiteY475" fmla="*/ 3747894 h 7822924"/>
                  <a:gd name="connsiteX476" fmla="*/ 3601394 w 7419002"/>
                  <a:gd name="connsiteY476" fmla="*/ 3831490 h 7822924"/>
                  <a:gd name="connsiteX477" fmla="*/ 3587462 w 7419002"/>
                  <a:gd name="connsiteY477" fmla="*/ 3998683 h 7822924"/>
                  <a:gd name="connsiteX478" fmla="*/ 3643190 w 7419002"/>
                  <a:gd name="connsiteY478" fmla="*/ 4082279 h 7822924"/>
                  <a:gd name="connsiteX479" fmla="*/ 3650156 w 7419002"/>
                  <a:gd name="connsiteY479" fmla="*/ 4103178 h 7822924"/>
                  <a:gd name="connsiteX480" fmla="*/ 3671054 w 7419002"/>
                  <a:gd name="connsiteY480" fmla="*/ 4124077 h 7822924"/>
                  <a:gd name="connsiteX481" fmla="*/ 3691952 w 7419002"/>
                  <a:gd name="connsiteY481" fmla="*/ 4214640 h 7822924"/>
                  <a:gd name="connsiteX482" fmla="*/ 3761611 w 7419002"/>
                  <a:gd name="connsiteY482" fmla="*/ 4312169 h 7822924"/>
                  <a:gd name="connsiteX483" fmla="*/ 3831271 w 7419002"/>
                  <a:gd name="connsiteY483" fmla="*/ 4353967 h 7822924"/>
                  <a:gd name="connsiteX484" fmla="*/ 3873066 w 7419002"/>
                  <a:gd name="connsiteY484" fmla="*/ 4367899 h 7822924"/>
                  <a:gd name="connsiteX485" fmla="*/ 4047215 w 7419002"/>
                  <a:gd name="connsiteY485" fmla="*/ 4542058 h 7822924"/>
                  <a:gd name="connsiteX486" fmla="*/ 4061147 w 7419002"/>
                  <a:gd name="connsiteY486" fmla="*/ 4639587 h 7822924"/>
                  <a:gd name="connsiteX487" fmla="*/ 4061147 w 7419002"/>
                  <a:gd name="connsiteY487" fmla="*/ 4751049 h 7822924"/>
                  <a:gd name="connsiteX488" fmla="*/ 4116874 w 7419002"/>
                  <a:gd name="connsiteY488" fmla="*/ 4834645 h 7822924"/>
                  <a:gd name="connsiteX489" fmla="*/ 4144738 w 7419002"/>
                  <a:gd name="connsiteY489" fmla="*/ 4904308 h 7822924"/>
                  <a:gd name="connsiteX490" fmla="*/ 4095977 w 7419002"/>
                  <a:gd name="connsiteY490" fmla="*/ 4890376 h 7822924"/>
                  <a:gd name="connsiteX491" fmla="*/ 4040249 w 7419002"/>
                  <a:gd name="connsiteY491" fmla="*/ 4869477 h 7822924"/>
                  <a:gd name="connsiteX492" fmla="*/ 4026317 w 7419002"/>
                  <a:gd name="connsiteY492" fmla="*/ 4841611 h 7822924"/>
                  <a:gd name="connsiteX493" fmla="*/ 3866100 w 7419002"/>
                  <a:gd name="connsiteY493" fmla="*/ 4674419 h 7822924"/>
                  <a:gd name="connsiteX494" fmla="*/ 3852168 w 7419002"/>
                  <a:gd name="connsiteY494" fmla="*/ 4660486 h 7822924"/>
                  <a:gd name="connsiteX495" fmla="*/ 3838237 w 7419002"/>
                  <a:gd name="connsiteY495" fmla="*/ 4646553 h 7822924"/>
                  <a:gd name="connsiteX496" fmla="*/ 3824305 w 7419002"/>
                  <a:gd name="connsiteY496" fmla="*/ 4632621 h 7822924"/>
                  <a:gd name="connsiteX497" fmla="*/ 3810373 w 7419002"/>
                  <a:gd name="connsiteY497" fmla="*/ 4611722 h 7822924"/>
                  <a:gd name="connsiteX498" fmla="*/ 3796441 w 7419002"/>
                  <a:gd name="connsiteY498" fmla="*/ 4528125 h 7822924"/>
                  <a:gd name="connsiteX499" fmla="*/ 3789475 w 7419002"/>
                  <a:gd name="connsiteY499" fmla="*/ 4479361 h 7822924"/>
                  <a:gd name="connsiteX500" fmla="*/ 3782509 w 7419002"/>
                  <a:gd name="connsiteY500" fmla="*/ 4437563 h 7822924"/>
                  <a:gd name="connsiteX501" fmla="*/ 3782509 w 7419002"/>
                  <a:gd name="connsiteY501" fmla="*/ 4430597 h 7822924"/>
                  <a:gd name="connsiteX502" fmla="*/ 3678020 w 7419002"/>
                  <a:gd name="connsiteY502" fmla="*/ 4284303 h 7822924"/>
                  <a:gd name="connsiteX503" fmla="*/ 3643190 w 7419002"/>
                  <a:gd name="connsiteY503" fmla="*/ 4242505 h 7822924"/>
                  <a:gd name="connsiteX504" fmla="*/ 3587462 w 7419002"/>
                  <a:gd name="connsiteY504" fmla="*/ 4200707 h 7822924"/>
                  <a:gd name="connsiteX505" fmla="*/ 3559599 w 7419002"/>
                  <a:gd name="connsiteY505" fmla="*/ 4172842 h 7822924"/>
                  <a:gd name="connsiteX506" fmla="*/ 3524769 w 7419002"/>
                  <a:gd name="connsiteY506" fmla="*/ 4131043 h 7822924"/>
                  <a:gd name="connsiteX507" fmla="*/ 3545667 w 7419002"/>
                  <a:gd name="connsiteY507" fmla="*/ 4047447 h 7822924"/>
                  <a:gd name="connsiteX508" fmla="*/ 3552633 w 7419002"/>
                  <a:gd name="connsiteY508" fmla="*/ 4026548 h 7822924"/>
                  <a:gd name="connsiteX509" fmla="*/ 3559599 w 7419002"/>
                  <a:gd name="connsiteY509" fmla="*/ 3949918 h 7822924"/>
                  <a:gd name="connsiteX510" fmla="*/ 3566565 w 7419002"/>
                  <a:gd name="connsiteY510" fmla="*/ 3873289 h 7822924"/>
                  <a:gd name="connsiteX511" fmla="*/ 3559599 w 7419002"/>
                  <a:gd name="connsiteY511" fmla="*/ 3852390 h 7822924"/>
                  <a:gd name="connsiteX512" fmla="*/ 3552633 w 7419002"/>
                  <a:gd name="connsiteY512" fmla="*/ 3831490 h 7822924"/>
                  <a:gd name="connsiteX513" fmla="*/ 3538701 w 7419002"/>
                  <a:gd name="connsiteY513" fmla="*/ 3803625 h 7822924"/>
                  <a:gd name="connsiteX514" fmla="*/ 3538701 w 7419002"/>
                  <a:gd name="connsiteY514" fmla="*/ 3754861 h 7822924"/>
                  <a:gd name="connsiteX515" fmla="*/ 3524769 w 7419002"/>
                  <a:gd name="connsiteY515" fmla="*/ 3671264 h 7822924"/>
                  <a:gd name="connsiteX516" fmla="*/ 3496905 w 7419002"/>
                  <a:gd name="connsiteY516" fmla="*/ 3587668 h 7822924"/>
                  <a:gd name="connsiteX517" fmla="*/ 3489939 w 7419002"/>
                  <a:gd name="connsiteY517" fmla="*/ 3566769 h 7822924"/>
                  <a:gd name="connsiteX518" fmla="*/ 3482973 w 7419002"/>
                  <a:gd name="connsiteY518" fmla="*/ 3545870 h 7822924"/>
                  <a:gd name="connsiteX519" fmla="*/ 3469041 w 7419002"/>
                  <a:gd name="connsiteY519" fmla="*/ 3524971 h 7822924"/>
                  <a:gd name="connsiteX520" fmla="*/ 3427246 w 7419002"/>
                  <a:gd name="connsiteY520" fmla="*/ 3448341 h 7822924"/>
                  <a:gd name="connsiteX521" fmla="*/ 3413314 w 7419002"/>
                  <a:gd name="connsiteY521" fmla="*/ 3392610 h 7822924"/>
                  <a:gd name="connsiteX522" fmla="*/ 3301859 w 7419002"/>
                  <a:gd name="connsiteY522" fmla="*/ 3218452 h 7822924"/>
                  <a:gd name="connsiteX523" fmla="*/ 3190404 w 7419002"/>
                  <a:gd name="connsiteY523" fmla="*/ 3274183 h 7822924"/>
                  <a:gd name="connsiteX524" fmla="*/ 3113778 w 7419002"/>
                  <a:gd name="connsiteY524" fmla="*/ 3322947 h 7822924"/>
                  <a:gd name="connsiteX525" fmla="*/ 3099846 w 7419002"/>
                  <a:gd name="connsiteY525" fmla="*/ 3322947 h 7822924"/>
                  <a:gd name="connsiteX526" fmla="*/ 3030187 w 7419002"/>
                  <a:gd name="connsiteY526" fmla="*/ 3288115 h 7822924"/>
                  <a:gd name="connsiteX527" fmla="*/ 3044119 w 7419002"/>
                  <a:gd name="connsiteY527" fmla="*/ 3239351 h 7822924"/>
                  <a:gd name="connsiteX528" fmla="*/ 3044119 w 7419002"/>
                  <a:gd name="connsiteY528" fmla="*/ 3232384 h 7822924"/>
                  <a:gd name="connsiteX529" fmla="*/ 3044119 w 7419002"/>
                  <a:gd name="connsiteY529" fmla="*/ 3176654 h 7822924"/>
                  <a:gd name="connsiteX530" fmla="*/ 2974459 w 7419002"/>
                  <a:gd name="connsiteY530" fmla="*/ 3023395 h 7822924"/>
                  <a:gd name="connsiteX531" fmla="*/ 2953561 w 7419002"/>
                  <a:gd name="connsiteY531" fmla="*/ 3002495 h 7822924"/>
                  <a:gd name="connsiteX532" fmla="*/ 2946595 w 7419002"/>
                  <a:gd name="connsiteY532" fmla="*/ 3002495 h 7822924"/>
                  <a:gd name="connsiteX533" fmla="*/ 2939629 w 7419002"/>
                  <a:gd name="connsiteY533" fmla="*/ 2960697 h 7822924"/>
                  <a:gd name="connsiteX534" fmla="*/ 2932664 w 7419002"/>
                  <a:gd name="connsiteY534" fmla="*/ 2960697 h 7822924"/>
                  <a:gd name="connsiteX535" fmla="*/ 2925698 w 7419002"/>
                  <a:gd name="connsiteY535" fmla="*/ 2939798 h 7822924"/>
                  <a:gd name="connsiteX536" fmla="*/ 2911766 w 7419002"/>
                  <a:gd name="connsiteY536" fmla="*/ 2918899 h 7822924"/>
                  <a:gd name="connsiteX537" fmla="*/ 2842106 w 7419002"/>
                  <a:gd name="connsiteY537" fmla="*/ 2877101 h 7822924"/>
                  <a:gd name="connsiteX538" fmla="*/ 2800311 w 7419002"/>
                  <a:gd name="connsiteY538" fmla="*/ 2835303 h 7822924"/>
                  <a:gd name="connsiteX539" fmla="*/ 2716719 w 7419002"/>
                  <a:gd name="connsiteY539" fmla="*/ 2744740 h 7822924"/>
                  <a:gd name="connsiteX540" fmla="*/ 2709754 w 7419002"/>
                  <a:gd name="connsiteY540" fmla="*/ 2723841 h 7822924"/>
                  <a:gd name="connsiteX541" fmla="*/ 2702788 w 7419002"/>
                  <a:gd name="connsiteY541" fmla="*/ 2702942 h 7822924"/>
                  <a:gd name="connsiteX542" fmla="*/ 2633128 w 7419002"/>
                  <a:gd name="connsiteY542" fmla="*/ 2619347 h 7822924"/>
                  <a:gd name="connsiteX543" fmla="*/ 2619196 w 7419002"/>
                  <a:gd name="connsiteY543" fmla="*/ 2619347 h 7822924"/>
                  <a:gd name="connsiteX544" fmla="*/ 2549537 w 7419002"/>
                  <a:gd name="connsiteY544" fmla="*/ 2647211 h 7822924"/>
                  <a:gd name="connsiteX545" fmla="*/ 2528639 w 7419002"/>
                  <a:gd name="connsiteY545" fmla="*/ 2654178 h 7822924"/>
                  <a:gd name="connsiteX546" fmla="*/ 2507742 w 7419002"/>
                  <a:gd name="connsiteY546" fmla="*/ 2668110 h 7822924"/>
                  <a:gd name="connsiteX547" fmla="*/ 2431116 w 7419002"/>
                  <a:gd name="connsiteY547" fmla="*/ 2682043 h 7822924"/>
                  <a:gd name="connsiteX548" fmla="*/ 2361456 w 7419002"/>
                  <a:gd name="connsiteY548" fmla="*/ 2695976 h 7822924"/>
                  <a:gd name="connsiteX549" fmla="*/ 2305729 w 7419002"/>
                  <a:gd name="connsiteY549" fmla="*/ 2695976 h 7822924"/>
                  <a:gd name="connsiteX550" fmla="*/ 2166410 w 7419002"/>
                  <a:gd name="connsiteY550" fmla="*/ 2737774 h 7822924"/>
                  <a:gd name="connsiteX551" fmla="*/ 2138546 w 7419002"/>
                  <a:gd name="connsiteY551" fmla="*/ 2835303 h 7822924"/>
                  <a:gd name="connsiteX552" fmla="*/ 2068886 w 7419002"/>
                  <a:gd name="connsiteY552" fmla="*/ 2891034 h 7822924"/>
                  <a:gd name="connsiteX553" fmla="*/ 2041022 w 7419002"/>
                  <a:gd name="connsiteY553" fmla="*/ 2904967 h 7822924"/>
                  <a:gd name="connsiteX554" fmla="*/ 2020125 w 7419002"/>
                  <a:gd name="connsiteY554" fmla="*/ 2918899 h 7822924"/>
                  <a:gd name="connsiteX555" fmla="*/ 1922601 w 7419002"/>
                  <a:gd name="connsiteY555" fmla="*/ 3009462 h 7822924"/>
                  <a:gd name="connsiteX556" fmla="*/ 1887772 w 7419002"/>
                  <a:gd name="connsiteY556" fmla="*/ 3051259 h 7822924"/>
                  <a:gd name="connsiteX557" fmla="*/ 1852942 w 7419002"/>
                  <a:gd name="connsiteY557" fmla="*/ 3093057 h 7822924"/>
                  <a:gd name="connsiteX558" fmla="*/ 1811147 w 7419002"/>
                  <a:gd name="connsiteY558" fmla="*/ 3120923 h 7822924"/>
                  <a:gd name="connsiteX559" fmla="*/ 1755419 w 7419002"/>
                  <a:gd name="connsiteY559" fmla="*/ 3176654 h 7822924"/>
                  <a:gd name="connsiteX560" fmla="*/ 1727555 w 7419002"/>
                  <a:gd name="connsiteY560" fmla="*/ 3218452 h 7822924"/>
                  <a:gd name="connsiteX561" fmla="*/ 1720589 w 7419002"/>
                  <a:gd name="connsiteY561" fmla="*/ 3232384 h 7822924"/>
                  <a:gd name="connsiteX562" fmla="*/ 1706657 w 7419002"/>
                  <a:gd name="connsiteY562" fmla="*/ 3246317 h 7822924"/>
                  <a:gd name="connsiteX563" fmla="*/ 1699691 w 7419002"/>
                  <a:gd name="connsiteY563" fmla="*/ 3246317 h 7822924"/>
                  <a:gd name="connsiteX564" fmla="*/ 1623066 w 7419002"/>
                  <a:gd name="connsiteY564" fmla="*/ 3295082 h 7822924"/>
                  <a:gd name="connsiteX565" fmla="*/ 1623066 w 7419002"/>
                  <a:gd name="connsiteY565" fmla="*/ 3302048 h 7822924"/>
                  <a:gd name="connsiteX566" fmla="*/ 1602168 w 7419002"/>
                  <a:gd name="connsiteY566" fmla="*/ 3309014 h 7822924"/>
                  <a:gd name="connsiteX567" fmla="*/ 1497678 w 7419002"/>
                  <a:gd name="connsiteY567" fmla="*/ 3406543 h 7822924"/>
                  <a:gd name="connsiteX568" fmla="*/ 1497678 w 7419002"/>
                  <a:gd name="connsiteY568" fmla="*/ 3413510 h 7822924"/>
                  <a:gd name="connsiteX569" fmla="*/ 1504645 w 7419002"/>
                  <a:gd name="connsiteY569" fmla="*/ 3490139 h 7822924"/>
                  <a:gd name="connsiteX570" fmla="*/ 1511611 w 7419002"/>
                  <a:gd name="connsiteY570" fmla="*/ 3545870 h 7822924"/>
                  <a:gd name="connsiteX571" fmla="*/ 1525542 w 7419002"/>
                  <a:gd name="connsiteY571" fmla="*/ 3685197 h 7822924"/>
                  <a:gd name="connsiteX572" fmla="*/ 1511611 w 7419002"/>
                  <a:gd name="connsiteY572" fmla="*/ 3733962 h 7822924"/>
                  <a:gd name="connsiteX573" fmla="*/ 1497678 w 7419002"/>
                  <a:gd name="connsiteY573" fmla="*/ 3768793 h 7822924"/>
                  <a:gd name="connsiteX574" fmla="*/ 1483746 w 7419002"/>
                  <a:gd name="connsiteY574" fmla="*/ 3803625 h 7822924"/>
                  <a:gd name="connsiteX575" fmla="*/ 1490713 w 7419002"/>
                  <a:gd name="connsiteY575" fmla="*/ 3838457 h 7822924"/>
                  <a:gd name="connsiteX576" fmla="*/ 1497678 w 7419002"/>
                  <a:gd name="connsiteY576" fmla="*/ 3859356 h 7822924"/>
                  <a:gd name="connsiteX577" fmla="*/ 1497678 w 7419002"/>
                  <a:gd name="connsiteY577" fmla="*/ 3915086 h 7822924"/>
                  <a:gd name="connsiteX578" fmla="*/ 1490713 w 7419002"/>
                  <a:gd name="connsiteY578" fmla="*/ 3929019 h 7822924"/>
                  <a:gd name="connsiteX579" fmla="*/ 1483746 w 7419002"/>
                  <a:gd name="connsiteY579" fmla="*/ 3942952 h 7822924"/>
                  <a:gd name="connsiteX580" fmla="*/ 1469815 w 7419002"/>
                  <a:gd name="connsiteY580" fmla="*/ 3949918 h 7822924"/>
                  <a:gd name="connsiteX581" fmla="*/ 1441951 w 7419002"/>
                  <a:gd name="connsiteY581" fmla="*/ 3963851 h 7822924"/>
                  <a:gd name="connsiteX582" fmla="*/ 1441951 w 7419002"/>
                  <a:gd name="connsiteY582" fmla="*/ 3970817 h 7822924"/>
                  <a:gd name="connsiteX583" fmla="*/ 1434985 w 7419002"/>
                  <a:gd name="connsiteY583" fmla="*/ 3991716 h 7822924"/>
                  <a:gd name="connsiteX584" fmla="*/ 1428019 w 7419002"/>
                  <a:gd name="connsiteY584" fmla="*/ 4012615 h 7822924"/>
                  <a:gd name="connsiteX585" fmla="*/ 1414087 w 7419002"/>
                  <a:gd name="connsiteY585" fmla="*/ 4033514 h 7822924"/>
                  <a:gd name="connsiteX586" fmla="*/ 1414087 w 7419002"/>
                  <a:gd name="connsiteY586" fmla="*/ 4040481 h 7822924"/>
                  <a:gd name="connsiteX587" fmla="*/ 1400155 w 7419002"/>
                  <a:gd name="connsiteY587" fmla="*/ 4054413 h 7822924"/>
                  <a:gd name="connsiteX588" fmla="*/ 1386223 w 7419002"/>
                  <a:gd name="connsiteY588" fmla="*/ 4061380 h 7822924"/>
                  <a:gd name="connsiteX589" fmla="*/ 1365326 w 7419002"/>
                  <a:gd name="connsiteY589" fmla="*/ 4075313 h 7822924"/>
                  <a:gd name="connsiteX590" fmla="*/ 1344428 w 7419002"/>
                  <a:gd name="connsiteY590" fmla="*/ 4089245 h 7822924"/>
                  <a:gd name="connsiteX591" fmla="*/ 1316564 w 7419002"/>
                  <a:gd name="connsiteY591" fmla="*/ 4131043 h 7822924"/>
                  <a:gd name="connsiteX592" fmla="*/ 1302632 w 7419002"/>
                  <a:gd name="connsiteY592" fmla="*/ 4158909 h 7822924"/>
                  <a:gd name="connsiteX593" fmla="*/ 1184211 w 7419002"/>
                  <a:gd name="connsiteY593" fmla="*/ 4005649 h 7822924"/>
                  <a:gd name="connsiteX594" fmla="*/ 1163313 w 7419002"/>
                  <a:gd name="connsiteY594" fmla="*/ 3956885 h 7822924"/>
                  <a:gd name="connsiteX595" fmla="*/ 1121518 w 7419002"/>
                  <a:gd name="connsiteY595" fmla="*/ 3845423 h 7822924"/>
                  <a:gd name="connsiteX596" fmla="*/ 1065790 w 7419002"/>
                  <a:gd name="connsiteY596" fmla="*/ 3775759 h 7822924"/>
                  <a:gd name="connsiteX597" fmla="*/ 1010062 w 7419002"/>
                  <a:gd name="connsiteY597" fmla="*/ 3699130 h 7822924"/>
                  <a:gd name="connsiteX598" fmla="*/ 982199 w 7419002"/>
                  <a:gd name="connsiteY598" fmla="*/ 3601601 h 7822924"/>
                  <a:gd name="connsiteX599" fmla="*/ 926471 w 7419002"/>
                  <a:gd name="connsiteY599" fmla="*/ 3462274 h 7822924"/>
                  <a:gd name="connsiteX600" fmla="*/ 905573 w 7419002"/>
                  <a:gd name="connsiteY600" fmla="*/ 3434409 h 7822924"/>
                  <a:gd name="connsiteX601" fmla="*/ 891641 w 7419002"/>
                  <a:gd name="connsiteY601" fmla="*/ 3406543 h 7822924"/>
                  <a:gd name="connsiteX602" fmla="*/ 821982 w 7419002"/>
                  <a:gd name="connsiteY602" fmla="*/ 3288115 h 7822924"/>
                  <a:gd name="connsiteX603" fmla="*/ 780186 w 7419002"/>
                  <a:gd name="connsiteY603" fmla="*/ 3162721 h 7822924"/>
                  <a:gd name="connsiteX604" fmla="*/ 773221 w 7419002"/>
                  <a:gd name="connsiteY604" fmla="*/ 3120923 h 7822924"/>
                  <a:gd name="connsiteX605" fmla="*/ 766254 w 7419002"/>
                  <a:gd name="connsiteY605" fmla="*/ 3100024 h 7822924"/>
                  <a:gd name="connsiteX606" fmla="*/ 766254 w 7419002"/>
                  <a:gd name="connsiteY606" fmla="*/ 3093057 h 7822924"/>
                  <a:gd name="connsiteX607" fmla="*/ 738391 w 7419002"/>
                  <a:gd name="connsiteY607" fmla="*/ 3002495 h 7822924"/>
                  <a:gd name="connsiteX608" fmla="*/ 710527 w 7419002"/>
                  <a:gd name="connsiteY608" fmla="*/ 2904967 h 7822924"/>
                  <a:gd name="connsiteX609" fmla="*/ 710527 w 7419002"/>
                  <a:gd name="connsiteY609" fmla="*/ 2849235 h 7822924"/>
                  <a:gd name="connsiteX610" fmla="*/ 654800 w 7419002"/>
                  <a:gd name="connsiteY610" fmla="*/ 2723841 h 7822924"/>
                  <a:gd name="connsiteX611" fmla="*/ 626937 w 7419002"/>
                  <a:gd name="connsiteY611" fmla="*/ 2723841 h 7822924"/>
                  <a:gd name="connsiteX612" fmla="*/ 557277 w 7419002"/>
                  <a:gd name="connsiteY612" fmla="*/ 2751706 h 7822924"/>
                  <a:gd name="connsiteX613" fmla="*/ 487617 w 7419002"/>
                  <a:gd name="connsiteY613" fmla="*/ 2793505 h 7822924"/>
                  <a:gd name="connsiteX614" fmla="*/ 341332 w 7419002"/>
                  <a:gd name="connsiteY614" fmla="*/ 2702942 h 7822924"/>
                  <a:gd name="connsiteX615" fmla="*/ 334367 w 7419002"/>
                  <a:gd name="connsiteY615" fmla="*/ 2675077 h 7822924"/>
                  <a:gd name="connsiteX616" fmla="*/ 341332 w 7419002"/>
                  <a:gd name="connsiteY616" fmla="*/ 2633279 h 7822924"/>
                  <a:gd name="connsiteX617" fmla="*/ 341332 w 7419002"/>
                  <a:gd name="connsiteY617" fmla="*/ 2605415 h 7822924"/>
                  <a:gd name="connsiteX618" fmla="*/ 202014 w 7419002"/>
                  <a:gd name="connsiteY618" fmla="*/ 2507885 h 7822924"/>
                  <a:gd name="connsiteX619" fmla="*/ 160217 w 7419002"/>
                  <a:gd name="connsiteY619" fmla="*/ 2473053 h 7822924"/>
                  <a:gd name="connsiteX620" fmla="*/ 111456 w 7419002"/>
                  <a:gd name="connsiteY620" fmla="*/ 2438222 h 7822924"/>
                  <a:gd name="connsiteX621" fmla="*/ 0 w 7419002"/>
                  <a:gd name="connsiteY621" fmla="*/ 2319794 h 7822924"/>
                  <a:gd name="connsiteX622" fmla="*/ 3643190 w 7419002"/>
                  <a:gd name="connsiteY622" fmla="*/ 0 h 782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7419002" h="7822924">
                    <a:moveTo>
                      <a:pt x="6513588" y="6632022"/>
                    </a:moveTo>
                    <a:cubicBezTo>
                      <a:pt x="6527522" y="6632022"/>
                      <a:pt x="6548421" y="6645951"/>
                      <a:pt x="6562354" y="6659880"/>
                    </a:cubicBezTo>
                    <a:cubicBezTo>
                      <a:pt x="6569321" y="6666844"/>
                      <a:pt x="6583254" y="6666844"/>
                      <a:pt x="6590221" y="6673808"/>
                    </a:cubicBezTo>
                    <a:cubicBezTo>
                      <a:pt x="6604154" y="6687737"/>
                      <a:pt x="6618087" y="6701666"/>
                      <a:pt x="6632020" y="6708630"/>
                    </a:cubicBezTo>
                    <a:cubicBezTo>
                      <a:pt x="6172226" y="7217027"/>
                      <a:pt x="5587034" y="7607030"/>
                      <a:pt x="4925209" y="7822924"/>
                    </a:cubicBezTo>
                    <a:cubicBezTo>
                      <a:pt x="4918242" y="7822924"/>
                      <a:pt x="4918242" y="7815960"/>
                      <a:pt x="4918242" y="7815960"/>
                    </a:cubicBezTo>
                    <a:cubicBezTo>
                      <a:pt x="4918242" y="7808996"/>
                      <a:pt x="4911276" y="7802031"/>
                      <a:pt x="4911276" y="7795067"/>
                    </a:cubicBezTo>
                    <a:cubicBezTo>
                      <a:pt x="4904309" y="7788102"/>
                      <a:pt x="4904309" y="7781138"/>
                      <a:pt x="4904309" y="7760245"/>
                    </a:cubicBezTo>
                    <a:cubicBezTo>
                      <a:pt x="4904309" y="7753281"/>
                      <a:pt x="4904309" y="7746316"/>
                      <a:pt x="4911276" y="7739352"/>
                    </a:cubicBezTo>
                    <a:cubicBezTo>
                      <a:pt x="4918242" y="7732388"/>
                      <a:pt x="4925209" y="7718459"/>
                      <a:pt x="4932176" y="7711495"/>
                    </a:cubicBezTo>
                    <a:cubicBezTo>
                      <a:pt x="4946109" y="7697566"/>
                      <a:pt x="4960042" y="7683637"/>
                      <a:pt x="4973975" y="7641851"/>
                    </a:cubicBezTo>
                    <a:cubicBezTo>
                      <a:pt x="4973975" y="7627923"/>
                      <a:pt x="4973975" y="7613994"/>
                      <a:pt x="4980942" y="7600065"/>
                    </a:cubicBezTo>
                    <a:cubicBezTo>
                      <a:pt x="4980942" y="7600065"/>
                      <a:pt x="4980942" y="7600065"/>
                      <a:pt x="4987908" y="7600065"/>
                    </a:cubicBezTo>
                    <a:cubicBezTo>
                      <a:pt x="4987908" y="7600065"/>
                      <a:pt x="4987908" y="7600065"/>
                      <a:pt x="4987908" y="7544351"/>
                    </a:cubicBezTo>
                    <a:cubicBezTo>
                      <a:pt x="4987908" y="7544351"/>
                      <a:pt x="4987908" y="7544351"/>
                      <a:pt x="4994875" y="7537386"/>
                    </a:cubicBezTo>
                    <a:cubicBezTo>
                      <a:pt x="5001841" y="7537386"/>
                      <a:pt x="5015774" y="7530422"/>
                      <a:pt x="5022741" y="7530422"/>
                    </a:cubicBezTo>
                    <a:cubicBezTo>
                      <a:pt x="5029708" y="7523458"/>
                      <a:pt x="5043641" y="7523458"/>
                      <a:pt x="5050607" y="7523458"/>
                    </a:cubicBezTo>
                    <a:cubicBezTo>
                      <a:pt x="5064541" y="7509529"/>
                      <a:pt x="5078474" y="7509529"/>
                      <a:pt x="5078474" y="7509529"/>
                    </a:cubicBezTo>
                    <a:cubicBezTo>
                      <a:pt x="5099373" y="7495600"/>
                      <a:pt x="5113307" y="7481672"/>
                      <a:pt x="5134206" y="7474707"/>
                    </a:cubicBezTo>
                    <a:cubicBezTo>
                      <a:pt x="5148139" y="7460779"/>
                      <a:pt x="5169039" y="7453814"/>
                      <a:pt x="5189939" y="7439886"/>
                    </a:cubicBezTo>
                    <a:cubicBezTo>
                      <a:pt x="5196905" y="7432921"/>
                      <a:pt x="5210839" y="7425957"/>
                      <a:pt x="5217805" y="7412028"/>
                    </a:cubicBezTo>
                    <a:cubicBezTo>
                      <a:pt x="5252638" y="7391135"/>
                      <a:pt x="5280504" y="7370242"/>
                      <a:pt x="5322304" y="7356313"/>
                    </a:cubicBezTo>
                    <a:cubicBezTo>
                      <a:pt x="5322304" y="7356313"/>
                      <a:pt x="5322304" y="7356313"/>
                      <a:pt x="5364103" y="7356313"/>
                    </a:cubicBezTo>
                    <a:cubicBezTo>
                      <a:pt x="5371070" y="7363278"/>
                      <a:pt x="5371070" y="7370242"/>
                      <a:pt x="5378036" y="7370242"/>
                    </a:cubicBezTo>
                    <a:cubicBezTo>
                      <a:pt x="5385003" y="7370242"/>
                      <a:pt x="5385003" y="7363278"/>
                      <a:pt x="5391970" y="7356313"/>
                    </a:cubicBezTo>
                    <a:cubicBezTo>
                      <a:pt x="5433769" y="7356313"/>
                      <a:pt x="5461635" y="7342385"/>
                      <a:pt x="5489502" y="7328456"/>
                    </a:cubicBezTo>
                    <a:cubicBezTo>
                      <a:pt x="5531301" y="7314527"/>
                      <a:pt x="5559167" y="7300599"/>
                      <a:pt x="5580067" y="7286670"/>
                    </a:cubicBezTo>
                    <a:cubicBezTo>
                      <a:pt x="5621867" y="7286670"/>
                      <a:pt x="5635800" y="7286670"/>
                      <a:pt x="5663666" y="7272741"/>
                    </a:cubicBezTo>
                    <a:cubicBezTo>
                      <a:pt x="5705466" y="7272741"/>
                      <a:pt x="5747265" y="7272741"/>
                      <a:pt x="5789064" y="7244884"/>
                    </a:cubicBezTo>
                    <a:cubicBezTo>
                      <a:pt x="5858730" y="7217027"/>
                      <a:pt x="5942329" y="7126490"/>
                      <a:pt x="5970195" y="7056847"/>
                    </a:cubicBezTo>
                    <a:cubicBezTo>
                      <a:pt x="5970195" y="7049883"/>
                      <a:pt x="5970195" y="7035954"/>
                      <a:pt x="5977162" y="7028990"/>
                    </a:cubicBezTo>
                    <a:cubicBezTo>
                      <a:pt x="5977162" y="7015061"/>
                      <a:pt x="5984129" y="7008097"/>
                      <a:pt x="5984129" y="7001132"/>
                    </a:cubicBezTo>
                    <a:cubicBezTo>
                      <a:pt x="5984129" y="6994168"/>
                      <a:pt x="5984129" y="6987204"/>
                      <a:pt x="5984129" y="6980239"/>
                    </a:cubicBezTo>
                    <a:cubicBezTo>
                      <a:pt x="5998062" y="6952382"/>
                      <a:pt x="5998062" y="6945417"/>
                      <a:pt x="6018961" y="6931489"/>
                    </a:cubicBezTo>
                    <a:cubicBezTo>
                      <a:pt x="6018961" y="6931489"/>
                      <a:pt x="6018961" y="6931489"/>
                      <a:pt x="6088627" y="6931489"/>
                    </a:cubicBezTo>
                    <a:cubicBezTo>
                      <a:pt x="6095594" y="6931489"/>
                      <a:pt x="6102560" y="6924524"/>
                      <a:pt x="6109527" y="6924524"/>
                    </a:cubicBezTo>
                    <a:cubicBezTo>
                      <a:pt x="6144360" y="6910596"/>
                      <a:pt x="6193126" y="6889703"/>
                      <a:pt x="6214026" y="6868810"/>
                    </a:cubicBezTo>
                    <a:cubicBezTo>
                      <a:pt x="6227959" y="6847917"/>
                      <a:pt x="6241892" y="6820059"/>
                      <a:pt x="6255825" y="6799166"/>
                    </a:cubicBezTo>
                    <a:cubicBezTo>
                      <a:pt x="6269758" y="6771309"/>
                      <a:pt x="6283691" y="6757380"/>
                      <a:pt x="6304591" y="6729523"/>
                    </a:cubicBezTo>
                    <a:cubicBezTo>
                      <a:pt x="6325491" y="6722559"/>
                      <a:pt x="6353357" y="6701666"/>
                      <a:pt x="6388190" y="6680773"/>
                    </a:cubicBezTo>
                    <a:cubicBezTo>
                      <a:pt x="6402123" y="6666844"/>
                      <a:pt x="6416056" y="6659880"/>
                      <a:pt x="6429989" y="6645951"/>
                    </a:cubicBezTo>
                    <a:cubicBezTo>
                      <a:pt x="6457856" y="6632022"/>
                      <a:pt x="6499655" y="6632022"/>
                      <a:pt x="6513588" y="6632022"/>
                    </a:cubicBezTo>
                    <a:close/>
                    <a:moveTo>
                      <a:pt x="6479777" y="6021847"/>
                    </a:moveTo>
                    <a:cubicBezTo>
                      <a:pt x="6490926" y="6021076"/>
                      <a:pt x="6501751" y="6022399"/>
                      <a:pt x="6512142" y="6025928"/>
                    </a:cubicBezTo>
                    <a:cubicBezTo>
                      <a:pt x="6498287" y="6032985"/>
                      <a:pt x="6477503" y="6047101"/>
                      <a:pt x="6456720" y="6047101"/>
                    </a:cubicBezTo>
                    <a:cubicBezTo>
                      <a:pt x="6456720" y="6047101"/>
                      <a:pt x="6456720" y="6047101"/>
                      <a:pt x="6449792" y="6047101"/>
                    </a:cubicBezTo>
                    <a:cubicBezTo>
                      <a:pt x="6442865" y="6047101"/>
                      <a:pt x="6435937" y="6054159"/>
                      <a:pt x="6429009" y="6054159"/>
                    </a:cubicBezTo>
                    <a:cubicBezTo>
                      <a:pt x="6408226" y="6061216"/>
                      <a:pt x="6394370" y="6068274"/>
                      <a:pt x="6387443" y="6089447"/>
                    </a:cubicBezTo>
                    <a:cubicBezTo>
                      <a:pt x="6380515" y="6096505"/>
                      <a:pt x="6366659" y="6096505"/>
                      <a:pt x="6359732" y="6103563"/>
                    </a:cubicBezTo>
                    <a:cubicBezTo>
                      <a:pt x="6345876" y="6103563"/>
                      <a:pt x="6338948" y="6110621"/>
                      <a:pt x="6332021" y="6117678"/>
                    </a:cubicBezTo>
                    <a:cubicBezTo>
                      <a:pt x="6304310" y="6145909"/>
                      <a:pt x="6269671" y="6167083"/>
                      <a:pt x="6241960" y="6181198"/>
                    </a:cubicBezTo>
                    <a:cubicBezTo>
                      <a:pt x="6241960" y="6174140"/>
                      <a:pt x="6235032" y="6174140"/>
                      <a:pt x="6228104" y="6174140"/>
                    </a:cubicBezTo>
                    <a:cubicBezTo>
                      <a:pt x="6241960" y="6145909"/>
                      <a:pt x="6255815" y="6131794"/>
                      <a:pt x="6290454" y="6124736"/>
                    </a:cubicBezTo>
                    <a:cubicBezTo>
                      <a:pt x="6304310" y="6124736"/>
                      <a:pt x="6318165" y="6110621"/>
                      <a:pt x="6318165" y="6103563"/>
                    </a:cubicBezTo>
                    <a:cubicBezTo>
                      <a:pt x="6332021" y="6096505"/>
                      <a:pt x="6338948" y="6096505"/>
                      <a:pt x="6345876" y="6089447"/>
                    </a:cubicBezTo>
                    <a:cubicBezTo>
                      <a:pt x="6352804" y="6089447"/>
                      <a:pt x="6366659" y="6082390"/>
                      <a:pt x="6373587" y="6082390"/>
                    </a:cubicBezTo>
                    <a:cubicBezTo>
                      <a:pt x="6409958" y="6045336"/>
                      <a:pt x="6446328" y="6024163"/>
                      <a:pt x="6479777" y="6021847"/>
                    </a:cubicBezTo>
                    <a:close/>
                    <a:moveTo>
                      <a:pt x="5656204" y="5998785"/>
                    </a:moveTo>
                    <a:cubicBezTo>
                      <a:pt x="5677178" y="5998785"/>
                      <a:pt x="5698152" y="6005626"/>
                      <a:pt x="5712134" y="6019307"/>
                    </a:cubicBezTo>
                    <a:cubicBezTo>
                      <a:pt x="5712134" y="6019307"/>
                      <a:pt x="5712134" y="6019307"/>
                      <a:pt x="5649212" y="6019307"/>
                    </a:cubicBezTo>
                    <a:cubicBezTo>
                      <a:pt x="5593281" y="6019307"/>
                      <a:pt x="5565316" y="6019307"/>
                      <a:pt x="5537351" y="6053510"/>
                    </a:cubicBezTo>
                    <a:cubicBezTo>
                      <a:pt x="5474429" y="6053510"/>
                      <a:pt x="5439472" y="6039829"/>
                      <a:pt x="5425489" y="6026148"/>
                    </a:cubicBezTo>
                    <a:cubicBezTo>
                      <a:pt x="5425489" y="6026148"/>
                      <a:pt x="5425489" y="6026148"/>
                      <a:pt x="5523368" y="6026148"/>
                    </a:cubicBezTo>
                    <a:cubicBezTo>
                      <a:pt x="5551333" y="6026148"/>
                      <a:pt x="5579299" y="6026148"/>
                      <a:pt x="5593281" y="6005626"/>
                    </a:cubicBezTo>
                    <a:cubicBezTo>
                      <a:pt x="5621247" y="5998785"/>
                      <a:pt x="5642221" y="5998785"/>
                      <a:pt x="5656204" y="5998785"/>
                    </a:cubicBezTo>
                    <a:close/>
                    <a:moveTo>
                      <a:pt x="4429417" y="5769464"/>
                    </a:moveTo>
                    <a:cubicBezTo>
                      <a:pt x="4429417" y="5769464"/>
                      <a:pt x="4429417" y="5769464"/>
                      <a:pt x="4485165" y="5769464"/>
                    </a:cubicBezTo>
                    <a:cubicBezTo>
                      <a:pt x="4513038" y="5769464"/>
                      <a:pt x="4554849" y="5783362"/>
                      <a:pt x="4582722" y="5811159"/>
                    </a:cubicBezTo>
                    <a:cubicBezTo>
                      <a:pt x="4624533" y="5832006"/>
                      <a:pt x="4680280" y="5852854"/>
                      <a:pt x="4749964" y="5852854"/>
                    </a:cubicBezTo>
                    <a:cubicBezTo>
                      <a:pt x="4770869" y="5852854"/>
                      <a:pt x="4784806" y="5852854"/>
                      <a:pt x="4805711" y="5852854"/>
                    </a:cubicBezTo>
                    <a:cubicBezTo>
                      <a:pt x="4819648" y="5852854"/>
                      <a:pt x="4833585" y="5852854"/>
                      <a:pt x="4847521" y="5838955"/>
                    </a:cubicBezTo>
                    <a:cubicBezTo>
                      <a:pt x="4875395" y="5838955"/>
                      <a:pt x="4875395" y="5838955"/>
                      <a:pt x="4889332" y="5825057"/>
                    </a:cubicBezTo>
                    <a:cubicBezTo>
                      <a:pt x="4910237" y="5825057"/>
                      <a:pt x="4938111" y="5838955"/>
                      <a:pt x="4965984" y="5845905"/>
                    </a:cubicBezTo>
                    <a:cubicBezTo>
                      <a:pt x="5007795" y="5859803"/>
                      <a:pt x="5035668" y="5859803"/>
                      <a:pt x="5091415" y="5859803"/>
                    </a:cubicBezTo>
                    <a:cubicBezTo>
                      <a:pt x="5091415" y="5859803"/>
                      <a:pt x="5091415" y="5859803"/>
                      <a:pt x="5091415" y="5866752"/>
                    </a:cubicBezTo>
                    <a:cubicBezTo>
                      <a:pt x="5077479" y="5873701"/>
                      <a:pt x="5077479" y="5887599"/>
                      <a:pt x="5077479" y="5901498"/>
                    </a:cubicBezTo>
                    <a:cubicBezTo>
                      <a:pt x="5077479" y="5901498"/>
                      <a:pt x="5077479" y="5901498"/>
                      <a:pt x="5077479" y="5915396"/>
                    </a:cubicBezTo>
                    <a:cubicBezTo>
                      <a:pt x="5077479" y="5915396"/>
                      <a:pt x="5077479" y="5915396"/>
                      <a:pt x="5091415" y="5929294"/>
                    </a:cubicBezTo>
                    <a:cubicBezTo>
                      <a:pt x="5119289" y="5943192"/>
                      <a:pt x="5161099" y="5957091"/>
                      <a:pt x="5188973" y="5957091"/>
                    </a:cubicBezTo>
                    <a:cubicBezTo>
                      <a:pt x="5202910" y="5964040"/>
                      <a:pt x="5209878" y="5964040"/>
                      <a:pt x="5223815" y="5964040"/>
                    </a:cubicBezTo>
                    <a:cubicBezTo>
                      <a:pt x="5244720" y="5970989"/>
                      <a:pt x="5272594" y="5977938"/>
                      <a:pt x="5279562" y="5991836"/>
                    </a:cubicBezTo>
                    <a:cubicBezTo>
                      <a:pt x="5272594" y="5998785"/>
                      <a:pt x="5258657" y="5998785"/>
                      <a:pt x="5244720" y="5998785"/>
                    </a:cubicBezTo>
                    <a:cubicBezTo>
                      <a:pt x="5230783" y="5998785"/>
                      <a:pt x="5209878" y="5998785"/>
                      <a:pt x="5188973" y="5991836"/>
                    </a:cubicBezTo>
                    <a:cubicBezTo>
                      <a:pt x="5182005" y="5991836"/>
                      <a:pt x="5175036" y="5991836"/>
                      <a:pt x="5175036" y="5984887"/>
                    </a:cubicBezTo>
                    <a:cubicBezTo>
                      <a:pt x="5161099" y="5984887"/>
                      <a:pt x="5147163" y="5977938"/>
                      <a:pt x="5133226" y="5977938"/>
                    </a:cubicBezTo>
                    <a:cubicBezTo>
                      <a:pt x="5133226" y="5977938"/>
                      <a:pt x="5133226" y="5977938"/>
                      <a:pt x="5105352" y="5977938"/>
                    </a:cubicBezTo>
                    <a:cubicBezTo>
                      <a:pt x="5098384" y="5977938"/>
                      <a:pt x="5098384" y="5977938"/>
                      <a:pt x="5091415" y="5970989"/>
                    </a:cubicBezTo>
                    <a:cubicBezTo>
                      <a:pt x="5077479" y="5970989"/>
                      <a:pt x="5070510" y="5964040"/>
                      <a:pt x="5049605" y="5964040"/>
                    </a:cubicBezTo>
                    <a:lnTo>
                      <a:pt x="4938111" y="5964040"/>
                    </a:lnTo>
                    <a:cubicBezTo>
                      <a:pt x="4917205" y="5964040"/>
                      <a:pt x="4875395" y="5950141"/>
                      <a:pt x="4833585" y="5936243"/>
                    </a:cubicBezTo>
                    <a:cubicBezTo>
                      <a:pt x="4826616" y="5936243"/>
                      <a:pt x="4819648" y="5936243"/>
                      <a:pt x="4819648" y="5929294"/>
                    </a:cubicBezTo>
                    <a:cubicBezTo>
                      <a:pt x="4819648" y="5929294"/>
                      <a:pt x="4819648" y="5929294"/>
                      <a:pt x="4819648" y="5922345"/>
                    </a:cubicBezTo>
                    <a:cubicBezTo>
                      <a:pt x="4798743" y="5922345"/>
                      <a:pt x="4777837" y="5922345"/>
                      <a:pt x="4763901" y="5915396"/>
                    </a:cubicBezTo>
                    <a:cubicBezTo>
                      <a:pt x="4742995" y="5915396"/>
                      <a:pt x="4729059" y="5908447"/>
                      <a:pt x="4708153" y="5908447"/>
                    </a:cubicBezTo>
                    <a:cubicBezTo>
                      <a:pt x="4708153" y="5908447"/>
                      <a:pt x="4694217" y="5894548"/>
                      <a:pt x="4680280" y="5894548"/>
                    </a:cubicBezTo>
                    <a:cubicBezTo>
                      <a:pt x="4673311" y="5894548"/>
                      <a:pt x="4666343" y="5901498"/>
                      <a:pt x="4659375" y="5901498"/>
                    </a:cubicBezTo>
                    <a:cubicBezTo>
                      <a:pt x="4652406" y="5908447"/>
                      <a:pt x="4645438" y="5908447"/>
                      <a:pt x="4638469" y="5908447"/>
                    </a:cubicBezTo>
                    <a:cubicBezTo>
                      <a:pt x="4638469" y="5908447"/>
                      <a:pt x="4638469" y="5908447"/>
                      <a:pt x="4568785" y="5908447"/>
                    </a:cubicBezTo>
                    <a:cubicBezTo>
                      <a:pt x="4561817" y="5908447"/>
                      <a:pt x="4561817" y="5901498"/>
                      <a:pt x="4561817" y="5901498"/>
                    </a:cubicBezTo>
                    <a:cubicBezTo>
                      <a:pt x="4561817" y="5901498"/>
                      <a:pt x="4561817" y="5901498"/>
                      <a:pt x="4561817" y="5894548"/>
                    </a:cubicBezTo>
                    <a:cubicBezTo>
                      <a:pt x="4561817" y="5894548"/>
                      <a:pt x="4561817" y="5894548"/>
                      <a:pt x="4554849" y="5894548"/>
                    </a:cubicBezTo>
                    <a:cubicBezTo>
                      <a:pt x="4492133" y="5880650"/>
                      <a:pt x="4352765" y="5818108"/>
                      <a:pt x="4338828" y="5790312"/>
                    </a:cubicBezTo>
                    <a:cubicBezTo>
                      <a:pt x="4338828" y="5790312"/>
                      <a:pt x="4338828" y="5790312"/>
                      <a:pt x="4338828" y="5783362"/>
                    </a:cubicBezTo>
                    <a:cubicBezTo>
                      <a:pt x="4345797" y="5783362"/>
                      <a:pt x="4352765" y="5776413"/>
                      <a:pt x="4359733" y="5776413"/>
                    </a:cubicBezTo>
                    <a:cubicBezTo>
                      <a:pt x="4380639" y="5776413"/>
                      <a:pt x="4408512" y="5769464"/>
                      <a:pt x="4429417" y="5769464"/>
                    </a:cubicBezTo>
                    <a:close/>
                    <a:moveTo>
                      <a:pt x="4568600" y="5316037"/>
                    </a:moveTo>
                    <a:cubicBezTo>
                      <a:pt x="4623889" y="5316037"/>
                      <a:pt x="4651534" y="5371909"/>
                      <a:pt x="4651534" y="5406829"/>
                    </a:cubicBezTo>
                    <a:cubicBezTo>
                      <a:pt x="4651534" y="5434765"/>
                      <a:pt x="4651534" y="5448732"/>
                      <a:pt x="4637712" y="5462700"/>
                    </a:cubicBezTo>
                    <a:cubicBezTo>
                      <a:pt x="4623889" y="5490636"/>
                      <a:pt x="4596245" y="5490636"/>
                      <a:pt x="4568600" y="5490636"/>
                    </a:cubicBezTo>
                    <a:cubicBezTo>
                      <a:pt x="4513310" y="5490636"/>
                      <a:pt x="4492576" y="5448732"/>
                      <a:pt x="4492576" y="5406829"/>
                    </a:cubicBezTo>
                    <a:cubicBezTo>
                      <a:pt x="4492576" y="5385877"/>
                      <a:pt x="4506399" y="5357941"/>
                      <a:pt x="4520221" y="5343973"/>
                    </a:cubicBezTo>
                    <a:cubicBezTo>
                      <a:pt x="4534044" y="5330005"/>
                      <a:pt x="4540955" y="5316037"/>
                      <a:pt x="4568600" y="5316037"/>
                    </a:cubicBezTo>
                    <a:close/>
                    <a:moveTo>
                      <a:pt x="5865208" y="5170109"/>
                    </a:moveTo>
                    <a:cubicBezTo>
                      <a:pt x="5865208" y="5170109"/>
                      <a:pt x="5865208" y="5170109"/>
                      <a:pt x="5948777" y="5246686"/>
                    </a:cubicBezTo>
                    <a:cubicBezTo>
                      <a:pt x="5976633" y="5246686"/>
                      <a:pt x="6011453" y="5232763"/>
                      <a:pt x="6032345" y="5225801"/>
                    </a:cubicBezTo>
                    <a:cubicBezTo>
                      <a:pt x="6046273" y="5218840"/>
                      <a:pt x="6060201" y="5211878"/>
                      <a:pt x="6074129" y="5204917"/>
                    </a:cubicBezTo>
                    <a:cubicBezTo>
                      <a:pt x="6088057" y="5204917"/>
                      <a:pt x="6095021" y="5204917"/>
                      <a:pt x="6101985" y="5197955"/>
                    </a:cubicBezTo>
                    <a:cubicBezTo>
                      <a:pt x="6129841" y="5190994"/>
                      <a:pt x="6150733" y="5184032"/>
                      <a:pt x="6178589" y="5184032"/>
                    </a:cubicBezTo>
                    <a:cubicBezTo>
                      <a:pt x="6178589" y="5184032"/>
                      <a:pt x="6178589" y="5184032"/>
                      <a:pt x="6129841" y="5225801"/>
                    </a:cubicBezTo>
                    <a:cubicBezTo>
                      <a:pt x="6101985" y="5239724"/>
                      <a:pt x="6074129" y="5267570"/>
                      <a:pt x="6046273" y="5295417"/>
                    </a:cubicBezTo>
                    <a:cubicBezTo>
                      <a:pt x="6046273" y="5295417"/>
                      <a:pt x="6046273" y="5295417"/>
                      <a:pt x="6046273" y="5316301"/>
                    </a:cubicBezTo>
                    <a:cubicBezTo>
                      <a:pt x="6046273" y="5316301"/>
                      <a:pt x="6046273" y="5316301"/>
                      <a:pt x="6060201" y="5330224"/>
                    </a:cubicBezTo>
                    <a:cubicBezTo>
                      <a:pt x="6060201" y="5337186"/>
                      <a:pt x="6067165" y="5344147"/>
                      <a:pt x="6074129" y="5351109"/>
                    </a:cubicBezTo>
                    <a:cubicBezTo>
                      <a:pt x="6081093" y="5378955"/>
                      <a:pt x="6095021" y="5406801"/>
                      <a:pt x="6115913" y="5434647"/>
                    </a:cubicBezTo>
                    <a:cubicBezTo>
                      <a:pt x="6122877" y="5448570"/>
                      <a:pt x="6129841" y="5462493"/>
                      <a:pt x="6136805" y="5483377"/>
                    </a:cubicBezTo>
                    <a:cubicBezTo>
                      <a:pt x="6143769" y="5497300"/>
                      <a:pt x="6150733" y="5518185"/>
                      <a:pt x="6157697" y="5525146"/>
                    </a:cubicBezTo>
                    <a:cubicBezTo>
                      <a:pt x="6157697" y="5525146"/>
                      <a:pt x="6157697" y="5525146"/>
                      <a:pt x="6171625" y="5566916"/>
                    </a:cubicBezTo>
                    <a:cubicBezTo>
                      <a:pt x="6171625" y="5566916"/>
                      <a:pt x="6171625" y="5566916"/>
                      <a:pt x="6171625" y="5643492"/>
                    </a:cubicBezTo>
                    <a:cubicBezTo>
                      <a:pt x="6143769" y="5643492"/>
                      <a:pt x="6129841" y="5629569"/>
                      <a:pt x="6115913" y="5615646"/>
                    </a:cubicBezTo>
                    <a:cubicBezTo>
                      <a:pt x="6115913" y="5615646"/>
                      <a:pt x="6115913" y="5615646"/>
                      <a:pt x="6095021" y="5594762"/>
                    </a:cubicBezTo>
                    <a:cubicBezTo>
                      <a:pt x="6067165" y="5552993"/>
                      <a:pt x="6039309" y="5497300"/>
                      <a:pt x="6025381" y="5469454"/>
                    </a:cubicBezTo>
                    <a:cubicBezTo>
                      <a:pt x="6018417" y="5462493"/>
                      <a:pt x="6011453" y="5455531"/>
                      <a:pt x="6004489" y="5441608"/>
                    </a:cubicBezTo>
                    <a:cubicBezTo>
                      <a:pt x="5997525" y="5427685"/>
                      <a:pt x="5983597" y="5406801"/>
                      <a:pt x="5983597" y="5392878"/>
                    </a:cubicBezTo>
                    <a:cubicBezTo>
                      <a:pt x="5983597" y="5392878"/>
                      <a:pt x="5983597" y="5392878"/>
                      <a:pt x="5969669" y="5378955"/>
                    </a:cubicBezTo>
                    <a:cubicBezTo>
                      <a:pt x="5969669" y="5378955"/>
                      <a:pt x="5969669" y="5378955"/>
                      <a:pt x="5948777" y="5378955"/>
                    </a:cubicBezTo>
                    <a:cubicBezTo>
                      <a:pt x="5893065" y="5385916"/>
                      <a:pt x="5879137" y="5448570"/>
                      <a:pt x="5872172" y="5504262"/>
                    </a:cubicBezTo>
                    <a:cubicBezTo>
                      <a:pt x="5872172" y="5518185"/>
                      <a:pt x="5865208" y="5525146"/>
                      <a:pt x="5865208" y="5539069"/>
                    </a:cubicBezTo>
                    <a:cubicBezTo>
                      <a:pt x="5865208" y="5587800"/>
                      <a:pt x="5865208" y="5650454"/>
                      <a:pt x="5844316" y="5657415"/>
                    </a:cubicBezTo>
                    <a:cubicBezTo>
                      <a:pt x="5844316" y="5650454"/>
                      <a:pt x="5837352" y="5643492"/>
                      <a:pt x="5830388" y="5643492"/>
                    </a:cubicBezTo>
                    <a:cubicBezTo>
                      <a:pt x="5830388" y="5643492"/>
                      <a:pt x="5830388" y="5643492"/>
                      <a:pt x="5830388" y="5594762"/>
                    </a:cubicBezTo>
                    <a:cubicBezTo>
                      <a:pt x="5844316" y="5566916"/>
                      <a:pt x="5844316" y="5539069"/>
                      <a:pt x="5844316" y="5511223"/>
                    </a:cubicBezTo>
                    <a:cubicBezTo>
                      <a:pt x="5830388" y="5469454"/>
                      <a:pt x="5816460" y="5455531"/>
                      <a:pt x="5788604" y="5427685"/>
                    </a:cubicBezTo>
                    <a:cubicBezTo>
                      <a:pt x="5774676" y="5420724"/>
                      <a:pt x="5774676" y="5406801"/>
                      <a:pt x="5774676" y="5406801"/>
                    </a:cubicBezTo>
                    <a:cubicBezTo>
                      <a:pt x="5774676" y="5392878"/>
                      <a:pt x="5774676" y="5365032"/>
                      <a:pt x="5788604" y="5358070"/>
                    </a:cubicBezTo>
                    <a:cubicBezTo>
                      <a:pt x="5802532" y="5344147"/>
                      <a:pt x="5816460" y="5330224"/>
                      <a:pt x="5830388" y="5302378"/>
                    </a:cubicBezTo>
                    <a:cubicBezTo>
                      <a:pt x="5830388" y="5302378"/>
                      <a:pt x="5830388" y="5302378"/>
                      <a:pt x="5830388" y="5246686"/>
                    </a:cubicBezTo>
                    <a:cubicBezTo>
                      <a:pt x="5837352" y="5232763"/>
                      <a:pt x="5837352" y="5225801"/>
                      <a:pt x="5837352" y="5218840"/>
                    </a:cubicBezTo>
                    <a:cubicBezTo>
                      <a:pt x="5844316" y="5184032"/>
                      <a:pt x="5851280" y="5170109"/>
                      <a:pt x="5865208" y="5170109"/>
                    </a:cubicBezTo>
                    <a:close/>
                    <a:moveTo>
                      <a:pt x="7195940" y="5120594"/>
                    </a:moveTo>
                    <a:cubicBezTo>
                      <a:pt x="7244735" y="5120594"/>
                      <a:pt x="7349295" y="5183448"/>
                      <a:pt x="7363236" y="5225350"/>
                    </a:cubicBezTo>
                    <a:cubicBezTo>
                      <a:pt x="7363236" y="5225350"/>
                      <a:pt x="7363236" y="5225350"/>
                      <a:pt x="7363236" y="5309155"/>
                    </a:cubicBezTo>
                    <a:cubicBezTo>
                      <a:pt x="7363236" y="5337090"/>
                      <a:pt x="7377178" y="5378993"/>
                      <a:pt x="7419002" y="5420895"/>
                    </a:cubicBezTo>
                    <a:cubicBezTo>
                      <a:pt x="7412031" y="5434863"/>
                      <a:pt x="7405061" y="5448830"/>
                      <a:pt x="7398090" y="5469781"/>
                    </a:cubicBezTo>
                    <a:cubicBezTo>
                      <a:pt x="7398090" y="5469781"/>
                      <a:pt x="7398090" y="5469781"/>
                      <a:pt x="7384149" y="5469781"/>
                    </a:cubicBezTo>
                    <a:cubicBezTo>
                      <a:pt x="7377178" y="5469781"/>
                      <a:pt x="7363236" y="5462797"/>
                      <a:pt x="7356266" y="5462797"/>
                    </a:cubicBezTo>
                    <a:cubicBezTo>
                      <a:pt x="7300500" y="5455814"/>
                      <a:pt x="7258676" y="5448830"/>
                      <a:pt x="7251705" y="5406928"/>
                    </a:cubicBezTo>
                    <a:cubicBezTo>
                      <a:pt x="7251705" y="5406928"/>
                      <a:pt x="7251705" y="5406928"/>
                      <a:pt x="7251705" y="5392960"/>
                    </a:cubicBezTo>
                    <a:cubicBezTo>
                      <a:pt x="7251705" y="5378993"/>
                      <a:pt x="7251705" y="5365025"/>
                      <a:pt x="7237764" y="5351058"/>
                    </a:cubicBezTo>
                    <a:cubicBezTo>
                      <a:pt x="7237764" y="5323123"/>
                      <a:pt x="7209881" y="5309155"/>
                      <a:pt x="7181998" y="5295188"/>
                    </a:cubicBezTo>
                    <a:cubicBezTo>
                      <a:pt x="7181998" y="5281220"/>
                      <a:pt x="7175027" y="5281220"/>
                      <a:pt x="7168057" y="5274237"/>
                    </a:cubicBezTo>
                    <a:cubicBezTo>
                      <a:pt x="7161086" y="5274237"/>
                      <a:pt x="7161086" y="5267253"/>
                      <a:pt x="7154115" y="5267253"/>
                    </a:cubicBezTo>
                    <a:cubicBezTo>
                      <a:pt x="7140174" y="5239318"/>
                      <a:pt x="7140174" y="5197415"/>
                      <a:pt x="7154115" y="5162497"/>
                    </a:cubicBezTo>
                    <a:cubicBezTo>
                      <a:pt x="7161086" y="5162497"/>
                      <a:pt x="7161086" y="5155513"/>
                      <a:pt x="7168057" y="5148529"/>
                    </a:cubicBezTo>
                    <a:cubicBezTo>
                      <a:pt x="7175027" y="5134562"/>
                      <a:pt x="7181998" y="5127578"/>
                      <a:pt x="7195940" y="5120594"/>
                    </a:cubicBezTo>
                    <a:close/>
                    <a:moveTo>
                      <a:pt x="6011822" y="4974666"/>
                    </a:moveTo>
                    <a:cubicBezTo>
                      <a:pt x="6018771" y="4974666"/>
                      <a:pt x="6025720" y="4981616"/>
                      <a:pt x="6032669" y="4981616"/>
                    </a:cubicBezTo>
                    <a:cubicBezTo>
                      <a:pt x="6046567" y="4981616"/>
                      <a:pt x="6053516" y="4981616"/>
                      <a:pt x="6060465" y="4981616"/>
                    </a:cubicBezTo>
                    <a:cubicBezTo>
                      <a:pt x="6102160" y="4995516"/>
                      <a:pt x="6171651" y="4995516"/>
                      <a:pt x="6227244" y="4995516"/>
                    </a:cubicBezTo>
                    <a:cubicBezTo>
                      <a:pt x="6234193" y="4995516"/>
                      <a:pt x="6248091" y="4995516"/>
                      <a:pt x="6255040" y="4995516"/>
                    </a:cubicBezTo>
                    <a:cubicBezTo>
                      <a:pt x="6268939" y="4995516"/>
                      <a:pt x="6275888" y="4988566"/>
                      <a:pt x="6282837" y="4988566"/>
                    </a:cubicBezTo>
                    <a:cubicBezTo>
                      <a:pt x="6296735" y="4988566"/>
                      <a:pt x="6303684" y="4995516"/>
                      <a:pt x="6303684" y="4995516"/>
                    </a:cubicBezTo>
                    <a:cubicBezTo>
                      <a:pt x="6303684" y="5009415"/>
                      <a:pt x="6275888" y="5016365"/>
                      <a:pt x="6241142" y="5016365"/>
                    </a:cubicBezTo>
                    <a:lnTo>
                      <a:pt x="6213346" y="5016365"/>
                    </a:lnTo>
                    <a:cubicBezTo>
                      <a:pt x="6199448" y="5016365"/>
                      <a:pt x="6157753" y="5016365"/>
                      <a:pt x="6129956" y="5002466"/>
                    </a:cubicBezTo>
                    <a:cubicBezTo>
                      <a:pt x="6129956" y="5002466"/>
                      <a:pt x="6129956" y="5002466"/>
                      <a:pt x="5942330" y="5002466"/>
                    </a:cubicBezTo>
                    <a:cubicBezTo>
                      <a:pt x="5942330" y="5002466"/>
                      <a:pt x="5935381" y="5002466"/>
                      <a:pt x="5928432" y="5009415"/>
                    </a:cubicBezTo>
                    <a:cubicBezTo>
                      <a:pt x="5942330" y="4995516"/>
                      <a:pt x="5963178" y="4981616"/>
                      <a:pt x="5984025" y="4981616"/>
                    </a:cubicBezTo>
                    <a:cubicBezTo>
                      <a:pt x="5990974" y="4981616"/>
                      <a:pt x="5997923" y="4974666"/>
                      <a:pt x="6011822" y="4974666"/>
                    </a:cubicBezTo>
                    <a:close/>
                    <a:moveTo>
                      <a:pt x="3252167" y="4508212"/>
                    </a:moveTo>
                    <a:cubicBezTo>
                      <a:pt x="3252167" y="4508212"/>
                      <a:pt x="3252167" y="4508212"/>
                      <a:pt x="3273077" y="4508212"/>
                    </a:cubicBezTo>
                    <a:cubicBezTo>
                      <a:pt x="3287017" y="4522141"/>
                      <a:pt x="3300957" y="4536070"/>
                      <a:pt x="3328837" y="4536070"/>
                    </a:cubicBezTo>
                    <a:cubicBezTo>
                      <a:pt x="3328837" y="4536070"/>
                      <a:pt x="3328837" y="4536070"/>
                      <a:pt x="3426417" y="4536070"/>
                    </a:cubicBezTo>
                    <a:cubicBezTo>
                      <a:pt x="3454297" y="4550000"/>
                      <a:pt x="3482177" y="4577858"/>
                      <a:pt x="3503087" y="4605716"/>
                    </a:cubicBezTo>
                    <a:cubicBezTo>
                      <a:pt x="3517027" y="4633574"/>
                      <a:pt x="3544907" y="4661433"/>
                      <a:pt x="3572787" y="4689291"/>
                    </a:cubicBezTo>
                    <a:cubicBezTo>
                      <a:pt x="3586727" y="4703220"/>
                      <a:pt x="3600667" y="4717149"/>
                      <a:pt x="3614607" y="4717149"/>
                    </a:cubicBezTo>
                    <a:cubicBezTo>
                      <a:pt x="3642487" y="4731078"/>
                      <a:pt x="3656427" y="4738043"/>
                      <a:pt x="3670367" y="4751972"/>
                    </a:cubicBezTo>
                    <a:cubicBezTo>
                      <a:pt x="3670367" y="4751972"/>
                      <a:pt x="3670367" y="4751972"/>
                      <a:pt x="3712187" y="4793759"/>
                    </a:cubicBezTo>
                    <a:cubicBezTo>
                      <a:pt x="3726127" y="4800724"/>
                      <a:pt x="3733097" y="4814653"/>
                      <a:pt x="3747037" y="4821618"/>
                    </a:cubicBezTo>
                    <a:cubicBezTo>
                      <a:pt x="3754007" y="4828582"/>
                      <a:pt x="3760977" y="4835547"/>
                      <a:pt x="3767947" y="4835547"/>
                    </a:cubicBezTo>
                    <a:cubicBezTo>
                      <a:pt x="3781887" y="4849476"/>
                      <a:pt x="3809767" y="4863405"/>
                      <a:pt x="3837647" y="4877334"/>
                    </a:cubicBezTo>
                    <a:cubicBezTo>
                      <a:pt x="3851587" y="4884299"/>
                      <a:pt x="3858557" y="4891263"/>
                      <a:pt x="3872497" y="4898228"/>
                    </a:cubicBezTo>
                    <a:cubicBezTo>
                      <a:pt x="3879467" y="4905192"/>
                      <a:pt x="3893407" y="4912157"/>
                      <a:pt x="3900377" y="4919122"/>
                    </a:cubicBezTo>
                    <a:cubicBezTo>
                      <a:pt x="3900377" y="4919122"/>
                      <a:pt x="3900377" y="4919122"/>
                      <a:pt x="3907347" y="4919122"/>
                    </a:cubicBezTo>
                    <a:cubicBezTo>
                      <a:pt x="3928257" y="4919122"/>
                      <a:pt x="3942197" y="4933051"/>
                      <a:pt x="3956137" y="4946980"/>
                    </a:cubicBezTo>
                    <a:cubicBezTo>
                      <a:pt x="3970077" y="4953944"/>
                      <a:pt x="3977047" y="4960909"/>
                      <a:pt x="3990987" y="4960909"/>
                    </a:cubicBezTo>
                    <a:cubicBezTo>
                      <a:pt x="4046747" y="4995732"/>
                      <a:pt x="4095537" y="5023590"/>
                      <a:pt x="4095537" y="5079307"/>
                    </a:cubicBezTo>
                    <a:cubicBezTo>
                      <a:pt x="4095537" y="5079307"/>
                      <a:pt x="4095537" y="5079307"/>
                      <a:pt x="4095537" y="5148952"/>
                    </a:cubicBezTo>
                    <a:cubicBezTo>
                      <a:pt x="4095537" y="5176811"/>
                      <a:pt x="4123417" y="5190740"/>
                      <a:pt x="4151297" y="5204669"/>
                    </a:cubicBezTo>
                    <a:cubicBezTo>
                      <a:pt x="4151297" y="5211633"/>
                      <a:pt x="4158267" y="5218598"/>
                      <a:pt x="4165237" y="5218598"/>
                    </a:cubicBezTo>
                    <a:cubicBezTo>
                      <a:pt x="4165237" y="5225562"/>
                      <a:pt x="4172207" y="5225562"/>
                      <a:pt x="4179177" y="5232527"/>
                    </a:cubicBezTo>
                    <a:cubicBezTo>
                      <a:pt x="4179177" y="5239492"/>
                      <a:pt x="4179177" y="5246456"/>
                      <a:pt x="4186147" y="5253421"/>
                    </a:cubicBezTo>
                    <a:cubicBezTo>
                      <a:pt x="4186147" y="5260385"/>
                      <a:pt x="4186147" y="5267350"/>
                      <a:pt x="4186147" y="5267350"/>
                    </a:cubicBezTo>
                    <a:cubicBezTo>
                      <a:pt x="4186147" y="5267350"/>
                      <a:pt x="4186147" y="5267350"/>
                      <a:pt x="4186147" y="5274314"/>
                    </a:cubicBezTo>
                    <a:cubicBezTo>
                      <a:pt x="4186147" y="5274314"/>
                      <a:pt x="4186147" y="5274314"/>
                      <a:pt x="4193117" y="5274314"/>
                    </a:cubicBezTo>
                    <a:cubicBezTo>
                      <a:pt x="4193117" y="5274314"/>
                      <a:pt x="4200087" y="5281279"/>
                      <a:pt x="4200087" y="5288244"/>
                    </a:cubicBezTo>
                    <a:cubicBezTo>
                      <a:pt x="4214027" y="5302173"/>
                      <a:pt x="4234937" y="5330031"/>
                      <a:pt x="4262817" y="5330031"/>
                    </a:cubicBezTo>
                    <a:cubicBezTo>
                      <a:pt x="4269787" y="5330031"/>
                      <a:pt x="4276757" y="5330031"/>
                      <a:pt x="4283727" y="5330031"/>
                    </a:cubicBezTo>
                    <a:cubicBezTo>
                      <a:pt x="4304637" y="5330031"/>
                      <a:pt x="4318577" y="5316102"/>
                      <a:pt x="4325547" y="5309137"/>
                    </a:cubicBezTo>
                    <a:cubicBezTo>
                      <a:pt x="4325547" y="5302173"/>
                      <a:pt x="4332517" y="5302173"/>
                      <a:pt x="4332517" y="5302173"/>
                    </a:cubicBezTo>
                    <a:cubicBezTo>
                      <a:pt x="4332517" y="5302173"/>
                      <a:pt x="4332517" y="5302173"/>
                      <a:pt x="4346457" y="5288244"/>
                    </a:cubicBezTo>
                    <a:cubicBezTo>
                      <a:pt x="4367367" y="5302173"/>
                      <a:pt x="4409187" y="5364854"/>
                      <a:pt x="4409187" y="5378783"/>
                    </a:cubicBezTo>
                    <a:cubicBezTo>
                      <a:pt x="4409187" y="5378783"/>
                      <a:pt x="4409187" y="5378783"/>
                      <a:pt x="4395247" y="5392712"/>
                    </a:cubicBezTo>
                    <a:cubicBezTo>
                      <a:pt x="4367367" y="5406641"/>
                      <a:pt x="4339487" y="5434499"/>
                      <a:pt x="4325547" y="5462358"/>
                    </a:cubicBezTo>
                    <a:cubicBezTo>
                      <a:pt x="4318577" y="5490216"/>
                      <a:pt x="4318577" y="5518074"/>
                      <a:pt x="4325547" y="5545932"/>
                    </a:cubicBezTo>
                    <a:cubicBezTo>
                      <a:pt x="4325547" y="5559862"/>
                      <a:pt x="4325547" y="5573791"/>
                      <a:pt x="4325547" y="5587720"/>
                    </a:cubicBezTo>
                    <a:cubicBezTo>
                      <a:pt x="4325547" y="5622543"/>
                      <a:pt x="4325547" y="5650401"/>
                      <a:pt x="4311607" y="5664330"/>
                    </a:cubicBezTo>
                    <a:cubicBezTo>
                      <a:pt x="4311607" y="5664330"/>
                      <a:pt x="4311607" y="5664330"/>
                      <a:pt x="4304637" y="5664330"/>
                    </a:cubicBezTo>
                    <a:cubicBezTo>
                      <a:pt x="4304637" y="5664330"/>
                      <a:pt x="4304637" y="5664330"/>
                      <a:pt x="4297667" y="5664330"/>
                    </a:cubicBezTo>
                    <a:cubicBezTo>
                      <a:pt x="4290697" y="5678259"/>
                      <a:pt x="4262817" y="5678259"/>
                      <a:pt x="4248877" y="5678259"/>
                    </a:cubicBezTo>
                    <a:cubicBezTo>
                      <a:pt x="4248877" y="5678259"/>
                      <a:pt x="4248877" y="5678259"/>
                      <a:pt x="4220997" y="5678259"/>
                    </a:cubicBezTo>
                    <a:cubicBezTo>
                      <a:pt x="4116447" y="5594684"/>
                      <a:pt x="4032807" y="5525039"/>
                      <a:pt x="3949167" y="5434499"/>
                    </a:cubicBezTo>
                    <a:cubicBezTo>
                      <a:pt x="3935227" y="5406641"/>
                      <a:pt x="3921287" y="5392712"/>
                      <a:pt x="3907347" y="5392712"/>
                    </a:cubicBezTo>
                    <a:cubicBezTo>
                      <a:pt x="3900377" y="5378783"/>
                      <a:pt x="3893407" y="5364854"/>
                      <a:pt x="3879467" y="5357889"/>
                    </a:cubicBezTo>
                    <a:cubicBezTo>
                      <a:pt x="3872497" y="5343960"/>
                      <a:pt x="3858557" y="5336996"/>
                      <a:pt x="3851587" y="5323066"/>
                    </a:cubicBezTo>
                    <a:cubicBezTo>
                      <a:pt x="3844617" y="5309137"/>
                      <a:pt x="3844617" y="5302173"/>
                      <a:pt x="3844617" y="5288244"/>
                    </a:cubicBezTo>
                    <a:cubicBezTo>
                      <a:pt x="3837647" y="5274314"/>
                      <a:pt x="3837647" y="5260385"/>
                      <a:pt x="3823707" y="5253421"/>
                    </a:cubicBezTo>
                    <a:cubicBezTo>
                      <a:pt x="3809767" y="5211633"/>
                      <a:pt x="3795827" y="5183775"/>
                      <a:pt x="3774917" y="5148952"/>
                    </a:cubicBezTo>
                    <a:cubicBezTo>
                      <a:pt x="3760977" y="5121094"/>
                      <a:pt x="3740067" y="5107165"/>
                      <a:pt x="3719157" y="5093236"/>
                    </a:cubicBezTo>
                    <a:cubicBezTo>
                      <a:pt x="3691277" y="5065377"/>
                      <a:pt x="3677337" y="5051448"/>
                      <a:pt x="3663397" y="5023590"/>
                    </a:cubicBezTo>
                    <a:cubicBezTo>
                      <a:pt x="3656427" y="5016626"/>
                      <a:pt x="3649457" y="5009661"/>
                      <a:pt x="3649457" y="4995732"/>
                    </a:cubicBezTo>
                    <a:cubicBezTo>
                      <a:pt x="3642487" y="4988767"/>
                      <a:pt x="3642487" y="4974838"/>
                      <a:pt x="3635517" y="4967874"/>
                    </a:cubicBezTo>
                    <a:cubicBezTo>
                      <a:pt x="3628547" y="4953944"/>
                      <a:pt x="3628547" y="4940015"/>
                      <a:pt x="3621577" y="4933051"/>
                    </a:cubicBezTo>
                    <a:cubicBezTo>
                      <a:pt x="3621577" y="4919122"/>
                      <a:pt x="3614607" y="4905192"/>
                      <a:pt x="3607637" y="4884299"/>
                    </a:cubicBezTo>
                    <a:cubicBezTo>
                      <a:pt x="3600667" y="4870370"/>
                      <a:pt x="3579757" y="4856441"/>
                      <a:pt x="3565817" y="4842511"/>
                    </a:cubicBezTo>
                    <a:cubicBezTo>
                      <a:pt x="3558847" y="4842511"/>
                      <a:pt x="3558847" y="4835547"/>
                      <a:pt x="3551877" y="4828582"/>
                    </a:cubicBezTo>
                    <a:cubicBezTo>
                      <a:pt x="3523997" y="4814653"/>
                      <a:pt x="3510057" y="4807689"/>
                      <a:pt x="3510057" y="4807689"/>
                    </a:cubicBezTo>
                    <a:cubicBezTo>
                      <a:pt x="3503087" y="4800724"/>
                      <a:pt x="3503087" y="4793759"/>
                      <a:pt x="3496117" y="4786795"/>
                    </a:cubicBezTo>
                    <a:cubicBezTo>
                      <a:pt x="3496117" y="4779830"/>
                      <a:pt x="3489147" y="4772866"/>
                      <a:pt x="3482177" y="4765901"/>
                    </a:cubicBezTo>
                    <a:cubicBezTo>
                      <a:pt x="3482177" y="4758937"/>
                      <a:pt x="3482177" y="4751972"/>
                      <a:pt x="3475207" y="4745007"/>
                    </a:cubicBezTo>
                    <a:cubicBezTo>
                      <a:pt x="3475207" y="4738043"/>
                      <a:pt x="3468237" y="4731078"/>
                      <a:pt x="3468237" y="4724114"/>
                    </a:cubicBezTo>
                    <a:cubicBezTo>
                      <a:pt x="3461267" y="4717149"/>
                      <a:pt x="3454297" y="4717149"/>
                      <a:pt x="3454297" y="4710185"/>
                    </a:cubicBezTo>
                    <a:cubicBezTo>
                      <a:pt x="3419447" y="4689291"/>
                      <a:pt x="3398537" y="4675362"/>
                      <a:pt x="3370657" y="4640539"/>
                    </a:cubicBezTo>
                    <a:cubicBezTo>
                      <a:pt x="3300957" y="4598751"/>
                      <a:pt x="3266107" y="4556964"/>
                      <a:pt x="3252167" y="4508212"/>
                    </a:cubicBezTo>
                    <a:close/>
                    <a:moveTo>
                      <a:pt x="5530999" y="4320586"/>
                    </a:moveTo>
                    <a:cubicBezTo>
                      <a:pt x="5551901" y="4320586"/>
                      <a:pt x="5593704" y="4390232"/>
                      <a:pt x="5593704" y="4432019"/>
                    </a:cubicBezTo>
                    <a:cubicBezTo>
                      <a:pt x="5593704" y="4432019"/>
                      <a:pt x="5593704" y="4432019"/>
                      <a:pt x="5607638" y="4432019"/>
                    </a:cubicBezTo>
                    <a:cubicBezTo>
                      <a:pt x="5614605" y="4452913"/>
                      <a:pt x="5635507" y="4466842"/>
                      <a:pt x="5642474" y="4473807"/>
                    </a:cubicBezTo>
                    <a:cubicBezTo>
                      <a:pt x="5649441" y="4480771"/>
                      <a:pt x="5656409" y="4480771"/>
                      <a:pt x="5663376" y="4487736"/>
                    </a:cubicBezTo>
                    <a:cubicBezTo>
                      <a:pt x="5670343" y="4494700"/>
                      <a:pt x="5677310" y="4494700"/>
                      <a:pt x="5684277" y="4494700"/>
                    </a:cubicBezTo>
                    <a:cubicBezTo>
                      <a:pt x="5698212" y="4501665"/>
                      <a:pt x="5705179" y="4501665"/>
                      <a:pt x="5712146" y="4508629"/>
                    </a:cubicBezTo>
                    <a:cubicBezTo>
                      <a:pt x="5684277" y="4536488"/>
                      <a:pt x="5670343" y="4550417"/>
                      <a:pt x="5656409" y="4578275"/>
                    </a:cubicBezTo>
                    <a:cubicBezTo>
                      <a:pt x="5656409" y="4585240"/>
                      <a:pt x="5649441" y="4592204"/>
                      <a:pt x="5642474" y="4599169"/>
                    </a:cubicBezTo>
                    <a:cubicBezTo>
                      <a:pt x="5614605" y="4633992"/>
                      <a:pt x="5579770" y="4682744"/>
                      <a:pt x="5593704" y="4773283"/>
                    </a:cubicBezTo>
                    <a:cubicBezTo>
                      <a:pt x="5607638" y="4801141"/>
                      <a:pt x="5621573" y="4842929"/>
                      <a:pt x="5635507" y="4877751"/>
                    </a:cubicBezTo>
                    <a:cubicBezTo>
                      <a:pt x="5635507" y="4877751"/>
                      <a:pt x="5635507" y="4877751"/>
                      <a:pt x="5635507" y="4884716"/>
                    </a:cubicBezTo>
                    <a:cubicBezTo>
                      <a:pt x="5649441" y="4898645"/>
                      <a:pt x="5663376" y="4905610"/>
                      <a:pt x="5670343" y="4933468"/>
                    </a:cubicBezTo>
                    <a:cubicBezTo>
                      <a:pt x="5670343" y="4933468"/>
                      <a:pt x="5670343" y="4933468"/>
                      <a:pt x="5677310" y="4940433"/>
                    </a:cubicBezTo>
                    <a:cubicBezTo>
                      <a:pt x="5684277" y="4940433"/>
                      <a:pt x="5698212" y="4947397"/>
                      <a:pt x="5698212" y="4947397"/>
                    </a:cubicBezTo>
                    <a:cubicBezTo>
                      <a:pt x="5698212" y="4961326"/>
                      <a:pt x="5677310" y="4968291"/>
                      <a:pt x="5663376" y="4968291"/>
                    </a:cubicBezTo>
                    <a:cubicBezTo>
                      <a:pt x="5635507" y="4982220"/>
                      <a:pt x="5607638" y="4996149"/>
                      <a:pt x="5593704" y="5030972"/>
                    </a:cubicBezTo>
                    <a:cubicBezTo>
                      <a:pt x="5579770" y="5065795"/>
                      <a:pt x="5579770" y="5086688"/>
                      <a:pt x="5579770" y="5093653"/>
                    </a:cubicBezTo>
                    <a:cubicBezTo>
                      <a:pt x="5579770" y="5093653"/>
                      <a:pt x="5579770" y="5093653"/>
                      <a:pt x="5579770" y="5149370"/>
                    </a:cubicBezTo>
                    <a:cubicBezTo>
                      <a:pt x="5579770" y="5163299"/>
                      <a:pt x="5565835" y="5177228"/>
                      <a:pt x="5537966" y="5191157"/>
                    </a:cubicBezTo>
                    <a:cubicBezTo>
                      <a:pt x="5537966" y="5191157"/>
                      <a:pt x="5530999" y="5198121"/>
                      <a:pt x="5524032" y="5198121"/>
                    </a:cubicBezTo>
                    <a:cubicBezTo>
                      <a:pt x="5510098" y="5212051"/>
                      <a:pt x="5482229" y="5232944"/>
                      <a:pt x="5468294" y="5274732"/>
                    </a:cubicBezTo>
                    <a:cubicBezTo>
                      <a:pt x="5454360" y="5302590"/>
                      <a:pt x="5454360" y="5330448"/>
                      <a:pt x="5454360" y="5358306"/>
                    </a:cubicBezTo>
                    <a:cubicBezTo>
                      <a:pt x="5454360" y="5393129"/>
                      <a:pt x="5454360" y="5434917"/>
                      <a:pt x="5447393" y="5462775"/>
                    </a:cubicBezTo>
                    <a:cubicBezTo>
                      <a:pt x="5419524" y="5462775"/>
                      <a:pt x="5405590" y="5462775"/>
                      <a:pt x="5377721" y="5476704"/>
                    </a:cubicBezTo>
                    <a:cubicBezTo>
                      <a:pt x="5377721" y="5476704"/>
                      <a:pt x="5377721" y="5476704"/>
                      <a:pt x="5363786" y="5476704"/>
                    </a:cubicBezTo>
                    <a:cubicBezTo>
                      <a:pt x="5349852" y="5476704"/>
                      <a:pt x="5349852" y="5476704"/>
                      <a:pt x="5349852" y="5490633"/>
                    </a:cubicBezTo>
                    <a:cubicBezTo>
                      <a:pt x="5349852" y="5490633"/>
                      <a:pt x="5349852" y="5490633"/>
                      <a:pt x="5321983" y="5490633"/>
                    </a:cubicBezTo>
                    <a:cubicBezTo>
                      <a:pt x="5315016" y="5490633"/>
                      <a:pt x="5287147" y="5476704"/>
                      <a:pt x="5273213" y="5462775"/>
                    </a:cubicBezTo>
                    <a:cubicBezTo>
                      <a:pt x="5266246" y="5455810"/>
                      <a:pt x="5245344" y="5441881"/>
                      <a:pt x="5224443" y="5434917"/>
                    </a:cubicBezTo>
                    <a:cubicBezTo>
                      <a:pt x="5210508" y="5427952"/>
                      <a:pt x="5203541" y="5427952"/>
                      <a:pt x="5189607" y="5420988"/>
                    </a:cubicBezTo>
                    <a:cubicBezTo>
                      <a:pt x="5175672" y="5407058"/>
                      <a:pt x="5161738" y="5407058"/>
                      <a:pt x="5133869" y="5407058"/>
                    </a:cubicBezTo>
                    <a:cubicBezTo>
                      <a:pt x="5119935" y="5407058"/>
                      <a:pt x="5106000" y="5407058"/>
                      <a:pt x="5078132" y="5420988"/>
                    </a:cubicBezTo>
                    <a:cubicBezTo>
                      <a:pt x="5071164" y="5420988"/>
                      <a:pt x="5071164" y="5420988"/>
                      <a:pt x="5064197" y="5427952"/>
                    </a:cubicBezTo>
                    <a:cubicBezTo>
                      <a:pt x="5064197" y="5427952"/>
                      <a:pt x="5057230" y="5434917"/>
                      <a:pt x="5043296" y="5434917"/>
                    </a:cubicBezTo>
                    <a:cubicBezTo>
                      <a:pt x="5043296" y="5434917"/>
                      <a:pt x="5043296" y="5434917"/>
                      <a:pt x="5015427" y="5407058"/>
                    </a:cubicBezTo>
                    <a:cubicBezTo>
                      <a:pt x="5008460" y="5407058"/>
                      <a:pt x="5001492" y="5407058"/>
                      <a:pt x="4994525" y="5400094"/>
                    </a:cubicBezTo>
                    <a:cubicBezTo>
                      <a:pt x="4987558" y="5400094"/>
                      <a:pt x="4980591" y="5393129"/>
                      <a:pt x="4973624" y="5393129"/>
                    </a:cubicBezTo>
                    <a:cubicBezTo>
                      <a:pt x="4973624" y="5393129"/>
                      <a:pt x="4973624" y="5393129"/>
                      <a:pt x="4931820" y="5393129"/>
                    </a:cubicBezTo>
                    <a:cubicBezTo>
                      <a:pt x="4917886" y="5379200"/>
                      <a:pt x="4903952" y="5379200"/>
                      <a:pt x="4890017" y="5379200"/>
                    </a:cubicBezTo>
                    <a:cubicBezTo>
                      <a:pt x="4890017" y="5379200"/>
                      <a:pt x="4890017" y="5379200"/>
                      <a:pt x="4883050" y="5379200"/>
                    </a:cubicBezTo>
                    <a:cubicBezTo>
                      <a:pt x="4862149" y="5372236"/>
                      <a:pt x="4855181" y="5351342"/>
                      <a:pt x="4848214" y="5330448"/>
                    </a:cubicBezTo>
                    <a:cubicBezTo>
                      <a:pt x="4848214" y="5316519"/>
                      <a:pt x="4848214" y="5309555"/>
                      <a:pt x="4841247" y="5302590"/>
                    </a:cubicBezTo>
                    <a:cubicBezTo>
                      <a:pt x="4841247" y="5302590"/>
                      <a:pt x="4841247" y="5302590"/>
                      <a:pt x="4841247" y="5260803"/>
                    </a:cubicBezTo>
                    <a:cubicBezTo>
                      <a:pt x="4834280" y="5246873"/>
                      <a:pt x="4827313" y="5232944"/>
                      <a:pt x="4820345" y="5225980"/>
                    </a:cubicBezTo>
                    <a:cubicBezTo>
                      <a:pt x="4813378" y="5212051"/>
                      <a:pt x="4806411" y="5205086"/>
                      <a:pt x="4799444" y="5191157"/>
                    </a:cubicBezTo>
                    <a:cubicBezTo>
                      <a:pt x="4771575" y="5177228"/>
                      <a:pt x="4757641" y="5163299"/>
                      <a:pt x="4743706" y="5149370"/>
                    </a:cubicBezTo>
                    <a:cubicBezTo>
                      <a:pt x="4722805" y="5093653"/>
                      <a:pt x="4708870" y="4989185"/>
                      <a:pt x="4729772" y="4933468"/>
                    </a:cubicBezTo>
                    <a:cubicBezTo>
                      <a:pt x="4743706" y="4919539"/>
                      <a:pt x="4757641" y="4912574"/>
                      <a:pt x="4771575" y="4912574"/>
                    </a:cubicBezTo>
                    <a:cubicBezTo>
                      <a:pt x="4771575" y="4912574"/>
                      <a:pt x="4771575" y="4912574"/>
                      <a:pt x="4820345" y="4912574"/>
                    </a:cubicBezTo>
                    <a:cubicBezTo>
                      <a:pt x="4841247" y="4926503"/>
                      <a:pt x="4869116" y="4926503"/>
                      <a:pt x="4890017" y="4926503"/>
                    </a:cubicBezTo>
                    <a:cubicBezTo>
                      <a:pt x="4890017" y="4926503"/>
                      <a:pt x="4890017" y="4926503"/>
                      <a:pt x="4896984" y="4926503"/>
                    </a:cubicBezTo>
                    <a:cubicBezTo>
                      <a:pt x="4938788" y="4905610"/>
                      <a:pt x="4952722" y="4877751"/>
                      <a:pt x="4959689" y="4842929"/>
                    </a:cubicBezTo>
                    <a:cubicBezTo>
                      <a:pt x="4966656" y="4835964"/>
                      <a:pt x="4973624" y="4829000"/>
                      <a:pt x="4973624" y="4822035"/>
                    </a:cubicBezTo>
                    <a:cubicBezTo>
                      <a:pt x="4980591" y="4815070"/>
                      <a:pt x="4980591" y="4808106"/>
                      <a:pt x="4987558" y="4801141"/>
                    </a:cubicBezTo>
                    <a:cubicBezTo>
                      <a:pt x="4987558" y="4801141"/>
                      <a:pt x="4987558" y="4801141"/>
                      <a:pt x="5029361" y="4801141"/>
                    </a:cubicBezTo>
                    <a:cubicBezTo>
                      <a:pt x="5043296" y="4787212"/>
                      <a:pt x="5071164" y="4787212"/>
                      <a:pt x="5092066" y="4787212"/>
                    </a:cubicBezTo>
                    <a:cubicBezTo>
                      <a:pt x="5092066" y="4787212"/>
                      <a:pt x="5092066" y="4787212"/>
                      <a:pt x="5099033" y="4787212"/>
                    </a:cubicBezTo>
                    <a:cubicBezTo>
                      <a:pt x="5140836" y="4759354"/>
                      <a:pt x="5168705" y="4731496"/>
                      <a:pt x="5189607" y="4703637"/>
                    </a:cubicBezTo>
                    <a:cubicBezTo>
                      <a:pt x="5189607" y="4703637"/>
                      <a:pt x="5189607" y="4703637"/>
                      <a:pt x="5196574" y="4703637"/>
                    </a:cubicBezTo>
                    <a:cubicBezTo>
                      <a:pt x="5196574" y="4703637"/>
                      <a:pt x="5196574" y="4703637"/>
                      <a:pt x="5196574" y="4689708"/>
                    </a:cubicBezTo>
                    <a:cubicBezTo>
                      <a:pt x="5203541" y="4675779"/>
                      <a:pt x="5217475" y="4661850"/>
                      <a:pt x="5217475" y="4647921"/>
                    </a:cubicBezTo>
                    <a:cubicBezTo>
                      <a:pt x="5231410" y="4627027"/>
                      <a:pt x="5245344" y="4620062"/>
                      <a:pt x="5259279" y="4606133"/>
                    </a:cubicBezTo>
                    <a:cubicBezTo>
                      <a:pt x="5266246" y="4606133"/>
                      <a:pt x="5266246" y="4599169"/>
                      <a:pt x="5273213" y="4599169"/>
                    </a:cubicBezTo>
                    <a:cubicBezTo>
                      <a:pt x="5287147" y="4592204"/>
                      <a:pt x="5301082" y="4585240"/>
                      <a:pt x="5315016" y="4571310"/>
                    </a:cubicBezTo>
                    <a:cubicBezTo>
                      <a:pt x="5328951" y="4571310"/>
                      <a:pt x="5342885" y="4564346"/>
                      <a:pt x="5349852" y="4557381"/>
                    </a:cubicBezTo>
                    <a:cubicBezTo>
                      <a:pt x="5356819" y="4557381"/>
                      <a:pt x="5363786" y="4557381"/>
                      <a:pt x="5363786" y="4557381"/>
                    </a:cubicBezTo>
                    <a:cubicBezTo>
                      <a:pt x="5363786" y="4557381"/>
                      <a:pt x="5363786" y="4557381"/>
                      <a:pt x="5370754" y="4557381"/>
                    </a:cubicBezTo>
                    <a:cubicBezTo>
                      <a:pt x="5398622" y="4522559"/>
                      <a:pt x="5419524" y="4487736"/>
                      <a:pt x="5440426" y="4452913"/>
                    </a:cubicBezTo>
                    <a:cubicBezTo>
                      <a:pt x="5447393" y="4438984"/>
                      <a:pt x="5454360" y="4425055"/>
                      <a:pt x="5461327" y="4418090"/>
                    </a:cubicBezTo>
                    <a:cubicBezTo>
                      <a:pt x="5461327" y="4418090"/>
                      <a:pt x="5461327" y="4418090"/>
                      <a:pt x="5503130" y="4334515"/>
                    </a:cubicBezTo>
                    <a:cubicBezTo>
                      <a:pt x="5517065" y="4320586"/>
                      <a:pt x="5524032" y="4320586"/>
                      <a:pt x="5530999" y="4320586"/>
                    </a:cubicBezTo>
                    <a:close/>
                    <a:moveTo>
                      <a:pt x="1595442" y="4062605"/>
                    </a:moveTo>
                    <a:cubicBezTo>
                      <a:pt x="1623118" y="4090472"/>
                      <a:pt x="1678471" y="4153173"/>
                      <a:pt x="1713066" y="4236774"/>
                    </a:cubicBezTo>
                    <a:cubicBezTo>
                      <a:pt x="1726904" y="4264640"/>
                      <a:pt x="1740743" y="4320374"/>
                      <a:pt x="1726904" y="4341275"/>
                    </a:cubicBezTo>
                    <a:cubicBezTo>
                      <a:pt x="1726904" y="4341275"/>
                      <a:pt x="1726904" y="4341275"/>
                      <a:pt x="1678471" y="4397008"/>
                    </a:cubicBezTo>
                    <a:cubicBezTo>
                      <a:pt x="1671551" y="4397008"/>
                      <a:pt x="1664632" y="4397008"/>
                      <a:pt x="1664632" y="4397008"/>
                    </a:cubicBezTo>
                    <a:cubicBezTo>
                      <a:pt x="1657714" y="4403975"/>
                      <a:pt x="1650795" y="4403975"/>
                      <a:pt x="1643875" y="4403975"/>
                    </a:cubicBezTo>
                    <a:cubicBezTo>
                      <a:pt x="1636957" y="4403975"/>
                      <a:pt x="1630037" y="4403975"/>
                      <a:pt x="1623118" y="4397008"/>
                    </a:cubicBezTo>
                    <a:cubicBezTo>
                      <a:pt x="1609280" y="4397008"/>
                      <a:pt x="1602361" y="4397008"/>
                      <a:pt x="1602361" y="4369141"/>
                    </a:cubicBezTo>
                    <a:cubicBezTo>
                      <a:pt x="1540089" y="4299474"/>
                      <a:pt x="1574685" y="4139239"/>
                      <a:pt x="1595442" y="4062605"/>
                    </a:cubicBezTo>
                    <a:close/>
                    <a:moveTo>
                      <a:pt x="4610521" y="2835218"/>
                    </a:moveTo>
                    <a:cubicBezTo>
                      <a:pt x="4617546" y="2849250"/>
                      <a:pt x="4624570" y="2856266"/>
                      <a:pt x="4638620" y="2870297"/>
                    </a:cubicBezTo>
                    <a:cubicBezTo>
                      <a:pt x="4638620" y="2870297"/>
                      <a:pt x="4701843" y="2898361"/>
                      <a:pt x="4708867" y="2940456"/>
                    </a:cubicBezTo>
                    <a:cubicBezTo>
                      <a:pt x="4708867" y="2947471"/>
                      <a:pt x="4701843" y="2961504"/>
                      <a:pt x="4694818" y="2975535"/>
                    </a:cubicBezTo>
                    <a:cubicBezTo>
                      <a:pt x="4666719" y="2996582"/>
                      <a:pt x="4624570" y="3017630"/>
                      <a:pt x="4589447" y="3017630"/>
                    </a:cubicBezTo>
                    <a:cubicBezTo>
                      <a:pt x="4575397" y="3017630"/>
                      <a:pt x="4568372" y="3017630"/>
                      <a:pt x="4561348" y="3010614"/>
                    </a:cubicBezTo>
                    <a:cubicBezTo>
                      <a:pt x="4547298" y="3003598"/>
                      <a:pt x="4547298" y="2989567"/>
                      <a:pt x="4547298" y="2975535"/>
                    </a:cubicBezTo>
                    <a:cubicBezTo>
                      <a:pt x="4547298" y="2947471"/>
                      <a:pt x="4547298" y="2947471"/>
                      <a:pt x="4547298" y="2947471"/>
                    </a:cubicBezTo>
                    <a:cubicBezTo>
                      <a:pt x="4547298" y="2947471"/>
                      <a:pt x="4554323" y="2947471"/>
                      <a:pt x="4554323" y="2947471"/>
                    </a:cubicBezTo>
                    <a:cubicBezTo>
                      <a:pt x="4554323" y="2947471"/>
                      <a:pt x="4554323" y="2947471"/>
                      <a:pt x="4561348" y="2961504"/>
                    </a:cubicBezTo>
                    <a:cubicBezTo>
                      <a:pt x="4561348" y="2961504"/>
                      <a:pt x="4561348" y="2961504"/>
                      <a:pt x="4561348" y="2933440"/>
                    </a:cubicBezTo>
                    <a:cubicBezTo>
                      <a:pt x="4589447" y="2919409"/>
                      <a:pt x="4617546" y="2891345"/>
                      <a:pt x="4617546" y="2863281"/>
                    </a:cubicBezTo>
                    <a:cubicBezTo>
                      <a:pt x="4617546" y="2856266"/>
                      <a:pt x="4610521" y="2842234"/>
                      <a:pt x="4610521" y="2835218"/>
                    </a:cubicBezTo>
                    <a:close/>
                    <a:moveTo>
                      <a:pt x="6512240" y="1235203"/>
                    </a:moveTo>
                    <a:cubicBezTo>
                      <a:pt x="6512240" y="1235203"/>
                      <a:pt x="6512240" y="1235203"/>
                      <a:pt x="6533180" y="1235203"/>
                    </a:cubicBezTo>
                    <a:cubicBezTo>
                      <a:pt x="6589021" y="1283743"/>
                      <a:pt x="6637881" y="1339217"/>
                      <a:pt x="6686742" y="1394691"/>
                    </a:cubicBezTo>
                    <a:cubicBezTo>
                      <a:pt x="6672782" y="1401625"/>
                      <a:pt x="6665802" y="1408560"/>
                      <a:pt x="6658822" y="1415494"/>
                    </a:cubicBezTo>
                    <a:cubicBezTo>
                      <a:pt x="6644862" y="1422428"/>
                      <a:pt x="6637881" y="1429363"/>
                      <a:pt x="6630901" y="1436297"/>
                    </a:cubicBezTo>
                    <a:cubicBezTo>
                      <a:pt x="6609961" y="1457100"/>
                      <a:pt x="6596001" y="1470968"/>
                      <a:pt x="6575061" y="1470968"/>
                    </a:cubicBezTo>
                    <a:cubicBezTo>
                      <a:pt x="6561100" y="1470968"/>
                      <a:pt x="6554120" y="1464034"/>
                      <a:pt x="6540160" y="1457100"/>
                    </a:cubicBezTo>
                    <a:cubicBezTo>
                      <a:pt x="6540160" y="1457100"/>
                      <a:pt x="6540160" y="1457100"/>
                      <a:pt x="6519220" y="1457100"/>
                    </a:cubicBezTo>
                    <a:cubicBezTo>
                      <a:pt x="6477339" y="1498705"/>
                      <a:pt x="6477339" y="1540311"/>
                      <a:pt x="6477339" y="1581916"/>
                    </a:cubicBezTo>
                    <a:cubicBezTo>
                      <a:pt x="6477339" y="1637391"/>
                      <a:pt x="6477339" y="1637391"/>
                      <a:pt x="6463379" y="1644325"/>
                    </a:cubicBezTo>
                    <a:cubicBezTo>
                      <a:pt x="6449419" y="1644325"/>
                      <a:pt x="6442438" y="1644325"/>
                      <a:pt x="6442438" y="1637391"/>
                    </a:cubicBezTo>
                    <a:cubicBezTo>
                      <a:pt x="6442438" y="1637391"/>
                      <a:pt x="6442438" y="1637391"/>
                      <a:pt x="6428478" y="1623522"/>
                    </a:cubicBezTo>
                    <a:cubicBezTo>
                      <a:pt x="6414518" y="1623522"/>
                      <a:pt x="6400558" y="1609654"/>
                      <a:pt x="6400558" y="1595785"/>
                    </a:cubicBezTo>
                    <a:cubicBezTo>
                      <a:pt x="6393578" y="1588851"/>
                      <a:pt x="6393578" y="1581916"/>
                      <a:pt x="6386598" y="1574982"/>
                    </a:cubicBezTo>
                    <a:cubicBezTo>
                      <a:pt x="6386598" y="1568048"/>
                      <a:pt x="6379618" y="1561114"/>
                      <a:pt x="6372637" y="1554179"/>
                    </a:cubicBezTo>
                    <a:cubicBezTo>
                      <a:pt x="6372637" y="1554179"/>
                      <a:pt x="6372637" y="1554179"/>
                      <a:pt x="6316797" y="1498705"/>
                    </a:cubicBezTo>
                    <a:cubicBezTo>
                      <a:pt x="6309816" y="1484837"/>
                      <a:pt x="6295856" y="1464034"/>
                      <a:pt x="6295856" y="1457100"/>
                    </a:cubicBezTo>
                    <a:cubicBezTo>
                      <a:pt x="6295856" y="1436297"/>
                      <a:pt x="6351697" y="1380822"/>
                      <a:pt x="6372637" y="1353085"/>
                    </a:cubicBezTo>
                    <a:cubicBezTo>
                      <a:pt x="6372637" y="1353085"/>
                      <a:pt x="6372637" y="1353085"/>
                      <a:pt x="6386598" y="1339217"/>
                    </a:cubicBezTo>
                    <a:cubicBezTo>
                      <a:pt x="6463379" y="1269874"/>
                      <a:pt x="6505259" y="1235203"/>
                      <a:pt x="6512240" y="1235203"/>
                    </a:cubicBezTo>
                    <a:close/>
                    <a:moveTo>
                      <a:pt x="3643190" y="0"/>
                    </a:moveTo>
                    <a:cubicBezTo>
                      <a:pt x="4444274" y="0"/>
                      <a:pt x="5182664" y="236856"/>
                      <a:pt x="5809599" y="633938"/>
                    </a:cubicBezTo>
                    <a:cubicBezTo>
                      <a:pt x="5809599" y="633938"/>
                      <a:pt x="5809599" y="633938"/>
                      <a:pt x="5809599" y="640904"/>
                    </a:cubicBezTo>
                    <a:cubicBezTo>
                      <a:pt x="5795668" y="654837"/>
                      <a:pt x="5781736" y="668770"/>
                      <a:pt x="5760838" y="675736"/>
                    </a:cubicBezTo>
                    <a:cubicBezTo>
                      <a:pt x="5760838" y="675736"/>
                      <a:pt x="5760838" y="675736"/>
                      <a:pt x="5753872" y="682702"/>
                    </a:cubicBezTo>
                    <a:cubicBezTo>
                      <a:pt x="5753872" y="682702"/>
                      <a:pt x="5753872" y="682702"/>
                      <a:pt x="5746906" y="689668"/>
                    </a:cubicBezTo>
                    <a:cubicBezTo>
                      <a:pt x="5732974" y="703601"/>
                      <a:pt x="5705110" y="724500"/>
                      <a:pt x="5712076" y="766298"/>
                    </a:cubicBezTo>
                    <a:cubicBezTo>
                      <a:pt x="5712076" y="828995"/>
                      <a:pt x="5746906" y="842928"/>
                      <a:pt x="5795668" y="870793"/>
                    </a:cubicBezTo>
                    <a:cubicBezTo>
                      <a:pt x="5802634" y="870793"/>
                      <a:pt x="5809599" y="870793"/>
                      <a:pt x="5809599" y="877760"/>
                    </a:cubicBezTo>
                    <a:cubicBezTo>
                      <a:pt x="5809599" y="877760"/>
                      <a:pt x="5809599" y="877760"/>
                      <a:pt x="5816565" y="877760"/>
                    </a:cubicBezTo>
                    <a:cubicBezTo>
                      <a:pt x="5816565" y="877760"/>
                      <a:pt x="5823531" y="877760"/>
                      <a:pt x="5837463" y="891692"/>
                    </a:cubicBezTo>
                    <a:cubicBezTo>
                      <a:pt x="5893191" y="926524"/>
                      <a:pt x="5969816" y="996188"/>
                      <a:pt x="6032510" y="1051918"/>
                    </a:cubicBezTo>
                    <a:cubicBezTo>
                      <a:pt x="6032510" y="1065851"/>
                      <a:pt x="6046442" y="1079784"/>
                      <a:pt x="6053408" y="1093717"/>
                    </a:cubicBezTo>
                    <a:cubicBezTo>
                      <a:pt x="6074305" y="1135515"/>
                      <a:pt x="6095203" y="1184279"/>
                      <a:pt x="6095203" y="1198212"/>
                    </a:cubicBezTo>
                    <a:cubicBezTo>
                      <a:pt x="6095203" y="1212144"/>
                      <a:pt x="6081271" y="1226077"/>
                      <a:pt x="6060374" y="1240010"/>
                    </a:cubicBezTo>
                    <a:cubicBezTo>
                      <a:pt x="6060374" y="1240010"/>
                      <a:pt x="6060374" y="1240010"/>
                      <a:pt x="5976782" y="1281808"/>
                    </a:cubicBezTo>
                    <a:cubicBezTo>
                      <a:pt x="5948918" y="1295741"/>
                      <a:pt x="5934986" y="1295741"/>
                      <a:pt x="5921055" y="1295741"/>
                    </a:cubicBezTo>
                    <a:cubicBezTo>
                      <a:pt x="5921055" y="1295741"/>
                      <a:pt x="5921055" y="1295741"/>
                      <a:pt x="5879259" y="1295741"/>
                    </a:cubicBezTo>
                    <a:cubicBezTo>
                      <a:pt x="5872293" y="1295741"/>
                      <a:pt x="5858361" y="1267875"/>
                      <a:pt x="5858361" y="1226077"/>
                    </a:cubicBezTo>
                    <a:cubicBezTo>
                      <a:pt x="5858361" y="1226077"/>
                      <a:pt x="5858361" y="1226077"/>
                      <a:pt x="5858361" y="1170346"/>
                    </a:cubicBezTo>
                    <a:cubicBezTo>
                      <a:pt x="5844429" y="1142481"/>
                      <a:pt x="5830497" y="1114616"/>
                      <a:pt x="5816565" y="1100683"/>
                    </a:cubicBezTo>
                    <a:cubicBezTo>
                      <a:pt x="5802634" y="1086750"/>
                      <a:pt x="5788702" y="1079784"/>
                      <a:pt x="5788702" y="1065851"/>
                    </a:cubicBezTo>
                    <a:cubicBezTo>
                      <a:pt x="5788702" y="1065851"/>
                      <a:pt x="5788702" y="1065851"/>
                      <a:pt x="5788702" y="1058885"/>
                    </a:cubicBezTo>
                    <a:cubicBezTo>
                      <a:pt x="5774770" y="1058885"/>
                      <a:pt x="5774770" y="1051918"/>
                      <a:pt x="5774770" y="1051918"/>
                    </a:cubicBezTo>
                    <a:cubicBezTo>
                      <a:pt x="5774770" y="1037986"/>
                      <a:pt x="5774770" y="1010120"/>
                      <a:pt x="5760838" y="996188"/>
                    </a:cubicBezTo>
                    <a:cubicBezTo>
                      <a:pt x="5732974" y="954390"/>
                      <a:pt x="5691178" y="940457"/>
                      <a:pt x="5663315" y="940457"/>
                    </a:cubicBezTo>
                    <a:cubicBezTo>
                      <a:pt x="5635451" y="940457"/>
                      <a:pt x="5607587" y="940457"/>
                      <a:pt x="5586689" y="926524"/>
                    </a:cubicBezTo>
                    <a:cubicBezTo>
                      <a:pt x="5572757" y="912591"/>
                      <a:pt x="5572757" y="905625"/>
                      <a:pt x="5565791" y="884726"/>
                    </a:cubicBezTo>
                    <a:cubicBezTo>
                      <a:pt x="5565791" y="877760"/>
                      <a:pt x="5558825" y="870793"/>
                      <a:pt x="5558825" y="856861"/>
                    </a:cubicBezTo>
                    <a:cubicBezTo>
                      <a:pt x="5558825" y="842928"/>
                      <a:pt x="5558825" y="828995"/>
                      <a:pt x="5544893" y="815063"/>
                    </a:cubicBezTo>
                    <a:cubicBezTo>
                      <a:pt x="5530962" y="780231"/>
                      <a:pt x="5496132" y="752366"/>
                      <a:pt x="5447370" y="731467"/>
                    </a:cubicBezTo>
                    <a:cubicBezTo>
                      <a:pt x="5447370" y="731467"/>
                      <a:pt x="5447370" y="731467"/>
                      <a:pt x="5433438" y="731467"/>
                    </a:cubicBezTo>
                    <a:cubicBezTo>
                      <a:pt x="5405575" y="724500"/>
                      <a:pt x="5370745" y="710567"/>
                      <a:pt x="5342881" y="710567"/>
                    </a:cubicBezTo>
                    <a:cubicBezTo>
                      <a:pt x="5321983" y="710567"/>
                      <a:pt x="5308051" y="717534"/>
                      <a:pt x="5294119" y="717534"/>
                    </a:cubicBezTo>
                    <a:cubicBezTo>
                      <a:pt x="5252324" y="731467"/>
                      <a:pt x="5224460" y="745399"/>
                      <a:pt x="5210528" y="759332"/>
                    </a:cubicBezTo>
                    <a:cubicBezTo>
                      <a:pt x="5196596" y="773265"/>
                      <a:pt x="5182664" y="787197"/>
                      <a:pt x="5175698" y="787197"/>
                    </a:cubicBezTo>
                    <a:cubicBezTo>
                      <a:pt x="5140869" y="773265"/>
                      <a:pt x="5154801" y="738433"/>
                      <a:pt x="5161766" y="724500"/>
                    </a:cubicBezTo>
                    <a:cubicBezTo>
                      <a:pt x="5161766" y="682702"/>
                      <a:pt x="5161766" y="613039"/>
                      <a:pt x="5078175" y="599106"/>
                    </a:cubicBezTo>
                    <a:cubicBezTo>
                      <a:pt x="5064243" y="599106"/>
                      <a:pt x="5064243" y="606072"/>
                      <a:pt x="5057277" y="613039"/>
                    </a:cubicBezTo>
                    <a:cubicBezTo>
                      <a:pt x="4994584" y="613039"/>
                      <a:pt x="4952788" y="668770"/>
                      <a:pt x="4910992" y="717534"/>
                    </a:cubicBezTo>
                    <a:cubicBezTo>
                      <a:pt x="4910992" y="717534"/>
                      <a:pt x="4910992" y="717534"/>
                      <a:pt x="4869197" y="759332"/>
                    </a:cubicBezTo>
                    <a:cubicBezTo>
                      <a:pt x="4869197" y="759332"/>
                      <a:pt x="4869197" y="759332"/>
                      <a:pt x="4869197" y="766298"/>
                    </a:cubicBezTo>
                    <a:cubicBezTo>
                      <a:pt x="4869197" y="773265"/>
                      <a:pt x="4841333" y="773265"/>
                      <a:pt x="4827401" y="773265"/>
                    </a:cubicBezTo>
                    <a:cubicBezTo>
                      <a:pt x="4799537" y="787197"/>
                      <a:pt x="4771673" y="815063"/>
                      <a:pt x="4771673" y="842928"/>
                    </a:cubicBezTo>
                    <a:cubicBezTo>
                      <a:pt x="4757742" y="919558"/>
                      <a:pt x="4813469" y="933491"/>
                      <a:pt x="4869197" y="947423"/>
                    </a:cubicBezTo>
                    <a:cubicBezTo>
                      <a:pt x="4883129" y="947423"/>
                      <a:pt x="4897060" y="947423"/>
                      <a:pt x="4910992" y="954390"/>
                    </a:cubicBezTo>
                    <a:cubicBezTo>
                      <a:pt x="4910992" y="954390"/>
                      <a:pt x="4910992" y="954390"/>
                      <a:pt x="4910992" y="961356"/>
                    </a:cubicBezTo>
                    <a:cubicBezTo>
                      <a:pt x="4924924" y="961356"/>
                      <a:pt x="4938856" y="975289"/>
                      <a:pt x="4966720" y="996188"/>
                    </a:cubicBezTo>
                    <a:cubicBezTo>
                      <a:pt x="4966720" y="1003154"/>
                      <a:pt x="4966720" y="1003154"/>
                      <a:pt x="4973686" y="1010120"/>
                    </a:cubicBezTo>
                    <a:cubicBezTo>
                      <a:pt x="4980652" y="1024053"/>
                      <a:pt x="5001550" y="1037986"/>
                      <a:pt x="5036379" y="1037986"/>
                    </a:cubicBezTo>
                    <a:cubicBezTo>
                      <a:pt x="5043345" y="1044952"/>
                      <a:pt x="5050311" y="1044952"/>
                      <a:pt x="5057277" y="1044952"/>
                    </a:cubicBezTo>
                    <a:cubicBezTo>
                      <a:pt x="5085141" y="1044952"/>
                      <a:pt x="5099073" y="1031020"/>
                      <a:pt x="5106039" y="1024053"/>
                    </a:cubicBezTo>
                    <a:cubicBezTo>
                      <a:pt x="5119971" y="1010120"/>
                      <a:pt x="5133903" y="996188"/>
                      <a:pt x="5161766" y="996188"/>
                    </a:cubicBezTo>
                    <a:cubicBezTo>
                      <a:pt x="5168732" y="996188"/>
                      <a:pt x="5175698" y="996188"/>
                      <a:pt x="5182664" y="996188"/>
                    </a:cubicBezTo>
                    <a:cubicBezTo>
                      <a:pt x="5217494" y="996188"/>
                      <a:pt x="5252324" y="1017087"/>
                      <a:pt x="5273222" y="1037986"/>
                    </a:cubicBezTo>
                    <a:cubicBezTo>
                      <a:pt x="5266256" y="1051918"/>
                      <a:pt x="5252324" y="1058885"/>
                      <a:pt x="5224460" y="1072818"/>
                    </a:cubicBezTo>
                    <a:cubicBezTo>
                      <a:pt x="5210528" y="1086750"/>
                      <a:pt x="5196596" y="1100683"/>
                      <a:pt x="5182664" y="1107649"/>
                    </a:cubicBezTo>
                    <a:cubicBezTo>
                      <a:pt x="5140869" y="1149447"/>
                      <a:pt x="5099073" y="1184279"/>
                      <a:pt x="5099073" y="1240010"/>
                    </a:cubicBezTo>
                    <a:cubicBezTo>
                      <a:pt x="5099073" y="1295741"/>
                      <a:pt x="5154801" y="1323606"/>
                      <a:pt x="5182664" y="1337539"/>
                    </a:cubicBezTo>
                    <a:cubicBezTo>
                      <a:pt x="5196596" y="1337539"/>
                      <a:pt x="5210528" y="1351472"/>
                      <a:pt x="5224460" y="1365404"/>
                    </a:cubicBezTo>
                    <a:cubicBezTo>
                      <a:pt x="5252324" y="1379337"/>
                      <a:pt x="5280188" y="1407202"/>
                      <a:pt x="5308051" y="1449000"/>
                    </a:cubicBezTo>
                    <a:cubicBezTo>
                      <a:pt x="5335915" y="1476866"/>
                      <a:pt x="5356813" y="1504731"/>
                      <a:pt x="5370745" y="1532596"/>
                    </a:cubicBezTo>
                    <a:cubicBezTo>
                      <a:pt x="5370745" y="1532596"/>
                      <a:pt x="5370745" y="1532596"/>
                      <a:pt x="5377711" y="1532596"/>
                    </a:cubicBezTo>
                    <a:cubicBezTo>
                      <a:pt x="5391643" y="1553495"/>
                      <a:pt x="5412541" y="1574395"/>
                      <a:pt x="5426472" y="1574395"/>
                    </a:cubicBezTo>
                    <a:cubicBezTo>
                      <a:pt x="5433438" y="1574395"/>
                      <a:pt x="5440404" y="1581361"/>
                      <a:pt x="5447370" y="1581361"/>
                    </a:cubicBezTo>
                    <a:cubicBezTo>
                      <a:pt x="5454336" y="1588327"/>
                      <a:pt x="5454336" y="1588327"/>
                      <a:pt x="5454336" y="1595294"/>
                    </a:cubicBezTo>
                    <a:cubicBezTo>
                      <a:pt x="5454336" y="1595294"/>
                      <a:pt x="5454336" y="1595294"/>
                      <a:pt x="5454336" y="1602260"/>
                    </a:cubicBezTo>
                    <a:cubicBezTo>
                      <a:pt x="5468268" y="1609227"/>
                      <a:pt x="5468268" y="1623159"/>
                      <a:pt x="5468268" y="1637091"/>
                    </a:cubicBezTo>
                    <a:cubicBezTo>
                      <a:pt x="5475234" y="1651024"/>
                      <a:pt x="5475234" y="1657991"/>
                      <a:pt x="5482200" y="1664957"/>
                    </a:cubicBezTo>
                    <a:cubicBezTo>
                      <a:pt x="5482200" y="1678890"/>
                      <a:pt x="5489166" y="1685856"/>
                      <a:pt x="5496132" y="1692823"/>
                    </a:cubicBezTo>
                    <a:cubicBezTo>
                      <a:pt x="5496132" y="1692823"/>
                      <a:pt x="5496132" y="1692823"/>
                      <a:pt x="5496132" y="1706755"/>
                    </a:cubicBezTo>
                    <a:cubicBezTo>
                      <a:pt x="5496132" y="1706755"/>
                      <a:pt x="5496132" y="1713722"/>
                      <a:pt x="5489166" y="1720688"/>
                    </a:cubicBezTo>
                    <a:cubicBezTo>
                      <a:pt x="5489166" y="1734621"/>
                      <a:pt x="5482200" y="1748553"/>
                      <a:pt x="5482200" y="1776419"/>
                    </a:cubicBezTo>
                    <a:cubicBezTo>
                      <a:pt x="5496132" y="1804284"/>
                      <a:pt x="5537928" y="1818217"/>
                      <a:pt x="5551859" y="1818217"/>
                    </a:cubicBezTo>
                    <a:cubicBezTo>
                      <a:pt x="5565791" y="1825183"/>
                      <a:pt x="5572757" y="1832150"/>
                      <a:pt x="5579723" y="1832150"/>
                    </a:cubicBezTo>
                    <a:cubicBezTo>
                      <a:pt x="5579723" y="1832150"/>
                      <a:pt x="5579723" y="1832150"/>
                      <a:pt x="5579723" y="1922712"/>
                    </a:cubicBezTo>
                    <a:cubicBezTo>
                      <a:pt x="5579723" y="1992375"/>
                      <a:pt x="5579723" y="2020241"/>
                      <a:pt x="5551859" y="2041140"/>
                    </a:cubicBezTo>
                    <a:cubicBezTo>
                      <a:pt x="5537928" y="2041140"/>
                      <a:pt x="5537928" y="2055073"/>
                      <a:pt x="5537928" y="2062039"/>
                    </a:cubicBezTo>
                    <a:cubicBezTo>
                      <a:pt x="5482200" y="2271030"/>
                      <a:pt x="5440404" y="2375525"/>
                      <a:pt x="5335915" y="2466087"/>
                    </a:cubicBezTo>
                    <a:cubicBezTo>
                      <a:pt x="5266256" y="2521818"/>
                      <a:pt x="5189630" y="2549683"/>
                      <a:pt x="5099073" y="2584515"/>
                    </a:cubicBezTo>
                    <a:cubicBezTo>
                      <a:pt x="5085141" y="2591481"/>
                      <a:pt x="5064243" y="2598448"/>
                      <a:pt x="5050311" y="2605415"/>
                    </a:cubicBezTo>
                    <a:cubicBezTo>
                      <a:pt x="5022448" y="2605415"/>
                      <a:pt x="5008516" y="2605415"/>
                      <a:pt x="4987618" y="2612381"/>
                    </a:cubicBezTo>
                    <a:cubicBezTo>
                      <a:pt x="4980652" y="2612381"/>
                      <a:pt x="4966720" y="2619347"/>
                      <a:pt x="4952788" y="2619347"/>
                    </a:cubicBezTo>
                    <a:cubicBezTo>
                      <a:pt x="4924924" y="2633279"/>
                      <a:pt x="4910992" y="2647211"/>
                      <a:pt x="4897060" y="2661144"/>
                    </a:cubicBezTo>
                    <a:cubicBezTo>
                      <a:pt x="4883129" y="2668110"/>
                      <a:pt x="4869197" y="2668110"/>
                      <a:pt x="4855265" y="2668110"/>
                    </a:cubicBezTo>
                    <a:cubicBezTo>
                      <a:pt x="4848299" y="2675077"/>
                      <a:pt x="4841333" y="2682043"/>
                      <a:pt x="4834367" y="2682043"/>
                    </a:cubicBezTo>
                    <a:cubicBezTo>
                      <a:pt x="4820435" y="2689009"/>
                      <a:pt x="4806503" y="2695976"/>
                      <a:pt x="4785605" y="2695976"/>
                    </a:cubicBezTo>
                    <a:cubicBezTo>
                      <a:pt x="4708980" y="2709909"/>
                      <a:pt x="4625389" y="2723841"/>
                      <a:pt x="4611457" y="2807437"/>
                    </a:cubicBezTo>
                    <a:cubicBezTo>
                      <a:pt x="4611457" y="2814403"/>
                      <a:pt x="4611457" y="2821370"/>
                      <a:pt x="4611457" y="2821370"/>
                    </a:cubicBezTo>
                    <a:cubicBezTo>
                      <a:pt x="4604491" y="2800471"/>
                      <a:pt x="4590559" y="2779572"/>
                      <a:pt x="4576627" y="2751706"/>
                    </a:cubicBezTo>
                    <a:cubicBezTo>
                      <a:pt x="4534831" y="2716875"/>
                      <a:pt x="4493036" y="2695976"/>
                      <a:pt x="4437308" y="2695976"/>
                    </a:cubicBezTo>
                    <a:cubicBezTo>
                      <a:pt x="4388546" y="2695976"/>
                      <a:pt x="4318887" y="2737774"/>
                      <a:pt x="4256193" y="2793505"/>
                    </a:cubicBezTo>
                    <a:cubicBezTo>
                      <a:pt x="4186534" y="2856202"/>
                      <a:pt x="4144738" y="2925865"/>
                      <a:pt x="4144738" y="2974630"/>
                    </a:cubicBezTo>
                    <a:cubicBezTo>
                      <a:pt x="4144738" y="3058226"/>
                      <a:pt x="4318887" y="3218452"/>
                      <a:pt x="4325853" y="3225418"/>
                    </a:cubicBezTo>
                    <a:cubicBezTo>
                      <a:pt x="4325853" y="3225418"/>
                      <a:pt x="4325853" y="3225418"/>
                      <a:pt x="4388546" y="3288115"/>
                    </a:cubicBezTo>
                    <a:cubicBezTo>
                      <a:pt x="4388546" y="3288115"/>
                      <a:pt x="4388546" y="3288115"/>
                      <a:pt x="4395512" y="3295082"/>
                    </a:cubicBezTo>
                    <a:cubicBezTo>
                      <a:pt x="4534831" y="3399577"/>
                      <a:pt x="4646286" y="3497106"/>
                      <a:pt x="4625389" y="3775759"/>
                    </a:cubicBezTo>
                    <a:cubicBezTo>
                      <a:pt x="4597525" y="3831490"/>
                      <a:pt x="4555729" y="3852390"/>
                      <a:pt x="4513933" y="3873289"/>
                    </a:cubicBezTo>
                    <a:cubicBezTo>
                      <a:pt x="4506967" y="3873289"/>
                      <a:pt x="4500002" y="3880255"/>
                      <a:pt x="4486070" y="3887221"/>
                    </a:cubicBezTo>
                    <a:cubicBezTo>
                      <a:pt x="4486070" y="3887221"/>
                      <a:pt x="4486070" y="3887221"/>
                      <a:pt x="4402478" y="3929019"/>
                    </a:cubicBezTo>
                    <a:cubicBezTo>
                      <a:pt x="4402478" y="3929019"/>
                      <a:pt x="4402478" y="3929019"/>
                      <a:pt x="4339785" y="3998683"/>
                    </a:cubicBezTo>
                    <a:cubicBezTo>
                      <a:pt x="4311921" y="4033514"/>
                      <a:pt x="4284057" y="4075313"/>
                      <a:pt x="4235296" y="4089245"/>
                    </a:cubicBezTo>
                    <a:cubicBezTo>
                      <a:pt x="4235296" y="4089245"/>
                      <a:pt x="4235296" y="4089245"/>
                      <a:pt x="4235296" y="4054413"/>
                    </a:cubicBezTo>
                    <a:cubicBezTo>
                      <a:pt x="4235296" y="4040481"/>
                      <a:pt x="4235296" y="4012615"/>
                      <a:pt x="4221364" y="3998683"/>
                    </a:cubicBezTo>
                    <a:cubicBezTo>
                      <a:pt x="4221364" y="3963851"/>
                      <a:pt x="4179568" y="3942952"/>
                      <a:pt x="4151704" y="3935986"/>
                    </a:cubicBezTo>
                    <a:cubicBezTo>
                      <a:pt x="4144738" y="3929019"/>
                      <a:pt x="4144738" y="3929019"/>
                      <a:pt x="4137772" y="3929019"/>
                    </a:cubicBezTo>
                    <a:cubicBezTo>
                      <a:pt x="4123840" y="3908120"/>
                      <a:pt x="4102942" y="3901154"/>
                      <a:pt x="4089011" y="3887221"/>
                    </a:cubicBezTo>
                    <a:cubicBezTo>
                      <a:pt x="4082045" y="3880255"/>
                      <a:pt x="4075079" y="3880255"/>
                      <a:pt x="4068113" y="3873289"/>
                    </a:cubicBezTo>
                    <a:cubicBezTo>
                      <a:pt x="4040249" y="3859356"/>
                      <a:pt x="4026317" y="3831490"/>
                      <a:pt x="4012385" y="3803625"/>
                    </a:cubicBezTo>
                    <a:cubicBezTo>
                      <a:pt x="4012385" y="3803625"/>
                      <a:pt x="4012385" y="3803625"/>
                      <a:pt x="3970590" y="3761827"/>
                    </a:cubicBezTo>
                    <a:cubicBezTo>
                      <a:pt x="3942726" y="3720029"/>
                      <a:pt x="3900930" y="3706096"/>
                      <a:pt x="3859134" y="3692163"/>
                    </a:cubicBezTo>
                    <a:cubicBezTo>
                      <a:pt x="3852168" y="3692163"/>
                      <a:pt x="3845202" y="3692163"/>
                      <a:pt x="3831271" y="3685197"/>
                    </a:cubicBezTo>
                    <a:cubicBezTo>
                      <a:pt x="3824305" y="3678231"/>
                      <a:pt x="3817339" y="3671264"/>
                      <a:pt x="3810373" y="3664298"/>
                    </a:cubicBezTo>
                    <a:cubicBezTo>
                      <a:pt x="3810373" y="3664298"/>
                      <a:pt x="3810373" y="3664298"/>
                      <a:pt x="3803407" y="3664298"/>
                    </a:cubicBezTo>
                    <a:cubicBezTo>
                      <a:pt x="3803407" y="3664298"/>
                      <a:pt x="3796441" y="3664298"/>
                      <a:pt x="3796441" y="3657332"/>
                    </a:cubicBezTo>
                    <a:cubicBezTo>
                      <a:pt x="3789475" y="3650365"/>
                      <a:pt x="3789475" y="3643399"/>
                      <a:pt x="3782509" y="3643399"/>
                    </a:cubicBezTo>
                    <a:cubicBezTo>
                      <a:pt x="3768577" y="3615533"/>
                      <a:pt x="3740713" y="3601601"/>
                      <a:pt x="3712849" y="3601601"/>
                    </a:cubicBezTo>
                    <a:cubicBezTo>
                      <a:pt x="3636224" y="3601601"/>
                      <a:pt x="3636224" y="3657332"/>
                      <a:pt x="3636224" y="3699130"/>
                    </a:cubicBezTo>
                    <a:cubicBezTo>
                      <a:pt x="3636224" y="3699130"/>
                      <a:pt x="3636224" y="3699130"/>
                      <a:pt x="3636224" y="3747894"/>
                    </a:cubicBezTo>
                    <a:cubicBezTo>
                      <a:pt x="3636224" y="3747894"/>
                      <a:pt x="3636224" y="3747894"/>
                      <a:pt x="3601394" y="3831490"/>
                    </a:cubicBezTo>
                    <a:cubicBezTo>
                      <a:pt x="3580497" y="3880255"/>
                      <a:pt x="3573531" y="3942952"/>
                      <a:pt x="3587462" y="3998683"/>
                    </a:cubicBezTo>
                    <a:cubicBezTo>
                      <a:pt x="3587462" y="4033514"/>
                      <a:pt x="3608360" y="4061380"/>
                      <a:pt x="3643190" y="4082279"/>
                    </a:cubicBezTo>
                    <a:cubicBezTo>
                      <a:pt x="3643190" y="4089245"/>
                      <a:pt x="3650156" y="4096212"/>
                      <a:pt x="3650156" y="4103178"/>
                    </a:cubicBezTo>
                    <a:cubicBezTo>
                      <a:pt x="3657122" y="4110144"/>
                      <a:pt x="3657122" y="4124077"/>
                      <a:pt x="3671054" y="4124077"/>
                    </a:cubicBezTo>
                    <a:cubicBezTo>
                      <a:pt x="3684986" y="4151943"/>
                      <a:pt x="3691952" y="4179808"/>
                      <a:pt x="3691952" y="4214640"/>
                    </a:cubicBezTo>
                    <a:cubicBezTo>
                      <a:pt x="3705884" y="4242505"/>
                      <a:pt x="3733747" y="4284303"/>
                      <a:pt x="3761611" y="4312169"/>
                    </a:cubicBezTo>
                    <a:cubicBezTo>
                      <a:pt x="3775543" y="4326101"/>
                      <a:pt x="3803407" y="4340034"/>
                      <a:pt x="3831271" y="4353967"/>
                    </a:cubicBezTo>
                    <a:cubicBezTo>
                      <a:pt x="3845202" y="4353967"/>
                      <a:pt x="3859134" y="4353967"/>
                      <a:pt x="3873066" y="4367899"/>
                    </a:cubicBezTo>
                    <a:cubicBezTo>
                      <a:pt x="3977555" y="4451496"/>
                      <a:pt x="4040249" y="4514193"/>
                      <a:pt x="4047215" y="4542058"/>
                    </a:cubicBezTo>
                    <a:cubicBezTo>
                      <a:pt x="4061147" y="4583856"/>
                      <a:pt x="4061147" y="4611722"/>
                      <a:pt x="4061147" y="4639587"/>
                    </a:cubicBezTo>
                    <a:cubicBezTo>
                      <a:pt x="4061147" y="4639587"/>
                      <a:pt x="4061147" y="4639587"/>
                      <a:pt x="4061147" y="4751049"/>
                    </a:cubicBezTo>
                    <a:cubicBezTo>
                      <a:pt x="4075079" y="4778914"/>
                      <a:pt x="4089011" y="4806779"/>
                      <a:pt x="4116874" y="4834645"/>
                    </a:cubicBezTo>
                    <a:cubicBezTo>
                      <a:pt x="4144738" y="4869477"/>
                      <a:pt x="4144738" y="4883409"/>
                      <a:pt x="4144738" y="4904308"/>
                    </a:cubicBezTo>
                    <a:cubicBezTo>
                      <a:pt x="4123840" y="4897342"/>
                      <a:pt x="4109908" y="4897342"/>
                      <a:pt x="4095977" y="4890376"/>
                    </a:cubicBezTo>
                    <a:cubicBezTo>
                      <a:pt x="4075079" y="4883409"/>
                      <a:pt x="4061147" y="4876443"/>
                      <a:pt x="4040249" y="4869477"/>
                    </a:cubicBezTo>
                    <a:cubicBezTo>
                      <a:pt x="4040249" y="4869477"/>
                      <a:pt x="4040249" y="4869477"/>
                      <a:pt x="4026317" y="4841611"/>
                    </a:cubicBezTo>
                    <a:cubicBezTo>
                      <a:pt x="3949692" y="4799813"/>
                      <a:pt x="3907896" y="4751049"/>
                      <a:pt x="3866100" y="4674419"/>
                    </a:cubicBezTo>
                    <a:cubicBezTo>
                      <a:pt x="3859134" y="4674419"/>
                      <a:pt x="3859134" y="4667452"/>
                      <a:pt x="3852168" y="4660486"/>
                    </a:cubicBezTo>
                    <a:cubicBezTo>
                      <a:pt x="3852168" y="4653520"/>
                      <a:pt x="3845202" y="4653520"/>
                      <a:pt x="3838237" y="4646553"/>
                    </a:cubicBezTo>
                    <a:cubicBezTo>
                      <a:pt x="3838237" y="4639587"/>
                      <a:pt x="3831271" y="4632621"/>
                      <a:pt x="3824305" y="4632621"/>
                    </a:cubicBezTo>
                    <a:cubicBezTo>
                      <a:pt x="3817339" y="4625654"/>
                      <a:pt x="3810373" y="4618688"/>
                      <a:pt x="3810373" y="4611722"/>
                    </a:cubicBezTo>
                    <a:cubicBezTo>
                      <a:pt x="3796441" y="4583856"/>
                      <a:pt x="3796441" y="4555991"/>
                      <a:pt x="3796441" y="4528125"/>
                    </a:cubicBezTo>
                    <a:cubicBezTo>
                      <a:pt x="3796441" y="4514193"/>
                      <a:pt x="3796441" y="4500260"/>
                      <a:pt x="3789475" y="4479361"/>
                    </a:cubicBezTo>
                    <a:cubicBezTo>
                      <a:pt x="3789475" y="4465428"/>
                      <a:pt x="3782509" y="4444529"/>
                      <a:pt x="3782509" y="4437563"/>
                    </a:cubicBezTo>
                    <a:cubicBezTo>
                      <a:pt x="3782509" y="4437563"/>
                      <a:pt x="3782509" y="4437563"/>
                      <a:pt x="3782509" y="4430597"/>
                    </a:cubicBezTo>
                    <a:cubicBezTo>
                      <a:pt x="3761611" y="4388798"/>
                      <a:pt x="3719815" y="4333068"/>
                      <a:pt x="3678020" y="4284303"/>
                    </a:cubicBezTo>
                    <a:cubicBezTo>
                      <a:pt x="3664088" y="4270371"/>
                      <a:pt x="3657122" y="4256438"/>
                      <a:pt x="3643190" y="4242505"/>
                    </a:cubicBezTo>
                    <a:cubicBezTo>
                      <a:pt x="3615326" y="4228572"/>
                      <a:pt x="3601394" y="4214640"/>
                      <a:pt x="3587462" y="4200707"/>
                    </a:cubicBezTo>
                    <a:cubicBezTo>
                      <a:pt x="3580497" y="4186774"/>
                      <a:pt x="3573531" y="4179808"/>
                      <a:pt x="3559599" y="4172842"/>
                    </a:cubicBezTo>
                    <a:cubicBezTo>
                      <a:pt x="3545667" y="4158909"/>
                      <a:pt x="3531735" y="4151943"/>
                      <a:pt x="3524769" y="4131043"/>
                    </a:cubicBezTo>
                    <a:cubicBezTo>
                      <a:pt x="3524769" y="4103178"/>
                      <a:pt x="3531735" y="4082279"/>
                      <a:pt x="3545667" y="4047447"/>
                    </a:cubicBezTo>
                    <a:cubicBezTo>
                      <a:pt x="3545667" y="4040481"/>
                      <a:pt x="3545667" y="4033514"/>
                      <a:pt x="3552633" y="4026548"/>
                    </a:cubicBezTo>
                    <a:cubicBezTo>
                      <a:pt x="3552633" y="3998683"/>
                      <a:pt x="3552633" y="3970817"/>
                      <a:pt x="3559599" y="3949918"/>
                    </a:cubicBezTo>
                    <a:cubicBezTo>
                      <a:pt x="3559599" y="3929019"/>
                      <a:pt x="3566565" y="3901154"/>
                      <a:pt x="3566565" y="3873289"/>
                    </a:cubicBezTo>
                    <a:cubicBezTo>
                      <a:pt x="3566565" y="3866322"/>
                      <a:pt x="3559599" y="3859356"/>
                      <a:pt x="3559599" y="3852390"/>
                    </a:cubicBezTo>
                    <a:cubicBezTo>
                      <a:pt x="3552633" y="3845423"/>
                      <a:pt x="3552633" y="3838457"/>
                      <a:pt x="3552633" y="3831490"/>
                    </a:cubicBezTo>
                    <a:cubicBezTo>
                      <a:pt x="3552633" y="3831490"/>
                      <a:pt x="3538701" y="3817558"/>
                      <a:pt x="3538701" y="3803625"/>
                    </a:cubicBezTo>
                    <a:cubicBezTo>
                      <a:pt x="3538701" y="3803625"/>
                      <a:pt x="3538701" y="3803625"/>
                      <a:pt x="3538701" y="3754861"/>
                    </a:cubicBezTo>
                    <a:cubicBezTo>
                      <a:pt x="3538701" y="3713063"/>
                      <a:pt x="3538701" y="3685197"/>
                      <a:pt x="3524769" y="3671264"/>
                    </a:cubicBezTo>
                    <a:cubicBezTo>
                      <a:pt x="3524769" y="3643399"/>
                      <a:pt x="3510837" y="3615533"/>
                      <a:pt x="3496905" y="3587668"/>
                    </a:cubicBezTo>
                    <a:cubicBezTo>
                      <a:pt x="3496905" y="3580702"/>
                      <a:pt x="3489939" y="3573736"/>
                      <a:pt x="3489939" y="3566769"/>
                    </a:cubicBezTo>
                    <a:cubicBezTo>
                      <a:pt x="3482973" y="3559803"/>
                      <a:pt x="3482973" y="3552836"/>
                      <a:pt x="3482973" y="3545870"/>
                    </a:cubicBezTo>
                    <a:cubicBezTo>
                      <a:pt x="3476007" y="3538904"/>
                      <a:pt x="3476007" y="3531937"/>
                      <a:pt x="3469041" y="3524971"/>
                    </a:cubicBezTo>
                    <a:cubicBezTo>
                      <a:pt x="3462075" y="3497106"/>
                      <a:pt x="3448144" y="3469240"/>
                      <a:pt x="3427246" y="3448341"/>
                    </a:cubicBezTo>
                    <a:cubicBezTo>
                      <a:pt x="3427246" y="3427442"/>
                      <a:pt x="3427246" y="3406543"/>
                      <a:pt x="3413314" y="3392610"/>
                    </a:cubicBezTo>
                    <a:cubicBezTo>
                      <a:pt x="3399382" y="3322947"/>
                      <a:pt x="3378484" y="3232384"/>
                      <a:pt x="3301859" y="3218452"/>
                    </a:cubicBezTo>
                    <a:cubicBezTo>
                      <a:pt x="3253097" y="3218452"/>
                      <a:pt x="3204335" y="3253283"/>
                      <a:pt x="3190404" y="3274183"/>
                    </a:cubicBezTo>
                    <a:cubicBezTo>
                      <a:pt x="3162540" y="3295082"/>
                      <a:pt x="3134676" y="3322947"/>
                      <a:pt x="3113778" y="3322947"/>
                    </a:cubicBezTo>
                    <a:cubicBezTo>
                      <a:pt x="3113778" y="3322947"/>
                      <a:pt x="3113778" y="3322947"/>
                      <a:pt x="3099846" y="3322947"/>
                    </a:cubicBezTo>
                    <a:cubicBezTo>
                      <a:pt x="3085914" y="3322947"/>
                      <a:pt x="3030187" y="3309014"/>
                      <a:pt x="3030187" y="3288115"/>
                    </a:cubicBezTo>
                    <a:cubicBezTo>
                      <a:pt x="3030187" y="3274183"/>
                      <a:pt x="3030187" y="3246317"/>
                      <a:pt x="3044119" y="3239351"/>
                    </a:cubicBezTo>
                    <a:cubicBezTo>
                      <a:pt x="3044119" y="3239351"/>
                      <a:pt x="3044119" y="3239351"/>
                      <a:pt x="3044119" y="3232384"/>
                    </a:cubicBezTo>
                    <a:cubicBezTo>
                      <a:pt x="3044119" y="3232384"/>
                      <a:pt x="3044119" y="3232384"/>
                      <a:pt x="3044119" y="3176654"/>
                    </a:cubicBezTo>
                    <a:cubicBezTo>
                      <a:pt x="3044119" y="3106990"/>
                      <a:pt x="3016255" y="3065192"/>
                      <a:pt x="2974459" y="3023395"/>
                    </a:cubicBezTo>
                    <a:cubicBezTo>
                      <a:pt x="2960527" y="3023395"/>
                      <a:pt x="2953561" y="3016428"/>
                      <a:pt x="2953561" y="3002495"/>
                    </a:cubicBezTo>
                    <a:cubicBezTo>
                      <a:pt x="2953561" y="3002495"/>
                      <a:pt x="2953561" y="3002495"/>
                      <a:pt x="2946595" y="3002495"/>
                    </a:cubicBezTo>
                    <a:cubicBezTo>
                      <a:pt x="2939629" y="2988563"/>
                      <a:pt x="2939629" y="2974630"/>
                      <a:pt x="2939629" y="2960697"/>
                    </a:cubicBezTo>
                    <a:cubicBezTo>
                      <a:pt x="2939629" y="2960697"/>
                      <a:pt x="2939629" y="2960697"/>
                      <a:pt x="2932664" y="2960697"/>
                    </a:cubicBezTo>
                    <a:cubicBezTo>
                      <a:pt x="2925698" y="2953731"/>
                      <a:pt x="2925698" y="2946764"/>
                      <a:pt x="2925698" y="2939798"/>
                    </a:cubicBezTo>
                    <a:cubicBezTo>
                      <a:pt x="2918732" y="2932831"/>
                      <a:pt x="2918732" y="2925865"/>
                      <a:pt x="2911766" y="2918899"/>
                    </a:cubicBezTo>
                    <a:cubicBezTo>
                      <a:pt x="2897834" y="2904967"/>
                      <a:pt x="2869970" y="2891034"/>
                      <a:pt x="2842106" y="2877101"/>
                    </a:cubicBezTo>
                    <a:cubicBezTo>
                      <a:pt x="2828175" y="2863168"/>
                      <a:pt x="2814243" y="2849235"/>
                      <a:pt x="2800311" y="2835303"/>
                    </a:cubicBezTo>
                    <a:cubicBezTo>
                      <a:pt x="2751549" y="2807437"/>
                      <a:pt x="2730651" y="2758673"/>
                      <a:pt x="2716719" y="2744740"/>
                    </a:cubicBezTo>
                    <a:cubicBezTo>
                      <a:pt x="2716719" y="2730808"/>
                      <a:pt x="2716719" y="2723841"/>
                      <a:pt x="2709754" y="2723841"/>
                    </a:cubicBezTo>
                    <a:cubicBezTo>
                      <a:pt x="2709754" y="2716875"/>
                      <a:pt x="2702788" y="2709909"/>
                      <a:pt x="2702788" y="2702942"/>
                    </a:cubicBezTo>
                    <a:cubicBezTo>
                      <a:pt x="2688856" y="2661144"/>
                      <a:pt x="2674924" y="2633279"/>
                      <a:pt x="2633128" y="2619347"/>
                    </a:cubicBezTo>
                    <a:cubicBezTo>
                      <a:pt x="2633128" y="2619347"/>
                      <a:pt x="2633128" y="2619347"/>
                      <a:pt x="2619196" y="2619347"/>
                    </a:cubicBezTo>
                    <a:cubicBezTo>
                      <a:pt x="2591333" y="2619347"/>
                      <a:pt x="2563469" y="2633279"/>
                      <a:pt x="2549537" y="2647211"/>
                    </a:cubicBezTo>
                    <a:cubicBezTo>
                      <a:pt x="2542571" y="2654178"/>
                      <a:pt x="2535605" y="2654178"/>
                      <a:pt x="2528639" y="2654178"/>
                    </a:cubicBezTo>
                    <a:cubicBezTo>
                      <a:pt x="2521673" y="2661144"/>
                      <a:pt x="2514708" y="2661144"/>
                      <a:pt x="2507742" y="2668110"/>
                    </a:cubicBezTo>
                    <a:cubicBezTo>
                      <a:pt x="2493809" y="2668110"/>
                      <a:pt x="2465946" y="2675077"/>
                      <a:pt x="2431116" y="2682043"/>
                    </a:cubicBezTo>
                    <a:cubicBezTo>
                      <a:pt x="2403252" y="2689009"/>
                      <a:pt x="2375388" y="2695976"/>
                      <a:pt x="2361456" y="2695976"/>
                    </a:cubicBezTo>
                    <a:cubicBezTo>
                      <a:pt x="2361456" y="2695976"/>
                      <a:pt x="2361456" y="2695976"/>
                      <a:pt x="2305729" y="2695976"/>
                    </a:cubicBezTo>
                    <a:cubicBezTo>
                      <a:pt x="2250001" y="2695976"/>
                      <a:pt x="2194274" y="2695976"/>
                      <a:pt x="2166410" y="2737774"/>
                    </a:cubicBezTo>
                    <a:cubicBezTo>
                      <a:pt x="2138546" y="2751706"/>
                      <a:pt x="2138546" y="2793505"/>
                      <a:pt x="2138546" y="2835303"/>
                    </a:cubicBezTo>
                    <a:cubicBezTo>
                      <a:pt x="2124614" y="2863168"/>
                      <a:pt x="2096751" y="2877101"/>
                      <a:pt x="2068886" y="2891034"/>
                    </a:cubicBezTo>
                    <a:cubicBezTo>
                      <a:pt x="2061920" y="2891034"/>
                      <a:pt x="2054954" y="2898000"/>
                      <a:pt x="2041022" y="2904967"/>
                    </a:cubicBezTo>
                    <a:cubicBezTo>
                      <a:pt x="2034057" y="2904967"/>
                      <a:pt x="2027091" y="2911933"/>
                      <a:pt x="2020125" y="2918899"/>
                    </a:cubicBezTo>
                    <a:cubicBezTo>
                      <a:pt x="1978329" y="2932831"/>
                      <a:pt x="1950465" y="2974630"/>
                      <a:pt x="1922601" y="3009462"/>
                    </a:cubicBezTo>
                    <a:cubicBezTo>
                      <a:pt x="1908669" y="3023395"/>
                      <a:pt x="1894738" y="3037327"/>
                      <a:pt x="1887772" y="3051259"/>
                    </a:cubicBezTo>
                    <a:cubicBezTo>
                      <a:pt x="1873840" y="3065192"/>
                      <a:pt x="1866874" y="3079125"/>
                      <a:pt x="1852942" y="3093057"/>
                    </a:cubicBezTo>
                    <a:cubicBezTo>
                      <a:pt x="1839011" y="3106990"/>
                      <a:pt x="1825078" y="3120923"/>
                      <a:pt x="1811147" y="3120923"/>
                    </a:cubicBezTo>
                    <a:cubicBezTo>
                      <a:pt x="1783283" y="3134856"/>
                      <a:pt x="1769351" y="3148788"/>
                      <a:pt x="1755419" y="3176654"/>
                    </a:cubicBezTo>
                    <a:cubicBezTo>
                      <a:pt x="1741487" y="3190587"/>
                      <a:pt x="1727555" y="3204519"/>
                      <a:pt x="1727555" y="3218452"/>
                    </a:cubicBezTo>
                    <a:cubicBezTo>
                      <a:pt x="1720589" y="3225418"/>
                      <a:pt x="1720589" y="3225418"/>
                      <a:pt x="1720589" y="3232384"/>
                    </a:cubicBezTo>
                    <a:cubicBezTo>
                      <a:pt x="1713624" y="3239351"/>
                      <a:pt x="1713624" y="3246317"/>
                      <a:pt x="1706657" y="3246317"/>
                    </a:cubicBezTo>
                    <a:cubicBezTo>
                      <a:pt x="1706657" y="3246317"/>
                      <a:pt x="1706657" y="3246317"/>
                      <a:pt x="1699691" y="3246317"/>
                    </a:cubicBezTo>
                    <a:cubicBezTo>
                      <a:pt x="1671828" y="3274183"/>
                      <a:pt x="1664861" y="3288115"/>
                      <a:pt x="1623066" y="3295082"/>
                    </a:cubicBezTo>
                    <a:cubicBezTo>
                      <a:pt x="1623066" y="3295082"/>
                      <a:pt x="1623066" y="3295082"/>
                      <a:pt x="1623066" y="3302048"/>
                    </a:cubicBezTo>
                    <a:cubicBezTo>
                      <a:pt x="1616100" y="3302048"/>
                      <a:pt x="1609134" y="3309014"/>
                      <a:pt x="1602168" y="3309014"/>
                    </a:cubicBezTo>
                    <a:cubicBezTo>
                      <a:pt x="1560372" y="3336880"/>
                      <a:pt x="1518577" y="3364745"/>
                      <a:pt x="1497678" y="3406543"/>
                    </a:cubicBezTo>
                    <a:cubicBezTo>
                      <a:pt x="1497678" y="3406543"/>
                      <a:pt x="1497678" y="3406543"/>
                      <a:pt x="1497678" y="3413510"/>
                    </a:cubicBezTo>
                    <a:cubicBezTo>
                      <a:pt x="1497678" y="3441375"/>
                      <a:pt x="1497678" y="3469240"/>
                      <a:pt x="1504645" y="3490139"/>
                    </a:cubicBezTo>
                    <a:cubicBezTo>
                      <a:pt x="1504645" y="3511038"/>
                      <a:pt x="1511611" y="3531937"/>
                      <a:pt x="1511611" y="3545870"/>
                    </a:cubicBezTo>
                    <a:cubicBezTo>
                      <a:pt x="1532508" y="3608567"/>
                      <a:pt x="1532508" y="3650365"/>
                      <a:pt x="1525542" y="3685197"/>
                    </a:cubicBezTo>
                    <a:cubicBezTo>
                      <a:pt x="1525542" y="3699130"/>
                      <a:pt x="1525542" y="3713063"/>
                      <a:pt x="1511611" y="3733962"/>
                    </a:cubicBezTo>
                    <a:cubicBezTo>
                      <a:pt x="1504645" y="3747894"/>
                      <a:pt x="1497678" y="3754861"/>
                      <a:pt x="1497678" y="3768793"/>
                    </a:cubicBezTo>
                    <a:cubicBezTo>
                      <a:pt x="1490713" y="3782726"/>
                      <a:pt x="1490713" y="3796659"/>
                      <a:pt x="1483746" y="3803625"/>
                    </a:cubicBezTo>
                    <a:cubicBezTo>
                      <a:pt x="1483746" y="3810591"/>
                      <a:pt x="1483746" y="3824524"/>
                      <a:pt x="1490713" y="3838457"/>
                    </a:cubicBezTo>
                    <a:cubicBezTo>
                      <a:pt x="1490713" y="3845423"/>
                      <a:pt x="1497678" y="3852390"/>
                      <a:pt x="1497678" y="3859356"/>
                    </a:cubicBezTo>
                    <a:cubicBezTo>
                      <a:pt x="1497678" y="3859356"/>
                      <a:pt x="1497678" y="3859356"/>
                      <a:pt x="1497678" y="3915086"/>
                    </a:cubicBezTo>
                    <a:cubicBezTo>
                      <a:pt x="1497678" y="3922053"/>
                      <a:pt x="1490713" y="3922053"/>
                      <a:pt x="1490713" y="3929019"/>
                    </a:cubicBezTo>
                    <a:cubicBezTo>
                      <a:pt x="1490713" y="3929019"/>
                      <a:pt x="1483746" y="3935986"/>
                      <a:pt x="1483746" y="3942952"/>
                    </a:cubicBezTo>
                    <a:cubicBezTo>
                      <a:pt x="1476781" y="3942952"/>
                      <a:pt x="1469815" y="3942952"/>
                      <a:pt x="1469815" y="3949918"/>
                    </a:cubicBezTo>
                    <a:cubicBezTo>
                      <a:pt x="1462849" y="3956885"/>
                      <a:pt x="1455883" y="3963851"/>
                      <a:pt x="1441951" y="3963851"/>
                    </a:cubicBezTo>
                    <a:cubicBezTo>
                      <a:pt x="1441951" y="3963851"/>
                      <a:pt x="1441951" y="3963851"/>
                      <a:pt x="1441951" y="3970817"/>
                    </a:cubicBezTo>
                    <a:cubicBezTo>
                      <a:pt x="1441951" y="3977784"/>
                      <a:pt x="1441951" y="3984750"/>
                      <a:pt x="1434985" y="3991716"/>
                    </a:cubicBezTo>
                    <a:cubicBezTo>
                      <a:pt x="1434985" y="3998683"/>
                      <a:pt x="1428019" y="4005649"/>
                      <a:pt x="1428019" y="4012615"/>
                    </a:cubicBezTo>
                    <a:cubicBezTo>
                      <a:pt x="1428019" y="4026548"/>
                      <a:pt x="1414087" y="4033514"/>
                      <a:pt x="1414087" y="4033514"/>
                    </a:cubicBezTo>
                    <a:cubicBezTo>
                      <a:pt x="1414087" y="4033514"/>
                      <a:pt x="1414087" y="4033514"/>
                      <a:pt x="1414087" y="4040481"/>
                    </a:cubicBezTo>
                    <a:cubicBezTo>
                      <a:pt x="1414087" y="4047447"/>
                      <a:pt x="1414087" y="4047447"/>
                      <a:pt x="1400155" y="4054413"/>
                    </a:cubicBezTo>
                    <a:cubicBezTo>
                      <a:pt x="1400155" y="4054413"/>
                      <a:pt x="1393189" y="4061380"/>
                      <a:pt x="1386223" y="4061380"/>
                    </a:cubicBezTo>
                    <a:cubicBezTo>
                      <a:pt x="1379258" y="4068346"/>
                      <a:pt x="1372292" y="4075313"/>
                      <a:pt x="1365326" y="4075313"/>
                    </a:cubicBezTo>
                    <a:cubicBezTo>
                      <a:pt x="1358360" y="4082279"/>
                      <a:pt x="1351394" y="4082279"/>
                      <a:pt x="1344428" y="4089245"/>
                    </a:cubicBezTo>
                    <a:cubicBezTo>
                      <a:pt x="1330496" y="4117111"/>
                      <a:pt x="1330496" y="4117111"/>
                      <a:pt x="1316564" y="4131043"/>
                    </a:cubicBezTo>
                    <a:cubicBezTo>
                      <a:pt x="1309598" y="4144976"/>
                      <a:pt x="1302632" y="4144976"/>
                      <a:pt x="1302632" y="4158909"/>
                    </a:cubicBezTo>
                    <a:cubicBezTo>
                      <a:pt x="1239939" y="4151943"/>
                      <a:pt x="1212075" y="4082279"/>
                      <a:pt x="1184211" y="4005649"/>
                    </a:cubicBezTo>
                    <a:cubicBezTo>
                      <a:pt x="1177245" y="3984750"/>
                      <a:pt x="1170279" y="3970817"/>
                      <a:pt x="1163313" y="3956885"/>
                    </a:cubicBezTo>
                    <a:cubicBezTo>
                      <a:pt x="1149381" y="3915086"/>
                      <a:pt x="1135449" y="3873289"/>
                      <a:pt x="1121518" y="3845423"/>
                    </a:cubicBezTo>
                    <a:cubicBezTo>
                      <a:pt x="1107586" y="3817558"/>
                      <a:pt x="1093654" y="3789692"/>
                      <a:pt x="1065790" y="3775759"/>
                    </a:cubicBezTo>
                    <a:cubicBezTo>
                      <a:pt x="1037926" y="3747894"/>
                      <a:pt x="1023994" y="3720029"/>
                      <a:pt x="1010062" y="3699130"/>
                    </a:cubicBezTo>
                    <a:cubicBezTo>
                      <a:pt x="996131" y="3671264"/>
                      <a:pt x="982199" y="3643399"/>
                      <a:pt x="982199" y="3601601"/>
                    </a:cubicBezTo>
                    <a:cubicBezTo>
                      <a:pt x="968267" y="3559803"/>
                      <a:pt x="954335" y="3518005"/>
                      <a:pt x="926471" y="3462274"/>
                    </a:cubicBezTo>
                    <a:cubicBezTo>
                      <a:pt x="919505" y="3455308"/>
                      <a:pt x="912539" y="3448341"/>
                      <a:pt x="905573" y="3434409"/>
                    </a:cubicBezTo>
                    <a:cubicBezTo>
                      <a:pt x="898607" y="3427442"/>
                      <a:pt x="891641" y="3413510"/>
                      <a:pt x="891641" y="3406543"/>
                    </a:cubicBezTo>
                    <a:cubicBezTo>
                      <a:pt x="863778" y="3364745"/>
                      <a:pt x="835914" y="3315981"/>
                      <a:pt x="821982" y="3288115"/>
                    </a:cubicBezTo>
                    <a:cubicBezTo>
                      <a:pt x="821982" y="3288115"/>
                      <a:pt x="821982" y="3288115"/>
                      <a:pt x="780186" y="3162721"/>
                    </a:cubicBezTo>
                    <a:cubicBezTo>
                      <a:pt x="780186" y="3148788"/>
                      <a:pt x="773221" y="3134856"/>
                      <a:pt x="773221" y="3120923"/>
                    </a:cubicBezTo>
                    <a:cubicBezTo>
                      <a:pt x="766254" y="3106990"/>
                      <a:pt x="766254" y="3100024"/>
                      <a:pt x="766254" y="3100024"/>
                    </a:cubicBezTo>
                    <a:cubicBezTo>
                      <a:pt x="766254" y="3100024"/>
                      <a:pt x="766254" y="3100024"/>
                      <a:pt x="766254" y="3093057"/>
                    </a:cubicBezTo>
                    <a:cubicBezTo>
                      <a:pt x="752322" y="3058226"/>
                      <a:pt x="745357" y="3030361"/>
                      <a:pt x="738391" y="3002495"/>
                    </a:cubicBezTo>
                    <a:cubicBezTo>
                      <a:pt x="731426" y="2953731"/>
                      <a:pt x="717493" y="2925865"/>
                      <a:pt x="710527" y="2904967"/>
                    </a:cubicBezTo>
                    <a:cubicBezTo>
                      <a:pt x="710527" y="2904967"/>
                      <a:pt x="710527" y="2904967"/>
                      <a:pt x="710527" y="2849235"/>
                    </a:cubicBezTo>
                    <a:cubicBezTo>
                      <a:pt x="710527" y="2807437"/>
                      <a:pt x="710527" y="2751706"/>
                      <a:pt x="654800" y="2723841"/>
                    </a:cubicBezTo>
                    <a:cubicBezTo>
                      <a:pt x="654800" y="2723841"/>
                      <a:pt x="654800" y="2723841"/>
                      <a:pt x="626937" y="2723841"/>
                    </a:cubicBezTo>
                    <a:cubicBezTo>
                      <a:pt x="599072" y="2723841"/>
                      <a:pt x="571209" y="2737774"/>
                      <a:pt x="557277" y="2751706"/>
                    </a:cubicBezTo>
                    <a:cubicBezTo>
                      <a:pt x="543345" y="2765639"/>
                      <a:pt x="515481" y="2793505"/>
                      <a:pt x="487617" y="2793505"/>
                    </a:cubicBezTo>
                    <a:cubicBezTo>
                      <a:pt x="466720" y="2793505"/>
                      <a:pt x="383128" y="2751706"/>
                      <a:pt x="341332" y="2702942"/>
                    </a:cubicBezTo>
                    <a:cubicBezTo>
                      <a:pt x="341332" y="2689009"/>
                      <a:pt x="334367" y="2682043"/>
                      <a:pt x="334367" y="2675077"/>
                    </a:cubicBezTo>
                    <a:cubicBezTo>
                      <a:pt x="327401" y="2654178"/>
                      <a:pt x="320434" y="2647211"/>
                      <a:pt x="341332" y="2633279"/>
                    </a:cubicBezTo>
                    <a:cubicBezTo>
                      <a:pt x="341332" y="2633279"/>
                      <a:pt x="341332" y="2633279"/>
                      <a:pt x="341332" y="2605415"/>
                    </a:cubicBezTo>
                    <a:cubicBezTo>
                      <a:pt x="299537" y="2563616"/>
                      <a:pt x="264707" y="2535751"/>
                      <a:pt x="202014" y="2507885"/>
                    </a:cubicBezTo>
                    <a:cubicBezTo>
                      <a:pt x="188081" y="2493952"/>
                      <a:pt x="174150" y="2480020"/>
                      <a:pt x="160217" y="2473053"/>
                    </a:cubicBezTo>
                    <a:cubicBezTo>
                      <a:pt x="139320" y="2466087"/>
                      <a:pt x="125387" y="2452154"/>
                      <a:pt x="111456" y="2438222"/>
                    </a:cubicBezTo>
                    <a:lnTo>
                      <a:pt x="0" y="2319794"/>
                    </a:lnTo>
                    <a:cubicBezTo>
                      <a:pt x="640868" y="947423"/>
                      <a:pt x="2034057" y="0"/>
                      <a:pt x="3643190" y="0"/>
                    </a:cubicBezTo>
                    <a:close/>
                  </a:path>
                </a:pathLst>
              </a:custGeom>
              <a:solidFill>
                <a:schemeClr val="accent1"/>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143" name="Group 142">
              <a:extLst>
                <a:ext uri="{FF2B5EF4-FFF2-40B4-BE49-F238E27FC236}">
                  <a16:creationId xmlns:a16="http://schemas.microsoft.com/office/drawing/2014/main" id="{02E50A35-E1E1-462B-8152-91CC31B9062B}"/>
                </a:ext>
              </a:extLst>
            </p:cNvPr>
            <p:cNvGrpSpPr/>
            <p:nvPr/>
          </p:nvGrpSpPr>
          <p:grpSpPr>
            <a:xfrm>
              <a:off x="6538368" y="4442205"/>
              <a:ext cx="319248" cy="367179"/>
              <a:chOff x="1156464" y="2287783"/>
              <a:chExt cx="803098" cy="923672"/>
            </a:xfrm>
          </p:grpSpPr>
          <p:grpSp>
            <p:nvGrpSpPr>
              <p:cNvPr id="144" name="Group 143">
                <a:extLst>
                  <a:ext uri="{FF2B5EF4-FFF2-40B4-BE49-F238E27FC236}">
                    <a16:creationId xmlns:a16="http://schemas.microsoft.com/office/drawing/2014/main" id="{FD89CA8E-97D8-4121-8242-A9237279155E}"/>
                  </a:ext>
                </a:extLst>
              </p:cNvPr>
              <p:cNvGrpSpPr/>
              <p:nvPr/>
            </p:nvGrpSpPr>
            <p:grpSpPr>
              <a:xfrm>
                <a:off x="1266649" y="2287783"/>
                <a:ext cx="578218" cy="576574"/>
                <a:chOff x="2744787" y="87313"/>
                <a:chExt cx="6702426" cy="6683376"/>
              </a:xfrm>
            </p:grpSpPr>
            <p:sp>
              <p:nvSpPr>
                <p:cNvPr id="146" name="Oval 12">
                  <a:extLst>
                    <a:ext uri="{FF2B5EF4-FFF2-40B4-BE49-F238E27FC236}">
                      <a16:creationId xmlns:a16="http://schemas.microsoft.com/office/drawing/2014/main" id="{14A8CBA0-538C-4443-86C3-6EB08DA3B1B6}"/>
                    </a:ext>
                  </a:extLst>
                </p:cNvPr>
                <p:cNvSpPr>
                  <a:spLocks noChangeArrowheads="1"/>
                </p:cNvSpPr>
                <p:nvPr/>
              </p:nvSpPr>
              <p:spPr bwMode="auto">
                <a:xfrm>
                  <a:off x="4408488" y="1746250"/>
                  <a:ext cx="3375025" cy="33655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7" name="Freeform: Shape 146">
                  <a:extLst>
                    <a:ext uri="{FF2B5EF4-FFF2-40B4-BE49-F238E27FC236}">
                      <a16:creationId xmlns:a16="http://schemas.microsoft.com/office/drawing/2014/main" id="{A32113A8-36ED-417D-95A8-94E4DDD3565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45" name="Freeform: Shape 38">
                <a:extLst>
                  <a:ext uri="{FF2B5EF4-FFF2-40B4-BE49-F238E27FC236}">
                    <a16:creationId xmlns:a16="http://schemas.microsoft.com/office/drawing/2014/main" id="{012A2411-D2D5-406A-B002-1098D77F454C}"/>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48" name="Group 147">
              <a:extLst>
                <a:ext uri="{FF2B5EF4-FFF2-40B4-BE49-F238E27FC236}">
                  <a16:creationId xmlns:a16="http://schemas.microsoft.com/office/drawing/2014/main" id="{1D0469A4-2271-4C2C-92BF-D3E253275BD1}"/>
                </a:ext>
              </a:extLst>
            </p:cNvPr>
            <p:cNvGrpSpPr/>
            <p:nvPr/>
          </p:nvGrpSpPr>
          <p:grpSpPr>
            <a:xfrm>
              <a:off x="7381309" y="4412769"/>
              <a:ext cx="127515" cy="199682"/>
              <a:chOff x="1228193" y="2253875"/>
              <a:chExt cx="641952" cy="1005263"/>
            </a:xfrm>
          </p:grpSpPr>
          <p:grpSp>
            <p:nvGrpSpPr>
              <p:cNvPr id="149" name="Group 148">
                <a:extLst>
                  <a:ext uri="{FF2B5EF4-FFF2-40B4-BE49-F238E27FC236}">
                    <a16:creationId xmlns:a16="http://schemas.microsoft.com/office/drawing/2014/main" id="{C1025185-3EE4-4EA6-97D5-E66D4A9EE4A3}"/>
                  </a:ext>
                </a:extLst>
              </p:cNvPr>
              <p:cNvGrpSpPr/>
              <p:nvPr/>
            </p:nvGrpSpPr>
            <p:grpSpPr>
              <a:xfrm>
                <a:off x="1467314" y="2253875"/>
                <a:ext cx="402831" cy="400358"/>
                <a:chOff x="4054863" y="1116013"/>
                <a:chExt cx="4654550" cy="4625975"/>
              </a:xfrm>
            </p:grpSpPr>
            <p:sp>
              <p:nvSpPr>
                <p:cNvPr id="154" name="Oval 5">
                  <a:extLst>
                    <a:ext uri="{FF2B5EF4-FFF2-40B4-BE49-F238E27FC236}">
                      <a16:creationId xmlns:a16="http://schemas.microsoft.com/office/drawing/2014/main" id="{05726A8E-3D08-40AD-8B16-8B30B15BF26E}"/>
                    </a:ext>
                  </a:extLst>
                </p:cNvPr>
                <p:cNvSpPr>
                  <a:spLocks noChangeArrowheads="1"/>
                </p:cNvSpPr>
                <p:nvPr/>
              </p:nvSpPr>
              <p:spPr bwMode="auto">
                <a:xfrm>
                  <a:off x="4869253" y="1925641"/>
                  <a:ext cx="3013071" cy="299561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55" name="Freeform 6">
                  <a:extLst>
                    <a:ext uri="{FF2B5EF4-FFF2-40B4-BE49-F238E27FC236}">
                      <a16:creationId xmlns:a16="http://schemas.microsoft.com/office/drawing/2014/main" id="{EE296A98-5EEA-42B7-96BA-3A40BA9BACE2}"/>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56" name="Oval 7">
                  <a:extLst>
                    <a:ext uri="{FF2B5EF4-FFF2-40B4-BE49-F238E27FC236}">
                      <a16:creationId xmlns:a16="http://schemas.microsoft.com/office/drawing/2014/main" id="{78EFB8BE-AAE4-4BB6-92FC-B7A27F095FED}"/>
                    </a:ext>
                  </a:extLst>
                </p:cNvPr>
                <p:cNvSpPr>
                  <a:spLocks noChangeArrowheads="1"/>
                </p:cNvSpPr>
                <p:nvPr/>
              </p:nvSpPr>
              <p:spPr bwMode="auto">
                <a:xfrm>
                  <a:off x="5642366" y="2667002"/>
                  <a:ext cx="1466852" cy="151129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50" name="Group 149">
                <a:extLst>
                  <a:ext uri="{FF2B5EF4-FFF2-40B4-BE49-F238E27FC236}">
                    <a16:creationId xmlns:a16="http://schemas.microsoft.com/office/drawing/2014/main" id="{0EB84BEE-463B-45B3-AEDC-31BA32D7888F}"/>
                  </a:ext>
                </a:extLst>
              </p:cNvPr>
              <p:cNvGrpSpPr/>
              <p:nvPr/>
            </p:nvGrpSpPr>
            <p:grpSpPr>
              <a:xfrm>
                <a:off x="1228193" y="2432050"/>
                <a:ext cx="471488" cy="827088"/>
                <a:chOff x="165100" y="2432050"/>
                <a:chExt cx="471488" cy="827088"/>
              </a:xfrm>
            </p:grpSpPr>
            <p:sp>
              <p:nvSpPr>
                <p:cNvPr id="151" name="Freeform 5">
                  <a:extLst>
                    <a:ext uri="{FF2B5EF4-FFF2-40B4-BE49-F238E27FC236}">
                      <a16:creationId xmlns:a16="http://schemas.microsoft.com/office/drawing/2014/main" id="{0D8CB7AA-5EA8-4C7D-8F32-D0AA62D8FD6B}"/>
                    </a:ext>
                  </a:extLst>
                </p:cNvPr>
                <p:cNvSpPr>
                  <a:spLocks/>
                </p:cNvSpPr>
                <p:nvPr/>
              </p:nvSpPr>
              <p:spPr bwMode="auto">
                <a:xfrm>
                  <a:off x="339725" y="3186113"/>
                  <a:ext cx="119063" cy="28575"/>
                </a:xfrm>
                <a:custGeom>
                  <a:avLst/>
                  <a:gdLst>
                    <a:gd name="T0" fmla="*/ 4 w 33"/>
                    <a:gd name="T1" fmla="*/ 8 h 8"/>
                    <a:gd name="T2" fmla="*/ 29 w 33"/>
                    <a:gd name="T3" fmla="*/ 8 h 8"/>
                    <a:gd name="T4" fmla="*/ 33 w 33"/>
                    <a:gd name="T5" fmla="*/ 4 h 8"/>
                    <a:gd name="T6" fmla="*/ 33 w 33"/>
                    <a:gd name="T7" fmla="*/ 4 h 8"/>
                    <a:gd name="T8" fmla="*/ 29 w 33"/>
                    <a:gd name="T9" fmla="*/ 0 h 8"/>
                    <a:gd name="T10" fmla="*/ 4 w 33"/>
                    <a:gd name="T11" fmla="*/ 0 h 8"/>
                    <a:gd name="T12" fmla="*/ 0 w 33"/>
                    <a:gd name="T13" fmla="*/ 4 h 8"/>
                    <a:gd name="T14" fmla="*/ 0 w 33"/>
                    <a:gd name="T15" fmla="*/ 4 h 8"/>
                    <a:gd name="T16" fmla="*/ 4 w 3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8">
                      <a:moveTo>
                        <a:pt x="4" y="8"/>
                      </a:moveTo>
                      <a:cubicBezTo>
                        <a:pt x="29" y="8"/>
                        <a:pt x="29" y="8"/>
                        <a:pt x="29" y="8"/>
                      </a:cubicBezTo>
                      <a:cubicBezTo>
                        <a:pt x="32" y="8"/>
                        <a:pt x="33" y="6"/>
                        <a:pt x="33" y="4"/>
                      </a:cubicBezTo>
                      <a:cubicBezTo>
                        <a:pt x="33" y="4"/>
                        <a:pt x="33" y="4"/>
                        <a:pt x="33" y="4"/>
                      </a:cubicBezTo>
                      <a:cubicBezTo>
                        <a:pt x="33" y="2"/>
                        <a:pt x="32" y="0"/>
                        <a:pt x="29" y="0"/>
                      </a:cubicBezTo>
                      <a:cubicBezTo>
                        <a:pt x="4" y="0"/>
                        <a:pt x="4" y="0"/>
                        <a:pt x="4" y="0"/>
                      </a:cubicBezTo>
                      <a:cubicBezTo>
                        <a:pt x="2" y="0"/>
                        <a:pt x="0" y="2"/>
                        <a:pt x="0" y="4"/>
                      </a:cubicBezTo>
                      <a:cubicBezTo>
                        <a:pt x="0" y="4"/>
                        <a:pt x="0" y="4"/>
                        <a:pt x="0" y="4"/>
                      </a:cubicBezTo>
                      <a:cubicBezTo>
                        <a:pt x="0" y="6"/>
                        <a:pt x="2" y="8"/>
                        <a:pt x="4" y="8"/>
                      </a:cubicBezTo>
                      <a:close/>
                    </a:path>
                  </a:pathLst>
                </a:custGeom>
                <a:solidFill>
                  <a:srgbClr val="7B9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52" name="Freeform 6">
                  <a:extLst>
                    <a:ext uri="{FF2B5EF4-FFF2-40B4-BE49-F238E27FC236}">
                      <a16:creationId xmlns:a16="http://schemas.microsoft.com/office/drawing/2014/main" id="{A584003A-8769-475A-9464-769C557AEE2E}"/>
                    </a:ext>
                  </a:extLst>
                </p:cNvPr>
                <p:cNvSpPr>
                  <a:spLocks/>
                </p:cNvSpPr>
                <p:nvPr/>
              </p:nvSpPr>
              <p:spPr bwMode="auto">
                <a:xfrm>
                  <a:off x="165100" y="2432050"/>
                  <a:ext cx="471488" cy="712788"/>
                </a:xfrm>
                <a:custGeom>
                  <a:avLst/>
                  <a:gdLst>
                    <a:gd name="T0" fmla="*/ 124 w 132"/>
                    <a:gd name="T1" fmla="*/ 0 h 207"/>
                    <a:gd name="T2" fmla="*/ 8 w 132"/>
                    <a:gd name="T3" fmla="*/ 0 h 207"/>
                    <a:gd name="T4" fmla="*/ 0 w 132"/>
                    <a:gd name="T5" fmla="*/ 8 h 207"/>
                    <a:gd name="T6" fmla="*/ 0 w 132"/>
                    <a:gd name="T7" fmla="*/ 187 h 207"/>
                    <a:gd name="T8" fmla="*/ 0 w 132"/>
                    <a:gd name="T9" fmla="*/ 207 h 207"/>
                    <a:gd name="T10" fmla="*/ 132 w 132"/>
                    <a:gd name="T11" fmla="*/ 207 h 207"/>
                    <a:gd name="T12" fmla="*/ 132 w 132"/>
                    <a:gd name="T13" fmla="*/ 187 h 207"/>
                    <a:gd name="T14" fmla="*/ 132 w 132"/>
                    <a:gd name="T15" fmla="*/ 8 h 207"/>
                    <a:gd name="T16" fmla="*/ 124 w 132"/>
                    <a:gd name="T1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207">
                      <a:moveTo>
                        <a:pt x="124" y="0"/>
                      </a:moveTo>
                      <a:cubicBezTo>
                        <a:pt x="8" y="0"/>
                        <a:pt x="8" y="0"/>
                        <a:pt x="8" y="0"/>
                      </a:cubicBezTo>
                      <a:cubicBezTo>
                        <a:pt x="3" y="0"/>
                        <a:pt x="0" y="3"/>
                        <a:pt x="0" y="8"/>
                      </a:cubicBezTo>
                      <a:cubicBezTo>
                        <a:pt x="0" y="187"/>
                        <a:pt x="0" y="187"/>
                        <a:pt x="0" y="187"/>
                      </a:cubicBezTo>
                      <a:cubicBezTo>
                        <a:pt x="0" y="207"/>
                        <a:pt x="0" y="207"/>
                        <a:pt x="0" y="207"/>
                      </a:cubicBezTo>
                      <a:cubicBezTo>
                        <a:pt x="132" y="207"/>
                        <a:pt x="132" y="207"/>
                        <a:pt x="132" y="207"/>
                      </a:cubicBezTo>
                      <a:cubicBezTo>
                        <a:pt x="132" y="187"/>
                        <a:pt x="132" y="187"/>
                        <a:pt x="132" y="187"/>
                      </a:cubicBezTo>
                      <a:cubicBezTo>
                        <a:pt x="132" y="8"/>
                        <a:pt x="132" y="8"/>
                        <a:pt x="132" y="8"/>
                      </a:cubicBezTo>
                      <a:cubicBezTo>
                        <a:pt x="132" y="3"/>
                        <a:pt x="128" y="0"/>
                        <a:pt x="124" y="0"/>
                      </a:cubicBezTo>
                      <a:close/>
                    </a:path>
                  </a:pathLst>
                </a:custGeom>
                <a:solidFill>
                  <a:srgbClr val="7B9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3" name="Freeform 7">
                  <a:extLst>
                    <a:ext uri="{FF2B5EF4-FFF2-40B4-BE49-F238E27FC236}">
                      <a16:creationId xmlns:a16="http://schemas.microsoft.com/office/drawing/2014/main" id="{5CA5E44F-214B-461D-8B61-9E25C9909E35}"/>
                    </a:ext>
                  </a:extLst>
                </p:cNvPr>
                <p:cNvSpPr>
                  <a:spLocks noEditPoints="1"/>
                </p:cNvSpPr>
                <p:nvPr/>
              </p:nvSpPr>
              <p:spPr bwMode="auto">
                <a:xfrm>
                  <a:off x="165100" y="3144838"/>
                  <a:ext cx="471488" cy="114300"/>
                </a:xfrm>
                <a:custGeom>
                  <a:avLst/>
                  <a:gdLst>
                    <a:gd name="T0" fmla="*/ 0 w 132"/>
                    <a:gd name="T1" fmla="*/ 25 h 33"/>
                    <a:gd name="T2" fmla="*/ 8 w 132"/>
                    <a:gd name="T3" fmla="*/ 33 h 33"/>
                    <a:gd name="T4" fmla="*/ 124 w 132"/>
                    <a:gd name="T5" fmla="*/ 33 h 33"/>
                    <a:gd name="T6" fmla="*/ 132 w 132"/>
                    <a:gd name="T7" fmla="*/ 25 h 33"/>
                    <a:gd name="T8" fmla="*/ 132 w 132"/>
                    <a:gd name="T9" fmla="*/ 0 h 33"/>
                    <a:gd name="T10" fmla="*/ 0 w 132"/>
                    <a:gd name="T11" fmla="*/ 0 h 33"/>
                    <a:gd name="T12" fmla="*/ 0 w 132"/>
                    <a:gd name="T13" fmla="*/ 25 h 33"/>
                    <a:gd name="T14" fmla="*/ 49 w 132"/>
                    <a:gd name="T15" fmla="*/ 16 h 33"/>
                    <a:gd name="T16" fmla="*/ 53 w 132"/>
                    <a:gd name="T17" fmla="*/ 12 h 33"/>
                    <a:gd name="T18" fmla="*/ 78 w 132"/>
                    <a:gd name="T19" fmla="*/ 12 h 33"/>
                    <a:gd name="T20" fmla="*/ 82 w 132"/>
                    <a:gd name="T21" fmla="*/ 16 h 33"/>
                    <a:gd name="T22" fmla="*/ 82 w 132"/>
                    <a:gd name="T23" fmla="*/ 16 h 33"/>
                    <a:gd name="T24" fmla="*/ 78 w 132"/>
                    <a:gd name="T25" fmla="*/ 20 h 33"/>
                    <a:gd name="T26" fmla="*/ 53 w 132"/>
                    <a:gd name="T27" fmla="*/ 20 h 33"/>
                    <a:gd name="T28" fmla="*/ 49 w 132"/>
                    <a:gd name="T2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33">
                      <a:moveTo>
                        <a:pt x="0" y="25"/>
                      </a:moveTo>
                      <a:cubicBezTo>
                        <a:pt x="0" y="29"/>
                        <a:pt x="3" y="33"/>
                        <a:pt x="8" y="33"/>
                      </a:cubicBezTo>
                      <a:cubicBezTo>
                        <a:pt x="124" y="33"/>
                        <a:pt x="124" y="33"/>
                        <a:pt x="124" y="33"/>
                      </a:cubicBezTo>
                      <a:cubicBezTo>
                        <a:pt x="128" y="33"/>
                        <a:pt x="132" y="29"/>
                        <a:pt x="132" y="25"/>
                      </a:cubicBezTo>
                      <a:cubicBezTo>
                        <a:pt x="132" y="0"/>
                        <a:pt x="132" y="0"/>
                        <a:pt x="132" y="0"/>
                      </a:cubicBezTo>
                      <a:cubicBezTo>
                        <a:pt x="0" y="0"/>
                        <a:pt x="0" y="0"/>
                        <a:pt x="0" y="0"/>
                      </a:cubicBezTo>
                      <a:lnTo>
                        <a:pt x="0" y="25"/>
                      </a:lnTo>
                      <a:close/>
                      <a:moveTo>
                        <a:pt x="49" y="16"/>
                      </a:moveTo>
                      <a:cubicBezTo>
                        <a:pt x="49" y="14"/>
                        <a:pt x="51" y="12"/>
                        <a:pt x="53" y="12"/>
                      </a:cubicBezTo>
                      <a:cubicBezTo>
                        <a:pt x="78" y="12"/>
                        <a:pt x="78" y="12"/>
                        <a:pt x="78" y="12"/>
                      </a:cubicBezTo>
                      <a:cubicBezTo>
                        <a:pt x="81" y="12"/>
                        <a:pt x="82" y="14"/>
                        <a:pt x="82" y="16"/>
                      </a:cubicBezTo>
                      <a:cubicBezTo>
                        <a:pt x="82" y="16"/>
                        <a:pt x="82" y="16"/>
                        <a:pt x="82" y="16"/>
                      </a:cubicBezTo>
                      <a:cubicBezTo>
                        <a:pt x="82" y="18"/>
                        <a:pt x="81" y="20"/>
                        <a:pt x="78" y="20"/>
                      </a:cubicBezTo>
                      <a:cubicBezTo>
                        <a:pt x="53" y="20"/>
                        <a:pt x="53" y="20"/>
                        <a:pt x="53" y="20"/>
                      </a:cubicBezTo>
                      <a:cubicBezTo>
                        <a:pt x="51" y="20"/>
                        <a:pt x="49" y="18"/>
                        <a:pt x="49" y="16"/>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grpSp>
          <p:nvGrpSpPr>
            <p:cNvPr id="157" name="Group 156">
              <a:extLst>
                <a:ext uri="{FF2B5EF4-FFF2-40B4-BE49-F238E27FC236}">
                  <a16:creationId xmlns:a16="http://schemas.microsoft.com/office/drawing/2014/main" id="{8835ADC5-7F94-42CD-B9A0-8693F07FE051}"/>
                </a:ext>
              </a:extLst>
            </p:cNvPr>
            <p:cNvGrpSpPr/>
            <p:nvPr/>
          </p:nvGrpSpPr>
          <p:grpSpPr>
            <a:xfrm>
              <a:off x="6690496" y="4231626"/>
              <a:ext cx="796254" cy="796466"/>
              <a:chOff x="7788048" y="2223094"/>
              <a:chExt cx="885760" cy="885997"/>
            </a:xfrm>
          </p:grpSpPr>
          <p:sp>
            <p:nvSpPr>
              <p:cNvPr id="158" name="Arc 157">
                <a:extLst>
                  <a:ext uri="{FF2B5EF4-FFF2-40B4-BE49-F238E27FC236}">
                    <a16:creationId xmlns:a16="http://schemas.microsoft.com/office/drawing/2014/main" id="{6D7ECD6F-2C44-4C1B-ACE1-0C25635772C7}"/>
                  </a:ext>
                </a:extLst>
              </p:cNvPr>
              <p:cNvSpPr/>
              <p:nvPr/>
            </p:nvSpPr>
            <p:spPr>
              <a:xfrm rot="10800000">
                <a:off x="7788050" y="2223094"/>
                <a:ext cx="885757" cy="885997"/>
              </a:xfrm>
              <a:prstGeom prst="arc">
                <a:avLst>
                  <a:gd name="adj1" fmla="val 2005536"/>
                  <a:gd name="adj2" fmla="val 8681385"/>
                </a:avLst>
              </a:prstGeom>
              <a:ln w="28575" cap="rnd" cmpd="sng">
                <a:solidFill>
                  <a:schemeClr val="accent1"/>
                </a:solidFill>
                <a:headEnd type="none" w="sm" len="sm"/>
                <a:tailEnd type="triangle" w="med"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159" name="Arc 158">
                <a:extLst>
                  <a:ext uri="{FF2B5EF4-FFF2-40B4-BE49-F238E27FC236}">
                    <a16:creationId xmlns:a16="http://schemas.microsoft.com/office/drawing/2014/main" id="{C20DB1D0-58F9-4AD6-8DB3-ABF65299DEAF}"/>
                  </a:ext>
                </a:extLst>
              </p:cNvPr>
              <p:cNvSpPr/>
              <p:nvPr/>
            </p:nvSpPr>
            <p:spPr>
              <a:xfrm>
                <a:off x="7788048" y="2223099"/>
                <a:ext cx="885760" cy="885987"/>
              </a:xfrm>
              <a:prstGeom prst="arc">
                <a:avLst>
                  <a:gd name="adj1" fmla="val 2130324"/>
                  <a:gd name="adj2" fmla="val 8806550"/>
                </a:avLst>
              </a:prstGeom>
              <a:ln w="28575" cap="rnd" cmpd="sng">
                <a:solidFill>
                  <a:schemeClr val="accent1"/>
                </a:solidFill>
                <a:headEnd type="none" w="med" len="sm"/>
                <a:tailEnd type="triangle" w="med"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grpSp>
        <p:grpSp>
          <p:nvGrpSpPr>
            <p:cNvPr id="160" name="Group 159">
              <a:extLst>
                <a:ext uri="{FF2B5EF4-FFF2-40B4-BE49-F238E27FC236}">
                  <a16:creationId xmlns:a16="http://schemas.microsoft.com/office/drawing/2014/main" id="{4DF36018-F7C0-4EC1-9151-AF4444443A90}"/>
                </a:ext>
              </a:extLst>
            </p:cNvPr>
            <p:cNvGrpSpPr/>
            <p:nvPr/>
          </p:nvGrpSpPr>
          <p:grpSpPr>
            <a:xfrm>
              <a:off x="7521435" y="4412769"/>
              <a:ext cx="127515" cy="199682"/>
              <a:chOff x="1228193" y="2253875"/>
              <a:chExt cx="641952" cy="1005263"/>
            </a:xfrm>
          </p:grpSpPr>
          <p:grpSp>
            <p:nvGrpSpPr>
              <p:cNvPr id="161" name="Group 160">
                <a:extLst>
                  <a:ext uri="{FF2B5EF4-FFF2-40B4-BE49-F238E27FC236}">
                    <a16:creationId xmlns:a16="http://schemas.microsoft.com/office/drawing/2014/main" id="{5533E770-0F46-44F8-BD62-EFAF31F4066E}"/>
                  </a:ext>
                </a:extLst>
              </p:cNvPr>
              <p:cNvGrpSpPr/>
              <p:nvPr/>
            </p:nvGrpSpPr>
            <p:grpSpPr>
              <a:xfrm>
                <a:off x="1467314" y="2253875"/>
                <a:ext cx="402831" cy="400358"/>
                <a:chOff x="4054863" y="1116013"/>
                <a:chExt cx="4654550" cy="4625975"/>
              </a:xfrm>
            </p:grpSpPr>
            <p:sp>
              <p:nvSpPr>
                <p:cNvPr id="166" name="Oval 5">
                  <a:extLst>
                    <a:ext uri="{FF2B5EF4-FFF2-40B4-BE49-F238E27FC236}">
                      <a16:creationId xmlns:a16="http://schemas.microsoft.com/office/drawing/2014/main" id="{02AAE39E-6021-48EE-9198-9241A805B00C}"/>
                    </a:ext>
                  </a:extLst>
                </p:cNvPr>
                <p:cNvSpPr>
                  <a:spLocks noChangeArrowheads="1"/>
                </p:cNvSpPr>
                <p:nvPr/>
              </p:nvSpPr>
              <p:spPr bwMode="auto">
                <a:xfrm>
                  <a:off x="4869253" y="1925641"/>
                  <a:ext cx="3013071" cy="299561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7" name="Freeform 6">
                  <a:extLst>
                    <a:ext uri="{FF2B5EF4-FFF2-40B4-BE49-F238E27FC236}">
                      <a16:creationId xmlns:a16="http://schemas.microsoft.com/office/drawing/2014/main" id="{A374F838-43ED-4728-B9E5-E045B8E02542}"/>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8" name="Oval 7">
                  <a:extLst>
                    <a:ext uri="{FF2B5EF4-FFF2-40B4-BE49-F238E27FC236}">
                      <a16:creationId xmlns:a16="http://schemas.microsoft.com/office/drawing/2014/main" id="{DCFB915C-BF94-4982-A627-9C8C5C84104F}"/>
                    </a:ext>
                  </a:extLst>
                </p:cNvPr>
                <p:cNvSpPr>
                  <a:spLocks noChangeArrowheads="1"/>
                </p:cNvSpPr>
                <p:nvPr/>
              </p:nvSpPr>
              <p:spPr bwMode="auto">
                <a:xfrm>
                  <a:off x="5642366" y="2667002"/>
                  <a:ext cx="1466852" cy="151129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62" name="Group 161">
                <a:extLst>
                  <a:ext uri="{FF2B5EF4-FFF2-40B4-BE49-F238E27FC236}">
                    <a16:creationId xmlns:a16="http://schemas.microsoft.com/office/drawing/2014/main" id="{E35A5106-422B-483B-B973-BC3B6314A192}"/>
                  </a:ext>
                </a:extLst>
              </p:cNvPr>
              <p:cNvGrpSpPr/>
              <p:nvPr/>
            </p:nvGrpSpPr>
            <p:grpSpPr>
              <a:xfrm>
                <a:off x="1228193" y="2432050"/>
                <a:ext cx="471488" cy="827088"/>
                <a:chOff x="165100" y="2432050"/>
                <a:chExt cx="471488" cy="827088"/>
              </a:xfrm>
            </p:grpSpPr>
            <p:sp>
              <p:nvSpPr>
                <p:cNvPr id="163" name="Freeform 5">
                  <a:extLst>
                    <a:ext uri="{FF2B5EF4-FFF2-40B4-BE49-F238E27FC236}">
                      <a16:creationId xmlns:a16="http://schemas.microsoft.com/office/drawing/2014/main" id="{4E7D1234-BAD1-4C31-93AC-E5C3B5DB8D45}"/>
                    </a:ext>
                  </a:extLst>
                </p:cNvPr>
                <p:cNvSpPr>
                  <a:spLocks/>
                </p:cNvSpPr>
                <p:nvPr/>
              </p:nvSpPr>
              <p:spPr bwMode="auto">
                <a:xfrm>
                  <a:off x="339725" y="3186113"/>
                  <a:ext cx="119063" cy="28575"/>
                </a:xfrm>
                <a:custGeom>
                  <a:avLst/>
                  <a:gdLst>
                    <a:gd name="T0" fmla="*/ 4 w 33"/>
                    <a:gd name="T1" fmla="*/ 8 h 8"/>
                    <a:gd name="T2" fmla="*/ 29 w 33"/>
                    <a:gd name="T3" fmla="*/ 8 h 8"/>
                    <a:gd name="T4" fmla="*/ 33 w 33"/>
                    <a:gd name="T5" fmla="*/ 4 h 8"/>
                    <a:gd name="T6" fmla="*/ 33 w 33"/>
                    <a:gd name="T7" fmla="*/ 4 h 8"/>
                    <a:gd name="T8" fmla="*/ 29 w 33"/>
                    <a:gd name="T9" fmla="*/ 0 h 8"/>
                    <a:gd name="T10" fmla="*/ 4 w 33"/>
                    <a:gd name="T11" fmla="*/ 0 h 8"/>
                    <a:gd name="T12" fmla="*/ 0 w 33"/>
                    <a:gd name="T13" fmla="*/ 4 h 8"/>
                    <a:gd name="T14" fmla="*/ 0 w 33"/>
                    <a:gd name="T15" fmla="*/ 4 h 8"/>
                    <a:gd name="T16" fmla="*/ 4 w 3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8">
                      <a:moveTo>
                        <a:pt x="4" y="8"/>
                      </a:moveTo>
                      <a:cubicBezTo>
                        <a:pt x="29" y="8"/>
                        <a:pt x="29" y="8"/>
                        <a:pt x="29" y="8"/>
                      </a:cubicBezTo>
                      <a:cubicBezTo>
                        <a:pt x="32" y="8"/>
                        <a:pt x="33" y="6"/>
                        <a:pt x="33" y="4"/>
                      </a:cubicBezTo>
                      <a:cubicBezTo>
                        <a:pt x="33" y="4"/>
                        <a:pt x="33" y="4"/>
                        <a:pt x="33" y="4"/>
                      </a:cubicBezTo>
                      <a:cubicBezTo>
                        <a:pt x="33" y="2"/>
                        <a:pt x="32" y="0"/>
                        <a:pt x="29" y="0"/>
                      </a:cubicBezTo>
                      <a:cubicBezTo>
                        <a:pt x="4" y="0"/>
                        <a:pt x="4" y="0"/>
                        <a:pt x="4" y="0"/>
                      </a:cubicBezTo>
                      <a:cubicBezTo>
                        <a:pt x="2" y="0"/>
                        <a:pt x="0" y="2"/>
                        <a:pt x="0" y="4"/>
                      </a:cubicBezTo>
                      <a:cubicBezTo>
                        <a:pt x="0" y="4"/>
                        <a:pt x="0" y="4"/>
                        <a:pt x="0" y="4"/>
                      </a:cubicBezTo>
                      <a:cubicBezTo>
                        <a:pt x="0" y="6"/>
                        <a:pt x="2" y="8"/>
                        <a:pt x="4" y="8"/>
                      </a:cubicBezTo>
                      <a:close/>
                    </a:path>
                  </a:pathLst>
                </a:custGeom>
                <a:solidFill>
                  <a:srgbClr val="7B9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4" name="Freeform 6">
                  <a:extLst>
                    <a:ext uri="{FF2B5EF4-FFF2-40B4-BE49-F238E27FC236}">
                      <a16:creationId xmlns:a16="http://schemas.microsoft.com/office/drawing/2014/main" id="{B49AA7EE-5C6D-4864-9A8B-796B7147F22F}"/>
                    </a:ext>
                  </a:extLst>
                </p:cNvPr>
                <p:cNvSpPr>
                  <a:spLocks/>
                </p:cNvSpPr>
                <p:nvPr/>
              </p:nvSpPr>
              <p:spPr bwMode="auto">
                <a:xfrm>
                  <a:off x="165100" y="2432050"/>
                  <a:ext cx="471488" cy="712788"/>
                </a:xfrm>
                <a:custGeom>
                  <a:avLst/>
                  <a:gdLst>
                    <a:gd name="T0" fmla="*/ 124 w 132"/>
                    <a:gd name="T1" fmla="*/ 0 h 207"/>
                    <a:gd name="T2" fmla="*/ 8 w 132"/>
                    <a:gd name="T3" fmla="*/ 0 h 207"/>
                    <a:gd name="T4" fmla="*/ 0 w 132"/>
                    <a:gd name="T5" fmla="*/ 8 h 207"/>
                    <a:gd name="T6" fmla="*/ 0 w 132"/>
                    <a:gd name="T7" fmla="*/ 187 h 207"/>
                    <a:gd name="T8" fmla="*/ 0 w 132"/>
                    <a:gd name="T9" fmla="*/ 207 h 207"/>
                    <a:gd name="T10" fmla="*/ 132 w 132"/>
                    <a:gd name="T11" fmla="*/ 207 h 207"/>
                    <a:gd name="T12" fmla="*/ 132 w 132"/>
                    <a:gd name="T13" fmla="*/ 187 h 207"/>
                    <a:gd name="T14" fmla="*/ 132 w 132"/>
                    <a:gd name="T15" fmla="*/ 8 h 207"/>
                    <a:gd name="T16" fmla="*/ 124 w 132"/>
                    <a:gd name="T1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207">
                      <a:moveTo>
                        <a:pt x="124" y="0"/>
                      </a:moveTo>
                      <a:cubicBezTo>
                        <a:pt x="8" y="0"/>
                        <a:pt x="8" y="0"/>
                        <a:pt x="8" y="0"/>
                      </a:cubicBezTo>
                      <a:cubicBezTo>
                        <a:pt x="3" y="0"/>
                        <a:pt x="0" y="3"/>
                        <a:pt x="0" y="8"/>
                      </a:cubicBezTo>
                      <a:cubicBezTo>
                        <a:pt x="0" y="187"/>
                        <a:pt x="0" y="187"/>
                        <a:pt x="0" y="187"/>
                      </a:cubicBezTo>
                      <a:cubicBezTo>
                        <a:pt x="0" y="207"/>
                        <a:pt x="0" y="207"/>
                        <a:pt x="0" y="207"/>
                      </a:cubicBezTo>
                      <a:cubicBezTo>
                        <a:pt x="132" y="207"/>
                        <a:pt x="132" y="207"/>
                        <a:pt x="132" y="207"/>
                      </a:cubicBezTo>
                      <a:cubicBezTo>
                        <a:pt x="132" y="187"/>
                        <a:pt x="132" y="187"/>
                        <a:pt x="132" y="187"/>
                      </a:cubicBezTo>
                      <a:cubicBezTo>
                        <a:pt x="132" y="8"/>
                        <a:pt x="132" y="8"/>
                        <a:pt x="132" y="8"/>
                      </a:cubicBezTo>
                      <a:cubicBezTo>
                        <a:pt x="132" y="3"/>
                        <a:pt x="128" y="0"/>
                        <a:pt x="124" y="0"/>
                      </a:cubicBezTo>
                      <a:close/>
                    </a:path>
                  </a:pathLst>
                </a:custGeom>
                <a:solidFill>
                  <a:srgbClr val="7B9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65" name="Freeform 7">
                  <a:extLst>
                    <a:ext uri="{FF2B5EF4-FFF2-40B4-BE49-F238E27FC236}">
                      <a16:creationId xmlns:a16="http://schemas.microsoft.com/office/drawing/2014/main" id="{E62C9A35-726A-454B-83AB-7C34B7C21D91}"/>
                    </a:ext>
                  </a:extLst>
                </p:cNvPr>
                <p:cNvSpPr>
                  <a:spLocks noEditPoints="1"/>
                </p:cNvSpPr>
                <p:nvPr/>
              </p:nvSpPr>
              <p:spPr bwMode="auto">
                <a:xfrm>
                  <a:off x="165100" y="3144838"/>
                  <a:ext cx="471488" cy="114300"/>
                </a:xfrm>
                <a:custGeom>
                  <a:avLst/>
                  <a:gdLst>
                    <a:gd name="T0" fmla="*/ 0 w 132"/>
                    <a:gd name="T1" fmla="*/ 25 h 33"/>
                    <a:gd name="T2" fmla="*/ 8 w 132"/>
                    <a:gd name="T3" fmla="*/ 33 h 33"/>
                    <a:gd name="T4" fmla="*/ 124 w 132"/>
                    <a:gd name="T5" fmla="*/ 33 h 33"/>
                    <a:gd name="T6" fmla="*/ 132 w 132"/>
                    <a:gd name="T7" fmla="*/ 25 h 33"/>
                    <a:gd name="T8" fmla="*/ 132 w 132"/>
                    <a:gd name="T9" fmla="*/ 0 h 33"/>
                    <a:gd name="T10" fmla="*/ 0 w 132"/>
                    <a:gd name="T11" fmla="*/ 0 h 33"/>
                    <a:gd name="T12" fmla="*/ 0 w 132"/>
                    <a:gd name="T13" fmla="*/ 25 h 33"/>
                    <a:gd name="T14" fmla="*/ 49 w 132"/>
                    <a:gd name="T15" fmla="*/ 16 h 33"/>
                    <a:gd name="T16" fmla="*/ 53 w 132"/>
                    <a:gd name="T17" fmla="*/ 12 h 33"/>
                    <a:gd name="T18" fmla="*/ 78 w 132"/>
                    <a:gd name="T19" fmla="*/ 12 h 33"/>
                    <a:gd name="T20" fmla="*/ 82 w 132"/>
                    <a:gd name="T21" fmla="*/ 16 h 33"/>
                    <a:gd name="T22" fmla="*/ 82 w 132"/>
                    <a:gd name="T23" fmla="*/ 16 h 33"/>
                    <a:gd name="T24" fmla="*/ 78 w 132"/>
                    <a:gd name="T25" fmla="*/ 20 h 33"/>
                    <a:gd name="T26" fmla="*/ 53 w 132"/>
                    <a:gd name="T27" fmla="*/ 20 h 33"/>
                    <a:gd name="T28" fmla="*/ 49 w 132"/>
                    <a:gd name="T2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33">
                      <a:moveTo>
                        <a:pt x="0" y="25"/>
                      </a:moveTo>
                      <a:cubicBezTo>
                        <a:pt x="0" y="29"/>
                        <a:pt x="3" y="33"/>
                        <a:pt x="8" y="33"/>
                      </a:cubicBezTo>
                      <a:cubicBezTo>
                        <a:pt x="124" y="33"/>
                        <a:pt x="124" y="33"/>
                        <a:pt x="124" y="33"/>
                      </a:cubicBezTo>
                      <a:cubicBezTo>
                        <a:pt x="128" y="33"/>
                        <a:pt x="132" y="29"/>
                        <a:pt x="132" y="25"/>
                      </a:cubicBezTo>
                      <a:cubicBezTo>
                        <a:pt x="132" y="0"/>
                        <a:pt x="132" y="0"/>
                        <a:pt x="132" y="0"/>
                      </a:cubicBezTo>
                      <a:cubicBezTo>
                        <a:pt x="0" y="0"/>
                        <a:pt x="0" y="0"/>
                        <a:pt x="0" y="0"/>
                      </a:cubicBezTo>
                      <a:lnTo>
                        <a:pt x="0" y="25"/>
                      </a:lnTo>
                      <a:close/>
                      <a:moveTo>
                        <a:pt x="49" y="16"/>
                      </a:moveTo>
                      <a:cubicBezTo>
                        <a:pt x="49" y="14"/>
                        <a:pt x="51" y="12"/>
                        <a:pt x="53" y="12"/>
                      </a:cubicBezTo>
                      <a:cubicBezTo>
                        <a:pt x="78" y="12"/>
                        <a:pt x="78" y="12"/>
                        <a:pt x="78" y="12"/>
                      </a:cubicBezTo>
                      <a:cubicBezTo>
                        <a:pt x="81" y="12"/>
                        <a:pt x="82" y="14"/>
                        <a:pt x="82" y="16"/>
                      </a:cubicBezTo>
                      <a:cubicBezTo>
                        <a:pt x="82" y="16"/>
                        <a:pt x="82" y="16"/>
                        <a:pt x="82" y="16"/>
                      </a:cubicBezTo>
                      <a:cubicBezTo>
                        <a:pt x="82" y="18"/>
                        <a:pt x="81" y="20"/>
                        <a:pt x="78" y="20"/>
                      </a:cubicBezTo>
                      <a:cubicBezTo>
                        <a:pt x="53" y="20"/>
                        <a:pt x="53" y="20"/>
                        <a:pt x="53" y="20"/>
                      </a:cubicBezTo>
                      <a:cubicBezTo>
                        <a:pt x="51" y="20"/>
                        <a:pt x="49" y="18"/>
                        <a:pt x="49" y="16"/>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pic>
          <p:nvPicPr>
            <p:cNvPr id="169" name="Picture 168">
              <a:extLst>
                <a:ext uri="{FF2B5EF4-FFF2-40B4-BE49-F238E27FC236}">
                  <a16:creationId xmlns:a16="http://schemas.microsoft.com/office/drawing/2014/main" id="{AD3EB1E2-07D7-4BB4-A493-8EB43F3A48BD}"/>
                </a:ext>
              </a:extLst>
            </p:cNvPr>
            <p:cNvPicPr>
              <a:picLocks noChangeAspect="1"/>
            </p:cNvPicPr>
            <p:nvPr/>
          </p:nvPicPr>
          <p:blipFill>
            <a:blip r:embed="rId5"/>
            <a:stretch>
              <a:fillRect/>
            </a:stretch>
          </p:blipFill>
          <p:spPr>
            <a:xfrm>
              <a:off x="7550446" y="4389172"/>
              <a:ext cx="426162" cy="319484"/>
            </a:xfrm>
            <a:prstGeom prst="rect">
              <a:avLst/>
            </a:prstGeom>
          </p:spPr>
        </p:pic>
        <p:grpSp>
          <p:nvGrpSpPr>
            <p:cNvPr id="170" name="Group 169">
              <a:extLst>
                <a:ext uri="{FF2B5EF4-FFF2-40B4-BE49-F238E27FC236}">
                  <a16:creationId xmlns:a16="http://schemas.microsoft.com/office/drawing/2014/main" id="{3BA5C491-C9BE-4597-B250-76EDC4730D28}"/>
                </a:ext>
              </a:extLst>
            </p:cNvPr>
            <p:cNvGrpSpPr/>
            <p:nvPr/>
          </p:nvGrpSpPr>
          <p:grpSpPr>
            <a:xfrm>
              <a:off x="7373182" y="4639629"/>
              <a:ext cx="306826" cy="195603"/>
              <a:chOff x="4031649" y="2666583"/>
              <a:chExt cx="624548" cy="398153"/>
            </a:xfrm>
          </p:grpSpPr>
          <p:grpSp>
            <p:nvGrpSpPr>
              <p:cNvPr id="171" name="Group 4">
                <a:extLst>
                  <a:ext uri="{FF2B5EF4-FFF2-40B4-BE49-F238E27FC236}">
                    <a16:creationId xmlns:a16="http://schemas.microsoft.com/office/drawing/2014/main" id="{BBFE4BDF-DFAC-4E59-839E-D2D9E8CEA536}"/>
                  </a:ext>
                </a:extLst>
              </p:cNvPr>
              <p:cNvGrpSpPr>
                <a:grpSpLocks noChangeAspect="1"/>
              </p:cNvGrpSpPr>
              <p:nvPr/>
            </p:nvGrpSpPr>
            <p:grpSpPr bwMode="auto">
              <a:xfrm>
                <a:off x="4031649" y="2666583"/>
                <a:ext cx="624548" cy="398153"/>
                <a:chOff x="942" y="1778"/>
                <a:chExt cx="2149" cy="1370"/>
              </a:xfrm>
              <a:solidFill>
                <a:srgbClr val="3253DC"/>
              </a:solidFill>
            </p:grpSpPr>
            <p:sp>
              <p:nvSpPr>
                <p:cNvPr id="179" name="Freeform 5">
                  <a:extLst>
                    <a:ext uri="{FF2B5EF4-FFF2-40B4-BE49-F238E27FC236}">
                      <a16:creationId xmlns:a16="http://schemas.microsoft.com/office/drawing/2014/main" id="{50D24DAA-BE84-4408-8BC5-5BC8FCE62346}"/>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80" name="Freeform 6">
                  <a:extLst>
                    <a:ext uri="{FF2B5EF4-FFF2-40B4-BE49-F238E27FC236}">
                      <a16:creationId xmlns:a16="http://schemas.microsoft.com/office/drawing/2014/main" id="{53DCEF73-52A7-42BF-B355-1851523556E0}"/>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sp>
            <p:nvSpPr>
              <p:cNvPr id="172" name="Freeform 176">
                <a:extLst>
                  <a:ext uri="{FF2B5EF4-FFF2-40B4-BE49-F238E27FC236}">
                    <a16:creationId xmlns:a16="http://schemas.microsoft.com/office/drawing/2014/main" id="{BFF04624-6D21-4FE6-9134-8B0C52B8F628}"/>
                  </a:ext>
                </a:extLst>
              </p:cNvPr>
              <p:cNvSpPr>
                <a:spLocks/>
              </p:cNvSpPr>
              <p:nvPr/>
            </p:nvSpPr>
            <p:spPr bwMode="auto">
              <a:xfrm>
                <a:off x="4204576" y="2802629"/>
                <a:ext cx="278696" cy="95241"/>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173" name="Group 172">
                <a:extLst>
                  <a:ext uri="{FF2B5EF4-FFF2-40B4-BE49-F238E27FC236}">
                    <a16:creationId xmlns:a16="http://schemas.microsoft.com/office/drawing/2014/main" id="{858BDA9C-CB96-4630-A54E-8A69D64D9A6C}"/>
                  </a:ext>
                </a:extLst>
              </p:cNvPr>
              <p:cNvGrpSpPr/>
              <p:nvPr/>
            </p:nvGrpSpPr>
            <p:grpSpPr>
              <a:xfrm>
                <a:off x="4241149" y="2824904"/>
                <a:ext cx="205551" cy="50691"/>
                <a:chOff x="11132070" y="3308794"/>
                <a:chExt cx="208750" cy="47391"/>
              </a:xfrm>
              <a:solidFill>
                <a:schemeClr val="accent6">
                  <a:lumMod val="40000"/>
                  <a:lumOff val="60000"/>
                </a:schemeClr>
              </a:solidFill>
            </p:grpSpPr>
            <p:sp>
              <p:nvSpPr>
                <p:cNvPr id="174" name="Freeform 177">
                  <a:extLst>
                    <a:ext uri="{FF2B5EF4-FFF2-40B4-BE49-F238E27FC236}">
                      <a16:creationId xmlns:a16="http://schemas.microsoft.com/office/drawing/2014/main" id="{E5947813-BCD2-49E7-95FE-7A03105DDB04}"/>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75" name="Freeform 178">
                  <a:extLst>
                    <a:ext uri="{FF2B5EF4-FFF2-40B4-BE49-F238E27FC236}">
                      <a16:creationId xmlns:a16="http://schemas.microsoft.com/office/drawing/2014/main" id="{CA2B1DAF-7522-47E5-8A39-1D8A63E812CD}"/>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76" name="Freeform 179">
                  <a:extLst>
                    <a:ext uri="{FF2B5EF4-FFF2-40B4-BE49-F238E27FC236}">
                      <a16:creationId xmlns:a16="http://schemas.microsoft.com/office/drawing/2014/main" id="{08F09A6C-3036-4864-A519-624F39A4FCA6}"/>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77" name="Rectangle 176">
                  <a:extLst>
                    <a:ext uri="{FF2B5EF4-FFF2-40B4-BE49-F238E27FC236}">
                      <a16:creationId xmlns:a16="http://schemas.microsoft.com/office/drawing/2014/main" id="{7F26095B-1758-47DB-822E-69EB560BD1BB}"/>
                    </a:ext>
                  </a:extLst>
                </p:cNvPr>
                <p:cNvSpPr>
                  <a:spLocks noChangeArrowheads="1"/>
                </p:cNvSpPr>
                <p:nvPr/>
              </p:nvSpPr>
              <p:spPr bwMode="auto">
                <a:xfrm>
                  <a:off x="11289985" y="3309614"/>
                  <a:ext cx="5739" cy="460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78" name="Freeform 194">
                  <a:extLst>
                    <a:ext uri="{FF2B5EF4-FFF2-40B4-BE49-F238E27FC236}">
                      <a16:creationId xmlns:a16="http://schemas.microsoft.com/office/drawing/2014/main" id="{722EB7A2-BAE3-4528-9119-9AC5F32BC1AA}"/>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cxnSp>
        <p:nvCxnSpPr>
          <p:cNvPr id="182" name="Straight Connector 181">
            <a:extLst>
              <a:ext uri="{FF2B5EF4-FFF2-40B4-BE49-F238E27FC236}">
                <a16:creationId xmlns:a16="http://schemas.microsoft.com/office/drawing/2014/main" id="{20A7F96D-1C51-4ABA-B1B6-AF490E4674A1}"/>
              </a:ext>
            </a:extLst>
          </p:cNvPr>
          <p:cNvCxnSpPr>
            <a:cxnSpLocks/>
          </p:cNvCxnSpPr>
          <p:nvPr/>
        </p:nvCxnSpPr>
        <p:spPr>
          <a:xfrm>
            <a:off x="9062353" y="391440"/>
            <a:ext cx="0" cy="2138457"/>
          </a:xfrm>
          <a:prstGeom prst="line">
            <a:avLst/>
          </a:prstGeom>
          <a:ln w="12700" cap="rnd">
            <a:solidFill>
              <a:schemeClr val="accent6">
                <a:lumMod val="60000"/>
                <a:lumOff val="40000"/>
              </a:schemeClr>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D8D95BA8-6F39-417E-BE11-14EE9033B592}"/>
              </a:ext>
            </a:extLst>
          </p:cNvPr>
          <p:cNvSpPr txBox="1"/>
          <p:nvPr/>
        </p:nvSpPr>
        <p:spPr>
          <a:xfrm>
            <a:off x="9062353" y="1007058"/>
            <a:ext cx="2855238" cy="941796"/>
          </a:xfrm>
          <a:prstGeom prst="rect">
            <a:avLst/>
          </a:prstGeom>
          <a:noFill/>
        </p:spPr>
        <p:txBody>
          <a:bodyPr wrap="square" lIns="13716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Commercializ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Engaging with global ecosystems to deploy new products and servic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E283C"/>
                </a:solidFill>
                <a:effectLst/>
                <a:uLnTx/>
                <a:uFillTx/>
                <a:latin typeface="Microsoft Sans Serif"/>
                <a:ea typeface="+mn-ea"/>
                <a:cs typeface="Microsoft Sans Serif" panose="020B0604020202020204" pitchFamily="34" charset="0"/>
              </a:rPr>
              <a:t>Successfully productize </a:t>
            </a:r>
            <a:r>
              <a:rPr kumimoji="0" lang="en-US" sz="1200" b="0" i="0" u="none" strike="noStrike" kern="0" cap="none" spc="0" normalizeH="0" baseline="0" noProof="0" dirty="0">
                <a:ln>
                  <a:noFill/>
                </a:ln>
                <a:solidFill>
                  <a:srgbClr val="0E283C"/>
                </a:solidFill>
                <a:effectLst/>
                <a:uLnTx/>
                <a:uFillTx/>
                <a:latin typeface="Microsoft Sans Serif"/>
                <a:ea typeface="+mn-ea"/>
                <a:cs typeface="Microsoft Sans Serif" panose="020B0604020202020204" pitchFamily="34" charset="0"/>
              </a:rPr>
              <a:t>cellular broadcast in our products</a:t>
            </a:r>
          </a:p>
        </p:txBody>
      </p:sp>
      <p:pic>
        <p:nvPicPr>
          <p:cNvPr id="190" name="Picture 189">
            <a:extLst>
              <a:ext uri="{FF2B5EF4-FFF2-40B4-BE49-F238E27FC236}">
                <a16:creationId xmlns:a16="http://schemas.microsoft.com/office/drawing/2014/main" id="{2C0CCCF4-7C48-4587-8E3C-5B418EE5DAF0}"/>
              </a:ext>
            </a:extLst>
          </p:cNvPr>
          <p:cNvPicPr>
            <a:picLocks noChangeAspect="1"/>
          </p:cNvPicPr>
          <p:nvPr/>
        </p:nvPicPr>
        <p:blipFill>
          <a:blip r:embed="rId6"/>
          <a:stretch>
            <a:fillRect/>
          </a:stretch>
        </p:blipFill>
        <p:spPr>
          <a:xfrm>
            <a:off x="9593039" y="338324"/>
            <a:ext cx="801547" cy="801547"/>
          </a:xfrm>
          <a:prstGeom prst="rect">
            <a:avLst/>
          </a:prstGeom>
        </p:spPr>
      </p:pic>
      <p:pic>
        <p:nvPicPr>
          <p:cNvPr id="192" name="Picture 191">
            <a:extLst>
              <a:ext uri="{FF2B5EF4-FFF2-40B4-BE49-F238E27FC236}">
                <a16:creationId xmlns:a16="http://schemas.microsoft.com/office/drawing/2014/main" id="{9775DBA7-F176-47CD-960A-B23C1D0EC2A5}"/>
              </a:ext>
            </a:extLst>
          </p:cNvPr>
          <p:cNvPicPr>
            <a:picLocks noChangeAspect="1"/>
          </p:cNvPicPr>
          <p:nvPr/>
        </p:nvPicPr>
        <p:blipFill>
          <a:blip r:embed="rId7"/>
          <a:stretch>
            <a:fillRect/>
          </a:stretch>
        </p:blipFill>
        <p:spPr>
          <a:xfrm>
            <a:off x="9235965" y="206375"/>
            <a:ext cx="366954" cy="732688"/>
          </a:xfrm>
          <a:prstGeom prst="rect">
            <a:avLst/>
          </a:prstGeom>
          <a:effectLst>
            <a:outerShdw blurRad="88900" dist="38100" dir="2700000" algn="tl" rotWithShape="0">
              <a:prstClr val="black">
                <a:alpha val="40000"/>
              </a:prstClr>
            </a:outerShdw>
          </a:effectLst>
        </p:spPr>
      </p:pic>
      <p:grpSp>
        <p:nvGrpSpPr>
          <p:cNvPr id="16" name="Group 15">
            <a:extLst>
              <a:ext uri="{FF2B5EF4-FFF2-40B4-BE49-F238E27FC236}">
                <a16:creationId xmlns:a16="http://schemas.microsoft.com/office/drawing/2014/main" id="{F33F69EA-D0EB-43E2-99B1-40CF4BF57F48}"/>
              </a:ext>
            </a:extLst>
          </p:cNvPr>
          <p:cNvGrpSpPr/>
          <p:nvPr/>
        </p:nvGrpSpPr>
        <p:grpSpPr>
          <a:xfrm>
            <a:off x="414292" y="2211098"/>
            <a:ext cx="347224" cy="347224"/>
            <a:chOff x="2419289" y="2766785"/>
            <a:chExt cx="218594" cy="218595"/>
          </a:xfrm>
        </p:grpSpPr>
        <p:sp>
          <p:nvSpPr>
            <p:cNvPr id="17" name="Oval 16">
              <a:extLst>
                <a:ext uri="{FF2B5EF4-FFF2-40B4-BE49-F238E27FC236}">
                  <a16:creationId xmlns:a16="http://schemas.microsoft.com/office/drawing/2014/main" id="{AACDEE78-6147-4869-AAF1-7F52850278E4}"/>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18" name="Oval 17">
              <a:extLst>
                <a:ext uri="{FF2B5EF4-FFF2-40B4-BE49-F238E27FC236}">
                  <a16:creationId xmlns:a16="http://schemas.microsoft.com/office/drawing/2014/main" id="{C11904EE-62AC-4E72-9EE4-BF29382CCBA0}"/>
                </a:ext>
              </a:extLst>
            </p:cNvPr>
            <p:cNvSpPr/>
            <p:nvPr/>
          </p:nvSpPr>
          <p:spPr bwMode="gray">
            <a:xfrm>
              <a:off x="2446700" y="2791732"/>
              <a:ext cx="163772" cy="163772"/>
            </a:xfrm>
            <a:prstGeom prst="ellipse">
              <a:avLst/>
            </a:prstGeom>
            <a:solidFill>
              <a:schemeClr val="accent5"/>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1</a:t>
              </a:r>
            </a:p>
          </p:txBody>
        </p:sp>
      </p:grpSp>
      <p:grpSp>
        <p:nvGrpSpPr>
          <p:cNvPr id="110" name="Group 109">
            <a:extLst>
              <a:ext uri="{FF2B5EF4-FFF2-40B4-BE49-F238E27FC236}">
                <a16:creationId xmlns:a16="http://schemas.microsoft.com/office/drawing/2014/main" id="{82EF6B03-6ADA-48B6-B2D2-9CC370E55EBB}"/>
              </a:ext>
            </a:extLst>
          </p:cNvPr>
          <p:cNvGrpSpPr/>
          <p:nvPr/>
        </p:nvGrpSpPr>
        <p:grpSpPr>
          <a:xfrm>
            <a:off x="3804072" y="2211098"/>
            <a:ext cx="347224" cy="347224"/>
            <a:chOff x="2419289" y="2766785"/>
            <a:chExt cx="218594" cy="218595"/>
          </a:xfrm>
        </p:grpSpPr>
        <p:sp>
          <p:nvSpPr>
            <p:cNvPr id="111" name="Oval 110">
              <a:extLst>
                <a:ext uri="{FF2B5EF4-FFF2-40B4-BE49-F238E27FC236}">
                  <a16:creationId xmlns:a16="http://schemas.microsoft.com/office/drawing/2014/main" id="{3AD4F853-194A-4E1A-AA9C-E5438F9BB868}"/>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112" name="Oval 111">
              <a:extLst>
                <a:ext uri="{FF2B5EF4-FFF2-40B4-BE49-F238E27FC236}">
                  <a16:creationId xmlns:a16="http://schemas.microsoft.com/office/drawing/2014/main" id="{38296EFC-AC57-4006-A281-22643E10686E}"/>
                </a:ext>
              </a:extLst>
            </p:cNvPr>
            <p:cNvSpPr/>
            <p:nvPr/>
          </p:nvSpPr>
          <p:spPr bwMode="gray">
            <a:xfrm>
              <a:off x="2446700" y="2791732"/>
              <a:ext cx="163772" cy="163772"/>
            </a:xfrm>
            <a:prstGeom prst="ellipse">
              <a:avLst/>
            </a:prstGeom>
            <a:solidFill>
              <a:schemeClr val="accent3"/>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3</a:t>
              </a:r>
            </a:p>
          </p:txBody>
        </p:sp>
      </p:grpSp>
      <p:grpSp>
        <p:nvGrpSpPr>
          <p:cNvPr id="22" name="Group 21">
            <a:extLst>
              <a:ext uri="{FF2B5EF4-FFF2-40B4-BE49-F238E27FC236}">
                <a16:creationId xmlns:a16="http://schemas.microsoft.com/office/drawing/2014/main" id="{A7A8DA9A-3711-4B8F-977B-63A642653610}"/>
              </a:ext>
            </a:extLst>
          </p:cNvPr>
          <p:cNvGrpSpPr/>
          <p:nvPr/>
        </p:nvGrpSpPr>
        <p:grpSpPr>
          <a:xfrm>
            <a:off x="2109182" y="2211098"/>
            <a:ext cx="347224" cy="347224"/>
            <a:chOff x="2419289" y="2766785"/>
            <a:chExt cx="218594" cy="218595"/>
          </a:xfrm>
        </p:grpSpPr>
        <p:sp>
          <p:nvSpPr>
            <p:cNvPr id="23" name="Oval 22">
              <a:extLst>
                <a:ext uri="{FF2B5EF4-FFF2-40B4-BE49-F238E27FC236}">
                  <a16:creationId xmlns:a16="http://schemas.microsoft.com/office/drawing/2014/main" id="{D3987C33-8D40-4FA8-8037-D6D941C28EAD}"/>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24" name="Oval 23">
              <a:extLst>
                <a:ext uri="{FF2B5EF4-FFF2-40B4-BE49-F238E27FC236}">
                  <a16:creationId xmlns:a16="http://schemas.microsoft.com/office/drawing/2014/main" id="{4C810CD5-DCCF-49AC-A594-10B601A01E09}"/>
                </a:ext>
              </a:extLst>
            </p:cNvPr>
            <p:cNvSpPr/>
            <p:nvPr/>
          </p:nvSpPr>
          <p:spPr bwMode="gray">
            <a:xfrm>
              <a:off x="2446700" y="2791732"/>
              <a:ext cx="163772" cy="163772"/>
            </a:xfrm>
            <a:prstGeom prst="ellipse">
              <a:avLst/>
            </a:prstGeom>
            <a:solidFill>
              <a:schemeClr val="accent6"/>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2</a:t>
              </a:r>
            </a:p>
          </p:txBody>
        </p:sp>
      </p:grpSp>
      <p:grpSp>
        <p:nvGrpSpPr>
          <p:cNvPr id="126" name="Group 125">
            <a:extLst>
              <a:ext uri="{FF2B5EF4-FFF2-40B4-BE49-F238E27FC236}">
                <a16:creationId xmlns:a16="http://schemas.microsoft.com/office/drawing/2014/main" id="{AF39F890-0CED-40EE-A772-7C542219CB12}"/>
              </a:ext>
            </a:extLst>
          </p:cNvPr>
          <p:cNvGrpSpPr/>
          <p:nvPr/>
        </p:nvGrpSpPr>
        <p:grpSpPr>
          <a:xfrm>
            <a:off x="5498962" y="2211098"/>
            <a:ext cx="347224" cy="347224"/>
            <a:chOff x="2419289" y="2766785"/>
            <a:chExt cx="218594" cy="218595"/>
          </a:xfrm>
        </p:grpSpPr>
        <p:sp>
          <p:nvSpPr>
            <p:cNvPr id="127" name="Oval 126">
              <a:extLst>
                <a:ext uri="{FF2B5EF4-FFF2-40B4-BE49-F238E27FC236}">
                  <a16:creationId xmlns:a16="http://schemas.microsoft.com/office/drawing/2014/main" id="{08D8108D-1530-43B5-A645-1F5470D4E704}"/>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128" name="Oval 127">
              <a:extLst>
                <a:ext uri="{FF2B5EF4-FFF2-40B4-BE49-F238E27FC236}">
                  <a16:creationId xmlns:a16="http://schemas.microsoft.com/office/drawing/2014/main" id="{C8D61429-4382-412F-B7E5-4FB46124E799}"/>
                </a:ext>
              </a:extLst>
            </p:cNvPr>
            <p:cNvSpPr/>
            <p:nvPr/>
          </p:nvSpPr>
          <p:spPr bwMode="gray">
            <a:xfrm>
              <a:off x="2446700" y="2791732"/>
              <a:ext cx="163772" cy="163772"/>
            </a:xfrm>
            <a:prstGeom prst="ellipse">
              <a:avLst/>
            </a:prstGeom>
            <a:solidFill>
              <a:schemeClr val="accent4"/>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4</a:t>
              </a:r>
            </a:p>
          </p:txBody>
        </p:sp>
      </p:grpSp>
      <p:grpSp>
        <p:nvGrpSpPr>
          <p:cNvPr id="136" name="Group 135">
            <a:extLst>
              <a:ext uri="{FF2B5EF4-FFF2-40B4-BE49-F238E27FC236}">
                <a16:creationId xmlns:a16="http://schemas.microsoft.com/office/drawing/2014/main" id="{599FA49B-53BD-410C-A5A7-9333CB989AAC}"/>
              </a:ext>
            </a:extLst>
          </p:cNvPr>
          <p:cNvGrpSpPr/>
          <p:nvPr/>
        </p:nvGrpSpPr>
        <p:grpSpPr>
          <a:xfrm>
            <a:off x="7193852" y="2211098"/>
            <a:ext cx="347224" cy="347224"/>
            <a:chOff x="2419289" y="2766785"/>
            <a:chExt cx="218594" cy="218595"/>
          </a:xfrm>
        </p:grpSpPr>
        <p:sp>
          <p:nvSpPr>
            <p:cNvPr id="137" name="Oval 136">
              <a:extLst>
                <a:ext uri="{FF2B5EF4-FFF2-40B4-BE49-F238E27FC236}">
                  <a16:creationId xmlns:a16="http://schemas.microsoft.com/office/drawing/2014/main" id="{5598F659-1EAE-479E-9B9C-98D73FA068A6}"/>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138" name="Oval 137">
              <a:extLst>
                <a:ext uri="{FF2B5EF4-FFF2-40B4-BE49-F238E27FC236}">
                  <a16:creationId xmlns:a16="http://schemas.microsoft.com/office/drawing/2014/main" id="{72E02E8B-0873-4CB8-B212-0EABC876771B}"/>
                </a:ext>
              </a:extLst>
            </p:cNvPr>
            <p:cNvSpPr/>
            <p:nvPr/>
          </p:nvSpPr>
          <p:spPr bwMode="gray">
            <a:xfrm>
              <a:off x="2446700" y="2791732"/>
              <a:ext cx="163772" cy="163772"/>
            </a:xfrm>
            <a:prstGeom prst="ellipse">
              <a:avLst/>
            </a:prstGeom>
            <a:solidFill>
              <a:schemeClr val="accent2"/>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5</a:t>
              </a:r>
            </a:p>
          </p:txBody>
        </p:sp>
      </p:grpSp>
      <p:grpSp>
        <p:nvGrpSpPr>
          <p:cNvPr id="184" name="Group 183">
            <a:extLst>
              <a:ext uri="{FF2B5EF4-FFF2-40B4-BE49-F238E27FC236}">
                <a16:creationId xmlns:a16="http://schemas.microsoft.com/office/drawing/2014/main" id="{47CC609B-DE8F-4186-AE85-8E11EC3CEB06}"/>
              </a:ext>
            </a:extLst>
          </p:cNvPr>
          <p:cNvGrpSpPr/>
          <p:nvPr/>
        </p:nvGrpSpPr>
        <p:grpSpPr>
          <a:xfrm>
            <a:off x="8888741" y="2211098"/>
            <a:ext cx="347224" cy="347224"/>
            <a:chOff x="2419289" y="2766785"/>
            <a:chExt cx="218594" cy="218595"/>
          </a:xfrm>
        </p:grpSpPr>
        <p:sp>
          <p:nvSpPr>
            <p:cNvPr id="185" name="Oval 184">
              <a:extLst>
                <a:ext uri="{FF2B5EF4-FFF2-40B4-BE49-F238E27FC236}">
                  <a16:creationId xmlns:a16="http://schemas.microsoft.com/office/drawing/2014/main" id="{54C0B8B1-E916-4471-A218-23B46A43255B}"/>
                </a:ext>
              </a:extLst>
            </p:cNvPr>
            <p:cNvSpPr/>
            <p:nvPr/>
          </p:nvSpPr>
          <p:spPr bwMode="gray">
            <a:xfrm>
              <a:off x="2419289" y="2766785"/>
              <a:ext cx="218594" cy="218595"/>
            </a:xfrm>
            <a:prstGeom prst="ellipse">
              <a:avLst/>
            </a:prstGeom>
            <a:gradFill flip="none" rotWithShape="1">
              <a:gsLst>
                <a:gs pos="0">
                  <a:srgbClr val="A4A8B9">
                    <a:lumMod val="60000"/>
                    <a:lumOff val="40000"/>
                  </a:srgbClr>
                </a:gs>
                <a:gs pos="100000">
                  <a:srgbClr val="FFFFFF"/>
                </a:gs>
              </a:gsLst>
              <a:path path="circle">
                <a:fillToRect t="100000" r="100000"/>
              </a:path>
              <a:tileRect l="-100000" b="-100000"/>
            </a:gradFill>
            <a:ln w="10795" cap="flat" cmpd="sng" algn="ctr">
              <a:noFill/>
              <a:prstDash val="solid"/>
            </a:ln>
            <a:effectLst/>
          </p:spPr>
          <p:txBody>
            <a:bodyPr rot="0" spcFirstLastPara="0" vertOverflow="overflow" horzOverflow="overflow" vert="horz" wrap="square" lIns="97135" tIns="48567" rIns="97135" bIns="48567"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endParaRPr kumimoji="0" lang="en-US" sz="3999" b="0" i="0" u="none" strike="noStrike" kern="0" cap="none" spc="0" normalizeH="0" baseline="0" noProof="0" err="1">
                <a:ln>
                  <a:noFill/>
                </a:ln>
                <a:solidFill>
                  <a:prstClr val="white"/>
                </a:solidFill>
                <a:effectLst/>
                <a:uLnTx/>
                <a:uFillTx/>
                <a:latin typeface="Microsoft Sans Serif"/>
                <a:ea typeface="+mn-ea"/>
                <a:cs typeface="+mn-cs"/>
              </a:endParaRPr>
            </a:p>
          </p:txBody>
        </p:sp>
        <p:sp>
          <p:nvSpPr>
            <p:cNvPr id="186" name="Oval 185">
              <a:extLst>
                <a:ext uri="{FF2B5EF4-FFF2-40B4-BE49-F238E27FC236}">
                  <a16:creationId xmlns:a16="http://schemas.microsoft.com/office/drawing/2014/main" id="{072B1BA5-C490-4FAB-A187-B2FBC0E0EE8F}"/>
                </a:ext>
              </a:extLst>
            </p:cNvPr>
            <p:cNvSpPr/>
            <p:nvPr/>
          </p:nvSpPr>
          <p:spPr bwMode="gray">
            <a:xfrm>
              <a:off x="2446700" y="2791732"/>
              <a:ext cx="163772" cy="163772"/>
            </a:xfrm>
            <a:prstGeom prst="ellipse">
              <a:avLst/>
            </a:prstGeom>
            <a:solidFill>
              <a:schemeClr val="accent1"/>
            </a:solidFill>
            <a:ln w="10795" cap="flat" cmpd="sng" algn="ctr">
              <a:noFill/>
              <a:prstDash val="solid"/>
            </a:ln>
            <a:effectLst>
              <a:outerShdw blurRad="647700" dist="355600" dir="10800000" algn="t" rotWithShape="0">
                <a:prstClr val="black">
                  <a:alpha val="27000"/>
                </a:prstClr>
              </a:outerShdw>
            </a:effectLst>
          </p:spPr>
          <p:txBody>
            <a:bodyPr rot="0" spcFirstLastPara="0" vertOverflow="overflow" horzOverflow="overflow" vert="horz" wrap="square" lIns="114276" tIns="57138" rIns="114276" bIns="57138" numCol="1" spcCol="0" rtlCol="0" fromWordArt="0" anchor="ctr" anchorCtr="0" forceAA="0" compatLnSpc="1">
              <a:prstTxWarp prst="textNoShape">
                <a:avLst/>
              </a:prstTxWarp>
              <a:noAutofit/>
            </a:bodyPr>
            <a:lstStyle/>
            <a:p>
              <a:pPr marL="0" marR="0" lvl="0" indent="0" algn="ctr" defTabSz="114264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Microsoft Sans Serif"/>
                  <a:ea typeface="+mn-ea"/>
                  <a:cs typeface="+mn-cs"/>
                </a:rPr>
                <a:t>6</a:t>
              </a:r>
            </a:p>
          </p:txBody>
        </p:sp>
      </p:grpSp>
      <p:pic>
        <p:nvPicPr>
          <p:cNvPr id="6" name="Picture 5">
            <a:extLst>
              <a:ext uri="{FF2B5EF4-FFF2-40B4-BE49-F238E27FC236}">
                <a16:creationId xmlns:a16="http://schemas.microsoft.com/office/drawing/2014/main" id="{45AA419E-B5B6-4A2D-AF23-E0E3C27D9113}"/>
              </a:ext>
            </a:extLst>
          </p:cNvPr>
          <p:cNvPicPr>
            <a:picLocks noChangeAspect="1"/>
          </p:cNvPicPr>
          <p:nvPr/>
        </p:nvPicPr>
        <p:blipFill>
          <a:blip r:embed="rId8"/>
          <a:stretch>
            <a:fillRect/>
          </a:stretch>
        </p:blipFill>
        <p:spPr>
          <a:xfrm>
            <a:off x="9385498" y="3755025"/>
            <a:ext cx="952095" cy="533976"/>
          </a:xfrm>
          <a:prstGeom prst="rect">
            <a:avLst/>
          </a:prstGeom>
        </p:spPr>
      </p:pic>
      <p:pic>
        <p:nvPicPr>
          <p:cNvPr id="8" name="Picture 7">
            <a:extLst>
              <a:ext uri="{FF2B5EF4-FFF2-40B4-BE49-F238E27FC236}">
                <a16:creationId xmlns:a16="http://schemas.microsoft.com/office/drawing/2014/main" id="{E8AFB414-B0F6-49B7-86D7-AE8E987A74D3}"/>
              </a:ext>
            </a:extLst>
          </p:cNvPr>
          <p:cNvPicPr>
            <a:picLocks noChangeAspect="1"/>
          </p:cNvPicPr>
          <p:nvPr/>
        </p:nvPicPr>
        <p:blipFill>
          <a:blip r:embed="rId9"/>
          <a:stretch>
            <a:fillRect/>
          </a:stretch>
        </p:blipFill>
        <p:spPr>
          <a:xfrm>
            <a:off x="9385498" y="4319265"/>
            <a:ext cx="952095" cy="530932"/>
          </a:xfrm>
          <a:prstGeom prst="rect">
            <a:avLst/>
          </a:prstGeom>
        </p:spPr>
      </p:pic>
      <p:sp>
        <p:nvSpPr>
          <p:cNvPr id="9" name="TextBox 8">
            <a:extLst>
              <a:ext uri="{FF2B5EF4-FFF2-40B4-BE49-F238E27FC236}">
                <a16:creationId xmlns:a16="http://schemas.microsoft.com/office/drawing/2014/main" id="{FDAD3B13-B136-47F9-861B-4FD2A1286F3F}"/>
              </a:ext>
            </a:extLst>
          </p:cNvPr>
          <p:cNvSpPr txBox="1"/>
          <p:nvPr/>
        </p:nvSpPr>
        <p:spPr>
          <a:xfrm>
            <a:off x="9235965" y="4885726"/>
            <a:ext cx="1287212" cy="147733"/>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000" b="0" i="0" u="none" strike="noStrike" kern="1200" cap="none" spc="0" normalizeH="0" baseline="0" noProof="0">
                <a:ln>
                  <a:noFill/>
                </a:ln>
                <a:solidFill>
                  <a:srgbClr val="0E283C"/>
                </a:solidFill>
                <a:effectLst/>
                <a:uLnTx/>
                <a:uFillTx/>
                <a:latin typeface="Microsoft Sans Serif"/>
                <a:ea typeface="+mn-ea"/>
                <a:cs typeface="Microsoft Sans Serif" panose="020B0604020202020204" pitchFamily="34" charset="0"/>
              </a:rPr>
              <a:t>Joint demo at MWC’23</a:t>
            </a:r>
          </a:p>
        </p:txBody>
      </p:sp>
    </p:spTree>
    <p:extLst>
      <p:ext uri="{BB962C8B-B14F-4D97-AF65-F5344CB8AC3E}">
        <p14:creationId xmlns:p14="http://schemas.microsoft.com/office/powerpoint/2010/main" val="299727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Arrow: Pentagon 226">
            <a:extLst>
              <a:ext uri="{FF2B5EF4-FFF2-40B4-BE49-F238E27FC236}">
                <a16:creationId xmlns:a16="http://schemas.microsoft.com/office/drawing/2014/main" id="{1AD5EFBE-704D-4024-8802-147919EFD8AD}"/>
              </a:ext>
            </a:extLst>
          </p:cNvPr>
          <p:cNvSpPr/>
          <p:nvPr/>
        </p:nvSpPr>
        <p:spPr>
          <a:xfrm>
            <a:off x="0" y="2211013"/>
            <a:ext cx="6203339" cy="3782278"/>
          </a:xfrm>
          <a:prstGeom prst="homePlate">
            <a:avLst>
              <a:gd name="adj" fmla="val 48144"/>
            </a:avLst>
          </a:prstGeom>
          <a:solidFill>
            <a:schemeClr val="accent6">
              <a:lumMod val="40000"/>
              <a:lumOff val="60000"/>
              <a:alpha val="3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35" name="Arrow: Pentagon 34">
            <a:extLst>
              <a:ext uri="{FF2B5EF4-FFF2-40B4-BE49-F238E27FC236}">
                <a16:creationId xmlns:a16="http://schemas.microsoft.com/office/drawing/2014/main" id="{42C989DA-7B12-49B1-AAD1-7D5D6D93E818}"/>
              </a:ext>
            </a:extLst>
          </p:cNvPr>
          <p:cNvSpPr/>
          <p:nvPr/>
        </p:nvSpPr>
        <p:spPr>
          <a:xfrm flipH="1">
            <a:off x="5805854" y="2211016"/>
            <a:ext cx="6384552" cy="3782848"/>
          </a:xfrm>
          <a:prstGeom prst="homePlate">
            <a:avLst>
              <a:gd name="adj" fmla="val 48557"/>
            </a:avLst>
          </a:prstGeom>
          <a:solidFill>
            <a:schemeClr val="accent6">
              <a:lumMod val="40000"/>
              <a:lumOff val="60000"/>
              <a:alpha val="35000"/>
            </a:schemeClr>
          </a:solidFill>
          <a:ln>
            <a:no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42" name="Oval 41">
            <a:extLst>
              <a:ext uri="{FF2B5EF4-FFF2-40B4-BE49-F238E27FC236}">
                <a16:creationId xmlns:a16="http://schemas.microsoft.com/office/drawing/2014/main" id="{D871BA3F-7D42-4A32-B5E6-6BA55C329A2D}"/>
              </a:ext>
            </a:extLst>
          </p:cNvPr>
          <p:cNvSpPr/>
          <p:nvPr/>
        </p:nvSpPr>
        <p:spPr>
          <a:xfrm>
            <a:off x="4671542" y="2705481"/>
            <a:ext cx="2800772" cy="28007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Microsoft Sans Serif"/>
              <a:ea typeface="+mn-ea"/>
              <a:cs typeface="+mn-cs"/>
            </a:endParaRPr>
          </a:p>
        </p:txBody>
      </p:sp>
      <p:sp>
        <p:nvSpPr>
          <p:cNvPr id="2" name="Title 1">
            <a:extLst>
              <a:ext uri="{FF2B5EF4-FFF2-40B4-BE49-F238E27FC236}">
                <a16:creationId xmlns:a16="http://schemas.microsoft.com/office/drawing/2014/main" id="{4F9587A3-BA6E-42FC-89A3-F3EAE47F517C}"/>
              </a:ext>
            </a:extLst>
          </p:cNvPr>
          <p:cNvSpPr>
            <a:spLocks noGrp="1"/>
          </p:cNvSpPr>
          <p:nvPr>
            <p:ph type="title"/>
          </p:nvPr>
        </p:nvSpPr>
        <p:spPr/>
        <p:txBody>
          <a:bodyPr/>
          <a:lstStyle/>
          <a:p>
            <a:r>
              <a:rPr lang="en-US" dirty="0"/>
              <a:t>5G Broadcast: the technology</a:t>
            </a:r>
          </a:p>
        </p:txBody>
      </p:sp>
      <p:sp>
        <p:nvSpPr>
          <p:cNvPr id="5" name="Subtitle 4">
            <a:extLst>
              <a:ext uri="{FF2B5EF4-FFF2-40B4-BE49-F238E27FC236}">
                <a16:creationId xmlns:a16="http://schemas.microsoft.com/office/drawing/2014/main" id="{5BF4D5E3-2000-44E2-9C71-455EC3E065B4}"/>
              </a:ext>
            </a:extLst>
          </p:cNvPr>
          <p:cNvSpPr>
            <a:spLocks noGrp="1"/>
          </p:cNvSpPr>
          <p:nvPr>
            <p:ph type="subTitle" idx="1"/>
          </p:nvPr>
        </p:nvSpPr>
        <p:spPr/>
        <p:txBody>
          <a:bodyPr/>
          <a:lstStyle/>
          <a:p>
            <a:pPr marL="0" indent="0">
              <a:buNone/>
            </a:pPr>
            <a:r>
              <a:rPr lang="en-US" dirty="0"/>
              <a:t>Main technology components</a:t>
            </a:r>
          </a:p>
        </p:txBody>
      </p:sp>
      <p:sp>
        <p:nvSpPr>
          <p:cNvPr id="43" name="Rectangle 42">
            <a:extLst>
              <a:ext uri="{FF2B5EF4-FFF2-40B4-BE49-F238E27FC236}">
                <a16:creationId xmlns:a16="http://schemas.microsoft.com/office/drawing/2014/main" id="{E22011FB-00F0-4CC7-B34E-CF2ED6D28116}"/>
              </a:ext>
            </a:extLst>
          </p:cNvPr>
          <p:cNvSpPr/>
          <p:nvPr/>
        </p:nvSpPr>
        <p:spPr>
          <a:xfrm>
            <a:off x="7843633" y="1766036"/>
            <a:ext cx="408050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Microsoft Sans Serif"/>
                <a:ea typeface="+mn-ea"/>
                <a:cs typeface="+mn-cs"/>
              </a:rPr>
              <a:t>System layer enhancements</a:t>
            </a:r>
          </a:p>
        </p:txBody>
      </p:sp>
      <p:sp>
        <p:nvSpPr>
          <p:cNvPr id="44" name="Rectangle 43">
            <a:extLst>
              <a:ext uri="{FF2B5EF4-FFF2-40B4-BE49-F238E27FC236}">
                <a16:creationId xmlns:a16="http://schemas.microsoft.com/office/drawing/2014/main" id="{DCF5CE27-A432-4D7D-8235-4BCB7CF9AADA}"/>
              </a:ext>
            </a:extLst>
          </p:cNvPr>
          <p:cNvSpPr/>
          <p:nvPr/>
        </p:nvSpPr>
        <p:spPr>
          <a:xfrm>
            <a:off x="488228" y="1766036"/>
            <a:ext cx="409559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Microsoft Sans Serif"/>
                <a:ea typeface="+mn-ea"/>
                <a:cs typeface="+mn-cs"/>
              </a:rPr>
              <a:t>Radio access enhancements</a:t>
            </a:r>
          </a:p>
        </p:txBody>
      </p:sp>
      <p:sp>
        <p:nvSpPr>
          <p:cNvPr id="228" name="Oval 227">
            <a:extLst>
              <a:ext uri="{FF2B5EF4-FFF2-40B4-BE49-F238E27FC236}">
                <a16:creationId xmlns:a16="http://schemas.microsoft.com/office/drawing/2014/main" id="{2059E8B6-C74E-42AE-917D-A271D70BC1EE}"/>
              </a:ext>
            </a:extLst>
          </p:cNvPr>
          <p:cNvSpPr/>
          <p:nvPr/>
        </p:nvSpPr>
        <p:spPr>
          <a:xfrm>
            <a:off x="5152689" y="3166593"/>
            <a:ext cx="1830356" cy="188282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Microsoft Sans Serif"/>
                <a:ea typeface="+mn-ea"/>
                <a:cs typeface="+mn-cs"/>
              </a:rPr>
              <a:t>Rel-14 </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Microsoft Sans Serif"/>
                <a:ea typeface="+mn-ea"/>
                <a:cs typeface="+mn-cs"/>
              </a:rPr>
              <a:t>enTV</a:t>
            </a:r>
            <a:r>
              <a:rPr kumimoji="0" lang="en-US" sz="3200" b="0" i="0" u="none" strike="noStrike" kern="1200" cap="none" spc="0" normalizeH="0" baseline="30000" noProof="0" dirty="0">
                <a:ln>
                  <a:noFill/>
                </a:ln>
                <a:solidFill>
                  <a:prstClr val="white"/>
                </a:solidFill>
                <a:effectLst/>
                <a:uLnTx/>
                <a:uFillTx/>
                <a:latin typeface="Microsoft Sans Serif"/>
                <a:ea typeface="+mn-ea"/>
                <a:cs typeface="+mn-cs"/>
              </a:rPr>
              <a:t>1</a:t>
            </a:r>
            <a:endParaRPr kumimoji="0" lang="en-US" sz="1800" b="0" i="0" u="none" strike="noStrike" kern="1200" cap="none" spc="0" normalizeH="0" baseline="30000" noProof="0" dirty="0">
              <a:ln>
                <a:noFill/>
              </a:ln>
              <a:solidFill>
                <a:prstClr val="white"/>
              </a:solidFill>
              <a:effectLst/>
              <a:uLnTx/>
              <a:uFillTx/>
              <a:latin typeface="Microsoft Sans Serif"/>
              <a:ea typeface="+mn-ea"/>
              <a:cs typeface="+mn-cs"/>
            </a:endParaRPr>
          </a:p>
        </p:txBody>
      </p:sp>
      <p:grpSp>
        <p:nvGrpSpPr>
          <p:cNvPr id="360" name="Group 359">
            <a:extLst>
              <a:ext uri="{FF2B5EF4-FFF2-40B4-BE49-F238E27FC236}">
                <a16:creationId xmlns:a16="http://schemas.microsoft.com/office/drawing/2014/main" id="{566197C6-B29F-4CAE-87CE-F20BFAF970F3}"/>
              </a:ext>
            </a:extLst>
          </p:cNvPr>
          <p:cNvGrpSpPr/>
          <p:nvPr/>
        </p:nvGrpSpPr>
        <p:grpSpPr bwMode="gray">
          <a:xfrm>
            <a:off x="4651093" y="2665162"/>
            <a:ext cx="2874556" cy="2874556"/>
            <a:chOff x="2253530" y="553761"/>
            <a:chExt cx="2342448" cy="2342449"/>
          </a:xfrm>
        </p:grpSpPr>
        <p:sp>
          <p:nvSpPr>
            <p:cNvPr id="361" name="Oval 360">
              <a:extLst>
                <a:ext uri="{FF2B5EF4-FFF2-40B4-BE49-F238E27FC236}">
                  <a16:creationId xmlns:a16="http://schemas.microsoft.com/office/drawing/2014/main" id="{81907B33-37B9-4BC5-84FD-83109D9BFE94}"/>
                </a:ext>
              </a:extLst>
            </p:cNvPr>
            <p:cNvSpPr/>
            <p:nvPr/>
          </p:nvSpPr>
          <p:spPr bwMode="gray">
            <a:xfrm>
              <a:off x="2253530" y="553761"/>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Microsoft Sans Serif"/>
                <a:ea typeface="+mn-ea"/>
                <a:cs typeface="+mn-cs"/>
              </a:endParaRPr>
            </a:p>
          </p:txBody>
        </p:sp>
        <p:sp>
          <p:nvSpPr>
            <p:cNvPr id="362" name="Oval 361">
              <a:extLst>
                <a:ext uri="{FF2B5EF4-FFF2-40B4-BE49-F238E27FC236}">
                  <a16:creationId xmlns:a16="http://schemas.microsoft.com/office/drawing/2014/main" id="{5AEA96CE-1FB8-4AAA-9362-AE91575F5891}"/>
                </a:ext>
              </a:extLst>
            </p:cNvPr>
            <p:cNvSpPr/>
            <p:nvPr/>
          </p:nvSpPr>
          <p:spPr bwMode="gray">
            <a:xfrm>
              <a:off x="2547266" y="847497"/>
              <a:ext cx="1754976" cy="1754976"/>
            </a:xfrm>
            <a:prstGeom prst="ellipse">
              <a:avLst/>
            </a:prstGeom>
            <a:gradFill flip="none" rotWithShape="1">
              <a:gsLst>
                <a:gs pos="100000">
                  <a:schemeClr val="bg1"/>
                </a:gs>
                <a:gs pos="0">
                  <a:schemeClr val="bg1">
                    <a:lumMod val="85000"/>
                  </a:schemeClr>
                </a:gs>
              </a:gsLst>
              <a:lin ang="0" scaled="1"/>
              <a:tileRect/>
            </a:gradFill>
            <a:ln>
              <a:noFill/>
            </a:ln>
            <a:effectLst>
              <a:outerShdw blurRad="381000" dist="127000" dir="10800000" algn="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lumMod val="85000"/>
                      <a:lumOff val="15000"/>
                    </a:srgbClr>
                  </a:solidFill>
                  <a:effectLst/>
                  <a:uLnTx/>
                  <a:uFillTx/>
                  <a:latin typeface="Microsoft Sans Serif"/>
                  <a:ea typeface="+mn-ea"/>
                  <a:cs typeface="+mn-cs"/>
                </a:rPr>
                <a:t>Rel</a:t>
              </a:r>
              <a:r>
                <a:rPr kumimoji="0" lang="en-US" sz="2000" b="1" i="0" u="none" strike="noStrike" kern="1200" cap="none" spc="-300" normalizeH="0" baseline="0" noProof="0" dirty="0">
                  <a:ln>
                    <a:noFill/>
                  </a:ln>
                  <a:solidFill>
                    <a:srgbClr val="000000">
                      <a:lumMod val="85000"/>
                      <a:lumOff val="15000"/>
                    </a:srgbClr>
                  </a:solidFill>
                  <a:effectLst/>
                  <a:uLnTx/>
                  <a:uFillTx/>
                  <a:latin typeface="Microsoft Sans Serif"/>
                  <a:ea typeface="+mn-ea"/>
                  <a:cs typeface="+mn-cs"/>
                </a:rPr>
                <a:t>-</a:t>
              </a:r>
              <a:r>
                <a:rPr kumimoji="0" lang="en-US" sz="2000" b="1" i="0" u="none" strike="noStrike" kern="1200" cap="none" spc="0" normalizeH="0" baseline="0" noProof="0" dirty="0">
                  <a:ln>
                    <a:noFill/>
                  </a:ln>
                  <a:solidFill>
                    <a:srgbClr val="000000">
                      <a:lumMod val="85000"/>
                      <a:lumOff val="15000"/>
                    </a:srgbClr>
                  </a:solidFill>
                  <a:effectLst/>
                  <a:uLnTx/>
                  <a:uFillTx/>
                  <a:latin typeface="Microsoft Sans Serif"/>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0000">
                      <a:lumMod val="85000"/>
                      <a:lumOff val="15000"/>
                    </a:srgbClr>
                  </a:solidFill>
                  <a:effectLst/>
                  <a:uLnTx/>
                  <a:uFillTx/>
                  <a:latin typeface="Microsoft Sans Serif"/>
                  <a:ea typeface="+mn-ea"/>
                  <a:cs typeface="+mn-cs"/>
                </a:rPr>
                <a:t>enTV</a:t>
              </a:r>
              <a:endParaRPr kumimoji="0" lang="en-US" sz="2000" b="1" i="0" u="none" strike="noStrike" kern="1200" cap="none" spc="0" normalizeH="0" baseline="0" noProof="0" dirty="0">
                <a:ln>
                  <a:noFill/>
                </a:ln>
                <a:solidFill>
                  <a:srgbClr val="000000">
                    <a:lumMod val="85000"/>
                    <a:lumOff val="15000"/>
                  </a:srgbClr>
                </a:solidFill>
                <a:effectLst/>
                <a:uLnTx/>
                <a:uFillTx/>
                <a:latin typeface="Microsoft Sans Serif"/>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0000">
                      <a:lumMod val="85000"/>
                      <a:lumOff val="15000"/>
                    </a:srgbClr>
                  </a:solidFill>
                  <a:latin typeface="Microsoft Sans Serif"/>
                </a:rPr>
                <a:t> is 5G Broadcast</a:t>
              </a:r>
              <a:endParaRPr kumimoji="0" lang="en-US" b="1" i="0" u="none" strike="noStrike" kern="1200" cap="none" spc="0" normalizeH="0" baseline="80000" noProof="0" dirty="0">
                <a:ln>
                  <a:noFill/>
                </a:ln>
                <a:solidFill>
                  <a:srgbClr val="000000">
                    <a:lumMod val="85000"/>
                    <a:lumOff val="15000"/>
                  </a:srgbClr>
                </a:solidFill>
                <a:effectLst/>
                <a:uLnTx/>
                <a:uFillTx/>
                <a:latin typeface="Microsoft Sans Serif"/>
                <a:ea typeface="+mn-ea"/>
                <a:cs typeface="+mn-cs"/>
              </a:endParaRPr>
            </a:p>
          </p:txBody>
        </p:sp>
      </p:grpSp>
      <p:grpSp>
        <p:nvGrpSpPr>
          <p:cNvPr id="24" name="Group 23">
            <a:extLst>
              <a:ext uri="{FF2B5EF4-FFF2-40B4-BE49-F238E27FC236}">
                <a16:creationId xmlns:a16="http://schemas.microsoft.com/office/drawing/2014/main" id="{DD665501-D0B8-47D8-8325-52FC7CE4F1C9}"/>
              </a:ext>
            </a:extLst>
          </p:cNvPr>
          <p:cNvGrpSpPr/>
          <p:nvPr/>
        </p:nvGrpSpPr>
        <p:grpSpPr>
          <a:xfrm>
            <a:off x="3508057" y="5013119"/>
            <a:ext cx="825817" cy="631906"/>
            <a:chOff x="3413966" y="5223766"/>
            <a:chExt cx="849312" cy="649885"/>
          </a:xfrm>
        </p:grpSpPr>
        <p:sp>
          <p:nvSpPr>
            <p:cNvPr id="118" name="Rectangle: Rounded Corners 117">
              <a:extLst>
                <a:ext uri="{FF2B5EF4-FFF2-40B4-BE49-F238E27FC236}">
                  <a16:creationId xmlns:a16="http://schemas.microsoft.com/office/drawing/2014/main" id="{A527985C-AF11-437B-BEF0-F6F3D5160338}"/>
                </a:ext>
              </a:extLst>
            </p:cNvPr>
            <p:cNvSpPr/>
            <p:nvPr/>
          </p:nvSpPr>
          <p:spPr>
            <a:xfrm>
              <a:off x="3520334" y="5372126"/>
              <a:ext cx="742944" cy="1717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33A0"/>
                </a:solidFill>
                <a:effectLst/>
                <a:uLnTx/>
                <a:uFillTx/>
                <a:latin typeface="Microsoft Sans Serif"/>
                <a:ea typeface="+mn-ea"/>
                <a:cs typeface="+mn-cs"/>
              </a:endParaRPr>
            </a:p>
          </p:txBody>
        </p:sp>
        <p:sp>
          <p:nvSpPr>
            <p:cNvPr id="119" name="Arrow: Down 118">
              <a:extLst>
                <a:ext uri="{FF2B5EF4-FFF2-40B4-BE49-F238E27FC236}">
                  <a16:creationId xmlns:a16="http://schemas.microsoft.com/office/drawing/2014/main" id="{37254B79-31CB-4113-9E7F-93025CC84AF0}"/>
                </a:ext>
              </a:extLst>
            </p:cNvPr>
            <p:cNvSpPr/>
            <p:nvPr/>
          </p:nvSpPr>
          <p:spPr>
            <a:xfrm>
              <a:off x="3816979" y="5565940"/>
              <a:ext cx="140660" cy="124822"/>
            </a:xfrm>
            <a:prstGeom prst="downArrow">
              <a:avLst>
                <a:gd name="adj1" fmla="val 100000"/>
                <a:gd name="adj2" fmla="val 28096"/>
              </a:avLst>
            </a:prstGeom>
            <a:gradFill flip="none" rotWithShape="1">
              <a:gsLst>
                <a:gs pos="75000">
                  <a:schemeClr val="accent2"/>
                </a:gs>
                <a:gs pos="0">
                  <a:schemeClr val="accent2">
                    <a:alpha val="0"/>
                  </a:schemeClr>
                </a:gs>
              </a:gsLst>
              <a:lin ang="5400000" scaled="0"/>
              <a:tileRect/>
            </a:gradFill>
            <a:ln>
              <a:noFill/>
            </a:ln>
          </p:spPr>
          <p:txBody>
            <a:bodyPr rot="0" spcFirstLastPara="0" vertOverflow="overflow" horzOverflow="overflow" vert="horz" wrap="square" lIns="91396" tIns="45699" rIns="91396" bIns="45699"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err="1">
                <a:ln>
                  <a:noFill/>
                </a:ln>
                <a:solidFill>
                  <a:srgbClr val="FFFFFF"/>
                </a:solidFill>
                <a:effectLst/>
                <a:uLnTx/>
                <a:uFillTx/>
                <a:latin typeface="Microsoft Sans Serif"/>
                <a:ea typeface="+mn-ea"/>
                <a:cs typeface="+mn-cs"/>
              </a:endParaRPr>
            </a:p>
          </p:txBody>
        </p:sp>
        <p:sp>
          <p:nvSpPr>
            <p:cNvPr id="120" name="Rectangle: Rounded Corners 119">
              <a:extLst>
                <a:ext uri="{FF2B5EF4-FFF2-40B4-BE49-F238E27FC236}">
                  <a16:creationId xmlns:a16="http://schemas.microsoft.com/office/drawing/2014/main" id="{D3C8D281-B440-4BE0-9582-58309E35AFD7}"/>
                </a:ext>
              </a:extLst>
            </p:cNvPr>
            <p:cNvSpPr/>
            <p:nvPr/>
          </p:nvSpPr>
          <p:spPr>
            <a:xfrm>
              <a:off x="3520333" y="5701918"/>
              <a:ext cx="742943" cy="1717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err="1">
                <a:ln>
                  <a:noFill/>
                </a:ln>
                <a:solidFill>
                  <a:prstClr val="white"/>
                </a:solidFill>
                <a:effectLst/>
                <a:uLnTx/>
                <a:uFillTx/>
                <a:latin typeface="Microsoft Sans Serif"/>
                <a:ea typeface="+mn-ea"/>
                <a:cs typeface="+mn-cs"/>
              </a:endParaRPr>
            </a:p>
          </p:txBody>
        </p:sp>
        <p:sp>
          <p:nvSpPr>
            <p:cNvPr id="121" name="Rectangle: Top Corners Rounded 120">
              <a:extLst>
                <a:ext uri="{FF2B5EF4-FFF2-40B4-BE49-F238E27FC236}">
                  <a16:creationId xmlns:a16="http://schemas.microsoft.com/office/drawing/2014/main" id="{D93D0F18-F9B5-40E7-A96C-B02F6D078FED}"/>
                </a:ext>
              </a:extLst>
            </p:cNvPr>
            <p:cNvSpPr/>
            <p:nvPr/>
          </p:nvSpPr>
          <p:spPr>
            <a:xfrm rot="16200000">
              <a:off x="3503661" y="5388800"/>
              <a:ext cx="170730" cy="13738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Microsoft Sans Serif"/>
                <a:ea typeface="+mn-ea"/>
                <a:cs typeface="+mn-cs"/>
              </a:endParaRPr>
            </a:p>
          </p:txBody>
        </p:sp>
        <p:sp>
          <p:nvSpPr>
            <p:cNvPr id="122" name="Rectangle 121">
              <a:extLst>
                <a:ext uri="{FF2B5EF4-FFF2-40B4-BE49-F238E27FC236}">
                  <a16:creationId xmlns:a16="http://schemas.microsoft.com/office/drawing/2014/main" id="{026846D6-C3C1-4057-9D18-796DF83AF095}"/>
                </a:ext>
              </a:extLst>
            </p:cNvPr>
            <p:cNvSpPr/>
            <p:nvPr/>
          </p:nvSpPr>
          <p:spPr>
            <a:xfrm>
              <a:off x="3747828" y="5402332"/>
              <a:ext cx="403957" cy="107723"/>
            </a:xfrm>
            <a:prstGeom prst="rect">
              <a:avLst/>
            </a:prstGeom>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Microsoft Sans Serif"/>
                  <a:ea typeface="+mn-ea"/>
                  <a:cs typeface="+mn-cs"/>
                </a:rPr>
                <a:t>Broadcast</a:t>
              </a:r>
            </a:p>
          </p:txBody>
        </p:sp>
        <p:sp>
          <p:nvSpPr>
            <p:cNvPr id="123" name="Rectangle 122">
              <a:extLst>
                <a:ext uri="{FF2B5EF4-FFF2-40B4-BE49-F238E27FC236}">
                  <a16:creationId xmlns:a16="http://schemas.microsoft.com/office/drawing/2014/main" id="{1111624E-DA84-4E69-9898-F452FB17BAB0}"/>
                </a:ext>
              </a:extLst>
            </p:cNvPr>
            <p:cNvSpPr/>
            <p:nvPr/>
          </p:nvSpPr>
          <p:spPr>
            <a:xfrm>
              <a:off x="3680138" y="5733061"/>
              <a:ext cx="403957" cy="107722"/>
            </a:xfrm>
            <a:prstGeom prst="rect">
              <a:avLst/>
            </a:prstGeom>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Microsoft Sans Serif"/>
                  <a:ea typeface="+mn-ea"/>
                  <a:cs typeface="+mn-cs"/>
                </a:rPr>
                <a:t>Broadcast</a:t>
              </a:r>
            </a:p>
          </p:txBody>
        </p:sp>
        <p:sp>
          <p:nvSpPr>
            <p:cNvPr id="124" name="Rectangle 123">
              <a:extLst>
                <a:ext uri="{FF2B5EF4-FFF2-40B4-BE49-F238E27FC236}">
                  <a16:creationId xmlns:a16="http://schemas.microsoft.com/office/drawing/2014/main" id="{4ADB2F78-ED05-4699-BA40-7D553F56A59E}"/>
                </a:ext>
              </a:extLst>
            </p:cNvPr>
            <p:cNvSpPr/>
            <p:nvPr/>
          </p:nvSpPr>
          <p:spPr>
            <a:xfrm>
              <a:off x="3413966" y="5223766"/>
              <a:ext cx="779381" cy="100288"/>
            </a:xfrm>
            <a:prstGeom prst="rect">
              <a:avLst/>
            </a:prstGeom>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253DC"/>
                  </a:solidFill>
                  <a:effectLst/>
                  <a:uLnTx/>
                  <a:uFillTx/>
                  <a:latin typeface="Microsoft Sans Serif"/>
                  <a:ea typeface="+mn-ea"/>
                  <a:cs typeface="+mn-cs"/>
                </a:rPr>
                <a:t>Unicast control</a:t>
              </a:r>
            </a:p>
          </p:txBody>
        </p:sp>
        <p:cxnSp>
          <p:nvCxnSpPr>
            <p:cNvPr id="125" name="Straight Arrow Connector 124">
              <a:extLst>
                <a:ext uri="{FF2B5EF4-FFF2-40B4-BE49-F238E27FC236}">
                  <a16:creationId xmlns:a16="http://schemas.microsoft.com/office/drawing/2014/main" id="{A8F0401D-3284-426C-905D-1F147543086F}"/>
                </a:ext>
              </a:extLst>
            </p:cNvPr>
            <p:cNvCxnSpPr>
              <a:cxnSpLocks/>
            </p:cNvCxnSpPr>
            <p:nvPr/>
          </p:nvCxnSpPr>
          <p:spPr>
            <a:xfrm>
              <a:off x="3589027" y="5339013"/>
              <a:ext cx="0" cy="153539"/>
            </a:xfrm>
            <a:prstGeom prst="straightConnector1">
              <a:avLst/>
            </a:prstGeom>
            <a:ln w="12700" cap="rnd">
              <a:solidFill>
                <a:schemeClr val="accent1"/>
              </a:solidFill>
              <a:round/>
              <a:headEnd w="lg" len="lg"/>
              <a:tailEnd type="triangle" w="sm" len="sm"/>
            </a:ln>
          </p:spPr>
          <p:style>
            <a:lnRef idx="1">
              <a:schemeClr val="accent1"/>
            </a:lnRef>
            <a:fillRef idx="0">
              <a:schemeClr val="accent1"/>
            </a:fillRef>
            <a:effectRef idx="0">
              <a:schemeClr val="accent1"/>
            </a:effectRef>
            <a:fontRef idx="minor">
              <a:schemeClr val="tx1"/>
            </a:fontRef>
          </p:style>
        </p:cxnSp>
      </p:grpSp>
      <p:sp>
        <p:nvSpPr>
          <p:cNvPr id="237" name="Freeform 17">
            <a:extLst>
              <a:ext uri="{FF2B5EF4-FFF2-40B4-BE49-F238E27FC236}">
                <a16:creationId xmlns:a16="http://schemas.microsoft.com/office/drawing/2014/main" id="{F1DA610B-7F1E-40AE-8EB6-4F79FF35A65F}"/>
              </a:ext>
            </a:extLst>
          </p:cNvPr>
          <p:cNvSpPr>
            <a:spLocks/>
          </p:cNvSpPr>
          <p:nvPr/>
        </p:nvSpPr>
        <p:spPr bwMode="auto">
          <a:xfrm>
            <a:off x="10957665" y="2851924"/>
            <a:ext cx="0" cy="749"/>
          </a:xfrm>
          <a:custGeom>
            <a:avLst/>
            <a:gdLst>
              <a:gd name="T0" fmla="*/ 2 h 2"/>
              <a:gd name="T1" fmla="*/ 2 h 2"/>
              <a:gd name="T2" fmla="*/ 2 h 2"/>
            </a:gdLst>
            <a:ahLst/>
            <a:cxnLst>
              <a:cxn ang="0">
                <a:pos x="0" y="T0"/>
              </a:cxn>
              <a:cxn ang="0">
                <a:pos x="0" y="T1"/>
              </a:cxn>
              <a:cxn ang="0">
                <a:pos x="0" y="T2"/>
              </a:cxn>
            </a:cxnLst>
            <a:rect l="0" t="0" r="r" b="b"/>
            <a:pathLst>
              <a:path h="2">
                <a:moveTo>
                  <a:pt x="0" y="2"/>
                </a:moveTo>
                <a:cubicBezTo>
                  <a:pt x="0" y="2"/>
                  <a:pt x="0" y="2"/>
                  <a:pt x="0" y="2"/>
                </a:cubicBezTo>
                <a:cubicBezTo>
                  <a:pt x="0" y="0"/>
                  <a:pt x="0" y="0"/>
                  <a:pt x="0" y="2"/>
                </a:cubicBezTo>
                <a:close/>
              </a:path>
            </a:pathLst>
          </a:custGeom>
          <a:solidFill>
            <a:srgbClr val="919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0" name="Rectangle 239">
            <a:extLst>
              <a:ext uri="{FF2B5EF4-FFF2-40B4-BE49-F238E27FC236}">
                <a16:creationId xmlns:a16="http://schemas.microsoft.com/office/drawing/2014/main" id="{F7D85D13-6B52-4433-BC3E-0793C8D885A3}"/>
              </a:ext>
            </a:extLst>
          </p:cNvPr>
          <p:cNvSpPr>
            <a:spLocks noChangeArrowheads="1"/>
          </p:cNvSpPr>
          <p:nvPr/>
        </p:nvSpPr>
        <p:spPr bwMode="auto">
          <a:xfrm>
            <a:off x="10731098" y="2561714"/>
            <a:ext cx="453134" cy="2428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grpSp>
        <p:nvGrpSpPr>
          <p:cNvPr id="37" name="Group 36">
            <a:extLst>
              <a:ext uri="{FF2B5EF4-FFF2-40B4-BE49-F238E27FC236}">
                <a16:creationId xmlns:a16="http://schemas.microsoft.com/office/drawing/2014/main" id="{A94DC068-0C72-4DA9-ABEE-750E1A685FB3}"/>
              </a:ext>
            </a:extLst>
          </p:cNvPr>
          <p:cNvGrpSpPr/>
          <p:nvPr/>
        </p:nvGrpSpPr>
        <p:grpSpPr>
          <a:xfrm>
            <a:off x="10518568" y="3002259"/>
            <a:ext cx="1166665" cy="1018854"/>
            <a:chOff x="10508978" y="2963946"/>
            <a:chExt cx="1221063" cy="1066360"/>
          </a:xfrm>
        </p:grpSpPr>
        <p:sp>
          <p:nvSpPr>
            <p:cNvPr id="284" name="Arc 283">
              <a:extLst>
                <a:ext uri="{FF2B5EF4-FFF2-40B4-BE49-F238E27FC236}">
                  <a16:creationId xmlns:a16="http://schemas.microsoft.com/office/drawing/2014/main" id="{EEF4F2A0-DE51-4D40-8DA9-AF53DE20EC72}"/>
                </a:ext>
              </a:extLst>
            </p:cNvPr>
            <p:cNvSpPr/>
            <p:nvPr/>
          </p:nvSpPr>
          <p:spPr>
            <a:xfrm rot="4803674">
              <a:off x="10576746" y="2896178"/>
              <a:ext cx="960478" cy="1096014"/>
            </a:xfrm>
            <a:prstGeom prst="arc">
              <a:avLst>
                <a:gd name="adj1" fmla="val 17920402"/>
                <a:gd name="adj2" fmla="val 21537044"/>
              </a:avLst>
            </a:prstGeom>
            <a:ln w="12700" cap="rnd">
              <a:solidFill>
                <a:schemeClr val="accent1"/>
              </a:solidFill>
              <a:round/>
              <a:headEnd type="none" w="med" len="med"/>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grpSp>
          <p:nvGrpSpPr>
            <p:cNvPr id="395" name="Group 394">
              <a:extLst>
                <a:ext uri="{FF2B5EF4-FFF2-40B4-BE49-F238E27FC236}">
                  <a16:creationId xmlns:a16="http://schemas.microsoft.com/office/drawing/2014/main" id="{9565E86F-BE6D-4F2E-BA09-3FF3C40EB619}"/>
                </a:ext>
              </a:extLst>
            </p:cNvPr>
            <p:cNvGrpSpPr/>
            <p:nvPr/>
          </p:nvGrpSpPr>
          <p:grpSpPr>
            <a:xfrm>
              <a:off x="10706559" y="3701512"/>
              <a:ext cx="447604" cy="328794"/>
              <a:chOff x="6770266" y="1768944"/>
              <a:chExt cx="1005840" cy="738855"/>
            </a:xfrm>
          </p:grpSpPr>
          <p:grpSp>
            <p:nvGrpSpPr>
              <p:cNvPr id="396" name="Group 395">
                <a:extLst>
                  <a:ext uri="{FF2B5EF4-FFF2-40B4-BE49-F238E27FC236}">
                    <a16:creationId xmlns:a16="http://schemas.microsoft.com/office/drawing/2014/main" id="{86EA7E24-F0B9-45B8-BBE6-85E8726ECDB8}"/>
                  </a:ext>
                </a:extLst>
              </p:cNvPr>
              <p:cNvGrpSpPr>
                <a:grpSpLocks noChangeAspect="1"/>
              </p:cNvGrpSpPr>
              <p:nvPr/>
            </p:nvGrpSpPr>
            <p:grpSpPr>
              <a:xfrm>
                <a:off x="6770266" y="1768944"/>
                <a:ext cx="1005840" cy="738855"/>
                <a:chOff x="3516417" y="3025989"/>
                <a:chExt cx="1097280" cy="806023"/>
              </a:xfrm>
            </p:grpSpPr>
            <p:sp>
              <p:nvSpPr>
                <p:cNvPr id="404" name="Freeform 10">
                  <a:extLst>
                    <a:ext uri="{FF2B5EF4-FFF2-40B4-BE49-F238E27FC236}">
                      <a16:creationId xmlns:a16="http://schemas.microsoft.com/office/drawing/2014/main" id="{612A388A-0D61-4E0A-B35C-C158235513A0}"/>
                    </a:ext>
                  </a:extLst>
                </p:cNvPr>
                <p:cNvSpPr>
                  <a:spLocks/>
                </p:cNvSpPr>
                <p:nvPr/>
              </p:nvSpPr>
              <p:spPr bwMode="auto">
                <a:xfrm>
                  <a:off x="3516417" y="3025989"/>
                  <a:ext cx="1097280" cy="806023"/>
                </a:xfrm>
                <a:custGeom>
                  <a:avLst/>
                  <a:gdLst>
                    <a:gd name="T0" fmla="*/ 1221 w 1236"/>
                    <a:gd name="T1" fmla="*/ 850 h 907"/>
                    <a:gd name="T2" fmla="*/ 1144 w 1236"/>
                    <a:gd name="T3" fmla="*/ 731 h 907"/>
                    <a:gd name="T4" fmla="*/ 1074 w 1236"/>
                    <a:gd name="T5" fmla="*/ 698 h 907"/>
                    <a:gd name="T6" fmla="*/ 1108 w 1236"/>
                    <a:gd name="T7" fmla="*/ 658 h 907"/>
                    <a:gd name="T8" fmla="*/ 1108 w 1236"/>
                    <a:gd name="T9" fmla="*/ 40 h 907"/>
                    <a:gd name="T10" fmla="*/ 1067 w 1236"/>
                    <a:gd name="T11" fmla="*/ 0 h 907"/>
                    <a:gd name="T12" fmla="*/ 163 w 1236"/>
                    <a:gd name="T13" fmla="*/ 0 h 907"/>
                    <a:gd name="T14" fmla="*/ 123 w 1236"/>
                    <a:gd name="T15" fmla="*/ 40 h 907"/>
                    <a:gd name="T16" fmla="*/ 123 w 1236"/>
                    <a:gd name="T17" fmla="*/ 658 h 907"/>
                    <a:gd name="T18" fmla="*/ 156 w 1236"/>
                    <a:gd name="T19" fmla="*/ 698 h 907"/>
                    <a:gd name="T20" fmla="*/ 87 w 1236"/>
                    <a:gd name="T21" fmla="*/ 730 h 907"/>
                    <a:gd name="T22" fmla="*/ 13 w 1236"/>
                    <a:gd name="T23" fmla="*/ 851 h 907"/>
                    <a:gd name="T24" fmla="*/ 38 w 1236"/>
                    <a:gd name="T25" fmla="*/ 906 h 907"/>
                    <a:gd name="T26" fmla="*/ 44 w 1236"/>
                    <a:gd name="T27" fmla="*/ 907 h 907"/>
                    <a:gd name="T28" fmla="*/ 1190 w 1236"/>
                    <a:gd name="T29" fmla="*/ 907 h 907"/>
                    <a:gd name="T30" fmla="*/ 1192 w 1236"/>
                    <a:gd name="T31" fmla="*/ 907 h 907"/>
                    <a:gd name="T32" fmla="*/ 1221 w 1236"/>
                    <a:gd name="T33" fmla="*/ 850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6" h="907">
                      <a:moveTo>
                        <a:pt x="1221" y="850"/>
                      </a:moveTo>
                      <a:cubicBezTo>
                        <a:pt x="1144" y="731"/>
                        <a:pt x="1144" y="731"/>
                        <a:pt x="1144" y="731"/>
                      </a:cubicBezTo>
                      <a:cubicBezTo>
                        <a:pt x="1126" y="711"/>
                        <a:pt x="1101" y="699"/>
                        <a:pt x="1074" y="698"/>
                      </a:cubicBezTo>
                      <a:cubicBezTo>
                        <a:pt x="1093" y="694"/>
                        <a:pt x="1108" y="678"/>
                        <a:pt x="1108" y="658"/>
                      </a:cubicBezTo>
                      <a:cubicBezTo>
                        <a:pt x="1108" y="40"/>
                        <a:pt x="1108" y="40"/>
                        <a:pt x="1108" y="40"/>
                      </a:cubicBezTo>
                      <a:cubicBezTo>
                        <a:pt x="1108" y="18"/>
                        <a:pt x="1089" y="0"/>
                        <a:pt x="1067" y="0"/>
                      </a:cubicBezTo>
                      <a:cubicBezTo>
                        <a:pt x="163" y="0"/>
                        <a:pt x="163" y="0"/>
                        <a:pt x="163" y="0"/>
                      </a:cubicBezTo>
                      <a:cubicBezTo>
                        <a:pt x="141" y="0"/>
                        <a:pt x="123" y="18"/>
                        <a:pt x="123" y="40"/>
                      </a:cubicBezTo>
                      <a:cubicBezTo>
                        <a:pt x="123" y="658"/>
                        <a:pt x="123" y="658"/>
                        <a:pt x="123" y="658"/>
                      </a:cubicBezTo>
                      <a:cubicBezTo>
                        <a:pt x="123" y="678"/>
                        <a:pt x="137" y="694"/>
                        <a:pt x="156" y="698"/>
                      </a:cubicBezTo>
                      <a:cubicBezTo>
                        <a:pt x="130" y="700"/>
                        <a:pt x="106" y="711"/>
                        <a:pt x="87" y="730"/>
                      </a:cubicBezTo>
                      <a:cubicBezTo>
                        <a:pt x="13" y="851"/>
                        <a:pt x="13" y="851"/>
                        <a:pt x="13" y="851"/>
                      </a:cubicBezTo>
                      <a:cubicBezTo>
                        <a:pt x="0" y="873"/>
                        <a:pt x="12" y="902"/>
                        <a:pt x="38" y="906"/>
                      </a:cubicBezTo>
                      <a:cubicBezTo>
                        <a:pt x="40" y="906"/>
                        <a:pt x="42" y="907"/>
                        <a:pt x="44" y="907"/>
                      </a:cubicBezTo>
                      <a:cubicBezTo>
                        <a:pt x="1190" y="907"/>
                        <a:pt x="1190" y="907"/>
                        <a:pt x="1190" y="907"/>
                      </a:cubicBezTo>
                      <a:cubicBezTo>
                        <a:pt x="1191" y="907"/>
                        <a:pt x="1192" y="907"/>
                        <a:pt x="1192" y="907"/>
                      </a:cubicBezTo>
                      <a:cubicBezTo>
                        <a:pt x="1220" y="905"/>
                        <a:pt x="1236" y="874"/>
                        <a:pt x="1221" y="850"/>
                      </a:cubicBezTo>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06" name="Rectangle 405">
                  <a:extLst>
                    <a:ext uri="{FF2B5EF4-FFF2-40B4-BE49-F238E27FC236}">
                      <a16:creationId xmlns:a16="http://schemas.microsoft.com/office/drawing/2014/main" id="{340670EA-ADF6-44AB-BF2A-9CB23E0453E4}"/>
                    </a:ext>
                  </a:extLst>
                </p:cNvPr>
                <p:cNvSpPr>
                  <a:spLocks noChangeArrowheads="1"/>
                </p:cNvSpPr>
                <p:nvPr/>
              </p:nvSpPr>
              <p:spPr bwMode="auto">
                <a:xfrm>
                  <a:off x="3660883" y="3062521"/>
                  <a:ext cx="802702" cy="548308"/>
                </a:xfrm>
                <a:prstGeom prst="rect">
                  <a:avLst/>
                </a:prstGeom>
                <a:solidFill>
                  <a:schemeClr val="accent2">
                    <a:lumMod val="60000"/>
                    <a:lumOff val="4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07" name="Rectangle 406">
                  <a:extLst>
                    <a:ext uri="{FF2B5EF4-FFF2-40B4-BE49-F238E27FC236}">
                      <a16:creationId xmlns:a16="http://schemas.microsoft.com/office/drawing/2014/main" id="{49258FB3-BC82-4F24-8D68-131D94F43C40}"/>
                    </a:ext>
                  </a:extLst>
                </p:cNvPr>
                <p:cNvSpPr>
                  <a:spLocks noChangeArrowheads="1"/>
                </p:cNvSpPr>
                <p:nvPr/>
              </p:nvSpPr>
              <p:spPr bwMode="auto">
                <a:xfrm>
                  <a:off x="3660883" y="3062521"/>
                  <a:ext cx="802702" cy="5483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nvGrpSpPr>
              <p:cNvPr id="397" name="Group 396">
                <a:extLst>
                  <a:ext uri="{FF2B5EF4-FFF2-40B4-BE49-F238E27FC236}">
                    <a16:creationId xmlns:a16="http://schemas.microsoft.com/office/drawing/2014/main" id="{F0C31A75-DAA4-4D48-8BBE-0305148BADAA}"/>
                  </a:ext>
                </a:extLst>
              </p:cNvPr>
              <p:cNvGrpSpPr/>
              <p:nvPr/>
            </p:nvGrpSpPr>
            <p:grpSpPr>
              <a:xfrm>
                <a:off x="7031904" y="1961211"/>
                <a:ext cx="482564" cy="151814"/>
                <a:chOff x="10828433" y="2483528"/>
                <a:chExt cx="258463" cy="81313"/>
              </a:xfrm>
            </p:grpSpPr>
            <p:sp>
              <p:nvSpPr>
                <p:cNvPr id="398" name="Freeform 21">
                  <a:extLst>
                    <a:ext uri="{FF2B5EF4-FFF2-40B4-BE49-F238E27FC236}">
                      <a16:creationId xmlns:a16="http://schemas.microsoft.com/office/drawing/2014/main" id="{62526031-4559-4F1A-B864-A0E82003D951}"/>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399" name="Freeform 22">
                  <a:extLst>
                    <a:ext uri="{FF2B5EF4-FFF2-40B4-BE49-F238E27FC236}">
                      <a16:creationId xmlns:a16="http://schemas.microsoft.com/office/drawing/2014/main" id="{5C213937-AC7E-431F-BA51-6520CBCEB88F}"/>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00" name="Freeform 23">
                  <a:extLst>
                    <a:ext uri="{FF2B5EF4-FFF2-40B4-BE49-F238E27FC236}">
                      <a16:creationId xmlns:a16="http://schemas.microsoft.com/office/drawing/2014/main" id="{DE75F7D1-2D18-46D1-89BE-2D0FCDFE5502}"/>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01" name="Freeform 24">
                  <a:extLst>
                    <a:ext uri="{FF2B5EF4-FFF2-40B4-BE49-F238E27FC236}">
                      <a16:creationId xmlns:a16="http://schemas.microsoft.com/office/drawing/2014/main" id="{681A30D2-874A-4FE8-9395-3BCF7F87D706}"/>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02" name="Rectangle 401">
                  <a:extLst>
                    <a:ext uri="{FF2B5EF4-FFF2-40B4-BE49-F238E27FC236}">
                      <a16:creationId xmlns:a16="http://schemas.microsoft.com/office/drawing/2014/main" id="{42C8E660-D0CD-41A6-A5DC-BBBA1C013479}"/>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03" name="Freeform 26">
                  <a:extLst>
                    <a:ext uri="{FF2B5EF4-FFF2-40B4-BE49-F238E27FC236}">
                      <a16:creationId xmlns:a16="http://schemas.microsoft.com/office/drawing/2014/main" id="{14999BBA-7FBA-413E-B9F3-F5E43EA707FA}"/>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nvGrpSpPr>
            <p:cNvPr id="412" name="Group 411">
              <a:extLst>
                <a:ext uri="{FF2B5EF4-FFF2-40B4-BE49-F238E27FC236}">
                  <a16:creationId xmlns:a16="http://schemas.microsoft.com/office/drawing/2014/main" id="{BAC2A0D8-DD47-41D2-A43E-E1F7D4CED20E}"/>
                </a:ext>
              </a:extLst>
            </p:cNvPr>
            <p:cNvGrpSpPr/>
            <p:nvPr/>
          </p:nvGrpSpPr>
          <p:grpSpPr>
            <a:xfrm>
              <a:off x="11146479" y="3414152"/>
              <a:ext cx="229946" cy="391462"/>
              <a:chOff x="1263988" y="2256055"/>
              <a:chExt cx="588051" cy="1001109"/>
            </a:xfrm>
          </p:grpSpPr>
          <p:grpSp>
            <p:nvGrpSpPr>
              <p:cNvPr id="413" name="Group 412">
                <a:extLst>
                  <a:ext uri="{FF2B5EF4-FFF2-40B4-BE49-F238E27FC236}">
                    <a16:creationId xmlns:a16="http://schemas.microsoft.com/office/drawing/2014/main" id="{A7408088-EA31-4BFC-B923-58CCA1EEDFD0}"/>
                  </a:ext>
                </a:extLst>
              </p:cNvPr>
              <p:cNvGrpSpPr/>
              <p:nvPr/>
            </p:nvGrpSpPr>
            <p:grpSpPr>
              <a:xfrm>
                <a:off x="1279490" y="2256055"/>
                <a:ext cx="564752" cy="561286"/>
                <a:chOff x="4054863" y="1116013"/>
                <a:chExt cx="4654550" cy="4625975"/>
              </a:xfrm>
            </p:grpSpPr>
            <p:sp>
              <p:nvSpPr>
                <p:cNvPr id="417" name="Oval 5">
                  <a:extLst>
                    <a:ext uri="{FF2B5EF4-FFF2-40B4-BE49-F238E27FC236}">
                      <a16:creationId xmlns:a16="http://schemas.microsoft.com/office/drawing/2014/main" id="{B3F75A17-6B65-4853-85DA-90F19BBD8BAB}"/>
                    </a:ext>
                  </a:extLst>
                </p:cNvPr>
                <p:cNvSpPr>
                  <a:spLocks noChangeArrowheads="1"/>
                </p:cNvSpPr>
                <p:nvPr/>
              </p:nvSpPr>
              <p:spPr bwMode="auto">
                <a:xfrm>
                  <a:off x="4869253" y="1925641"/>
                  <a:ext cx="3013071" cy="2995618"/>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18" name="Freeform 6">
                  <a:extLst>
                    <a:ext uri="{FF2B5EF4-FFF2-40B4-BE49-F238E27FC236}">
                      <a16:creationId xmlns:a16="http://schemas.microsoft.com/office/drawing/2014/main" id="{455AF6EC-06D0-4CBC-8447-6FAD9C4B16A6}"/>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19" name="Oval 7">
                  <a:extLst>
                    <a:ext uri="{FF2B5EF4-FFF2-40B4-BE49-F238E27FC236}">
                      <a16:creationId xmlns:a16="http://schemas.microsoft.com/office/drawing/2014/main" id="{CB9EBE0E-D069-46A5-B046-430ED0B448E7}"/>
                    </a:ext>
                  </a:extLst>
                </p:cNvPr>
                <p:cNvSpPr>
                  <a:spLocks noChangeArrowheads="1"/>
                </p:cNvSpPr>
                <p:nvPr/>
              </p:nvSpPr>
              <p:spPr bwMode="auto">
                <a:xfrm>
                  <a:off x="5642366" y="2667002"/>
                  <a:ext cx="1466852" cy="151129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414" name="Group 413">
                <a:extLst>
                  <a:ext uri="{FF2B5EF4-FFF2-40B4-BE49-F238E27FC236}">
                    <a16:creationId xmlns:a16="http://schemas.microsoft.com/office/drawing/2014/main" id="{86BE513E-4CA3-450C-81DA-9C0B0E793CD8}"/>
                  </a:ext>
                </a:extLst>
              </p:cNvPr>
              <p:cNvGrpSpPr/>
              <p:nvPr/>
            </p:nvGrpSpPr>
            <p:grpSpPr>
              <a:xfrm>
                <a:off x="1263988" y="2552114"/>
                <a:ext cx="588051" cy="705050"/>
                <a:chOff x="1268187" y="3395208"/>
                <a:chExt cx="1097423" cy="1315771"/>
              </a:xfrm>
            </p:grpSpPr>
            <p:sp>
              <p:nvSpPr>
                <p:cNvPr id="415" name="Rectangle 414">
                  <a:extLst>
                    <a:ext uri="{FF2B5EF4-FFF2-40B4-BE49-F238E27FC236}">
                      <a16:creationId xmlns:a16="http://schemas.microsoft.com/office/drawing/2014/main" id="{FC453F4B-7682-4C9A-9B3E-8A08F64B15D9}"/>
                    </a:ext>
                  </a:extLst>
                </p:cNvPr>
                <p:cNvSpPr>
                  <a:spLocks noChangeArrowheads="1"/>
                </p:cNvSpPr>
                <p:nvPr/>
              </p:nvSpPr>
              <p:spPr bwMode="auto">
                <a:xfrm>
                  <a:off x="1337459" y="3740760"/>
                  <a:ext cx="958878" cy="143812"/>
                </a:xfrm>
                <a:prstGeom prst="rect">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16" name="Freeform 10">
                  <a:extLst>
                    <a:ext uri="{FF2B5EF4-FFF2-40B4-BE49-F238E27FC236}">
                      <a16:creationId xmlns:a16="http://schemas.microsoft.com/office/drawing/2014/main" id="{5C7A0D88-E9FB-4F01-A1E0-B1B0036D51DF}"/>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408" name="Group 407">
              <a:extLst>
                <a:ext uri="{FF2B5EF4-FFF2-40B4-BE49-F238E27FC236}">
                  <a16:creationId xmlns:a16="http://schemas.microsoft.com/office/drawing/2014/main" id="{BC5E614B-FB16-4E94-B96B-51A1F98DF2F7}"/>
                </a:ext>
              </a:extLst>
            </p:cNvPr>
            <p:cNvGrpSpPr>
              <a:grpSpLocks noChangeAspect="1"/>
            </p:cNvGrpSpPr>
            <p:nvPr/>
          </p:nvGrpSpPr>
          <p:grpSpPr>
            <a:xfrm>
              <a:off x="11422285" y="3343721"/>
              <a:ext cx="307756" cy="219199"/>
              <a:chOff x="876298" y="3148883"/>
              <a:chExt cx="1868049" cy="1330520"/>
            </a:xfrm>
          </p:grpSpPr>
          <p:sp>
            <p:nvSpPr>
              <p:cNvPr id="409" name="Rectangle: Rounded Corners 45">
                <a:extLst>
                  <a:ext uri="{FF2B5EF4-FFF2-40B4-BE49-F238E27FC236}">
                    <a16:creationId xmlns:a16="http://schemas.microsoft.com/office/drawing/2014/main" id="{39B0A80B-F7A5-4EDE-80C5-590890A084A5}"/>
                  </a:ext>
                </a:extLst>
              </p:cNvPr>
              <p:cNvSpPr/>
              <p:nvPr/>
            </p:nvSpPr>
            <p:spPr>
              <a:xfrm>
                <a:off x="876298" y="3148883"/>
                <a:ext cx="1868049" cy="1330520"/>
              </a:xfrm>
              <a:prstGeom prst="roundRect">
                <a:avLst>
                  <a:gd name="adj" fmla="val 603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10" name="Freeform 12">
                <a:extLst>
                  <a:ext uri="{FF2B5EF4-FFF2-40B4-BE49-F238E27FC236}">
                    <a16:creationId xmlns:a16="http://schemas.microsoft.com/office/drawing/2014/main" id="{B0DD6F51-ED73-43E1-8670-02A0F83DD82A}"/>
                  </a:ext>
                </a:extLst>
              </p:cNvPr>
              <p:cNvSpPr>
                <a:spLocks/>
              </p:cNvSpPr>
              <p:nvPr/>
            </p:nvSpPr>
            <p:spPr bwMode="auto">
              <a:xfrm>
                <a:off x="955325" y="3243616"/>
                <a:ext cx="1709995" cy="1141054"/>
              </a:xfrm>
              <a:custGeom>
                <a:avLst/>
                <a:gdLst>
                  <a:gd name="connsiteX0" fmla="*/ 72361 w 2192528"/>
                  <a:gd name="connsiteY0" fmla="*/ 1028594 h 1463040"/>
                  <a:gd name="connsiteX1" fmla="*/ 2120167 w 2192528"/>
                  <a:gd name="connsiteY1" fmla="*/ 1028594 h 1463040"/>
                  <a:gd name="connsiteX2" fmla="*/ 2192528 w 2192528"/>
                  <a:gd name="connsiteY2" fmla="*/ 1101002 h 1463040"/>
                  <a:gd name="connsiteX3" fmla="*/ 2192528 w 2192528"/>
                  <a:gd name="connsiteY3" fmla="*/ 1390633 h 1463040"/>
                  <a:gd name="connsiteX4" fmla="*/ 2120167 w 2192528"/>
                  <a:gd name="connsiteY4" fmla="*/ 1463040 h 1463040"/>
                  <a:gd name="connsiteX5" fmla="*/ 72361 w 2192528"/>
                  <a:gd name="connsiteY5" fmla="*/ 1463040 h 1463040"/>
                  <a:gd name="connsiteX6" fmla="*/ 0 w 2192528"/>
                  <a:gd name="connsiteY6" fmla="*/ 1390633 h 1463040"/>
                  <a:gd name="connsiteX7" fmla="*/ 0 w 2192528"/>
                  <a:gd name="connsiteY7" fmla="*/ 1101002 h 1463040"/>
                  <a:gd name="connsiteX8" fmla="*/ 72361 w 2192528"/>
                  <a:gd name="connsiteY8" fmla="*/ 1028594 h 1463040"/>
                  <a:gd name="connsiteX9" fmla="*/ 72361 w 2192528"/>
                  <a:gd name="connsiteY9" fmla="*/ 514298 h 1463040"/>
                  <a:gd name="connsiteX10" fmla="*/ 2120167 w 2192528"/>
                  <a:gd name="connsiteY10" fmla="*/ 514298 h 1463040"/>
                  <a:gd name="connsiteX11" fmla="*/ 2192528 w 2192528"/>
                  <a:gd name="connsiteY11" fmla="*/ 586706 h 1463040"/>
                  <a:gd name="connsiteX12" fmla="*/ 2192528 w 2192528"/>
                  <a:gd name="connsiteY12" fmla="*/ 876337 h 1463040"/>
                  <a:gd name="connsiteX13" fmla="*/ 2120167 w 2192528"/>
                  <a:gd name="connsiteY13" fmla="*/ 948744 h 1463040"/>
                  <a:gd name="connsiteX14" fmla="*/ 72361 w 2192528"/>
                  <a:gd name="connsiteY14" fmla="*/ 948744 h 1463040"/>
                  <a:gd name="connsiteX15" fmla="*/ 0 w 2192528"/>
                  <a:gd name="connsiteY15" fmla="*/ 876337 h 1463040"/>
                  <a:gd name="connsiteX16" fmla="*/ 0 w 2192528"/>
                  <a:gd name="connsiteY16" fmla="*/ 586706 h 1463040"/>
                  <a:gd name="connsiteX17" fmla="*/ 72361 w 2192528"/>
                  <a:gd name="connsiteY17" fmla="*/ 514298 h 1463040"/>
                  <a:gd name="connsiteX18" fmla="*/ 72361 w 2192528"/>
                  <a:gd name="connsiteY18" fmla="*/ 0 h 1463040"/>
                  <a:gd name="connsiteX19" fmla="*/ 2120167 w 2192528"/>
                  <a:gd name="connsiteY19" fmla="*/ 0 h 1463040"/>
                  <a:gd name="connsiteX20" fmla="*/ 2192528 w 2192528"/>
                  <a:gd name="connsiteY20" fmla="*/ 72408 h 1463040"/>
                  <a:gd name="connsiteX21" fmla="*/ 2192528 w 2192528"/>
                  <a:gd name="connsiteY21" fmla="*/ 362038 h 1463040"/>
                  <a:gd name="connsiteX22" fmla="*/ 2120167 w 2192528"/>
                  <a:gd name="connsiteY22" fmla="*/ 434446 h 1463040"/>
                  <a:gd name="connsiteX23" fmla="*/ 72361 w 2192528"/>
                  <a:gd name="connsiteY23" fmla="*/ 434446 h 1463040"/>
                  <a:gd name="connsiteX24" fmla="*/ 0 w 2192528"/>
                  <a:gd name="connsiteY24" fmla="*/ 362038 h 1463040"/>
                  <a:gd name="connsiteX25" fmla="*/ 0 w 2192528"/>
                  <a:gd name="connsiteY25" fmla="*/ 72408 h 1463040"/>
                  <a:gd name="connsiteX26" fmla="*/ 72361 w 2192528"/>
                  <a:gd name="connsiteY2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92528" h="1463040">
                    <a:moveTo>
                      <a:pt x="72361" y="1028594"/>
                    </a:moveTo>
                    <a:cubicBezTo>
                      <a:pt x="2120167" y="1028594"/>
                      <a:pt x="2120167" y="1028594"/>
                      <a:pt x="2120167" y="1028594"/>
                    </a:cubicBezTo>
                    <a:cubicBezTo>
                      <a:pt x="2159966" y="1028594"/>
                      <a:pt x="2192528" y="1061178"/>
                      <a:pt x="2192528" y="1101002"/>
                    </a:cubicBezTo>
                    <a:lnTo>
                      <a:pt x="2192528" y="1390633"/>
                    </a:lnTo>
                    <a:cubicBezTo>
                      <a:pt x="2192528" y="1430457"/>
                      <a:pt x="2159966" y="1463040"/>
                      <a:pt x="2120167" y="1463040"/>
                    </a:cubicBezTo>
                    <a:cubicBezTo>
                      <a:pt x="72361" y="1463040"/>
                      <a:pt x="72361" y="1463040"/>
                      <a:pt x="72361" y="1463040"/>
                    </a:cubicBezTo>
                    <a:cubicBezTo>
                      <a:pt x="32562" y="1463040"/>
                      <a:pt x="0" y="1430457"/>
                      <a:pt x="0" y="1390633"/>
                    </a:cubicBezTo>
                    <a:cubicBezTo>
                      <a:pt x="0" y="1101002"/>
                      <a:pt x="0" y="1101002"/>
                      <a:pt x="0" y="1101002"/>
                    </a:cubicBezTo>
                    <a:cubicBezTo>
                      <a:pt x="0" y="1061178"/>
                      <a:pt x="32562" y="1028594"/>
                      <a:pt x="72361" y="1028594"/>
                    </a:cubicBezTo>
                    <a:close/>
                    <a:moveTo>
                      <a:pt x="72361" y="514298"/>
                    </a:moveTo>
                    <a:cubicBezTo>
                      <a:pt x="2120167" y="514298"/>
                      <a:pt x="2120167" y="514298"/>
                      <a:pt x="2120167" y="514298"/>
                    </a:cubicBezTo>
                    <a:cubicBezTo>
                      <a:pt x="2159966" y="514298"/>
                      <a:pt x="2192528" y="546882"/>
                      <a:pt x="2192528" y="586706"/>
                    </a:cubicBezTo>
                    <a:lnTo>
                      <a:pt x="2192528" y="876337"/>
                    </a:lnTo>
                    <a:cubicBezTo>
                      <a:pt x="2192528" y="916161"/>
                      <a:pt x="2159966" y="948744"/>
                      <a:pt x="2120167" y="948744"/>
                    </a:cubicBezTo>
                    <a:cubicBezTo>
                      <a:pt x="72361" y="948744"/>
                      <a:pt x="72361" y="948744"/>
                      <a:pt x="72361" y="948744"/>
                    </a:cubicBezTo>
                    <a:cubicBezTo>
                      <a:pt x="32562" y="948744"/>
                      <a:pt x="0" y="916161"/>
                      <a:pt x="0" y="876337"/>
                    </a:cubicBezTo>
                    <a:cubicBezTo>
                      <a:pt x="0" y="586706"/>
                      <a:pt x="0" y="586706"/>
                      <a:pt x="0" y="586706"/>
                    </a:cubicBezTo>
                    <a:cubicBezTo>
                      <a:pt x="0" y="546882"/>
                      <a:pt x="32562" y="514298"/>
                      <a:pt x="72361" y="514298"/>
                    </a:cubicBezTo>
                    <a:close/>
                    <a:moveTo>
                      <a:pt x="72361" y="0"/>
                    </a:moveTo>
                    <a:cubicBezTo>
                      <a:pt x="2120167" y="0"/>
                      <a:pt x="2120167" y="0"/>
                      <a:pt x="2120167" y="0"/>
                    </a:cubicBezTo>
                    <a:cubicBezTo>
                      <a:pt x="2159966" y="0"/>
                      <a:pt x="2192528" y="32584"/>
                      <a:pt x="2192528" y="72408"/>
                    </a:cubicBezTo>
                    <a:lnTo>
                      <a:pt x="2192528" y="362038"/>
                    </a:lnTo>
                    <a:cubicBezTo>
                      <a:pt x="2192528" y="401863"/>
                      <a:pt x="2159966" y="434446"/>
                      <a:pt x="2120167" y="434446"/>
                    </a:cubicBezTo>
                    <a:cubicBezTo>
                      <a:pt x="72361" y="434446"/>
                      <a:pt x="72361" y="434446"/>
                      <a:pt x="72361" y="434446"/>
                    </a:cubicBezTo>
                    <a:cubicBezTo>
                      <a:pt x="32562" y="434446"/>
                      <a:pt x="0" y="401863"/>
                      <a:pt x="0" y="362038"/>
                    </a:cubicBezTo>
                    <a:cubicBezTo>
                      <a:pt x="0" y="72408"/>
                      <a:pt x="0" y="72408"/>
                      <a:pt x="0" y="72408"/>
                    </a:cubicBezTo>
                    <a:cubicBezTo>
                      <a:pt x="0" y="32584"/>
                      <a:pt x="32562" y="0"/>
                      <a:pt x="72361"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411" name="Freeform: Shape 47">
                <a:extLst>
                  <a:ext uri="{FF2B5EF4-FFF2-40B4-BE49-F238E27FC236}">
                    <a16:creationId xmlns:a16="http://schemas.microsoft.com/office/drawing/2014/main" id="{95C4D89A-478E-46B9-8ED0-EF8A5562EC4C}"/>
                  </a:ext>
                </a:extLst>
              </p:cNvPr>
              <p:cNvSpPr>
                <a:spLocks/>
              </p:cNvSpPr>
              <p:nvPr/>
            </p:nvSpPr>
            <p:spPr bwMode="auto">
              <a:xfrm>
                <a:off x="1041352" y="3350754"/>
                <a:ext cx="1537940" cy="920972"/>
              </a:xfrm>
              <a:custGeom>
                <a:avLst/>
                <a:gdLst>
                  <a:gd name="connsiteX0" fmla="*/ 1313487 w 1971922"/>
                  <a:gd name="connsiteY0" fmla="*/ 1036039 h 1180855"/>
                  <a:gd name="connsiteX1" fmla="*/ 1385895 w 1971922"/>
                  <a:gd name="connsiteY1" fmla="*/ 1108447 h 1180855"/>
                  <a:gd name="connsiteX2" fmla="*/ 1313487 w 1971922"/>
                  <a:gd name="connsiteY2" fmla="*/ 1180855 h 1180855"/>
                  <a:gd name="connsiteX3" fmla="*/ 1241079 w 1971922"/>
                  <a:gd name="connsiteY3" fmla="*/ 1108447 h 1180855"/>
                  <a:gd name="connsiteX4" fmla="*/ 1313487 w 1971922"/>
                  <a:gd name="connsiteY4" fmla="*/ 1036039 h 1180855"/>
                  <a:gd name="connsiteX5" fmla="*/ 296734 w 1971922"/>
                  <a:gd name="connsiteY5" fmla="*/ 1036039 h 1180855"/>
                  <a:gd name="connsiteX6" fmla="*/ 368803 w 1971922"/>
                  <a:gd name="connsiteY6" fmla="*/ 1108447 h 1180855"/>
                  <a:gd name="connsiteX7" fmla="*/ 296734 w 1971922"/>
                  <a:gd name="connsiteY7" fmla="*/ 1180855 h 1180855"/>
                  <a:gd name="connsiteX8" fmla="*/ 224665 w 1971922"/>
                  <a:gd name="connsiteY8" fmla="*/ 1108447 h 1180855"/>
                  <a:gd name="connsiteX9" fmla="*/ 296734 w 1971922"/>
                  <a:gd name="connsiteY9" fmla="*/ 1036039 h 1180855"/>
                  <a:gd name="connsiteX10" fmla="*/ 72408 w 1971922"/>
                  <a:gd name="connsiteY10" fmla="*/ 1036039 h 1180855"/>
                  <a:gd name="connsiteX11" fmla="*/ 144816 w 1971922"/>
                  <a:gd name="connsiteY11" fmla="*/ 1108447 h 1180855"/>
                  <a:gd name="connsiteX12" fmla="*/ 72408 w 1971922"/>
                  <a:gd name="connsiteY12" fmla="*/ 1180855 h 1180855"/>
                  <a:gd name="connsiteX13" fmla="*/ 0 w 1971922"/>
                  <a:gd name="connsiteY13" fmla="*/ 1108447 h 1180855"/>
                  <a:gd name="connsiteX14" fmla="*/ 72408 w 1971922"/>
                  <a:gd name="connsiteY14" fmla="*/ 1036039 h 1180855"/>
                  <a:gd name="connsiteX15" fmla="*/ 1534059 w 1971922"/>
                  <a:gd name="connsiteY15" fmla="*/ 1028594 h 1180855"/>
                  <a:gd name="connsiteX16" fmla="*/ 1899548 w 1971922"/>
                  <a:gd name="connsiteY16" fmla="*/ 1028594 h 1180855"/>
                  <a:gd name="connsiteX17" fmla="*/ 1971922 w 1971922"/>
                  <a:gd name="connsiteY17" fmla="*/ 1101217 h 1180855"/>
                  <a:gd name="connsiteX18" fmla="*/ 1971922 w 1971922"/>
                  <a:gd name="connsiteY18" fmla="*/ 1104848 h 1180855"/>
                  <a:gd name="connsiteX19" fmla="*/ 1899548 w 1971922"/>
                  <a:gd name="connsiteY19" fmla="*/ 1177470 h 1180855"/>
                  <a:gd name="connsiteX20" fmla="*/ 1534059 w 1971922"/>
                  <a:gd name="connsiteY20" fmla="*/ 1177470 h 1180855"/>
                  <a:gd name="connsiteX21" fmla="*/ 1461685 w 1971922"/>
                  <a:gd name="connsiteY21" fmla="*/ 1104848 h 1180855"/>
                  <a:gd name="connsiteX22" fmla="*/ 1461685 w 1971922"/>
                  <a:gd name="connsiteY22" fmla="*/ 1101217 h 1180855"/>
                  <a:gd name="connsiteX23" fmla="*/ 1534059 w 1971922"/>
                  <a:gd name="connsiteY23" fmla="*/ 1028594 h 1180855"/>
                  <a:gd name="connsiteX24" fmla="*/ 1313487 w 1971922"/>
                  <a:gd name="connsiteY24" fmla="*/ 521741 h 1180855"/>
                  <a:gd name="connsiteX25" fmla="*/ 1385895 w 1971922"/>
                  <a:gd name="connsiteY25" fmla="*/ 594149 h 1180855"/>
                  <a:gd name="connsiteX26" fmla="*/ 1313487 w 1971922"/>
                  <a:gd name="connsiteY26" fmla="*/ 666557 h 1180855"/>
                  <a:gd name="connsiteX27" fmla="*/ 1241079 w 1971922"/>
                  <a:gd name="connsiteY27" fmla="*/ 594149 h 1180855"/>
                  <a:gd name="connsiteX28" fmla="*/ 1313487 w 1971922"/>
                  <a:gd name="connsiteY28" fmla="*/ 521741 h 1180855"/>
                  <a:gd name="connsiteX29" fmla="*/ 296734 w 1971922"/>
                  <a:gd name="connsiteY29" fmla="*/ 521741 h 1180855"/>
                  <a:gd name="connsiteX30" fmla="*/ 368803 w 1971922"/>
                  <a:gd name="connsiteY30" fmla="*/ 594149 h 1180855"/>
                  <a:gd name="connsiteX31" fmla="*/ 296734 w 1971922"/>
                  <a:gd name="connsiteY31" fmla="*/ 666557 h 1180855"/>
                  <a:gd name="connsiteX32" fmla="*/ 224665 w 1971922"/>
                  <a:gd name="connsiteY32" fmla="*/ 594149 h 1180855"/>
                  <a:gd name="connsiteX33" fmla="*/ 296734 w 1971922"/>
                  <a:gd name="connsiteY33" fmla="*/ 521741 h 1180855"/>
                  <a:gd name="connsiteX34" fmla="*/ 72408 w 1971922"/>
                  <a:gd name="connsiteY34" fmla="*/ 521741 h 1180855"/>
                  <a:gd name="connsiteX35" fmla="*/ 144816 w 1971922"/>
                  <a:gd name="connsiteY35" fmla="*/ 594149 h 1180855"/>
                  <a:gd name="connsiteX36" fmla="*/ 72408 w 1971922"/>
                  <a:gd name="connsiteY36" fmla="*/ 666557 h 1180855"/>
                  <a:gd name="connsiteX37" fmla="*/ 0 w 1971922"/>
                  <a:gd name="connsiteY37" fmla="*/ 594149 h 1180855"/>
                  <a:gd name="connsiteX38" fmla="*/ 72408 w 1971922"/>
                  <a:gd name="connsiteY38" fmla="*/ 521741 h 1180855"/>
                  <a:gd name="connsiteX39" fmla="*/ 1534059 w 1971922"/>
                  <a:gd name="connsiteY39" fmla="*/ 514298 h 1180855"/>
                  <a:gd name="connsiteX40" fmla="*/ 1899548 w 1971922"/>
                  <a:gd name="connsiteY40" fmla="*/ 514298 h 1180855"/>
                  <a:gd name="connsiteX41" fmla="*/ 1971922 w 1971922"/>
                  <a:gd name="connsiteY41" fmla="*/ 586920 h 1180855"/>
                  <a:gd name="connsiteX42" fmla="*/ 1971922 w 1971922"/>
                  <a:gd name="connsiteY42" fmla="*/ 590551 h 1180855"/>
                  <a:gd name="connsiteX43" fmla="*/ 1899548 w 1971922"/>
                  <a:gd name="connsiteY43" fmla="*/ 663174 h 1180855"/>
                  <a:gd name="connsiteX44" fmla="*/ 1534059 w 1971922"/>
                  <a:gd name="connsiteY44" fmla="*/ 663174 h 1180855"/>
                  <a:gd name="connsiteX45" fmla="*/ 1461685 w 1971922"/>
                  <a:gd name="connsiteY45" fmla="*/ 590551 h 1180855"/>
                  <a:gd name="connsiteX46" fmla="*/ 1461685 w 1971922"/>
                  <a:gd name="connsiteY46" fmla="*/ 586920 h 1180855"/>
                  <a:gd name="connsiteX47" fmla="*/ 1534059 w 1971922"/>
                  <a:gd name="connsiteY47" fmla="*/ 514298 h 1180855"/>
                  <a:gd name="connsiteX48" fmla="*/ 1313487 w 1971922"/>
                  <a:gd name="connsiteY48" fmla="*/ 7445 h 1180855"/>
                  <a:gd name="connsiteX49" fmla="*/ 1385895 w 1971922"/>
                  <a:gd name="connsiteY49" fmla="*/ 79853 h 1180855"/>
                  <a:gd name="connsiteX50" fmla="*/ 1313487 w 1971922"/>
                  <a:gd name="connsiteY50" fmla="*/ 152261 h 1180855"/>
                  <a:gd name="connsiteX51" fmla="*/ 1241079 w 1971922"/>
                  <a:gd name="connsiteY51" fmla="*/ 79853 h 1180855"/>
                  <a:gd name="connsiteX52" fmla="*/ 1313487 w 1971922"/>
                  <a:gd name="connsiteY52" fmla="*/ 7445 h 1180855"/>
                  <a:gd name="connsiteX53" fmla="*/ 296734 w 1971922"/>
                  <a:gd name="connsiteY53" fmla="*/ 7445 h 1180855"/>
                  <a:gd name="connsiteX54" fmla="*/ 368803 w 1971922"/>
                  <a:gd name="connsiteY54" fmla="*/ 79853 h 1180855"/>
                  <a:gd name="connsiteX55" fmla="*/ 296734 w 1971922"/>
                  <a:gd name="connsiteY55" fmla="*/ 152261 h 1180855"/>
                  <a:gd name="connsiteX56" fmla="*/ 224665 w 1971922"/>
                  <a:gd name="connsiteY56" fmla="*/ 79853 h 1180855"/>
                  <a:gd name="connsiteX57" fmla="*/ 296734 w 1971922"/>
                  <a:gd name="connsiteY57" fmla="*/ 7445 h 1180855"/>
                  <a:gd name="connsiteX58" fmla="*/ 72408 w 1971922"/>
                  <a:gd name="connsiteY58" fmla="*/ 7445 h 1180855"/>
                  <a:gd name="connsiteX59" fmla="*/ 144816 w 1971922"/>
                  <a:gd name="connsiteY59" fmla="*/ 79853 h 1180855"/>
                  <a:gd name="connsiteX60" fmla="*/ 72408 w 1971922"/>
                  <a:gd name="connsiteY60" fmla="*/ 152261 h 1180855"/>
                  <a:gd name="connsiteX61" fmla="*/ 0 w 1971922"/>
                  <a:gd name="connsiteY61" fmla="*/ 79853 h 1180855"/>
                  <a:gd name="connsiteX62" fmla="*/ 72408 w 1971922"/>
                  <a:gd name="connsiteY62" fmla="*/ 7445 h 1180855"/>
                  <a:gd name="connsiteX63" fmla="*/ 1534059 w 1971922"/>
                  <a:gd name="connsiteY63" fmla="*/ 0 h 1180855"/>
                  <a:gd name="connsiteX64" fmla="*/ 1899548 w 1971922"/>
                  <a:gd name="connsiteY64" fmla="*/ 0 h 1180855"/>
                  <a:gd name="connsiteX65" fmla="*/ 1971922 w 1971922"/>
                  <a:gd name="connsiteY65" fmla="*/ 72622 h 1180855"/>
                  <a:gd name="connsiteX66" fmla="*/ 1971922 w 1971922"/>
                  <a:gd name="connsiteY66" fmla="*/ 76253 h 1180855"/>
                  <a:gd name="connsiteX67" fmla="*/ 1899548 w 1971922"/>
                  <a:gd name="connsiteY67" fmla="*/ 148876 h 1180855"/>
                  <a:gd name="connsiteX68" fmla="*/ 1534059 w 1971922"/>
                  <a:gd name="connsiteY68" fmla="*/ 148876 h 1180855"/>
                  <a:gd name="connsiteX69" fmla="*/ 1461685 w 1971922"/>
                  <a:gd name="connsiteY69" fmla="*/ 76253 h 1180855"/>
                  <a:gd name="connsiteX70" fmla="*/ 1461685 w 1971922"/>
                  <a:gd name="connsiteY70" fmla="*/ 72622 h 1180855"/>
                  <a:gd name="connsiteX71" fmla="*/ 1534059 w 1971922"/>
                  <a:gd name="connsiteY71" fmla="*/ 0 h 11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71922" h="1180855">
                    <a:moveTo>
                      <a:pt x="1313487" y="1036039"/>
                    </a:moveTo>
                    <a:cubicBezTo>
                      <a:pt x="1353311" y="1036039"/>
                      <a:pt x="1385895" y="1068623"/>
                      <a:pt x="1385895" y="1108447"/>
                    </a:cubicBezTo>
                    <a:cubicBezTo>
                      <a:pt x="1385895" y="1148272"/>
                      <a:pt x="1353311" y="1180855"/>
                      <a:pt x="1313487" y="1180855"/>
                    </a:cubicBezTo>
                    <a:cubicBezTo>
                      <a:pt x="1273662" y="1180855"/>
                      <a:pt x="1241079" y="1148272"/>
                      <a:pt x="1241079" y="1108447"/>
                    </a:cubicBezTo>
                    <a:cubicBezTo>
                      <a:pt x="1241079" y="1068623"/>
                      <a:pt x="1273662" y="1036039"/>
                      <a:pt x="1313487" y="1036039"/>
                    </a:cubicBezTo>
                    <a:close/>
                    <a:moveTo>
                      <a:pt x="296734" y="1036039"/>
                    </a:moveTo>
                    <a:cubicBezTo>
                      <a:pt x="336372" y="1036039"/>
                      <a:pt x="368803" y="1068623"/>
                      <a:pt x="368803" y="1108447"/>
                    </a:cubicBezTo>
                    <a:cubicBezTo>
                      <a:pt x="368803" y="1148272"/>
                      <a:pt x="336372" y="1180855"/>
                      <a:pt x="296734" y="1180855"/>
                    </a:cubicBezTo>
                    <a:cubicBezTo>
                      <a:pt x="257096" y="1180855"/>
                      <a:pt x="224665" y="1148272"/>
                      <a:pt x="224665" y="1108447"/>
                    </a:cubicBezTo>
                    <a:cubicBezTo>
                      <a:pt x="224665" y="1068623"/>
                      <a:pt x="257096" y="1036039"/>
                      <a:pt x="296734" y="1036039"/>
                    </a:cubicBezTo>
                    <a:close/>
                    <a:moveTo>
                      <a:pt x="72408" y="1036039"/>
                    </a:moveTo>
                    <a:cubicBezTo>
                      <a:pt x="112232" y="1036039"/>
                      <a:pt x="144816" y="1068623"/>
                      <a:pt x="144816" y="1108447"/>
                    </a:cubicBezTo>
                    <a:cubicBezTo>
                      <a:pt x="144816" y="1148272"/>
                      <a:pt x="112232" y="1180855"/>
                      <a:pt x="72408" y="1180855"/>
                    </a:cubicBezTo>
                    <a:cubicBezTo>
                      <a:pt x="32583" y="1180855"/>
                      <a:pt x="0" y="1148272"/>
                      <a:pt x="0" y="1108447"/>
                    </a:cubicBezTo>
                    <a:cubicBezTo>
                      <a:pt x="0" y="1068623"/>
                      <a:pt x="32583" y="1036039"/>
                      <a:pt x="72408" y="1036039"/>
                    </a:cubicBezTo>
                    <a:close/>
                    <a:moveTo>
                      <a:pt x="1534059" y="1028594"/>
                    </a:moveTo>
                    <a:cubicBezTo>
                      <a:pt x="1899548" y="1028594"/>
                      <a:pt x="1899548" y="1028594"/>
                      <a:pt x="1899548" y="1028594"/>
                    </a:cubicBezTo>
                    <a:cubicBezTo>
                      <a:pt x="1939354" y="1028594"/>
                      <a:pt x="1971922" y="1061274"/>
                      <a:pt x="1971922" y="1101217"/>
                    </a:cubicBezTo>
                    <a:lnTo>
                      <a:pt x="1971922" y="1104848"/>
                    </a:lnTo>
                    <a:cubicBezTo>
                      <a:pt x="1971922" y="1144790"/>
                      <a:pt x="1939354" y="1177470"/>
                      <a:pt x="1899548" y="1177470"/>
                    </a:cubicBezTo>
                    <a:cubicBezTo>
                      <a:pt x="1534059" y="1177470"/>
                      <a:pt x="1534059" y="1177470"/>
                      <a:pt x="1534059" y="1177470"/>
                    </a:cubicBezTo>
                    <a:cubicBezTo>
                      <a:pt x="1494253" y="1177470"/>
                      <a:pt x="1461685" y="1144790"/>
                      <a:pt x="1461685" y="1104848"/>
                    </a:cubicBezTo>
                    <a:cubicBezTo>
                      <a:pt x="1461685" y="1101217"/>
                      <a:pt x="1461685" y="1101217"/>
                      <a:pt x="1461685" y="1101217"/>
                    </a:cubicBezTo>
                    <a:cubicBezTo>
                      <a:pt x="1461685" y="1061274"/>
                      <a:pt x="1494253" y="1028594"/>
                      <a:pt x="1534059" y="1028594"/>
                    </a:cubicBezTo>
                    <a:close/>
                    <a:moveTo>
                      <a:pt x="1313487" y="521741"/>
                    </a:moveTo>
                    <a:cubicBezTo>
                      <a:pt x="1353311" y="521741"/>
                      <a:pt x="1385895" y="554324"/>
                      <a:pt x="1385895" y="594149"/>
                    </a:cubicBezTo>
                    <a:cubicBezTo>
                      <a:pt x="1385895" y="633973"/>
                      <a:pt x="1353311" y="666557"/>
                      <a:pt x="1313487" y="666557"/>
                    </a:cubicBezTo>
                    <a:cubicBezTo>
                      <a:pt x="1273662" y="666557"/>
                      <a:pt x="1241079" y="633973"/>
                      <a:pt x="1241079" y="594149"/>
                    </a:cubicBezTo>
                    <a:cubicBezTo>
                      <a:pt x="1241079" y="554324"/>
                      <a:pt x="1273662" y="521741"/>
                      <a:pt x="1313487" y="521741"/>
                    </a:cubicBezTo>
                    <a:close/>
                    <a:moveTo>
                      <a:pt x="296734" y="521741"/>
                    </a:moveTo>
                    <a:cubicBezTo>
                      <a:pt x="336372" y="521741"/>
                      <a:pt x="368803" y="554324"/>
                      <a:pt x="368803" y="594149"/>
                    </a:cubicBezTo>
                    <a:cubicBezTo>
                      <a:pt x="368803" y="633973"/>
                      <a:pt x="336372" y="666557"/>
                      <a:pt x="296734" y="666557"/>
                    </a:cubicBezTo>
                    <a:cubicBezTo>
                      <a:pt x="257096" y="666557"/>
                      <a:pt x="224665" y="633973"/>
                      <a:pt x="224665" y="594149"/>
                    </a:cubicBezTo>
                    <a:cubicBezTo>
                      <a:pt x="224665" y="554324"/>
                      <a:pt x="257096" y="521741"/>
                      <a:pt x="296734" y="521741"/>
                    </a:cubicBezTo>
                    <a:close/>
                    <a:moveTo>
                      <a:pt x="72408" y="521741"/>
                    </a:moveTo>
                    <a:cubicBezTo>
                      <a:pt x="112232" y="521741"/>
                      <a:pt x="144816" y="554324"/>
                      <a:pt x="144816" y="594149"/>
                    </a:cubicBezTo>
                    <a:cubicBezTo>
                      <a:pt x="144816" y="633973"/>
                      <a:pt x="112232" y="666557"/>
                      <a:pt x="72408" y="666557"/>
                    </a:cubicBezTo>
                    <a:cubicBezTo>
                      <a:pt x="32583" y="666557"/>
                      <a:pt x="0" y="633973"/>
                      <a:pt x="0" y="594149"/>
                    </a:cubicBezTo>
                    <a:cubicBezTo>
                      <a:pt x="0" y="554324"/>
                      <a:pt x="32583" y="521741"/>
                      <a:pt x="72408" y="521741"/>
                    </a:cubicBezTo>
                    <a:close/>
                    <a:moveTo>
                      <a:pt x="1534059" y="514298"/>
                    </a:moveTo>
                    <a:cubicBezTo>
                      <a:pt x="1899548" y="514298"/>
                      <a:pt x="1899548" y="514298"/>
                      <a:pt x="1899548" y="514298"/>
                    </a:cubicBezTo>
                    <a:cubicBezTo>
                      <a:pt x="1939354" y="514298"/>
                      <a:pt x="1971922" y="546978"/>
                      <a:pt x="1971922" y="586920"/>
                    </a:cubicBezTo>
                    <a:lnTo>
                      <a:pt x="1971922" y="590551"/>
                    </a:lnTo>
                    <a:cubicBezTo>
                      <a:pt x="1971922" y="630494"/>
                      <a:pt x="1939354" y="663174"/>
                      <a:pt x="1899548" y="663174"/>
                    </a:cubicBezTo>
                    <a:cubicBezTo>
                      <a:pt x="1534059" y="663174"/>
                      <a:pt x="1534059" y="663174"/>
                      <a:pt x="1534059" y="663174"/>
                    </a:cubicBezTo>
                    <a:cubicBezTo>
                      <a:pt x="1494253" y="663174"/>
                      <a:pt x="1461685" y="630494"/>
                      <a:pt x="1461685" y="590551"/>
                    </a:cubicBezTo>
                    <a:cubicBezTo>
                      <a:pt x="1461685" y="586920"/>
                      <a:pt x="1461685" y="586920"/>
                      <a:pt x="1461685" y="586920"/>
                    </a:cubicBezTo>
                    <a:cubicBezTo>
                      <a:pt x="1461685" y="546978"/>
                      <a:pt x="1494253" y="514298"/>
                      <a:pt x="1534059" y="514298"/>
                    </a:cubicBezTo>
                    <a:close/>
                    <a:moveTo>
                      <a:pt x="1313487" y="7445"/>
                    </a:moveTo>
                    <a:cubicBezTo>
                      <a:pt x="1353311" y="7445"/>
                      <a:pt x="1385895" y="40028"/>
                      <a:pt x="1385895" y="79853"/>
                    </a:cubicBezTo>
                    <a:cubicBezTo>
                      <a:pt x="1385895" y="119677"/>
                      <a:pt x="1353311" y="152261"/>
                      <a:pt x="1313487" y="152261"/>
                    </a:cubicBezTo>
                    <a:cubicBezTo>
                      <a:pt x="1273662" y="152261"/>
                      <a:pt x="1241079" y="119677"/>
                      <a:pt x="1241079" y="79853"/>
                    </a:cubicBezTo>
                    <a:cubicBezTo>
                      <a:pt x="1241079" y="40028"/>
                      <a:pt x="1273662" y="7445"/>
                      <a:pt x="1313487" y="7445"/>
                    </a:cubicBezTo>
                    <a:close/>
                    <a:moveTo>
                      <a:pt x="296734" y="7445"/>
                    </a:moveTo>
                    <a:cubicBezTo>
                      <a:pt x="336372" y="7445"/>
                      <a:pt x="368803" y="40028"/>
                      <a:pt x="368803" y="79853"/>
                    </a:cubicBezTo>
                    <a:cubicBezTo>
                      <a:pt x="368803" y="119677"/>
                      <a:pt x="336372" y="152261"/>
                      <a:pt x="296734" y="152261"/>
                    </a:cubicBezTo>
                    <a:cubicBezTo>
                      <a:pt x="257096" y="152261"/>
                      <a:pt x="224665" y="119677"/>
                      <a:pt x="224665" y="79853"/>
                    </a:cubicBezTo>
                    <a:cubicBezTo>
                      <a:pt x="224665" y="40028"/>
                      <a:pt x="257096" y="7445"/>
                      <a:pt x="296734" y="7445"/>
                    </a:cubicBezTo>
                    <a:close/>
                    <a:moveTo>
                      <a:pt x="72408" y="7445"/>
                    </a:moveTo>
                    <a:cubicBezTo>
                      <a:pt x="112232" y="7445"/>
                      <a:pt x="144816" y="40028"/>
                      <a:pt x="144816" y="79853"/>
                    </a:cubicBezTo>
                    <a:cubicBezTo>
                      <a:pt x="144816" y="119677"/>
                      <a:pt x="112232" y="152261"/>
                      <a:pt x="72408" y="152261"/>
                    </a:cubicBezTo>
                    <a:cubicBezTo>
                      <a:pt x="32583" y="152261"/>
                      <a:pt x="0" y="119677"/>
                      <a:pt x="0" y="79853"/>
                    </a:cubicBezTo>
                    <a:cubicBezTo>
                      <a:pt x="0" y="40028"/>
                      <a:pt x="32583" y="7445"/>
                      <a:pt x="72408" y="7445"/>
                    </a:cubicBezTo>
                    <a:close/>
                    <a:moveTo>
                      <a:pt x="1534059" y="0"/>
                    </a:moveTo>
                    <a:cubicBezTo>
                      <a:pt x="1899548" y="0"/>
                      <a:pt x="1899548" y="0"/>
                      <a:pt x="1899548" y="0"/>
                    </a:cubicBezTo>
                    <a:cubicBezTo>
                      <a:pt x="1939354" y="0"/>
                      <a:pt x="1971922" y="32680"/>
                      <a:pt x="1971922" y="72622"/>
                    </a:cubicBezTo>
                    <a:lnTo>
                      <a:pt x="1971922" y="76253"/>
                    </a:lnTo>
                    <a:cubicBezTo>
                      <a:pt x="1971922" y="116196"/>
                      <a:pt x="1939354" y="148876"/>
                      <a:pt x="1899548" y="148876"/>
                    </a:cubicBezTo>
                    <a:cubicBezTo>
                      <a:pt x="1534059" y="148876"/>
                      <a:pt x="1534059" y="148876"/>
                      <a:pt x="1534059" y="148876"/>
                    </a:cubicBezTo>
                    <a:cubicBezTo>
                      <a:pt x="1494253" y="148876"/>
                      <a:pt x="1461685" y="116196"/>
                      <a:pt x="1461685" y="76253"/>
                    </a:cubicBezTo>
                    <a:cubicBezTo>
                      <a:pt x="1461685" y="72622"/>
                      <a:pt x="1461685" y="72622"/>
                      <a:pt x="1461685" y="72622"/>
                    </a:cubicBezTo>
                    <a:cubicBezTo>
                      <a:pt x="1461685" y="32680"/>
                      <a:pt x="1494253" y="0"/>
                      <a:pt x="153405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grpSp>
      <p:cxnSp>
        <p:nvCxnSpPr>
          <p:cNvPr id="319" name="Straight Arrow Connector 318">
            <a:extLst>
              <a:ext uri="{FF2B5EF4-FFF2-40B4-BE49-F238E27FC236}">
                <a16:creationId xmlns:a16="http://schemas.microsoft.com/office/drawing/2014/main" id="{6A273ED5-BBA6-477B-ABC7-F16036E34494}"/>
              </a:ext>
            </a:extLst>
          </p:cNvPr>
          <p:cNvCxnSpPr>
            <a:cxnSpLocks/>
          </p:cNvCxnSpPr>
          <p:nvPr/>
        </p:nvCxnSpPr>
        <p:spPr>
          <a:xfrm>
            <a:off x="11181291" y="4388644"/>
            <a:ext cx="0" cy="161214"/>
          </a:xfrm>
          <a:prstGeom prst="straightConnector1">
            <a:avLst/>
          </a:prstGeom>
          <a:ln w="12700" cap="rnd">
            <a:solidFill>
              <a:schemeClr val="accent1"/>
            </a:solidFill>
            <a:round/>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4E4E7F9E-DC2D-4A61-B74F-CE122B513554}"/>
              </a:ext>
            </a:extLst>
          </p:cNvPr>
          <p:cNvSpPr txBox="1"/>
          <p:nvPr/>
        </p:nvSpPr>
        <p:spPr>
          <a:xfrm>
            <a:off x="11273123" y="4371268"/>
            <a:ext cx="26930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3253DC"/>
                </a:solidFill>
                <a:effectLst/>
                <a:uLnTx/>
                <a:uFillTx/>
                <a:latin typeface="Microsoft Sans Serif"/>
                <a:ea typeface="+mn-ea"/>
                <a:cs typeface="+mn-cs"/>
              </a:rPr>
              <a:t>xMB</a:t>
            </a:r>
            <a:endParaRPr kumimoji="0" lang="en-US" sz="1050" b="0" i="0" u="none" strike="noStrike" kern="1200" cap="none" spc="0" normalizeH="0" baseline="0" noProof="0" dirty="0">
              <a:ln>
                <a:noFill/>
              </a:ln>
              <a:solidFill>
                <a:srgbClr val="3253DC"/>
              </a:solidFill>
              <a:effectLst/>
              <a:uLnTx/>
              <a:uFillTx/>
              <a:latin typeface="Microsoft Sans Serif"/>
              <a:ea typeface="+mn-ea"/>
              <a:cs typeface="+mn-cs"/>
            </a:endParaRPr>
          </a:p>
        </p:txBody>
      </p:sp>
      <p:sp>
        <p:nvSpPr>
          <p:cNvPr id="321" name="TextBox 320">
            <a:extLst>
              <a:ext uri="{FF2B5EF4-FFF2-40B4-BE49-F238E27FC236}">
                <a16:creationId xmlns:a16="http://schemas.microsoft.com/office/drawing/2014/main" id="{DF7723C1-B043-4919-B75B-4994275D6497}"/>
              </a:ext>
            </a:extLst>
          </p:cNvPr>
          <p:cNvSpPr txBox="1"/>
          <p:nvPr/>
        </p:nvSpPr>
        <p:spPr>
          <a:xfrm>
            <a:off x="10685697" y="4189916"/>
            <a:ext cx="99706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253DC"/>
                </a:solidFill>
                <a:effectLst/>
                <a:uLnTx/>
                <a:uFillTx/>
                <a:latin typeface="Microsoft Sans Serif"/>
                <a:ea typeface="+mn-ea"/>
                <a:cs typeface="+mn-cs"/>
              </a:rPr>
              <a:t>Content provider</a:t>
            </a:r>
          </a:p>
        </p:txBody>
      </p:sp>
      <p:grpSp>
        <p:nvGrpSpPr>
          <p:cNvPr id="432" name="Group 431">
            <a:extLst>
              <a:ext uri="{FF2B5EF4-FFF2-40B4-BE49-F238E27FC236}">
                <a16:creationId xmlns:a16="http://schemas.microsoft.com/office/drawing/2014/main" id="{65959C1A-69E7-4AEE-A295-8BDB4C3571E2}"/>
              </a:ext>
            </a:extLst>
          </p:cNvPr>
          <p:cNvGrpSpPr>
            <a:grpSpLocks noChangeAspect="1"/>
          </p:cNvGrpSpPr>
          <p:nvPr/>
        </p:nvGrpSpPr>
        <p:grpSpPr>
          <a:xfrm>
            <a:off x="10997140" y="4594413"/>
            <a:ext cx="374253" cy="266562"/>
            <a:chOff x="876298" y="3148883"/>
            <a:chExt cx="1868049" cy="1330520"/>
          </a:xfrm>
        </p:grpSpPr>
        <p:sp>
          <p:nvSpPr>
            <p:cNvPr id="433" name="Rectangle: Rounded Corners 45">
              <a:extLst>
                <a:ext uri="{FF2B5EF4-FFF2-40B4-BE49-F238E27FC236}">
                  <a16:creationId xmlns:a16="http://schemas.microsoft.com/office/drawing/2014/main" id="{7D66DD6E-4BD7-4B5C-A749-D54D9A3CACF0}"/>
                </a:ext>
              </a:extLst>
            </p:cNvPr>
            <p:cNvSpPr/>
            <p:nvPr/>
          </p:nvSpPr>
          <p:spPr>
            <a:xfrm>
              <a:off x="876298" y="3148883"/>
              <a:ext cx="1868049" cy="1330520"/>
            </a:xfrm>
            <a:prstGeom prst="roundRect">
              <a:avLst>
                <a:gd name="adj" fmla="val 603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sp>
          <p:nvSpPr>
            <p:cNvPr id="434" name="Freeform 12">
              <a:extLst>
                <a:ext uri="{FF2B5EF4-FFF2-40B4-BE49-F238E27FC236}">
                  <a16:creationId xmlns:a16="http://schemas.microsoft.com/office/drawing/2014/main" id="{A32E611E-1CC9-44F5-81A8-9655DB6515C2}"/>
                </a:ext>
              </a:extLst>
            </p:cNvPr>
            <p:cNvSpPr>
              <a:spLocks/>
            </p:cNvSpPr>
            <p:nvPr/>
          </p:nvSpPr>
          <p:spPr bwMode="auto">
            <a:xfrm>
              <a:off x="955325" y="3243616"/>
              <a:ext cx="1709995" cy="1141054"/>
            </a:xfrm>
            <a:custGeom>
              <a:avLst/>
              <a:gdLst>
                <a:gd name="connsiteX0" fmla="*/ 72361 w 2192528"/>
                <a:gd name="connsiteY0" fmla="*/ 1028594 h 1463040"/>
                <a:gd name="connsiteX1" fmla="*/ 2120167 w 2192528"/>
                <a:gd name="connsiteY1" fmla="*/ 1028594 h 1463040"/>
                <a:gd name="connsiteX2" fmla="*/ 2192528 w 2192528"/>
                <a:gd name="connsiteY2" fmla="*/ 1101002 h 1463040"/>
                <a:gd name="connsiteX3" fmla="*/ 2192528 w 2192528"/>
                <a:gd name="connsiteY3" fmla="*/ 1390633 h 1463040"/>
                <a:gd name="connsiteX4" fmla="*/ 2120167 w 2192528"/>
                <a:gd name="connsiteY4" fmla="*/ 1463040 h 1463040"/>
                <a:gd name="connsiteX5" fmla="*/ 72361 w 2192528"/>
                <a:gd name="connsiteY5" fmla="*/ 1463040 h 1463040"/>
                <a:gd name="connsiteX6" fmla="*/ 0 w 2192528"/>
                <a:gd name="connsiteY6" fmla="*/ 1390633 h 1463040"/>
                <a:gd name="connsiteX7" fmla="*/ 0 w 2192528"/>
                <a:gd name="connsiteY7" fmla="*/ 1101002 h 1463040"/>
                <a:gd name="connsiteX8" fmla="*/ 72361 w 2192528"/>
                <a:gd name="connsiteY8" fmla="*/ 1028594 h 1463040"/>
                <a:gd name="connsiteX9" fmla="*/ 72361 w 2192528"/>
                <a:gd name="connsiteY9" fmla="*/ 514298 h 1463040"/>
                <a:gd name="connsiteX10" fmla="*/ 2120167 w 2192528"/>
                <a:gd name="connsiteY10" fmla="*/ 514298 h 1463040"/>
                <a:gd name="connsiteX11" fmla="*/ 2192528 w 2192528"/>
                <a:gd name="connsiteY11" fmla="*/ 586706 h 1463040"/>
                <a:gd name="connsiteX12" fmla="*/ 2192528 w 2192528"/>
                <a:gd name="connsiteY12" fmla="*/ 876337 h 1463040"/>
                <a:gd name="connsiteX13" fmla="*/ 2120167 w 2192528"/>
                <a:gd name="connsiteY13" fmla="*/ 948744 h 1463040"/>
                <a:gd name="connsiteX14" fmla="*/ 72361 w 2192528"/>
                <a:gd name="connsiteY14" fmla="*/ 948744 h 1463040"/>
                <a:gd name="connsiteX15" fmla="*/ 0 w 2192528"/>
                <a:gd name="connsiteY15" fmla="*/ 876337 h 1463040"/>
                <a:gd name="connsiteX16" fmla="*/ 0 w 2192528"/>
                <a:gd name="connsiteY16" fmla="*/ 586706 h 1463040"/>
                <a:gd name="connsiteX17" fmla="*/ 72361 w 2192528"/>
                <a:gd name="connsiteY17" fmla="*/ 514298 h 1463040"/>
                <a:gd name="connsiteX18" fmla="*/ 72361 w 2192528"/>
                <a:gd name="connsiteY18" fmla="*/ 0 h 1463040"/>
                <a:gd name="connsiteX19" fmla="*/ 2120167 w 2192528"/>
                <a:gd name="connsiteY19" fmla="*/ 0 h 1463040"/>
                <a:gd name="connsiteX20" fmla="*/ 2192528 w 2192528"/>
                <a:gd name="connsiteY20" fmla="*/ 72408 h 1463040"/>
                <a:gd name="connsiteX21" fmla="*/ 2192528 w 2192528"/>
                <a:gd name="connsiteY21" fmla="*/ 362038 h 1463040"/>
                <a:gd name="connsiteX22" fmla="*/ 2120167 w 2192528"/>
                <a:gd name="connsiteY22" fmla="*/ 434446 h 1463040"/>
                <a:gd name="connsiteX23" fmla="*/ 72361 w 2192528"/>
                <a:gd name="connsiteY23" fmla="*/ 434446 h 1463040"/>
                <a:gd name="connsiteX24" fmla="*/ 0 w 2192528"/>
                <a:gd name="connsiteY24" fmla="*/ 362038 h 1463040"/>
                <a:gd name="connsiteX25" fmla="*/ 0 w 2192528"/>
                <a:gd name="connsiteY25" fmla="*/ 72408 h 1463040"/>
                <a:gd name="connsiteX26" fmla="*/ 72361 w 2192528"/>
                <a:gd name="connsiteY2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92528" h="1463040">
                  <a:moveTo>
                    <a:pt x="72361" y="1028594"/>
                  </a:moveTo>
                  <a:cubicBezTo>
                    <a:pt x="2120167" y="1028594"/>
                    <a:pt x="2120167" y="1028594"/>
                    <a:pt x="2120167" y="1028594"/>
                  </a:cubicBezTo>
                  <a:cubicBezTo>
                    <a:pt x="2159966" y="1028594"/>
                    <a:pt x="2192528" y="1061178"/>
                    <a:pt x="2192528" y="1101002"/>
                  </a:cubicBezTo>
                  <a:lnTo>
                    <a:pt x="2192528" y="1390633"/>
                  </a:lnTo>
                  <a:cubicBezTo>
                    <a:pt x="2192528" y="1430457"/>
                    <a:pt x="2159966" y="1463040"/>
                    <a:pt x="2120167" y="1463040"/>
                  </a:cubicBezTo>
                  <a:cubicBezTo>
                    <a:pt x="72361" y="1463040"/>
                    <a:pt x="72361" y="1463040"/>
                    <a:pt x="72361" y="1463040"/>
                  </a:cubicBezTo>
                  <a:cubicBezTo>
                    <a:pt x="32562" y="1463040"/>
                    <a:pt x="0" y="1430457"/>
                    <a:pt x="0" y="1390633"/>
                  </a:cubicBezTo>
                  <a:cubicBezTo>
                    <a:pt x="0" y="1101002"/>
                    <a:pt x="0" y="1101002"/>
                    <a:pt x="0" y="1101002"/>
                  </a:cubicBezTo>
                  <a:cubicBezTo>
                    <a:pt x="0" y="1061178"/>
                    <a:pt x="32562" y="1028594"/>
                    <a:pt x="72361" y="1028594"/>
                  </a:cubicBezTo>
                  <a:close/>
                  <a:moveTo>
                    <a:pt x="72361" y="514298"/>
                  </a:moveTo>
                  <a:cubicBezTo>
                    <a:pt x="2120167" y="514298"/>
                    <a:pt x="2120167" y="514298"/>
                    <a:pt x="2120167" y="514298"/>
                  </a:cubicBezTo>
                  <a:cubicBezTo>
                    <a:pt x="2159966" y="514298"/>
                    <a:pt x="2192528" y="546882"/>
                    <a:pt x="2192528" y="586706"/>
                  </a:cubicBezTo>
                  <a:lnTo>
                    <a:pt x="2192528" y="876337"/>
                  </a:lnTo>
                  <a:cubicBezTo>
                    <a:pt x="2192528" y="916161"/>
                    <a:pt x="2159966" y="948744"/>
                    <a:pt x="2120167" y="948744"/>
                  </a:cubicBezTo>
                  <a:cubicBezTo>
                    <a:pt x="72361" y="948744"/>
                    <a:pt x="72361" y="948744"/>
                    <a:pt x="72361" y="948744"/>
                  </a:cubicBezTo>
                  <a:cubicBezTo>
                    <a:pt x="32562" y="948744"/>
                    <a:pt x="0" y="916161"/>
                    <a:pt x="0" y="876337"/>
                  </a:cubicBezTo>
                  <a:cubicBezTo>
                    <a:pt x="0" y="586706"/>
                    <a:pt x="0" y="586706"/>
                    <a:pt x="0" y="586706"/>
                  </a:cubicBezTo>
                  <a:cubicBezTo>
                    <a:pt x="0" y="546882"/>
                    <a:pt x="32562" y="514298"/>
                    <a:pt x="72361" y="514298"/>
                  </a:cubicBezTo>
                  <a:close/>
                  <a:moveTo>
                    <a:pt x="72361" y="0"/>
                  </a:moveTo>
                  <a:cubicBezTo>
                    <a:pt x="2120167" y="0"/>
                    <a:pt x="2120167" y="0"/>
                    <a:pt x="2120167" y="0"/>
                  </a:cubicBezTo>
                  <a:cubicBezTo>
                    <a:pt x="2159966" y="0"/>
                    <a:pt x="2192528" y="32584"/>
                    <a:pt x="2192528" y="72408"/>
                  </a:cubicBezTo>
                  <a:lnTo>
                    <a:pt x="2192528" y="362038"/>
                  </a:lnTo>
                  <a:cubicBezTo>
                    <a:pt x="2192528" y="401863"/>
                    <a:pt x="2159966" y="434446"/>
                    <a:pt x="2120167" y="434446"/>
                  </a:cubicBezTo>
                  <a:cubicBezTo>
                    <a:pt x="72361" y="434446"/>
                    <a:pt x="72361" y="434446"/>
                    <a:pt x="72361" y="434446"/>
                  </a:cubicBezTo>
                  <a:cubicBezTo>
                    <a:pt x="32562" y="434446"/>
                    <a:pt x="0" y="401863"/>
                    <a:pt x="0" y="362038"/>
                  </a:cubicBezTo>
                  <a:cubicBezTo>
                    <a:pt x="0" y="72408"/>
                    <a:pt x="0" y="72408"/>
                    <a:pt x="0" y="72408"/>
                  </a:cubicBezTo>
                  <a:cubicBezTo>
                    <a:pt x="0" y="32584"/>
                    <a:pt x="32562" y="0"/>
                    <a:pt x="72361"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sp>
          <p:nvSpPr>
            <p:cNvPr id="435" name="Freeform: Shape 47">
              <a:extLst>
                <a:ext uri="{FF2B5EF4-FFF2-40B4-BE49-F238E27FC236}">
                  <a16:creationId xmlns:a16="http://schemas.microsoft.com/office/drawing/2014/main" id="{E569E52C-0C62-4A59-9FD3-8349EB17EC22}"/>
                </a:ext>
              </a:extLst>
            </p:cNvPr>
            <p:cNvSpPr>
              <a:spLocks/>
            </p:cNvSpPr>
            <p:nvPr/>
          </p:nvSpPr>
          <p:spPr bwMode="auto">
            <a:xfrm>
              <a:off x="1041352" y="3350754"/>
              <a:ext cx="1537940" cy="920972"/>
            </a:xfrm>
            <a:custGeom>
              <a:avLst/>
              <a:gdLst>
                <a:gd name="connsiteX0" fmla="*/ 1313487 w 1971922"/>
                <a:gd name="connsiteY0" fmla="*/ 1036039 h 1180855"/>
                <a:gd name="connsiteX1" fmla="*/ 1385895 w 1971922"/>
                <a:gd name="connsiteY1" fmla="*/ 1108447 h 1180855"/>
                <a:gd name="connsiteX2" fmla="*/ 1313487 w 1971922"/>
                <a:gd name="connsiteY2" fmla="*/ 1180855 h 1180855"/>
                <a:gd name="connsiteX3" fmla="*/ 1241079 w 1971922"/>
                <a:gd name="connsiteY3" fmla="*/ 1108447 h 1180855"/>
                <a:gd name="connsiteX4" fmla="*/ 1313487 w 1971922"/>
                <a:gd name="connsiteY4" fmla="*/ 1036039 h 1180855"/>
                <a:gd name="connsiteX5" fmla="*/ 296734 w 1971922"/>
                <a:gd name="connsiteY5" fmla="*/ 1036039 h 1180855"/>
                <a:gd name="connsiteX6" fmla="*/ 368803 w 1971922"/>
                <a:gd name="connsiteY6" fmla="*/ 1108447 h 1180855"/>
                <a:gd name="connsiteX7" fmla="*/ 296734 w 1971922"/>
                <a:gd name="connsiteY7" fmla="*/ 1180855 h 1180855"/>
                <a:gd name="connsiteX8" fmla="*/ 224665 w 1971922"/>
                <a:gd name="connsiteY8" fmla="*/ 1108447 h 1180855"/>
                <a:gd name="connsiteX9" fmla="*/ 296734 w 1971922"/>
                <a:gd name="connsiteY9" fmla="*/ 1036039 h 1180855"/>
                <a:gd name="connsiteX10" fmla="*/ 72408 w 1971922"/>
                <a:gd name="connsiteY10" fmla="*/ 1036039 h 1180855"/>
                <a:gd name="connsiteX11" fmla="*/ 144816 w 1971922"/>
                <a:gd name="connsiteY11" fmla="*/ 1108447 h 1180855"/>
                <a:gd name="connsiteX12" fmla="*/ 72408 w 1971922"/>
                <a:gd name="connsiteY12" fmla="*/ 1180855 h 1180855"/>
                <a:gd name="connsiteX13" fmla="*/ 0 w 1971922"/>
                <a:gd name="connsiteY13" fmla="*/ 1108447 h 1180855"/>
                <a:gd name="connsiteX14" fmla="*/ 72408 w 1971922"/>
                <a:gd name="connsiteY14" fmla="*/ 1036039 h 1180855"/>
                <a:gd name="connsiteX15" fmla="*/ 1534059 w 1971922"/>
                <a:gd name="connsiteY15" fmla="*/ 1028594 h 1180855"/>
                <a:gd name="connsiteX16" fmla="*/ 1899548 w 1971922"/>
                <a:gd name="connsiteY16" fmla="*/ 1028594 h 1180855"/>
                <a:gd name="connsiteX17" fmla="*/ 1971922 w 1971922"/>
                <a:gd name="connsiteY17" fmla="*/ 1101217 h 1180855"/>
                <a:gd name="connsiteX18" fmla="*/ 1971922 w 1971922"/>
                <a:gd name="connsiteY18" fmla="*/ 1104848 h 1180855"/>
                <a:gd name="connsiteX19" fmla="*/ 1899548 w 1971922"/>
                <a:gd name="connsiteY19" fmla="*/ 1177470 h 1180855"/>
                <a:gd name="connsiteX20" fmla="*/ 1534059 w 1971922"/>
                <a:gd name="connsiteY20" fmla="*/ 1177470 h 1180855"/>
                <a:gd name="connsiteX21" fmla="*/ 1461685 w 1971922"/>
                <a:gd name="connsiteY21" fmla="*/ 1104848 h 1180855"/>
                <a:gd name="connsiteX22" fmla="*/ 1461685 w 1971922"/>
                <a:gd name="connsiteY22" fmla="*/ 1101217 h 1180855"/>
                <a:gd name="connsiteX23" fmla="*/ 1534059 w 1971922"/>
                <a:gd name="connsiteY23" fmla="*/ 1028594 h 1180855"/>
                <a:gd name="connsiteX24" fmla="*/ 1313487 w 1971922"/>
                <a:gd name="connsiteY24" fmla="*/ 521741 h 1180855"/>
                <a:gd name="connsiteX25" fmla="*/ 1385895 w 1971922"/>
                <a:gd name="connsiteY25" fmla="*/ 594149 h 1180855"/>
                <a:gd name="connsiteX26" fmla="*/ 1313487 w 1971922"/>
                <a:gd name="connsiteY26" fmla="*/ 666557 h 1180855"/>
                <a:gd name="connsiteX27" fmla="*/ 1241079 w 1971922"/>
                <a:gd name="connsiteY27" fmla="*/ 594149 h 1180855"/>
                <a:gd name="connsiteX28" fmla="*/ 1313487 w 1971922"/>
                <a:gd name="connsiteY28" fmla="*/ 521741 h 1180855"/>
                <a:gd name="connsiteX29" fmla="*/ 296734 w 1971922"/>
                <a:gd name="connsiteY29" fmla="*/ 521741 h 1180855"/>
                <a:gd name="connsiteX30" fmla="*/ 368803 w 1971922"/>
                <a:gd name="connsiteY30" fmla="*/ 594149 h 1180855"/>
                <a:gd name="connsiteX31" fmla="*/ 296734 w 1971922"/>
                <a:gd name="connsiteY31" fmla="*/ 666557 h 1180855"/>
                <a:gd name="connsiteX32" fmla="*/ 224665 w 1971922"/>
                <a:gd name="connsiteY32" fmla="*/ 594149 h 1180855"/>
                <a:gd name="connsiteX33" fmla="*/ 296734 w 1971922"/>
                <a:gd name="connsiteY33" fmla="*/ 521741 h 1180855"/>
                <a:gd name="connsiteX34" fmla="*/ 72408 w 1971922"/>
                <a:gd name="connsiteY34" fmla="*/ 521741 h 1180855"/>
                <a:gd name="connsiteX35" fmla="*/ 144816 w 1971922"/>
                <a:gd name="connsiteY35" fmla="*/ 594149 h 1180855"/>
                <a:gd name="connsiteX36" fmla="*/ 72408 w 1971922"/>
                <a:gd name="connsiteY36" fmla="*/ 666557 h 1180855"/>
                <a:gd name="connsiteX37" fmla="*/ 0 w 1971922"/>
                <a:gd name="connsiteY37" fmla="*/ 594149 h 1180855"/>
                <a:gd name="connsiteX38" fmla="*/ 72408 w 1971922"/>
                <a:gd name="connsiteY38" fmla="*/ 521741 h 1180855"/>
                <a:gd name="connsiteX39" fmla="*/ 1534059 w 1971922"/>
                <a:gd name="connsiteY39" fmla="*/ 514298 h 1180855"/>
                <a:gd name="connsiteX40" fmla="*/ 1899548 w 1971922"/>
                <a:gd name="connsiteY40" fmla="*/ 514298 h 1180855"/>
                <a:gd name="connsiteX41" fmla="*/ 1971922 w 1971922"/>
                <a:gd name="connsiteY41" fmla="*/ 586920 h 1180855"/>
                <a:gd name="connsiteX42" fmla="*/ 1971922 w 1971922"/>
                <a:gd name="connsiteY42" fmla="*/ 590551 h 1180855"/>
                <a:gd name="connsiteX43" fmla="*/ 1899548 w 1971922"/>
                <a:gd name="connsiteY43" fmla="*/ 663174 h 1180855"/>
                <a:gd name="connsiteX44" fmla="*/ 1534059 w 1971922"/>
                <a:gd name="connsiteY44" fmla="*/ 663174 h 1180855"/>
                <a:gd name="connsiteX45" fmla="*/ 1461685 w 1971922"/>
                <a:gd name="connsiteY45" fmla="*/ 590551 h 1180855"/>
                <a:gd name="connsiteX46" fmla="*/ 1461685 w 1971922"/>
                <a:gd name="connsiteY46" fmla="*/ 586920 h 1180855"/>
                <a:gd name="connsiteX47" fmla="*/ 1534059 w 1971922"/>
                <a:gd name="connsiteY47" fmla="*/ 514298 h 1180855"/>
                <a:gd name="connsiteX48" fmla="*/ 1313487 w 1971922"/>
                <a:gd name="connsiteY48" fmla="*/ 7445 h 1180855"/>
                <a:gd name="connsiteX49" fmla="*/ 1385895 w 1971922"/>
                <a:gd name="connsiteY49" fmla="*/ 79853 h 1180855"/>
                <a:gd name="connsiteX50" fmla="*/ 1313487 w 1971922"/>
                <a:gd name="connsiteY50" fmla="*/ 152261 h 1180855"/>
                <a:gd name="connsiteX51" fmla="*/ 1241079 w 1971922"/>
                <a:gd name="connsiteY51" fmla="*/ 79853 h 1180855"/>
                <a:gd name="connsiteX52" fmla="*/ 1313487 w 1971922"/>
                <a:gd name="connsiteY52" fmla="*/ 7445 h 1180855"/>
                <a:gd name="connsiteX53" fmla="*/ 296734 w 1971922"/>
                <a:gd name="connsiteY53" fmla="*/ 7445 h 1180855"/>
                <a:gd name="connsiteX54" fmla="*/ 368803 w 1971922"/>
                <a:gd name="connsiteY54" fmla="*/ 79853 h 1180855"/>
                <a:gd name="connsiteX55" fmla="*/ 296734 w 1971922"/>
                <a:gd name="connsiteY55" fmla="*/ 152261 h 1180855"/>
                <a:gd name="connsiteX56" fmla="*/ 224665 w 1971922"/>
                <a:gd name="connsiteY56" fmla="*/ 79853 h 1180855"/>
                <a:gd name="connsiteX57" fmla="*/ 296734 w 1971922"/>
                <a:gd name="connsiteY57" fmla="*/ 7445 h 1180855"/>
                <a:gd name="connsiteX58" fmla="*/ 72408 w 1971922"/>
                <a:gd name="connsiteY58" fmla="*/ 7445 h 1180855"/>
                <a:gd name="connsiteX59" fmla="*/ 144816 w 1971922"/>
                <a:gd name="connsiteY59" fmla="*/ 79853 h 1180855"/>
                <a:gd name="connsiteX60" fmla="*/ 72408 w 1971922"/>
                <a:gd name="connsiteY60" fmla="*/ 152261 h 1180855"/>
                <a:gd name="connsiteX61" fmla="*/ 0 w 1971922"/>
                <a:gd name="connsiteY61" fmla="*/ 79853 h 1180855"/>
                <a:gd name="connsiteX62" fmla="*/ 72408 w 1971922"/>
                <a:gd name="connsiteY62" fmla="*/ 7445 h 1180855"/>
                <a:gd name="connsiteX63" fmla="*/ 1534059 w 1971922"/>
                <a:gd name="connsiteY63" fmla="*/ 0 h 1180855"/>
                <a:gd name="connsiteX64" fmla="*/ 1899548 w 1971922"/>
                <a:gd name="connsiteY64" fmla="*/ 0 h 1180855"/>
                <a:gd name="connsiteX65" fmla="*/ 1971922 w 1971922"/>
                <a:gd name="connsiteY65" fmla="*/ 72622 h 1180855"/>
                <a:gd name="connsiteX66" fmla="*/ 1971922 w 1971922"/>
                <a:gd name="connsiteY66" fmla="*/ 76253 h 1180855"/>
                <a:gd name="connsiteX67" fmla="*/ 1899548 w 1971922"/>
                <a:gd name="connsiteY67" fmla="*/ 148876 h 1180855"/>
                <a:gd name="connsiteX68" fmla="*/ 1534059 w 1971922"/>
                <a:gd name="connsiteY68" fmla="*/ 148876 h 1180855"/>
                <a:gd name="connsiteX69" fmla="*/ 1461685 w 1971922"/>
                <a:gd name="connsiteY69" fmla="*/ 76253 h 1180855"/>
                <a:gd name="connsiteX70" fmla="*/ 1461685 w 1971922"/>
                <a:gd name="connsiteY70" fmla="*/ 72622 h 1180855"/>
                <a:gd name="connsiteX71" fmla="*/ 1534059 w 1971922"/>
                <a:gd name="connsiteY71" fmla="*/ 0 h 11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71922" h="1180855">
                  <a:moveTo>
                    <a:pt x="1313487" y="1036039"/>
                  </a:moveTo>
                  <a:cubicBezTo>
                    <a:pt x="1353311" y="1036039"/>
                    <a:pt x="1385895" y="1068623"/>
                    <a:pt x="1385895" y="1108447"/>
                  </a:cubicBezTo>
                  <a:cubicBezTo>
                    <a:pt x="1385895" y="1148272"/>
                    <a:pt x="1353311" y="1180855"/>
                    <a:pt x="1313487" y="1180855"/>
                  </a:cubicBezTo>
                  <a:cubicBezTo>
                    <a:pt x="1273662" y="1180855"/>
                    <a:pt x="1241079" y="1148272"/>
                    <a:pt x="1241079" y="1108447"/>
                  </a:cubicBezTo>
                  <a:cubicBezTo>
                    <a:pt x="1241079" y="1068623"/>
                    <a:pt x="1273662" y="1036039"/>
                    <a:pt x="1313487" y="1036039"/>
                  </a:cubicBezTo>
                  <a:close/>
                  <a:moveTo>
                    <a:pt x="296734" y="1036039"/>
                  </a:moveTo>
                  <a:cubicBezTo>
                    <a:pt x="336372" y="1036039"/>
                    <a:pt x="368803" y="1068623"/>
                    <a:pt x="368803" y="1108447"/>
                  </a:cubicBezTo>
                  <a:cubicBezTo>
                    <a:pt x="368803" y="1148272"/>
                    <a:pt x="336372" y="1180855"/>
                    <a:pt x="296734" y="1180855"/>
                  </a:cubicBezTo>
                  <a:cubicBezTo>
                    <a:pt x="257096" y="1180855"/>
                    <a:pt x="224665" y="1148272"/>
                    <a:pt x="224665" y="1108447"/>
                  </a:cubicBezTo>
                  <a:cubicBezTo>
                    <a:pt x="224665" y="1068623"/>
                    <a:pt x="257096" y="1036039"/>
                    <a:pt x="296734" y="1036039"/>
                  </a:cubicBezTo>
                  <a:close/>
                  <a:moveTo>
                    <a:pt x="72408" y="1036039"/>
                  </a:moveTo>
                  <a:cubicBezTo>
                    <a:pt x="112232" y="1036039"/>
                    <a:pt x="144816" y="1068623"/>
                    <a:pt x="144816" y="1108447"/>
                  </a:cubicBezTo>
                  <a:cubicBezTo>
                    <a:pt x="144816" y="1148272"/>
                    <a:pt x="112232" y="1180855"/>
                    <a:pt x="72408" y="1180855"/>
                  </a:cubicBezTo>
                  <a:cubicBezTo>
                    <a:pt x="32583" y="1180855"/>
                    <a:pt x="0" y="1148272"/>
                    <a:pt x="0" y="1108447"/>
                  </a:cubicBezTo>
                  <a:cubicBezTo>
                    <a:pt x="0" y="1068623"/>
                    <a:pt x="32583" y="1036039"/>
                    <a:pt x="72408" y="1036039"/>
                  </a:cubicBezTo>
                  <a:close/>
                  <a:moveTo>
                    <a:pt x="1534059" y="1028594"/>
                  </a:moveTo>
                  <a:cubicBezTo>
                    <a:pt x="1899548" y="1028594"/>
                    <a:pt x="1899548" y="1028594"/>
                    <a:pt x="1899548" y="1028594"/>
                  </a:cubicBezTo>
                  <a:cubicBezTo>
                    <a:pt x="1939354" y="1028594"/>
                    <a:pt x="1971922" y="1061274"/>
                    <a:pt x="1971922" y="1101217"/>
                  </a:cubicBezTo>
                  <a:lnTo>
                    <a:pt x="1971922" y="1104848"/>
                  </a:lnTo>
                  <a:cubicBezTo>
                    <a:pt x="1971922" y="1144790"/>
                    <a:pt x="1939354" y="1177470"/>
                    <a:pt x="1899548" y="1177470"/>
                  </a:cubicBezTo>
                  <a:cubicBezTo>
                    <a:pt x="1534059" y="1177470"/>
                    <a:pt x="1534059" y="1177470"/>
                    <a:pt x="1534059" y="1177470"/>
                  </a:cubicBezTo>
                  <a:cubicBezTo>
                    <a:pt x="1494253" y="1177470"/>
                    <a:pt x="1461685" y="1144790"/>
                    <a:pt x="1461685" y="1104848"/>
                  </a:cubicBezTo>
                  <a:cubicBezTo>
                    <a:pt x="1461685" y="1101217"/>
                    <a:pt x="1461685" y="1101217"/>
                    <a:pt x="1461685" y="1101217"/>
                  </a:cubicBezTo>
                  <a:cubicBezTo>
                    <a:pt x="1461685" y="1061274"/>
                    <a:pt x="1494253" y="1028594"/>
                    <a:pt x="1534059" y="1028594"/>
                  </a:cubicBezTo>
                  <a:close/>
                  <a:moveTo>
                    <a:pt x="1313487" y="521741"/>
                  </a:moveTo>
                  <a:cubicBezTo>
                    <a:pt x="1353311" y="521741"/>
                    <a:pt x="1385895" y="554324"/>
                    <a:pt x="1385895" y="594149"/>
                  </a:cubicBezTo>
                  <a:cubicBezTo>
                    <a:pt x="1385895" y="633973"/>
                    <a:pt x="1353311" y="666557"/>
                    <a:pt x="1313487" y="666557"/>
                  </a:cubicBezTo>
                  <a:cubicBezTo>
                    <a:pt x="1273662" y="666557"/>
                    <a:pt x="1241079" y="633973"/>
                    <a:pt x="1241079" y="594149"/>
                  </a:cubicBezTo>
                  <a:cubicBezTo>
                    <a:pt x="1241079" y="554324"/>
                    <a:pt x="1273662" y="521741"/>
                    <a:pt x="1313487" y="521741"/>
                  </a:cubicBezTo>
                  <a:close/>
                  <a:moveTo>
                    <a:pt x="296734" y="521741"/>
                  </a:moveTo>
                  <a:cubicBezTo>
                    <a:pt x="336372" y="521741"/>
                    <a:pt x="368803" y="554324"/>
                    <a:pt x="368803" y="594149"/>
                  </a:cubicBezTo>
                  <a:cubicBezTo>
                    <a:pt x="368803" y="633973"/>
                    <a:pt x="336372" y="666557"/>
                    <a:pt x="296734" y="666557"/>
                  </a:cubicBezTo>
                  <a:cubicBezTo>
                    <a:pt x="257096" y="666557"/>
                    <a:pt x="224665" y="633973"/>
                    <a:pt x="224665" y="594149"/>
                  </a:cubicBezTo>
                  <a:cubicBezTo>
                    <a:pt x="224665" y="554324"/>
                    <a:pt x="257096" y="521741"/>
                    <a:pt x="296734" y="521741"/>
                  </a:cubicBezTo>
                  <a:close/>
                  <a:moveTo>
                    <a:pt x="72408" y="521741"/>
                  </a:moveTo>
                  <a:cubicBezTo>
                    <a:pt x="112232" y="521741"/>
                    <a:pt x="144816" y="554324"/>
                    <a:pt x="144816" y="594149"/>
                  </a:cubicBezTo>
                  <a:cubicBezTo>
                    <a:pt x="144816" y="633973"/>
                    <a:pt x="112232" y="666557"/>
                    <a:pt x="72408" y="666557"/>
                  </a:cubicBezTo>
                  <a:cubicBezTo>
                    <a:pt x="32583" y="666557"/>
                    <a:pt x="0" y="633973"/>
                    <a:pt x="0" y="594149"/>
                  </a:cubicBezTo>
                  <a:cubicBezTo>
                    <a:pt x="0" y="554324"/>
                    <a:pt x="32583" y="521741"/>
                    <a:pt x="72408" y="521741"/>
                  </a:cubicBezTo>
                  <a:close/>
                  <a:moveTo>
                    <a:pt x="1534059" y="514298"/>
                  </a:moveTo>
                  <a:cubicBezTo>
                    <a:pt x="1899548" y="514298"/>
                    <a:pt x="1899548" y="514298"/>
                    <a:pt x="1899548" y="514298"/>
                  </a:cubicBezTo>
                  <a:cubicBezTo>
                    <a:pt x="1939354" y="514298"/>
                    <a:pt x="1971922" y="546978"/>
                    <a:pt x="1971922" y="586920"/>
                  </a:cubicBezTo>
                  <a:lnTo>
                    <a:pt x="1971922" y="590551"/>
                  </a:lnTo>
                  <a:cubicBezTo>
                    <a:pt x="1971922" y="630494"/>
                    <a:pt x="1939354" y="663174"/>
                    <a:pt x="1899548" y="663174"/>
                  </a:cubicBezTo>
                  <a:cubicBezTo>
                    <a:pt x="1534059" y="663174"/>
                    <a:pt x="1534059" y="663174"/>
                    <a:pt x="1534059" y="663174"/>
                  </a:cubicBezTo>
                  <a:cubicBezTo>
                    <a:pt x="1494253" y="663174"/>
                    <a:pt x="1461685" y="630494"/>
                    <a:pt x="1461685" y="590551"/>
                  </a:cubicBezTo>
                  <a:cubicBezTo>
                    <a:pt x="1461685" y="586920"/>
                    <a:pt x="1461685" y="586920"/>
                    <a:pt x="1461685" y="586920"/>
                  </a:cubicBezTo>
                  <a:cubicBezTo>
                    <a:pt x="1461685" y="546978"/>
                    <a:pt x="1494253" y="514298"/>
                    <a:pt x="1534059" y="514298"/>
                  </a:cubicBezTo>
                  <a:close/>
                  <a:moveTo>
                    <a:pt x="1313487" y="7445"/>
                  </a:moveTo>
                  <a:cubicBezTo>
                    <a:pt x="1353311" y="7445"/>
                    <a:pt x="1385895" y="40028"/>
                    <a:pt x="1385895" y="79853"/>
                  </a:cubicBezTo>
                  <a:cubicBezTo>
                    <a:pt x="1385895" y="119677"/>
                    <a:pt x="1353311" y="152261"/>
                    <a:pt x="1313487" y="152261"/>
                  </a:cubicBezTo>
                  <a:cubicBezTo>
                    <a:pt x="1273662" y="152261"/>
                    <a:pt x="1241079" y="119677"/>
                    <a:pt x="1241079" y="79853"/>
                  </a:cubicBezTo>
                  <a:cubicBezTo>
                    <a:pt x="1241079" y="40028"/>
                    <a:pt x="1273662" y="7445"/>
                    <a:pt x="1313487" y="7445"/>
                  </a:cubicBezTo>
                  <a:close/>
                  <a:moveTo>
                    <a:pt x="296734" y="7445"/>
                  </a:moveTo>
                  <a:cubicBezTo>
                    <a:pt x="336372" y="7445"/>
                    <a:pt x="368803" y="40028"/>
                    <a:pt x="368803" y="79853"/>
                  </a:cubicBezTo>
                  <a:cubicBezTo>
                    <a:pt x="368803" y="119677"/>
                    <a:pt x="336372" y="152261"/>
                    <a:pt x="296734" y="152261"/>
                  </a:cubicBezTo>
                  <a:cubicBezTo>
                    <a:pt x="257096" y="152261"/>
                    <a:pt x="224665" y="119677"/>
                    <a:pt x="224665" y="79853"/>
                  </a:cubicBezTo>
                  <a:cubicBezTo>
                    <a:pt x="224665" y="40028"/>
                    <a:pt x="257096" y="7445"/>
                    <a:pt x="296734" y="7445"/>
                  </a:cubicBezTo>
                  <a:close/>
                  <a:moveTo>
                    <a:pt x="72408" y="7445"/>
                  </a:moveTo>
                  <a:cubicBezTo>
                    <a:pt x="112232" y="7445"/>
                    <a:pt x="144816" y="40028"/>
                    <a:pt x="144816" y="79853"/>
                  </a:cubicBezTo>
                  <a:cubicBezTo>
                    <a:pt x="144816" y="119677"/>
                    <a:pt x="112232" y="152261"/>
                    <a:pt x="72408" y="152261"/>
                  </a:cubicBezTo>
                  <a:cubicBezTo>
                    <a:pt x="32583" y="152261"/>
                    <a:pt x="0" y="119677"/>
                    <a:pt x="0" y="79853"/>
                  </a:cubicBezTo>
                  <a:cubicBezTo>
                    <a:pt x="0" y="40028"/>
                    <a:pt x="32583" y="7445"/>
                    <a:pt x="72408" y="7445"/>
                  </a:cubicBezTo>
                  <a:close/>
                  <a:moveTo>
                    <a:pt x="1534059" y="0"/>
                  </a:moveTo>
                  <a:cubicBezTo>
                    <a:pt x="1899548" y="0"/>
                    <a:pt x="1899548" y="0"/>
                    <a:pt x="1899548" y="0"/>
                  </a:cubicBezTo>
                  <a:cubicBezTo>
                    <a:pt x="1939354" y="0"/>
                    <a:pt x="1971922" y="32680"/>
                    <a:pt x="1971922" y="72622"/>
                  </a:cubicBezTo>
                  <a:lnTo>
                    <a:pt x="1971922" y="76253"/>
                  </a:lnTo>
                  <a:cubicBezTo>
                    <a:pt x="1971922" y="116196"/>
                    <a:pt x="1939354" y="148876"/>
                    <a:pt x="1899548" y="148876"/>
                  </a:cubicBezTo>
                  <a:cubicBezTo>
                    <a:pt x="1534059" y="148876"/>
                    <a:pt x="1534059" y="148876"/>
                    <a:pt x="1534059" y="148876"/>
                  </a:cubicBezTo>
                  <a:cubicBezTo>
                    <a:pt x="1494253" y="148876"/>
                    <a:pt x="1461685" y="116196"/>
                    <a:pt x="1461685" y="76253"/>
                  </a:cubicBezTo>
                  <a:cubicBezTo>
                    <a:pt x="1461685" y="72622"/>
                    <a:pt x="1461685" y="72622"/>
                    <a:pt x="1461685" y="72622"/>
                  </a:cubicBezTo>
                  <a:cubicBezTo>
                    <a:pt x="1461685" y="32680"/>
                    <a:pt x="1494253" y="0"/>
                    <a:pt x="153405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grpSp>
      <p:grpSp>
        <p:nvGrpSpPr>
          <p:cNvPr id="22" name="Group 21">
            <a:extLst>
              <a:ext uri="{FF2B5EF4-FFF2-40B4-BE49-F238E27FC236}">
                <a16:creationId xmlns:a16="http://schemas.microsoft.com/office/drawing/2014/main" id="{7A415F81-9338-4E13-A86F-7F5389B4387E}"/>
              </a:ext>
            </a:extLst>
          </p:cNvPr>
          <p:cNvGrpSpPr/>
          <p:nvPr/>
        </p:nvGrpSpPr>
        <p:grpSpPr>
          <a:xfrm>
            <a:off x="3520795" y="2354194"/>
            <a:ext cx="823838" cy="742770"/>
            <a:chOff x="3508299" y="2195308"/>
            <a:chExt cx="823838" cy="742770"/>
          </a:xfrm>
        </p:grpSpPr>
        <p:cxnSp>
          <p:nvCxnSpPr>
            <p:cNvPr id="55" name="Straight Arrow Connector 54">
              <a:extLst>
                <a:ext uri="{FF2B5EF4-FFF2-40B4-BE49-F238E27FC236}">
                  <a16:creationId xmlns:a16="http://schemas.microsoft.com/office/drawing/2014/main" id="{249FC815-E7FA-462D-B071-8236FBB7423F}"/>
                </a:ext>
              </a:extLst>
            </p:cNvPr>
            <p:cNvCxnSpPr/>
            <p:nvPr/>
          </p:nvCxnSpPr>
          <p:spPr>
            <a:xfrm>
              <a:off x="3759985" y="2360531"/>
              <a:ext cx="317919" cy="0"/>
            </a:xfrm>
            <a:prstGeom prst="straightConnector1">
              <a:avLst/>
            </a:prstGeom>
            <a:ln w="12700" cap="rnd">
              <a:solidFill>
                <a:schemeClr val="accent1"/>
              </a:solidFill>
              <a:prstDash val="solid"/>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93E098F-97AD-4F11-9581-229B8DDC38C6}"/>
                </a:ext>
              </a:extLst>
            </p:cNvPr>
            <p:cNvCxnSpPr/>
            <p:nvPr/>
          </p:nvCxnSpPr>
          <p:spPr>
            <a:xfrm rot="2700000">
              <a:off x="3552362" y="2620418"/>
              <a:ext cx="317919" cy="0"/>
            </a:xfrm>
            <a:prstGeom prst="straightConnector1">
              <a:avLst/>
            </a:prstGeom>
            <a:ln w="12700" cap="rnd">
              <a:solidFill>
                <a:schemeClr val="accent1"/>
              </a:solidFill>
              <a:prstDash val="solid"/>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DA7FCC0-6074-4918-B30A-04E28BD300FC}"/>
                </a:ext>
              </a:extLst>
            </p:cNvPr>
            <p:cNvCxnSpPr/>
            <p:nvPr/>
          </p:nvCxnSpPr>
          <p:spPr>
            <a:xfrm rot="18900000" flipH="1">
              <a:off x="3996133" y="2620418"/>
              <a:ext cx="317919" cy="0"/>
            </a:xfrm>
            <a:prstGeom prst="straightConnector1">
              <a:avLst/>
            </a:prstGeom>
            <a:ln w="12700" cap="rnd">
              <a:solidFill>
                <a:schemeClr val="accent1"/>
              </a:solidFill>
              <a:prstDash val="solid"/>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535" name="Group 534">
              <a:extLst>
                <a:ext uri="{FF2B5EF4-FFF2-40B4-BE49-F238E27FC236}">
                  <a16:creationId xmlns:a16="http://schemas.microsoft.com/office/drawing/2014/main" id="{BCDCB5CF-41CC-4382-BCB5-3CDB8C975933}"/>
                </a:ext>
              </a:extLst>
            </p:cNvPr>
            <p:cNvGrpSpPr/>
            <p:nvPr/>
          </p:nvGrpSpPr>
          <p:grpSpPr>
            <a:xfrm>
              <a:off x="3508299" y="2195308"/>
              <a:ext cx="245632" cy="282510"/>
              <a:chOff x="1156464" y="2287783"/>
              <a:chExt cx="803098" cy="923672"/>
            </a:xfrm>
          </p:grpSpPr>
          <p:grpSp>
            <p:nvGrpSpPr>
              <p:cNvPr id="536" name="Group 535">
                <a:extLst>
                  <a:ext uri="{FF2B5EF4-FFF2-40B4-BE49-F238E27FC236}">
                    <a16:creationId xmlns:a16="http://schemas.microsoft.com/office/drawing/2014/main" id="{C6A4F086-8C0C-48E4-94F6-65D775831117}"/>
                  </a:ext>
                </a:extLst>
              </p:cNvPr>
              <p:cNvGrpSpPr/>
              <p:nvPr/>
            </p:nvGrpSpPr>
            <p:grpSpPr>
              <a:xfrm>
                <a:off x="1266649" y="2287783"/>
                <a:ext cx="578218" cy="576574"/>
                <a:chOff x="2744787" y="87313"/>
                <a:chExt cx="6702426" cy="6683376"/>
              </a:xfrm>
            </p:grpSpPr>
            <p:sp>
              <p:nvSpPr>
                <p:cNvPr id="538" name="Oval 12">
                  <a:extLst>
                    <a:ext uri="{FF2B5EF4-FFF2-40B4-BE49-F238E27FC236}">
                      <a16:creationId xmlns:a16="http://schemas.microsoft.com/office/drawing/2014/main" id="{72CD6F2D-A25A-4F83-969F-26C73A0FEC8F}"/>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39" name="Freeform: Shape 538">
                  <a:extLst>
                    <a:ext uri="{FF2B5EF4-FFF2-40B4-BE49-F238E27FC236}">
                      <a16:creationId xmlns:a16="http://schemas.microsoft.com/office/drawing/2014/main" id="{5068EE7D-4B61-434B-9BAC-4D1FC76EC6BD}"/>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37" name="Freeform: Shape 38">
                <a:extLst>
                  <a:ext uri="{FF2B5EF4-FFF2-40B4-BE49-F238E27FC236}">
                    <a16:creationId xmlns:a16="http://schemas.microsoft.com/office/drawing/2014/main" id="{D5D50143-5335-4B61-9661-B36A0275CFF0}"/>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grpSp>
          <p:nvGrpSpPr>
            <p:cNvPr id="540" name="Group 539">
              <a:extLst>
                <a:ext uri="{FF2B5EF4-FFF2-40B4-BE49-F238E27FC236}">
                  <a16:creationId xmlns:a16="http://schemas.microsoft.com/office/drawing/2014/main" id="{8C530B50-E994-4323-B0A1-4F2ECC4C88F7}"/>
                </a:ext>
              </a:extLst>
            </p:cNvPr>
            <p:cNvGrpSpPr/>
            <p:nvPr/>
          </p:nvGrpSpPr>
          <p:grpSpPr>
            <a:xfrm>
              <a:off x="4086505" y="2195308"/>
              <a:ext cx="245632" cy="282510"/>
              <a:chOff x="1156464" y="2287783"/>
              <a:chExt cx="803098" cy="923672"/>
            </a:xfrm>
          </p:grpSpPr>
          <p:grpSp>
            <p:nvGrpSpPr>
              <p:cNvPr id="541" name="Group 540">
                <a:extLst>
                  <a:ext uri="{FF2B5EF4-FFF2-40B4-BE49-F238E27FC236}">
                    <a16:creationId xmlns:a16="http://schemas.microsoft.com/office/drawing/2014/main" id="{0AFC81A8-41BF-42C5-9A16-A2233D538AAC}"/>
                  </a:ext>
                </a:extLst>
              </p:cNvPr>
              <p:cNvGrpSpPr/>
              <p:nvPr/>
            </p:nvGrpSpPr>
            <p:grpSpPr>
              <a:xfrm>
                <a:off x="1266649" y="2287783"/>
                <a:ext cx="578218" cy="576574"/>
                <a:chOff x="2744787" y="87313"/>
                <a:chExt cx="6702426" cy="6683376"/>
              </a:xfrm>
            </p:grpSpPr>
            <p:sp>
              <p:nvSpPr>
                <p:cNvPr id="543" name="Oval 12">
                  <a:extLst>
                    <a:ext uri="{FF2B5EF4-FFF2-40B4-BE49-F238E27FC236}">
                      <a16:creationId xmlns:a16="http://schemas.microsoft.com/office/drawing/2014/main" id="{E0A6F7B3-D3C2-4070-8BA7-61018CFC5417}"/>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44" name="Freeform: Shape 543">
                  <a:extLst>
                    <a:ext uri="{FF2B5EF4-FFF2-40B4-BE49-F238E27FC236}">
                      <a16:creationId xmlns:a16="http://schemas.microsoft.com/office/drawing/2014/main" id="{4D2227BA-0283-4DC0-BC72-E9DF8C25A786}"/>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42" name="Freeform: Shape 38">
                <a:extLst>
                  <a:ext uri="{FF2B5EF4-FFF2-40B4-BE49-F238E27FC236}">
                    <a16:creationId xmlns:a16="http://schemas.microsoft.com/office/drawing/2014/main" id="{E0F81443-02D1-43CA-A7C3-04389E6FDDBF}"/>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grpSp>
          <p:nvGrpSpPr>
            <p:cNvPr id="545" name="Group 544">
              <a:extLst>
                <a:ext uri="{FF2B5EF4-FFF2-40B4-BE49-F238E27FC236}">
                  <a16:creationId xmlns:a16="http://schemas.microsoft.com/office/drawing/2014/main" id="{587B0934-F712-4418-9CCD-9FABF1652189}"/>
                </a:ext>
              </a:extLst>
            </p:cNvPr>
            <p:cNvGrpSpPr/>
            <p:nvPr/>
          </p:nvGrpSpPr>
          <p:grpSpPr>
            <a:xfrm>
              <a:off x="3802470" y="2655568"/>
              <a:ext cx="245632" cy="282510"/>
              <a:chOff x="1156464" y="2287783"/>
              <a:chExt cx="803098" cy="923672"/>
            </a:xfrm>
          </p:grpSpPr>
          <p:grpSp>
            <p:nvGrpSpPr>
              <p:cNvPr id="546" name="Group 545">
                <a:extLst>
                  <a:ext uri="{FF2B5EF4-FFF2-40B4-BE49-F238E27FC236}">
                    <a16:creationId xmlns:a16="http://schemas.microsoft.com/office/drawing/2014/main" id="{F70247B4-FF85-49FC-8693-83EE0728D014}"/>
                  </a:ext>
                </a:extLst>
              </p:cNvPr>
              <p:cNvGrpSpPr/>
              <p:nvPr/>
            </p:nvGrpSpPr>
            <p:grpSpPr>
              <a:xfrm>
                <a:off x="1266649" y="2287783"/>
                <a:ext cx="578218" cy="576574"/>
                <a:chOff x="2744787" y="87313"/>
                <a:chExt cx="6702426" cy="6683376"/>
              </a:xfrm>
            </p:grpSpPr>
            <p:sp>
              <p:nvSpPr>
                <p:cNvPr id="548" name="Oval 12">
                  <a:extLst>
                    <a:ext uri="{FF2B5EF4-FFF2-40B4-BE49-F238E27FC236}">
                      <a16:creationId xmlns:a16="http://schemas.microsoft.com/office/drawing/2014/main" id="{F725A07B-C043-4113-80C8-8E1594EE3920}"/>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49" name="Freeform: Shape 548">
                  <a:extLst>
                    <a:ext uri="{FF2B5EF4-FFF2-40B4-BE49-F238E27FC236}">
                      <a16:creationId xmlns:a16="http://schemas.microsoft.com/office/drawing/2014/main" id="{DD633783-4055-4957-B5BA-E18E0FAF204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47" name="Freeform: Shape 38">
                <a:extLst>
                  <a:ext uri="{FF2B5EF4-FFF2-40B4-BE49-F238E27FC236}">
                    <a16:creationId xmlns:a16="http://schemas.microsoft.com/office/drawing/2014/main" id="{2BA7377B-A420-49F8-B670-61BED1708486}"/>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grpSp>
      <p:grpSp>
        <p:nvGrpSpPr>
          <p:cNvPr id="23" name="Group 22">
            <a:extLst>
              <a:ext uri="{FF2B5EF4-FFF2-40B4-BE49-F238E27FC236}">
                <a16:creationId xmlns:a16="http://schemas.microsoft.com/office/drawing/2014/main" id="{5BA76F3B-B327-4FCB-8418-EC3C928BB302}"/>
              </a:ext>
            </a:extLst>
          </p:cNvPr>
          <p:cNvGrpSpPr/>
          <p:nvPr/>
        </p:nvGrpSpPr>
        <p:grpSpPr>
          <a:xfrm>
            <a:off x="3735662" y="3386166"/>
            <a:ext cx="394104" cy="556517"/>
            <a:chOff x="3721893" y="3233047"/>
            <a:chExt cx="394104" cy="556517"/>
          </a:xfrm>
        </p:grpSpPr>
        <p:sp>
          <p:nvSpPr>
            <p:cNvPr id="71" name="Arrow: Down 70">
              <a:extLst>
                <a:ext uri="{FF2B5EF4-FFF2-40B4-BE49-F238E27FC236}">
                  <a16:creationId xmlns:a16="http://schemas.microsoft.com/office/drawing/2014/main" id="{59394DF1-86F1-4C37-A372-F8505D8390CC}"/>
                </a:ext>
              </a:extLst>
            </p:cNvPr>
            <p:cNvSpPr/>
            <p:nvPr/>
          </p:nvSpPr>
          <p:spPr>
            <a:xfrm rot="10800000">
              <a:off x="3721893" y="3233047"/>
              <a:ext cx="394104" cy="444094"/>
            </a:xfrm>
            <a:prstGeom prst="downArrow">
              <a:avLst>
                <a:gd name="adj1" fmla="val 100000"/>
                <a:gd name="adj2" fmla="val 28248"/>
              </a:avLst>
            </a:prstGeom>
            <a:gradFill flip="none" rotWithShape="1">
              <a:gsLst>
                <a:gs pos="75000">
                  <a:schemeClr val="accent2"/>
                </a:gs>
                <a:gs pos="21000">
                  <a:schemeClr val="accent2">
                    <a:alpha val="0"/>
                  </a:schemeClr>
                </a:gs>
              </a:gsLst>
              <a:lin ang="5400000" scaled="0"/>
              <a:tileRect/>
            </a:gradFill>
            <a:ln>
              <a:noFill/>
            </a:ln>
          </p:spPr>
          <p:txBody>
            <a:bodyPr rot="0" spcFirstLastPara="0" vertOverflow="overflow" horzOverflow="overflow" vert="horz" wrap="square" lIns="91396" tIns="45699" rIns="91396" bIns="45699"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err="1">
                <a:ln>
                  <a:noFill/>
                </a:ln>
                <a:solidFill>
                  <a:srgbClr val="FFFFFF"/>
                </a:solidFill>
                <a:effectLst/>
                <a:uLnTx/>
                <a:uFillTx/>
                <a:latin typeface="Microsoft Sans Serif"/>
                <a:ea typeface="+mn-ea"/>
                <a:cs typeface="+mn-cs"/>
              </a:endParaRPr>
            </a:p>
          </p:txBody>
        </p:sp>
        <p:grpSp>
          <p:nvGrpSpPr>
            <p:cNvPr id="550" name="Group 549">
              <a:extLst>
                <a:ext uri="{FF2B5EF4-FFF2-40B4-BE49-F238E27FC236}">
                  <a16:creationId xmlns:a16="http://schemas.microsoft.com/office/drawing/2014/main" id="{EEBF7486-8661-4EC5-90C5-0F8686A038E9}"/>
                </a:ext>
              </a:extLst>
            </p:cNvPr>
            <p:cNvGrpSpPr/>
            <p:nvPr/>
          </p:nvGrpSpPr>
          <p:grpSpPr>
            <a:xfrm>
              <a:off x="3796129" y="3507054"/>
              <a:ext cx="245632" cy="282510"/>
              <a:chOff x="1156464" y="2287783"/>
              <a:chExt cx="803098" cy="923672"/>
            </a:xfrm>
          </p:grpSpPr>
          <p:grpSp>
            <p:nvGrpSpPr>
              <p:cNvPr id="551" name="Group 550">
                <a:extLst>
                  <a:ext uri="{FF2B5EF4-FFF2-40B4-BE49-F238E27FC236}">
                    <a16:creationId xmlns:a16="http://schemas.microsoft.com/office/drawing/2014/main" id="{BE27BE0F-61DE-47F6-9E52-BA5245BE4BE5}"/>
                  </a:ext>
                </a:extLst>
              </p:cNvPr>
              <p:cNvGrpSpPr/>
              <p:nvPr/>
            </p:nvGrpSpPr>
            <p:grpSpPr>
              <a:xfrm>
                <a:off x="1266649" y="2287783"/>
                <a:ext cx="578218" cy="576574"/>
                <a:chOff x="2744787" y="87313"/>
                <a:chExt cx="6702426" cy="6683376"/>
              </a:xfrm>
            </p:grpSpPr>
            <p:sp>
              <p:nvSpPr>
                <p:cNvPr id="553" name="Oval 12">
                  <a:extLst>
                    <a:ext uri="{FF2B5EF4-FFF2-40B4-BE49-F238E27FC236}">
                      <a16:creationId xmlns:a16="http://schemas.microsoft.com/office/drawing/2014/main" id="{8B2D3048-8D56-4061-BAF2-997554AAD479}"/>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54" name="Freeform: Shape 553">
                  <a:extLst>
                    <a:ext uri="{FF2B5EF4-FFF2-40B4-BE49-F238E27FC236}">
                      <a16:creationId xmlns:a16="http://schemas.microsoft.com/office/drawing/2014/main" id="{CA089D1D-CCCA-45F3-A367-09B6E7FC31A4}"/>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52" name="Freeform: Shape 38">
                <a:extLst>
                  <a:ext uri="{FF2B5EF4-FFF2-40B4-BE49-F238E27FC236}">
                    <a16:creationId xmlns:a16="http://schemas.microsoft.com/office/drawing/2014/main" id="{993E1313-8FB8-420E-888B-CA10EC4E7821}"/>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grpSp>
      <p:grpSp>
        <p:nvGrpSpPr>
          <p:cNvPr id="29" name="Group 28">
            <a:extLst>
              <a:ext uri="{FF2B5EF4-FFF2-40B4-BE49-F238E27FC236}">
                <a16:creationId xmlns:a16="http://schemas.microsoft.com/office/drawing/2014/main" id="{30BC144D-0227-44A6-A831-CD98B114F4BA}"/>
              </a:ext>
            </a:extLst>
          </p:cNvPr>
          <p:cNvGrpSpPr/>
          <p:nvPr/>
        </p:nvGrpSpPr>
        <p:grpSpPr>
          <a:xfrm>
            <a:off x="3471562" y="4097036"/>
            <a:ext cx="866404" cy="863255"/>
            <a:chOff x="3471562" y="4116086"/>
            <a:chExt cx="866404" cy="863255"/>
          </a:xfrm>
        </p:grpSpPr>
        <p:sp>
          <p:nvSpPr>
            <p:cNvPr id="78" name="Isosceles Triangle 77">
              <a:extLst>
                <a:ext uri="{FF2B5EF4-FFF2-40B4-BE49-F238E27FC236}">
                  <a16:creationId xmlns:a16="http://schemas.microsoft.com/office/drawing/2014/main" id="{4E47AA10-9056-44BA-ADFD-B03D0A904EEA}"/>
                </a:ext>
              </a:extLst>
            </p:cNvPr>
            <p:cNvSpPr/>
            <p:nvPr/>
          </p:nvSpPr>
          <p:spPr bwMode="auto">
            <a:xfrm rot="16200000" flipH="1">
              <a:off x="3469257" y="4217939"/>
              <a:ext cx="863255" cy="659549"/>
            </a:xfrm>
            <a:prstGeom prst="triangle">
              <a:avLst/>
            </a:prstGeom>
            <a:gradFill flip="none" rotWithShape="1">
              <a:gsLst>
                <a:gs pos="8000">
                  <a:schemeClr val="accent2">
                    <a:alpha val="0"/>
                  </a:schemeClr>
                </a:gs>
                <a:gs pos="30000">
                  <a:schemeClr val="accent2"/>
                </a:gs>
                <a:gs pos="78000">
                  <a:schemeClr val="accent2">
                    <a:alpha val="0"/>
                  </a:schemeClr>
                </a:gs>
              </a:gsLst>
              <a:lin ang="5400000" scaled="0"/>
              <a:tileRect/>
            </a:gradFill>
            <a:ln>
              <a:noFill/>
            </a:ln>
          </p:spPr>
          <p:txBody>
            <a:bodyPr rot="0" spcFirstLastPara="0" vertOverflow="overflow" horzOverflow="overflow" vert="horz" wrap="square" lIns="91396" tIns="45699" rIns="91396" bIns="45699"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err="1">
                <a:ln>
                  <a:noFill/>
                </a:ln>
                <a:solidFill>
                  <a:srgbClr val="FFFFFF"/>
                </a:solidFill>
                <a:effectLst/>
                <a:uLnTx/>
                <a:uFillTx/>
                <a:latin typeface="Microsoft Sans Serif"/>
                <a:ea typeface="+mn-ea"/>
                <a:cs typeface="+mn-cs"/>
              </a:endParaRPr>
            </a:p>
          </p:txBody>
        </p:sp>
        <p:grpSp>
          <p:nvGrpSpPr>
            <p:cNvPr id="526" name="Group 525">
              <a:extLst>
                <a:ext uri="{FF2B5EF4-FFF2-40B4-BE49-F238E27FC236}">
                  <a16:creationId xmlns:a16="http://schemas.microsoft.com/office/drawing/2014/main" id="{9D5506A5-3B10-4ED9-8AFA-1188F2D3513B}"/>
                </a:ext>
              </a:extLst>
            </p:cNvPr>
            <p:cNvGrpSpPr/>
            <p:nvPr/>
          </p:nvGrpSpPr>
          <p:grpSpPr>
            <a:xfrm>
              <a:off x="3934836" y="4274746"/>
              <a:ext cx="262505" cy="298816"/>
              <a:chOff x="1106629" y="2244435"/>
              <a:chExt cx="889676" cy="1012740"/>
            </a:xfrm>
          </p:grpSpPr>
          <p:grpSp>
            <p:nvGrpSpPr>
              <p:cNvPr id="527" name="Group 526">
                <a:extLst>
                  <a:ext uri="{FF2B5EF4-FFF2-40B4-BE49-F238E27FC236}">
                    <a16:creationId xmlns:a16="http://schemas.microsoft.com/office/drawing/2014/main" id="{9C41B612-1039-4D77-BD59-B3699A675C87}"/>
                  </a:ext>
                </a:extLst>
              </p:cNvPr>
              <p:cNvGrpSpPr/>
              <p:nvPr/>
            </p:nvGrpSpPr>
            <p:grpSpPr>
              <a:xfrm>
                <a:off x="1106629" y="2244435"/>
                <a:ext cx="341169" cy="340200"/>
                <a:chOff x="2744787" y="87313"/>
                <a:chExt cx="6702426" cy="6683376"/>
              </a:xfrm>
            </p:grpSpPr>
            <p:sp>
              <p:nvSpPr>
                <p:cNvPr id="533" name="Oval 12">
                  <a:extLst>
                    <a:ext uri="{FF2B5EF4-FFF2-40B4-BE49-F238E27FC236}">
                      <a16:creationId xmlns:a16="http://schemas.microsoft.com/office/drawing/2014/main" id="{8A8003BD-56F5-441E-9BC3-2D068821E593}"/>
                    </a:ext>
                  </a:extLst>
                </p:cNvPr>
                <p:cNvSpPr>
                  <a:spLocks noChangeArrowheads="1"/>
                </p:cNvSpPr>
                <p:nvPr/>
              </p:nvSpPr>
              <p:spPr bwMode="auto">
                <a:xfrm>
                  <a:off x="4408488" y="1746250"/>
                  <a:ext cx="3375025" cy="3365500"/>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34" name="Freeform: Shape 533">
                  <a:extLst>
                    <a:ext uri="{FF2B5EF4-FFF2-40B4-BE49-F238E27FC236}">
                      <a16:creationId xmlns:a16="http://schemas.microsoft.com/office/drawing/2014/main" id="{EC1682B7-8608-4EAC-837A-3E7D30573415}"/>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28" name="Freeform 7">
                <a:extLst>
                  <a:ext uri="{FF2B5EF4-FFF2-40B4-BE49-F238E27FC236}">
                    <a16:creationId xmlns:a16="http://schemas.microsoft.com/office/drawing/2014/main" id="{57CADA8E-C0B5-4E27-8D76-8400AF1F5734}"/>
                  </a:ext>
                </a:extLst>
              </p:cNvPr>
              <p:cNvSpPr>
                <a:spLocks/>
              </p:cNvSpPr>
              <p:nvPr/>
            </p:nvSpPr>
            <p:spPr bwMode="auto">
              <a:xfrm>
                <a:off x="1189404" y="2364884"/>
                <a:ext cx="770268" cy="892291"/>
              </a:xfrm>
              <a:custGeom>
                <a:avLst/>
                <a:gdLst>
                  <a:gd name="T0" fmla="*/ 4215 w 5201"/>
                  <a:gd name="T1" fmla="*/ 4752 h 6040"/>
                  <a:gd name="T2" fmla="*/ 4680 w 5201"/>
                  <a:gd name="T3" fmla="*/ 4290 h 6040"/>
                  <a:gd name="T4" fmla="*/ 4680 w 5201"/>
                  <a:gd name="T5" fmla="*/ 4290 h 6040"/>
                  <a:gd name="T6" fmla="*/ 4680 w 5201"/>
                  <a:gd name="T7" fmla="*/ 3452 h 6040"/>
                  <a:gd name="T8" fmla="*/ 4986 w 5201"/>
                  <a:gd name="T9" fmla="*/ 3452 h 6040"/>
                  <a:gd name="T10" fmla="*/ 5201 w 5201"/>
                  <a:gd name="T11" fmla="*/ 3245 h 6040"/>
                  <a:gd name="T12" fmla="*/ 5133 w 5201"/>
                  <a:gd name="T13" fmla="*/ 3087 h 6040"/>
                  <a:gd name="T14" fmla="*/ 4510 w 5201"/>
                  <a:gd name="T15" fmla="*/ 2576 h 6040"/>
                  <a:gd name="T16" fmla="*/ 4510 w 5201"/>
                  <a:gd name="T17" fmla="*/ 1313 h 6040"/>
                  <a:gd name="T18" fmla="*/ 4420 w 5201"/>
                  <a:gd name="T19" fmla="*/ 1229 h 6040"/>
                  <a:gd name="T20" fmla="*/ 3899 w 5201"/>
                  <a:gd name="T21" fmla="*/ 1229 h 6040"/>
                  <a:gd name="T22" fmla="*/ 3814 w 5201"/>
                  <a:gd name="T23" fmla="*/ 1313 h 6040"/>
                  <a:gd name="T24" fmla="*/ 3814 w 5201"/>
                  <a:gd name="T25" fmla="*/ 2010 h 6040"/>
                  <a:gd name="T26" fmla="*/ 2750 w 5201"/>
                  <a:gd name="T27" fmla="*/ 1140 h 6040"/>
                  <a:gd name="T28" fmla="*/ 2604 w 5201"/>
                  <a:gd name="T29" fmla="*/ 1078 h 6040"/>
                  <a:gd name="T30" fmla="*/ 2450 w 5201"/>
                  <a:gd name="T31" fmla="*/ 1140 h 6040"/>
                  <a:gd name="T32" fmla="*/ 699 w 5201"/>
                  <a:gd name="T33" fmla="*/ 2574 h 6040"/>
                  <a:gd name="T34" fmla="*/ 699 w 5201"/>
                  <a:gd name="T35" fmla="*/ 660 h 6040"/>
                  <a:gd name="T36" fmla="*/ 948 w 5201"/>
                  <a:gd name="T37" fmla="*/ 333 h 6040"/>
                  <a:gd name="T38" fmla="*/ 614 w 5201"/>
                  <a:gd name="T39" fmla="*/ 0 h 6040"/>
                  <a:gd name="T40" fmla="*/ 275 w 5201"/>
                  <a:gd name="T41" fmla="*/ 333 h 6040"/>
                  <a:gd name="T42" fmla="*/ 529 w 5201"/>
                  <a:gd name="T43" fmla="*/ 660 h 6040"/>
                  <a:gd name="T44" fmla="*/ 529 w 5201"/>
                  <a:gd name="T45" fmla="*/ 2713 h 6040"/>
                  <a:gd name="T46" fmla="*/ 73 w 5201"/>
                  <a:gd name="T47" fmla="*/ 3087 h 6040"/>
                  <a:gd name="T48" fmla="*/ 0 w 5201"/>
                  <a:gd name="T49" fmla="*/ 3245 h 6040"/>
                  <a:gd name="T50" fmla="*/ 216 w 5201"/>
                  <a:gd name="T51" fmla="*/ 3452 h 6040"/>
                  <a:gd name="T52" fmla="*/ 522 w 5201"/>
                  <a:gd name="T53" fmla="*/ 3452 h 6040"/>
                  <a:gd name="T54" fmla="*/ 522 w 5201"/>
                  <a:gd name="T55" fmla="*/ 3463 h 6040"/>
                  <a:gd name="T56" fmla="*/ 522 w 5201"/>
                  <a:gd name="T57" fmla="*/ 5871 h 6040"/>
                  <a:gd name="T58" fmla="*/ 696 w 5201"/>
                  <a:gd name="T59" fmla="*/ 6040 h 6040"/>
                  <a:gd name="T60" fmla="*/ 4510 w 5201"/>
                  <a:gd name="T61" fmla="*/ 6040 h 6040"/>
                  <a:gd name="T62" fmla="*/ 4680 w 5201"/>
                  <a:gd name="T63" fmla="*/ 5871 h 6040"/>
                  <a:gd name="T64" fmla="*/ 4680 w 5201"/>
                  <a:gd name="T65" fmla="*/ 5212 h 6040"/>
                  <a:gd name="T66" fmla="*/ 4680 w 5201"/>
                  <a:gd name="T67" fmla="*/ 5212 h 6040"/>
                  <a:gd name="T68" fmla="*/ 4215 w 5201"/>
                  <a:gd name="T69" fmla="*/ 4752 h 6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01" h="6040">
                    <a:moveTo>
                      <a:pt x="4215" y="4752"/>
                    </a:moveTo>
                    <a:cubicBezTo>
                      <a:pt x="4215" y="4496"/>
                      <a:pt x="4424" y="4290"/>
                      <a:pt x="4680" y="4290"/>
                    </a:cubicBezTo>
                    <a:cubicBezTo>
                      <a:pt x="4680" y="4290"/>
                      <a:pt x="4680" y="4290"/>
                      <a:pt x="4680" y="4290"/>
                    </a:cubicBezTo>
                    <a:cubicBezTo>
                      <a:pt x="4680" y="3833"/>
                      <a:pt x="4680" y="3455"/>
                      <a:pt x="4680" y="3452"/>
                    </a:cubicBezTo>
                    <a:cubicBezTo>
                      <a:pt x="4986" y="3452"/>
                      <a:pt x="4986" y="3452"/>
                      <a:pt x="4986" y="3452"/>
                    </a:cubicBezTo>
                    <a:cubicBezTo>
                      <a:pt x="5105" y="3452"/>
                      <a:pt x="5201" y="3362"/>
                      <a:pt x="5201" y="3245"/>
                    </a:cubicBezTo>
                    <a:cubicBezTo>
                      <a:pt x="5201" y="3183"/>
                      <a:pt x="5178" y="3127"/>
                      <a:pt x="5133" y="3087"/>
                    </a:cubicBezTo>
                    <a:cubicBezTo>
                      <a:pt x="4510" y="2576"/>
                      <a:pt x="4510" y="2576"/>
                      <a:pt x="4510" y="2576"/>
                    </a:cubicBezTo>
                    <a:cubicBezTo>
                      <a:pt x="4510" y="1313"/>
                      <a:pt x="4510" y="1313"/>
                      <a:pt x="4510" y="1313"/>
                    </a:cubicBezTo>
                    <a:cubicBezTo>
                      <a:pt x="4510" y="1269"/>
                      <a:pt x="4471" y="1229"/>
                      <a:pt x="4420" y="1229"/>
                    </a:cubicBezTo>
                    <a:cubicBezTo>
                      <a:pt x="3899" y="1229"/>
                      <a:pt x="3899" y="1229"/>
                      <a:pt x="3899" y="1229"/>
                    </a:cubicBezTo>
                    <a:cubicBezTo>
                      <a:pt x="3854" y="1229"/>
                      <a:pt x="3814" y="1269"/>
                      <a:pt x="3814" y="1313"/>
                    </a:cubicBezTo>
                    <a:cubicBezTo>
                      <a:pt x="3814" y="2010"/>
                      <a:pt x="3814" y="2010"/>
                      <a:pt x="3814" y="2010"/>
                    </a:cubicBezTo>
                    <a:cubicBezTo>
                      <a:pt x="2750" y="1140"/>
                      <a:pt x="2750" y="1140"/>
                      <a:pt x="2750" y="1140"/>
                    </a:cubicBezTo>
                    <a:cubicBezTo>
                      <a:pt x="2712" y="1100"/>
                      <a:pt x="2660" y="1078"/>
                      <a:pt x="2604" y="1078"/>
                    </a:cubicBezTo>
                    <a:cubicBezTo>
                      <a:pt x="2541" y="1078"/>
                      <a:pt x="2490" y="1100"/>
                      <a:pt x="2450" y="1140"/>
                    </a:cubicBezTo>
                    <a:cubicBezTo>
                      <a:pt x="1597" y="1839"/>
                      <a:pt x="1050" y="2287"/>
                      <a:pt x="699" y="2574"/>
                    </a:cubicBezTo>
                    <a:cubicBezTo>
                      <a:pt x="699" y="2292"/>
                      <a:pt x="699" y="1735"/>
                      <a:pt x="699" y="660"/>
                    </a:cubicBezTo>
                    <a:cubicBezTo>
                      <a:pt x="840" y="620"/>
                      <a:pt x="948" y="491"/>
                      <a:pt x="948" y="333"/>
                    </a:cubicBezTo>
                    <a:cubicBezTo>
                      <a:pt x="948" y="147"/>
                      <a:pt x="801" y="0"/>
                      <a:pt x="614" y="0"/>
                    </a:cubicBezTo>
                    <a:cubicBezTo>
                      <a:pt x="427" y="0"/>
                      <a:pt x="275" y="147"/>
                      <a:pt x="275" y="333"/>
                    </a:cubicBezTo>
                    <a:cubicBezTo>
                      <a:pt x="275" y="491"/>
                      <a:pt x="382" y="620"/>
                      <a:pt x="529" y="660"/>
                    </a:cubicBezTo>
                    <a:cubicBezTo>
                      <a:pt x="529" y="660"/>
                      <a:pt x="529" y="911"/>
                      <a:pt x="529" y="2713"/>
                    </a:cubicBezTo>
                    <a:cubicBezTo>
                      <a:pt x="73" y="3087"/>
                      <a:pt x="73" y="3087"/>
                      <a:pt x="73" y="3087"/>
                    </a:cubicBezTo>
                    <a:cubicBezTo>
                      <a:pt x="29" y="3127"/>
                      <a:pt x="0" y="3183"/>
                      <a:pt x="0" y="3245"/>
                    </a:cubicBezTo>
                    <a:cubicBezTo>
                      <a:pt x="0" y="3362"/>
                      <a:pt x="97" y="3452"/>
                      <a:pt x="216" y="3452"/>
                    </a:cubicBezTo>
                    <a:cubicBezTo>
                      <a:pt x="522" y="3452"/>
                      <a:pt x="522" y="3452"/>
                      <a:pt x="522" y="3452"/>
                    </a:cubicBezTo>
                    <a:cubicBezTo>
                      <a:pt x="522" y="3458"/>
                      <a:pt x="522" y="3458"/>
                      <a:pt x="522" y="3463"/>
                    </a:cubicBezTo>
                    <a:cubicBezTo>
                      <a:pt x="522" y="5871"/>
                      <a:pt x="522" y="5871"/>
                      <a:pt x="522" y="5871"/>
                    </a:cubicBezTo>
                    <a:cubicBezTo>
                      <a:pt x="522" y="5965"/>
                      <a:pt x="600" y="6040"/>
                      <a:pt x="696" y="6040"/>
                    </a:cubicBezTo>
                    <a:cubicBezTo>
                      <a:pt x="4510" y="6040"/>
                      <a:pt x="4510" y="6040"/>
                      <a:pt x="4510" y="6040"/>
                    </a:cubicBezTo>
                    <a:cubicBezTo>
                      <a:pt x="4607" y="6040"/>
                      <a:pt x="4680" y="5965"/>
                      <a:pt x="4680" y="5871"/>
                    </a:cubicBezTo>
                    <a:cubicBezTo>
                      <a:pt x="4680" y="5871"/>
                      <a:pt x="4680" y="5586"/>
                      <a:pt x="4680" y="5212"/>
                    </a:cubicBezTo>
                    <a:cubicBezTo>
                      <a:pt x="4680" y="5212"/>
                      <a:pt x="4680" y="5212"/>
                      <a:pt x="4680" y="5212"/>
                    </a:cubicBezTo>
                    <a:cubicBezTo>
                      <a:pt x="4424" y="5212"/>
                      <a:pt x="4215" y="5006"/>
                      <a:pt x="4215" y="47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nvGrpSpPr>
              <p:cNvPr id="529" name="Group 528">
                <a:extLst>
                  <a:ext uri="{FF2B5EF4-FFF2-40B4-BE49-F238E27FC236}">
                    <a16:creationId xmlns:a16="http://schemas.microsoft.com/office/drawing/2014/main" id="{AAEF1D80-9960-4374-87FD-72E1A9ABBB5B}"/>
                  </a:ext>
                </a:extLst>
              </p:cNvPr>
              <p:cNvGrpSpPr/>
              <p:nvPr/>
            </p:nvGrpSpPr>
            <p:grpSpPr>
              <a:xfrm>
                <a:off x="1761801" y="2947554"/>
                <a:ext cx="234504" cy="233064"/>
                <a:chOff x="4162156" y="1116013"/>
                <a:chExt cx="4654550" cy="4625975"/>
              </a:xfrm>
            </p:grpSpPr>
            <p:sp>
              <p:nvSpPr>
                <p:cNvPr id="530" name="Oval 5">
                  <a:extLst>
                    <a:ext uri="{FF2B5EF4-FFF2-40B4-BE49-F238E27FC236}">
                      <a16:creationId xmlns:a16="http://schemas.microsoft.com/office/drawing/2014/main" id="{62818550-AE8A-4F65-902E-40FFD6C969EF}"/>
                    </a:ext>
                  </a:extLst>
                </p:cNvPr>
                <p:cNvSpPr>
                  <a:spLocks noChangeArrowheads="1"/>
                </p:cNvSpPr>
                <p:nvPr/>
              </p:nvSpPr>
              <p:spPr bwMode="auto">
                <a:xfrm>
                  <a:off x="4976546" y="1925641"/>
                  <a:ext cx="3013071" cy="299561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31" name="Freeform 6">
                  <a:extLst>
                    <a:ext uri="{FF2B5EF4-FFF2-40B4-BE49-F238E27FC236}">
                      <a16:creationId xmlns:a16="http://schemas.microsoft.com/office/drawing/2014/main" id="{1CBC4E65-0FAA-4DC3-9980-59C3D4209A2B}"/>
                    </a:ext>
                  </a:extLst>
                </p:cNvPr>
                <p:cNvSpPr>
                  <a:spLocks noEditPoints="1"/>
                </p:cNvSpPr>
                <p:nvPr/>
              </p:nvSpPr>
              <p:spPr bwMode="auto">
                <a:xfrm>
                  <a:off x="4162156"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32" name="Oval 7">
                  <a:extLst>
                    <a:ext uri="{FF2B5EF4-FFF2-40B4-BE49-F238E27FC236}">
                      <a16:creationId xmlns:a16="http://schemas.microsoft.com/office/drawing/2014/main" id="{51B37B84-D1BB-4754-8965-C2076BA0EA44}"/>
                    </a:ext>
                  </a:extLst>
                </p:cNvPr>
                <p:cNvSpPr>
                  <a:spLocks noChangeArrowheads="1"/>
                </p:cNvSpPr>
                <p:nvPr/>
              </p:nvSpPr>
              <p:spPr bwMode="auto">
                <a:xfrm>
                  <a:off x="5749659" y="2667002"/>
                  <a:ext cx="1466852" cy="151129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icrosoft Sans Serif"/>
                    <a:ea typeface="+mn-ea"/>
                    <a:cs typeface="+mn-cs"/>
                  </a:endParaRPr>
                </a:p>
              </p:txBody>
            </p:sp>
          </p:grpSp>
        </p:grpSp>
        <p:grpSp>
          <p:nvGrpSpPr>
            <p:cNvPr id="555" name="Group 554">
              <a:extLst>
                <a:ext uri="{FF2B5EF4-FFF2-40B4-BE49-F238E27FC236}">
                  <a16:creationId xmlns:a16="http://schemas.microsoft.com/office/drawing/2014/main" id="{A77F6E6A-B5DC-470D-877B-891DA0A76CC3}"/>
                </a:ext>
              </a:extLst>
            </p:cNvPr>
            <p:cNvGrpSpPr/>
            <p:nvPr/>
          </p:nvGrpSpPr>
          <p:grpSpPr>
            <a:xfrm>
              <a:off x="3471562" y="4459247"/>
              <a:ext cx="245632" cy="282510"/>
              <a:chOff x="1156464" y="2287783"/>
              <a:chExt cx="803098" cy="923672"/>
            </a:xfrm>
          </p:grpSpPr>
          <p:grpSp>
            <p:nvGrpSpPr>
              <p:cNvPr id="556" name="Group 555">
                <a:extLst>
                  <a:ext uri="{FF2B5EF4-FFF2-40B4-BE49-F238E27FC236}">
                    <a16:creationId xmlns:a16="http://schemas.microsoft.com/office/drawing/2014/main" id="{D7007D1E-4C68-4CAC-936E-705F44B46A5B}"/>
                  </a:ext>
                </a:extLst>
              </p:cNvPr>
              <p:cNvGrpSpPr/>
              <p:nvPr/>
            </p:nvGrpSpPr>
            <p:grpSpPr>
              <a:xfrm>
                <a:off x="1266649" y="2287783"/>
                <a:ext cx="578218" cy="576574"/>
                <a:chOff x="2744787" y="87313"/>
                <a:chExt cx="6702426" cy="6683376"/>
              </a:xfrm>
            </p:grpSpPr>
            <p:sp>
              <p:nvSpPr>
                <p:cNvPr id="558" name="Oval 12">
                  <a:extLst>
                    <a:ext uri="{FF2B5EF4-FFF2-40B4-BE49-F238E27FC236}">
                      <a16:creationId xmlns:a16="http://schemas.microsoft.com/office/drawing/2014/main" id="{80C5578E-FA77-4AA5-904A-08A4F5FEF212}"/>
                    </a:ext>
                  </a:extLst>
                </p:cNvPr>
                <p:cNvSpPr>
                  <a:spLocks noChangeArrowheads="1"/>
                </p:cNvSpPr>
                <p:nvPr/>
              </p:nvSpPr>
              <p:spPr bwMode="auto">
                <a:xfrm>
                  <a:off x="4408488" y="1746250"/>
                  <a:ext cx="3375025" cy="33655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559" name="Freeform: Shape 558">
                  <a:extLst>
                    <a:ext uri="{FF2B5EF4-FFF2-40B4-BE49-F238E27FC236}">
                      <a16:creationId xmlns:a16="http://schemas.microsoft.com/office/drawing/2014/main" id="{1349A743-D619-49F9-A17C-1D3B446A7B4B}"/>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sp>
            <p:nvSpPr>
              <p:cNvPr id="557" name="Freeform: Shape 38">
                <a:extLst>
                  <a:ext uri="{FF2B5EF4-FFF2-40B4-BE49-F238E27FC236}">
                    <a16:creationId xmlns:a16="http://schemas.microsoft.com/office/drawing/2014/main" id="{8D514E06-0585-49CC-A11C-F06CC11F271F}"/>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grpSp>
        <p:grpSp>
          <p:nvGrpSpPr>
            <p:cNvPr id="3" name="Group 2">
              <a:extLst>
                <a:ext uri="{FF2B5EF4-FFF2-40B4-BE49-F238E27FC236}">
                  <a16:creationId xmlns:a16="http://schemas.microsoft.com/office/drawing/2014/main" id="{4FC6F2F2-48D4-42FA-912E-F14127652C73}"/>
                </a:ext>
              </a:extLst>
            </p:cNvPr>
            <p:cNvGrpSpPr/>
            <p:nvPr/>
          </p:nvGrpSpPr>
          <p:grpSpPr>
            <a:xfrm>
              <a:off x="3766893" y="4642702"/>
              <a:ext cx="571073" cy="234421"/>
              <a:chOff x="3758673" y="4666080"/>
              <a:chExt cx="626973" cy="257368"/>
            </a:xfrm>
          </p:grpSpPr>
          <p:grpSp>
            <p:nvGrpSpPr>
              <p:cNvPr id="501" name="Group 500">
                <a:extLst>
                  <a:ext uri="{FF2B5EF4-FFF2-40B4-BE49-F238E27FC236}">
                    <a16:creationId xmlns:a16="http://schemas.microsoft.com/office/drawing/2014/main" id="{04475D2F-FAF7-4C1F-ADCC-77142E9BDBE9}"/>
                  </a:ext>
                </a:extLst>
              </p:cNvPr>
              <p:cNvGrpSpPr/>
              <p:nvPr/>
            </p:nvGrpSpPr>
            <p:grpSpPr>
              <a:xfrm>
                <a:off x="3758673" y="4666080"/>
                <a:ext cx="403711" cy="257368"/>
                <a:chOff x="8425358" y="-975869"/>
                <a:chExt cx="914400" cy="582935"/>
              </a:xfrm>
            </p:grpSpPr>
            <p:grpSp>
              <p:nvGrpSpPr>
                <p:cNvPr id="502" name="Group 4">
                  <a:extLst>
                    <a:ext uri="{FF2B5EF4-FFF2-40B4-BE49-F238E27FC236}">
                      <a16:creationId xmlns:a16="http://schemas.microsoft.com/office/drawing/2014/main" id="{F89A2848-D70F-4257-BE18-ADDBED2F0ADB}"/>
                    </a:ext>
                  </a:extLst>
                </p:cNvPr>
                <p:cNvGrpSpPr>
                  <a:grpSpLocks noChangeAspect="1"/>
                </p:cNvGrpSpPr>
                <p:nvPr/>
              </p:nvGrpSpPr>
              <p:grpSpPr bwMode="auto">
                <a:xfrm>
                  <a:off x="8425358" y="-975869"/>
                  <a:ext cx="914400" cy="582935"/>
                  <a:chOff x="942" y="1778"/>
                  <a:chExt cx="2149" cy="1370"/>
                </a:xfrm>
                <a:solidFill>
                  <a:srgbClr val="3253DC"/>
                </a:solidFill>
              </p:grpSpPr>
              <p:sp>
                <p:nvSpPr>
                  <p:cNvPr id="510" name="Freeform 5">
                    <a:extLst>
                      <a:ext uri="{FF2B5EF4-FFF2-40B4-BE49-F238E27FC236}">
                        <a16:creationId xmlns:a16="http://schemas.microsoft.com/office/drawing/2014/main" id="{B2F3F8E6-EB2C-4D8E-9BBA-A511B98A3B7A}"/>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sp>
                <p:nvSpPr>
                  <p:cNvPr id="511" name="Freeform 6">
                    <a:extLst>
                      <a:ext uri="{FF2B5EF4-FFF2-40B4-BE49-F238E27FC236}">
                        <a16:creationId xmlns:a16="http://schemas.microsoft.com/office/drawing/2014/main" id="{9D220AB4-23AA-4B44-938B-8C7455612FA4}"/>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grpSp>
            <p:grpSp>
              <p:nvGrpSpPr>
                <p:cNvPr id="503" name="Group 502">
                  <a:extLst>
                    <a:ext uri="{FF2B5EF4-FFF2-40B4-BE49-F238E27FC236}">
                      <a16:creationId xmlns:a16="http://schemas.microsoft.com/office/drawing/2014/main" id="{9203BB4F-25A0-43CA-BD7C-4A95873F780C}"/>
                    </a:ext>
                  </a:extLst>
                </p:cNvPr>
                <p:cNvGrpSpPr/>
                <p:nvPr/>
              </p:nvGrpSpPr>
              <p:grpSpPr>
                <a:xfrm>
                  <a:off x="8630641" y="-781032"/>
                  <a:ext cx="503834" cy="158506"/>
                  <a:chOff x="10828433" y="2483528"/>
                  <a:chExt cx="258463" cy="81313"/>
                </a:xfrm>
              </p:grpSpPr>
              <p:sp>
                <p:nvSpPr>
                  <p:cNvPr id="504" name="Freeform 21">
                    <a:extLst>
                      <a:ext uri="{FF2B5EF4-FFF2-40B4-BE49-F238E27FC236}">
                        <a16:creationId xmlns:a16="http://schemas.microsoft.com/office/drawing/2014/main" id="{C245DC7F-7F89-4179-831C-892E47A81460}"/>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05" name="Freeform 22">
                    <a:extLst>
                      <a:ext uri="{FF2B5EF4-FFF2-40B4-BE49-F238E27FC236}">
                        <a16:creationId xmlns:a16="http://schemas.microsoft.com/office/drawing/2014/main" id="{307A8EA7-4A92-4EEE-B4E3-6E270F7CFEAD}"/>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06" name="Freeform 23">
                    <a:extLst>
                      <a:ext uri="{FF2B5EF4-FFF2-40B4-BE49-F238E27FC236}">
                        <a16:creationId xmlns:a16="http://schemas.microsoft.com/office/drawing/2014/main" id="{04D027A9-B5AA-4EEE-83CF-0842566E01CE}"/>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07" name="Freeform 24">
                    <a:extLst>
                      <a:ext uri="{FF2B5EF4-FFF2-40B4-BE49-F238E27FC236}">
                        <a16:creationId xmlns:a16="http://schemas.microsoft.com/office/drawing/2014/main" id="{6B16FDB9-D1B7-4286-9333-DD360083F28C}"/>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08" name="Rectangle 507">
                    <a:extLst>
                      <a:ext uri="{FF2B5EF4-FFF2-40B4-BE49-F238E27FC236}">
                        <a16:creationId xmlns:a16="http://schemas.microsoft.com/office/drawing/2014/main" id="{B93B55EC-06AD-4099-AD6A-DEF8502EE512}"/>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09" name="Freeform 26">
                    <a:extLst>
                      <a:ext uri="{FF2B5EF4-FFF2-40B4-BE49-F238E27FC236}">
                        <a16:creationId xmlns:a16="http://schemas.microsoft.com/office/drawing/2014/main" id="{40DFB578-861A-4589-B8CD-80E50F74C7DB}"/>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nvGrpSpPr>
              <p:cNvPr id="11" name="Group 10">
                <a:extLst>
                  <a:ext uri="{FF2B5EF4-FFF2-40B4-BE49-F238E27FC236}">
                    <a16:creationId xmlns:a16="http://schemas.microsoft.com/office/drawing/2014/main" id="{B47ED732-7889-467F-8139-D98D712D38DD}"/>
                  </a:ext>
                </a:extLst>
              </p:cNvPr>
              <p:cNvGrpSpPr/>
              <p:nvPr/>
            </p:nvGrpSpPr>
            <p:grpSpPr>
              <a:xfrm>
                <a:off x="4108554" y="4704564"/>
                <a:ext cx="161190" cy="218884"/>
                <a:chOff x="4431738" y="8389545"/>
                <a:chExt cx="360862" cy="490024"/>
              </a:xfrm>
            </p:grpSpPr>
            <p:grpSp>
              <p:nvGrpSpPr>
                <p:cNvPr id="493" name="Group 492">
                  <a:extLst>
                    <a:ext uri="{FF2B5EF4-FFF2-40B4-BE49-F238E27FC236}">
                      <a16:creationId xmlns:a16="http://schemas.microsoft.com/office/drawing/2014/main" id="{5185EBA2-B76A-4E19-808F-F25D2BC3960F}"/>
                    </a:ext>
                  </a:extLst>
                </p:cNvPr>
                <p:cNvGrpSpPr>
                  <a:grpSpLocks noChangeAspect="1"/>
                </p:cNvGrpSpPr>
                <p:nvPr/>
              </p:nvGrpSpPr>
              <p:grpSpPr>
                <a:xfrm>
                  <a:off x="4431738" y="8389545"/>
                  <a:ext cx="360862" cy="490024"/>
                  <a:chOff x="1105197" y="2827506"/>
                  <a:chExt cx="1396843" cy="1896808"/>
                </a:xfrm>
              </p:grpSpPr>
              <p:sp>
                <p:nvSpPr>
                  <p:cNvPr id="497" name="Freeform 9">
                    <a:extLst>
                      <a:ext uri="{FF2B5EF4-FFF2-40B4-BE49-F238E27FC236}">
                        <a16:creationId xmlns:a16="http://schemas.microsoft.com/office/drawing/2014/main" id="{FA0D9435-6624-4A50-93FA-794B06821705}"/>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sp>
                <p:nvSpPr>
                  <p:cNvPr id="498" name="Freeform 10">
                    <a:extLst>
                      <a:ext uri="{FF2B5EF4-FFF2-40B4-BE49-F238E27FC236}">
                        <a16:creationId xmlns:a16="http://schemas.microsoft.com/office/drawing/2014/main" id="{E05230DD-C2B1-4C24-B06D-377F3BD8A1B7}"/>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60000"/>
                      <a:lumOff val="4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grpSp>
            <p:grpSp>
              <p:nvGrpSpPr>
                <p:cNvPr id="482" name="Group 481">
                  <a:extLst>
                    <a:ext uri="{FF2B5EF4-FFF2-40B4-BE49-F238E27FC236}">
                      <a16:creationId xmlns:a16="http://schemas.microsoft.com/office/drawing/2014/main" id="{38D5892F-880A-4C64-8404-806E51AF95ED}"/>
                    </a:ext>
                  </a:extLst>
                </p:cNvPr>
                <p:cNvGrpSpPr/>
                <p:nvPr/>
              </p:nvGrpSpPr>
              <p:grpSpPr>
                <a:xfrm>
                  <a:off x="4478290" y="8572500"/>
                  <a:ext cx="267758" cy="84236"/>
                  <a:chOff x="10828433" y="2483528"/>
                  <a:chExt cx="258463" cy="81313"/>
                </a:xfrm>
              </p:grpSpPr>
              <p:sp>
                <p:nvSpPr>
                  <p:cNvPr id="483" name="Freeform 21">
                    <a:extLst>
                      <a:ext uri="{FF2B5EF4-FFF2-40B4-BE49-F238E27FC236}">
                        <a16:creationId xmlns:a16="http://schemas.microsoft.com/office/drawing/2014/main" id="{E6D5B63A-2C3B-4EA8-B3B8-B8E4052803E1}"/>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84" name="Freeform 22">
                    <a:extLst>
                      <a:ext uri="{FF2B5EF4-FFF2-40B4-BE49-F238E27FC236}">
                        <a16:creationId xmlns:a16="http://schemas.microsoft.com/office/drawing/2014/main" id="{4E9AA34B-5242-4A57-A35E-FD8F723875BA}"/>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85" name="Freeform 23">
                    <a:extLst>
                      <a:ext uri="{FF2B5EF4-FFF2-40B4-BE49-F238E27FC236}">
                        <a16:creationId xmlns:a16="http://schemas.microsoft.com/office/drawing/2014/main" id="{59405646-8049-4896-90CA-EF0F16006D0D}"/>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86" name="Freeform 24">
                    <a:extLst>
                      <a:ext uri="{FF2B5EF4-FFF2-40B4-BE49-F238E27FC236}">
                        <a16:creationId xmlns:a16="http://schemas.microsoft.com/office/drawing/2014/main" id="{714FEAF4-82FB-4FB7-AB80-B82EDA5351C2}"/>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87" name="Rectangle 486">
                    <a:extLst>
                      <a:ext uri="{FF2B5EF4-FFF2-40B4-BE49-F238E27FC236}">
                        <a16:creationId xmlns:a16="http://schemas.microsoft.com/office/drawing/2014/main" id="{85355A64-9026-41C5-881D-4674C077FFE1}"/>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88" name="Freeform 26">
                    <a:extLst>
                      <a:ext uri="{FF2B5EF4-FFF2-40B4-BE49-F238E27FC236}">
                        <a16:creationId xmlns:a16="http://schemas.microsoft.com/office/drawing/2014/main" id="{A3751C2D-D110-4227-98C4-485922E78F6B}"/>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nvGrpSpPr>
              <p:cNvPr id="13" name="Group 12">
                <a:extLst>
                  <a:ext uri="{FF2B5EF4-FFF2-40B4-BE49-F238E27FC236}">
                    <a16:creationId xmlns:a16="http://schemas.microsoft.com/office/drawing/2014/main" id="{F86297DB-5D6A-4F47-83A5-333726F8D589}"/>
                  </a:ext>
                </a:extLst>
              </p:cNvPr>
              <p:cNvGrpSpPr/>
              <p:nvPr/>
            </p:nvGrpSpPr>
            <p:grpSpPr>
              <a:xfrm>
                <a:off x="4288516" y="4743397"/>
                <a:ext cx="97130" cy="180051"/>
                <a:chOff x="4885568" y="8611204"/>
                <a:chExt cx="262612" cy="486809"/>
              </a:xfrm>
            </p:grpSpPr>
            <p:grpSp>
              <p:nvGrpSpPr>
                <p:cNvPr id="516" name="Group 515">
                  <a:extLst>
                    <a:ext uri="{FF2B5EF4-FFF2-40B4-BE49-F238E27FC236}">
                      <a16:creationId xmlns:a16="http://schemas.microsoft.com/office/drawing/2014/main" id="{E435E16C-FEB5-425B-9758-82554DA5F924}"/>
                    </a:ext>
                  </a:extLst>
                </p:cNvPr>
                <p:cNvGrpSpPr>
                  <a:grpSpLocks noChangeAspect="1"/>
                </p:cNvGrpSpPr>
                <p:nvPr/>
              </p:nvGrpSpPr>
              <p:grpSpPr>
                <a:xfrm>
                  <a:off x="4885568" y="8611204"/>
                  <a:ext cx="262612" cy="486809"/>
                  <a:chOff x="5434013" y="2201863"/>
                  <a:chExt cx="1323975" cy="2454275"/>
                </a:xfrm>
              </p:grpSpPr>
              <p:sp>
                <p:nvSpPr>
                  <p:cNvPr id="517" name="Freeform 5">
                    <a:extLst>
                      <a:ext uri="{FF2B5EF4-FFF2-40B4-BE49-F238E27FC236}">
                        <a16:creationId xmlns:a16="http://schemas.microsoft.com/office/drawing/2014/main" id="{FDF79610-93BE-436B-8775-573896C770B3}"/>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sp>
                <p:nvSpPr>
                  <p:cNvPr id="518" name="Freeform: Shape 15">
                    <a:extLst>
                      <a:ext uri="{FF2B5EF4-FFF2-40B4-BE49-F238E27FC236}">
                        <a16:creationId xmlns:a16="http://schemas.microsoft.com/office/drawing/2014/main" id="{D60B7E9A-417F-411A-BD9F-C00A6DD5F321}"/>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grpSp>
            <p:grpSp>
              <p:nvGrpSpPr>
                <p:cNvPr id="519" name="Group 518">
                  <a:extLst>
                    <a:ext uri="{FF2B5EF4-FFF2-40B4-BE49-F238E27FC236}">
                      <a16:creationId xmlns:a16="http://schemas.microsoft.com/office/drawing/2014/main" id="{2C9516CF-0CF5-49A1-A140-C2382B8B08CB}"/>
                    </a:ext>
                  </a:extLst>
                </p:cNvPr>
                <p:cNvGrpSpPr/>
                <p:nvPr/>
              </p:nvGrpSpPr>
              <p:grpSpPr>
                <a:xfrm>
                  <a:off x="4922149" y="8795008"/>
                  <a:ext cx="189451" cy="59601"/>
                  <a:chOff x="10828433" y="2483528"/>
                  <a:chExt cx="258463" cy="81313"/>
                </a:xfrm>
              </p:grpSpPr>
              <p:sp>
                <p:nvSpPr>
                  <p:cNvPr id="520" name="Freeform 21">
                    <a:extLst>
                      <a:ext uri="{FF2B5EF4-FFF2-40B4-BE49-F238E27FC236}">
                        <a16:creationId xmlns:a16="http://schemas.microsoft.com/office/drawing/2014/main" id="{DD111C91-261B-4C4E-B519-388D57C06FFA}"/>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21" name="Freeform 22">
                    <a:extLst>
                      <a:ext uri="{FF2B5EF4-FFF2-40B4-BE49-F238E27FC236}">
                        <a16:creationId xmlns:a16="http://schemas.microsoft.com/office/drawing/2014/main" id="{B33EC193-5EAE-4BF6-BCDD-F9B30AB68F06}"/>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22" name="Freeform 23">
                    <a:extLst>
                      <a:ext uri="{FF2B5EF4-FFF2-40B4-BE49-F238E27FC236}">
                        <a16:creationId xmlns:a16="http://schemas.microsoft.com/office/drawing/2014/main" id="{689F0990-C95F-4370-A30E-45F512DD1B24}"/>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23" name="Freeform 24">
                    <a:extLst>
                      <a:ext uri="{FF2B5EF4-FFF2-40B4-BE49-F238E27FC236}">
                        <a16:creationId xmlns:a16="http://schemas.microsoft.com/office/drawing/2014/main" id="{66F1ACC1-90B5-4C80-A4F4-CF0EBA3F4128}"/>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24" name="Rectangle 523">
                    <a:extLst>
                      <a:ext uri="{FF2B5EF4-FFF2-40B4-BE49-F238E27FC236}">
                        <a16:creationId xmlns:a16="http://schemas.microsoft.com/office/drawing/2014/main" id="{8734BDFB-2061-4ECE-97EF-B7FAF0365BBB}"/>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25" name="Freeform 26">
                    <a:extLst>
                      <a:ext uri="{FF2B5EF4-FFF2-40B4-BE49-F238E27FC236}">
                        <a16:creationId xmlns:a16="http://schemas.microsoft.com/office/drawing/2014/main" id="{EBF80DBF-4635-4B70-B36E-804417364DC0}"/>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grpSp>
      <p:grpSp>
        <p:nvGrpSpPr>
          <p:cNvPr id="38" name="Group 37">
            <a:extLst>
              <a:ext uri="{FF2B5EF4-FFF2-40B4-BE49-F238E27FC236}">
                <a16:creationId xmlns:a16="http://schemas.microsoft.com/office/drawing/2014/main" id="{762A82A0-C952-442F-AE15-4DDE8021CA8B}"/>
              </a:ext>
            </a:extLst>
          </p:cNvPr>
          <p:cNvGrpSpPr/>
          <p:nvPr/>
        </p:nvGrpSpPr>
        <p:grpSpPr>
          <a:xfrm>
            <a:off x="10756047" y="5106452"/>
            <a:ext cx="926365" cy="486809"/>
            <a:chOff x="10756047" y="5106452"/>
            <a:chExt cx="926365" cy="486809"/>
          </a:xfrm>
        </p:grpSpPr>
        <p:grpSp>
          <p:nvGrpSpPr>
            <p:cNvPr id="476" name="Group 475">
              <a:extLst>
                <a:ext uri="{FF2B5EF4-FFF2-40B4-BE49-F238E27FC236}">
                  <a16:creationId xmlns:a16="http://schemas.microsoft.com/office/drawing/2014/main" id="{6C78873A-66E1-4A4F-8B6D-FF5998137676}"/>
                </a:ext>
              </a:extLst>
            </p:cNvPr>
            <p:cNvGrpSpPr>
              <a:grpSpLocks noChangeAspect="1"/>
            </p:cNvGrpSpPr>
            <p:nvPr/>
          </p:nvGrpSpPr>
          <p:grpSpPr>
            <a:xfrm>
              <a:off x="10756047" y="5106452"/>
              <a:ext cx="262612" cy="486809"/>
              <a:chOff x="5434013" y="2201863"/>
              <a:chExt cx="1323975" cy="2454275"/>
            </a:xfrm>
          </p:grpSpPr>
          <p:sp>
            <p:nvSpPr>
              <p:cNvPr id="478" name="Freeform 5">
                <a:extLst>
                  <a:ext uri="{FF2B5EF4-FFF2-40B4-BE49-F238E27FC236}">
                    <a16:creationId xmlns:a16="http://schemas.microsoft.com/office/drawing/2014/main" id="{60A9C600-7E30-41A8-8090-F8F0FB80BAE7}"/>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sp>
            <p:nvSpPr>
              <p:cNvPr id="479" name="Freeform: Shape 15">
                <a:extLst>
                  <a:ext uri="{FF2B5EF4-FFF2-40B4-BE49-F238E27FC236}">
                    <a16:creationId xmlns:a16="http://schemas.microsoft.com/office/drawing/2014/main" id="{4AF051CE-133C-4A31-B72B-0FBBA95957C0}"/>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grpSp>
        <p:grpSp>
          <p:nvGrpSpPr>
            <p:cNvPr id="562" name="Group 561">
              <a:extLst>
                <a:ext uri="{FF2B5EF4-FFF2-40B4-BE49-F238E27FC236}">
                  <a16:creationId xmlns:a16="http://schemas.microsoft.com/office/drawing/2014/main" id="{D758383A-8F22-4A0D-A6BD-453A9513B8C0}"/>
                </a:ext>
              </a:extLst>
            </p:cNvPr>
            <p:cNvGrpSpPr/>
            <p:nvPr/>
          </p:nvGrpSpPr>
          <p:grpSpPr>
            <a:xfrm>
              <a:off x="10785088" y="5301433"/>
              <a:ext cx="204530" cy="64345"/>
              <a:chOff x="10828433" y="2483528"/>
              <a:chExt cx="258463" cy="81313"/>
            </a:xfrm>
          </p:grpSpPr>
          <p:sp>
            <p:nvSpPr>
              <p:cNvPr id="563" name="Freeform 21">
                <a:extLst>
                  <a:ext uri="{FF2B5EF4-FFF2-40B4-BE49-F238E27FC236}">
                    <a16:creationId xmlns:a16="http://schemas.microsoft.com/office/drawing/2014/main" id="{F942BFAC-7BF2-4FF7-8B4B-A0B2696092CB}"/>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64" name="Freeform 22">
                <a:extLst>
                  <a:ext uri="{FF2B5EF4-FFF2-40B4-BE49-F238E27FC236}">
                    <a16:creationId xmlns:a16="http://schemas.microsoft.com/office/drawing/2014/main" id="{78EA1908-87BE-439D-9BB8-827FD1D85A50}"/>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65" name="Freeform 23">
                <a:extLst>
                  <a:ext uri="{FF2B5EF4-FFF2-40B4-BE49-F238E27FC236}">
                    <a16:creationId xmlns:a16="http://schemas.microsoft.com/office/drawing/2014/main" id="{A69C4FB0-EA40-4FE7-80F2-40B3A4323589}"/>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66" name="Freeform 24">
                <a:extLst>
                  <a:ext uri="{FF2B5EF4-FFF2-40B4-BE49-F238E27FC236}">
                    <a16:creationId xmlns:a16="http://schemas.microsoft.com/office/drawing/2014/main" id="{C2885326-0206-40F3-9649-9B9610F96481}"/>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67" name="Rectangle 566">
                <a:extLst>
                  <a:ext uri="{FF2B5EF4-FFF2-40B4-BE49-F238E27FC236}">
                    <a16:creationId xmlns:a16="http://schemas.microsoft.com/office/drawing/2014/main" id="{1B032761-9482-43BA-8596-5DABB68D3840}"/>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68" name="Freeform 26">
                <a:extLst>
                  <a:ext uri="{FF2B5EF4-FFF2-40B4-BE49-F238E27FC236}">
                    <a16:creationId xmlns:a16="http://schemas.microsoft.com/office/drawing/2014/main" id="{CBB7B6AA-0C58-4A1F-882A-A5642BDB50F5}"/>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572" name="Group 571">
              <a:extLst>
                <a:ext uri="{FF2B5EF4-FFF2-40B4-BE49-F238E27FC236}">
                  <a16:creationId xmlns:a16="http://schemas.microsoft.com/office/drawing/2014/main" id="{7B753C71-D89A-4E0A-B406-B09A884A5322}"/>
                </a:ext>
              </a:extLst>
            </p:cNvPr>
            <p:cNvGrpSpPr>
              <a:grpSpLocks noChangeAspect="1"/>
            </p:cNvGrpSpPr>
            <p:nvPr/>
          </p:nvGrpSpPr>
          <p:grpSpPr>
            <a:xfrm>
              <a:off x="11087923" y="5106452"/>
              <a:ext cx="262612" cy="486809"/>
              <a:chOff x="5434013" y="2201863"/>
              <a:chExt cx="1323975" cy="2454275"/>
            </a:xfrm>
          </p:grpSpPr>
          <p:sp>
            <p:nvSpPr>
              <p:cNvPr id="573" name="Freeform 5">
                <a:extLst>
                  <a:ext uri="{FF2B5EF4-FFF2-40B4-BE49-F238E27FC236}">
                    <a16:creationId xmlns:a16="http://schemas.microsoft.com/office/drawing/2014/main" id="{2EDB1B1A-BE5E-4F81-94E8-EA52AEB58EBF}"/>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sp>
            <p:nvSpPr>
              <p:cNvPr id="574" name="Freeform: Shape 15">
                <a:extLst>
                  <a:ext uri="{FF2B5EF4-FFF2-40B4-BE49-F238E27FC236}">
                    <a16:creationId xmlns:a16="http://schemas.microsoft.com/office/drawing/2014/main" id="{A484A1DB-36FF-41B0-9522-332CAEC558B4}"/>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grpSp>
        <p:grpSp>
          <p:nvGrpSpPr>
            <p:cNvPr id="583" name="Group 582">
              <a:extLst>
                <a:ext uri="{FF2B5EF4-FFF2-40B4-BE49-F238E27FC236}">
                  <a16:creationId xmlns:a16="http://schemas.microsoft.com/office/drawing/2014/main" id="{D1FB3A88-47A5-4649-8C08-DB03C691EF20}"/>
                </a:ext>
              </a:extLst>
            </p:cNvPr>
            <p:cNvGrpSpPr/>
            <p:nvPr/>
          </p:nvGrpSpPr>
          <p:grpSpPr>
            <a:xfrm>
              <a:off x="11116782" y="5301433"/>
              <a:ext cx="201326" cy="63337"/>
              <a:chOff x="10828433" y="2483528"/>
              <a:chExt cx="258463" cy="81313"/>
            </a:xfrm>
          </p:grpSpPr>
          <p:sp>
            <p:nvSpPr>
              <p:cNvPr id="584" name="Freeform 21">
                <a:extLst>
                  <a:ext uri="{FF2B5EF4-FFF2-40B4-BE49-F238E27FC236}">
                    <a16:creationId xmlns:a16="http://schemas.microsoft.com/office/drawing/2014/main" id="{74B3BAC8-30E5-4C94-A5A3-AE67EFB70887}"/>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85" name="Freeform 22">
                <a:extLst>
                  <a:ext uri="{FF2B5EF4-FFF2-40B4-BE49-F238E27FC236}">
                    <a16:creationId xmlns:a16="http://schemas.microsoft.com/office/drawing/2014/main" id="{E9D7A5FF-8426-420F-8583-D3C81967F26E}"/>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86" name="Freeform 23">
                <a:extLst>
                  <a:ext uri="{FF2B5EF4-FFF2-40B4-BE49-F238E27FC236}">
                    <a16:creationId xmlns:a16="http://schemas.microsoft.com/office/drawing/2014/main" id="{EB49E387-2021-4235-BCBD-90E60912FCBA}"/>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87" name="Freeform 24">
                <a:extLst>
                  <a:ext uri="{FF2B5EF4-FFF2-40B4-BE49-F238E27FC236}">
                    <a16:creationId xmlns:a16="http://schemas.microsoft.com/office/drawing/2014/main" id="{D306AB65-BB9B-46C1-A8B8-7A8D71F73CA0}"/>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88" name="Rectangle 587">
                <a:extLst>
                  <a:ext uri="{FF2B5EF4-FFF2-40B4-BE49-F238E27FC236}">
                    <a16:creationId xmlns:a16="http://schemas.microsoft.com/office/drawing/2014/main" id="{77A1E1C8-4FC6-4FB0-841B-4ADBBF27AB69}"/>
                  </a:ext>
                </a:extLst>
              </p:cNvPr>
              <p:cNvSpPr>
                <a:spLocks noChangeArrowheads="1"/>
              </p:cNvSpPr>
              <p:nvPr/>
            </p:nvSpPr>
            <p:spPr bwMode="auto">
              <a:xfrm>
                <a:off x="11006932" y="2503145"/>
                <a:ext cx="5241" cy="42079"/>
              </a:xfrm>
              <a:prstGeom prst="rect">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89" name="Freeform 26">
                <a:extLst>
                  <a:ext uri="{FF2B5EF4-FFF2-40B4-BE49-F238E27FC236}">
                    <a16:creationId xmlns:a16="http://schemas.microsoft.com/office/drawing/2014/main" id="{0FCE1DD1-C8E6-4B85-B744-EF58A05BD845}"/>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577" name="Group 576">
              <a:extLst>
                <a:ext uri="{FF2B5EF4-FFF2-40B4-BE49-F238E27FC236}">
                  <a16:creationId xmlns:a16="http://schemas.microsoft.com/office/drawing/2014/main" id="{AAB54CC5-4E1E-4A02-A55F-ACC42204DE82}"/>
                </a:ext>
              </a:extLst>
            </p:cNvPr>
            <p:cNvGrpSpPr>
              <a:grpSpLocks noChangeAspect="1"/>
            </p:cNvGrpSpPr>
            <p:nvPr/>
          </p:nvGrpSpPr>
          <p:grpSpPr>
            <a:xfrm>
              <a:off x="11419800" y="5106452"/>
              <a:ext cx="262612" cy="486809"/>
              <a:chOff x="5434013" y="2201863"/>
              <a:chExt cx="1323975" cy="2454275"/>
            </a:xfrm>
          </p:grpSpPr>
          <p:sp>
            <p:nvSpPr>
              <p:cNvPr id="578" name="Freeform 5">
                <a:extLst>
                  <a:ext uri="{FF2B5EF4-FFF2-40B4-BE49-F238E27FC236}">
                    <a16:creationId xmlns:a16="http://schemas.microsoft.com/office/drawing/2014/main" id="{91395E0E-210A-424D-802F-62D1698BAE0A}"/>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sp>
            <p:nvSpPr>
              <p:cNvPr id="579" name="Freeform: Shape 35">
                <a:extLst>
                  <a:ext uri="{FF2B5EF4-FFF2-40B4-BE49-F238E27FC236}">
                    <a16:creationId xmlns:a16="http://schemas.microsoft.com/office/drawing/2014/main" id="{078B919D-CCE6-413D-9103-134D88F7F892}"/>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grpSp>
        <p:grpSp>
          <p:nvGrpSpPr>
            <p:cNvPr id="590" name="Group 589">
              <a:extLst>
                <a:ext uri="{FF2B5EF4-FFF2-40B4-BE49-F238E27FC236}">
                  <a16:creationId xmlns:a16="http://schemas.microsoft.com/office/drawing/2014/main" id="{94DFDFCF-BA67-4192-8106-237214DEF8B6}"/>
                </a:ext>
              </a:extLst>
            </p:cNvPr>
            <p:cNvGrpSpPr/>
            <p:nvPr/>
          </p:nvGrpSpPr>
          <p:grpSpPr>
            <a:xfrm>
              <a:off x="11456671" y="5301433"/>
              <a:ext cx="188871" cy="59419"/>
              <a:chOff x="10828433" y="2483528"/>
              <a:chExt cx="258463" cy="81313"/>
            </a:xfrm>
          </p:grpSpPr>
          <p:sp>
            <p:nvSpPr>
              <p:cNvPr id="591" name="Freeform 21">
                <a:extLst>
                  <a:ext uri="{FF2B5EF4-FFF2-40B4-BE49-F238E27FC236}">
                    <a16:creationId xmlns:a16="http://schemas.microsoft.com/office/drawing/2014/main" id="{69B6AFFB-5230-46FF-AAB4-A5F0073D0109}"/>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92" name="Freeform 22">
                <a:extLst>
                  <a:ext uri="{FF2B5EF4-FFF2-40B4-BE49-F238E27FC236}">
                    <a16:creationId xmlns:a16="http://schemas.microsoft.com/office/drawing/2014/main" id="{F419B741-EC70-4205-83D4-EB3A13104DAD}"/>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93" name="Freeform 23">
                <a:extLst>
                  <a:ext uri="{FF2B5EF4-FFF2-40B4-BE49-F238E27FC236}">
                    <a16:creationId xmlns:a16="http://schemas.microsoft.com/office/drawing/2014/main" id="{47B320A5-8A76-41FE-ACDD-672B930D740C}"/>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94" name="Freeform 24">
                <a:extLst>
                  <a:ext uri="{FF2B5EF4-FFF2-40B4-BE49-F238E27FC236}">
                    <a16:creationId xmlns:a16="http://schemas.microsoft.com/office/drawing/2014/main" id="{34635EE6-110A-4C25-89B5-C315E9CF58FE}"/>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95" name="Rectangle 594">
                <a:extLst>
                  <a:ext uri="{FF2B5EF4-FFF2-40B4-BE49-F238E27FC236}">
                    <a16:creationId xmlns:a16="http://schemas.microsoft.com/office/drawing/2014/main" id="{94D4BD16-312C-4103-AC03-7DF50FECF0B0}"/>
                  </a:ext>
                </a:extLst>
              </p:cNvPr>
              <p:cNvSpPr>
                <a:spLocks noChangeArrowheads="1"/>
              </p:cNvSpPr>
              <p:nvPr/>
            </p:nvSpPr>
            <p:spPr bwMode="auto">
              <a:xfrm>
                <a:off x="11006932" y="2503145"/>
                <a:ext cx="5241" cy="42079"/>
              </a:xfrm>
              <a:prstGeom prst="rect">
                <a:avLst/>
              </a:pr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596" name="Freeform 26">
                <a:extLst>
                  <a:ext uri="{FF2B5EF4-FFF2-40B4-BE49-F238E27FC236}">
                    <a16:creationId xmlns:a16="http://schemas.microsoft.com/office/drawing/2014/main" id="{A86BE591-BEF6-4B4D-8CAC-CA7B7BCF2526}"/>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sp>
        <p:nvSpPr>
          <p:cNvPr id="339" name="TextBox 338">
            <a:extLst>
              <a:ext uri="{FF2B5EF4-FFF2-40B4-BE49-F238E27FC236}">
                <a16:creationId xmlns:a16="http://schemas.microsoft.com/office/drawing/2014/main" id="{8C947C14-3CD2-40D0-B2EB-84DEE147BB8C}"/>
              </a:ext>
            </a:extLst>
          </p:cNvPr>
          <p:cNvSpPr txBox="1"/>
          <p:nvPr/>
        </p:nvSpPr>
        <p:spPr>
          <a:xfrm>
            <a:off x="7862935" y="2518224"/>
            <a:ext cx="2593668" cy="3141694"/>
          </a:xfrm>
          <a:prstGeom prst="rect">
            <a:avLst/>
          </a:prstGeom>
        </p:spPr>
        <p:txBody>
          <a:bodyPr wrap="square" lIns="0" tIns="0" rIns="0" bIns="0">
            <a:spAutoFit/>
          </a:bodyPr>
          <a:lstStyle>
            <a:defPPr>
              <a:defRPr lang="en-US"/>
            </a:defPPr>
            <a:lvl1pPr>
              <a:lnSpc>
                <a:spcPct val="125000"/>
              </a:lnSpc>
              <a:defRPr sz="1400">
                <a:solidFill>
                  <a:prstClr val="black">
                    <a:lumMod val="50000"/>
                    <a:lumOff val="50000"/>
                  </a:prstClr>
                </a:solidFill>
                <a:cs typeface="Microsoft Sans Serif" panose="020B0604020202020204" pitchFamily="34" charset="0"/>
              </a:defRPr>
            </a:lvl1pPr>
          </a:lstStyle>
          <a:p>
            <a:pPr marL="0" marR="0" lvl="2" indent="0" algn="l" defTabSz="914400" rtl="0" eaLnBrk="1" fontAlgn="auto" latinLnBrk="0" hangingPunct="1">
              <a:lnSpc>
                <a:spcPct val="107000"/>
              </a:lnSpc>
              <a:spcBef>
                <a:spcPts val="1200"/>
              </a:spcBef>
              <a:spcAft>
                <a:spcPts val="15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Receive only mode</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Delivery of free-to-air content to devices without SIM/service subscription</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Unified protocol stack</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CMAF packaging – compatible with unicast and broadcast stacks </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Standardized network APIs</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Content providers can deliver media</a:t>
            </a:r>
            <a:b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b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over </a:t>
            </a:r>
            <a:r>
              <a:rPr lang="en-US" sz="1050" dirty="0">
                <a:solidFill>
                  <a:srgbClr val="000000"/>
                </a:solidFill>
                <a:latin typeface="Microsoft Sans Serif" panose="020B0604020202020204" pitchFamily="34" charset="0"/>
              </a:rPr>
              <a:t>5G Broadcast </a:t>
            </a: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with a unified framework</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Shared broadcast</a:t>
            </a:r>
          </a:p>
          <a:p>
            <a:pPr marL="0" marR="0" lvl="2" indent="0" algn="l" defTabSz="914400" rtl="0" eaLnBrk="1" fontAlgn="auto" latinLnBrk="0" hangingPunct="1">
              <a:lnSpc>
                <a:spcPct val="107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Multiple operators can serve users</a:t>
            </a:r>
            <a:b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br>
            <a:r>
              <a:rPr kumimoji="0" lang="en-US" sz="105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on a common broadcast carrier</a:t>
            </a:r>
          </a:p>
        </p:txBody>
      </p:sp>
      <p:sp>
        <p:nvSpPr>
          <p:cNvPr id="405" name="TextBox 404">
            <a:extLst>
              <a:ext uri="{FF2B5EF4-FFF2-40B4-BE49-F238E27FC236}">
                <a16:creationId xmlns:a16="http://schemas.microsoft.com/office/drawing/2014/main" id="{A616B9B1-99F0-4899-A090-944007B45139}"/>
              </a:ext>
            </a:extLst>
          </p:cNvPr>
          <p:cNvSpPr txBox="1"/>
          <p:nvPr/>
        </p:nvSpPr>
        <p:spPr>
          <a:xfrm>
            <a:off x="489493" y="2518224"/>
            <a:ext cx="2727582" cy="3181640"/>
          </a:xfrm>
          <a:prstGeom prst="rect">
            <a:avLst/>
          </a:prstGeom>
        </p:spPr>
        <p:txBody>
          <a:bodyPr wrap="square" lIns="0" tIns="0" rIns="0" bIns="0">
            <a:spAutoFit/>
          </a:bodyPr>
          <a:lstStyle>
            <a:defPPr>
              <a:defRPr lang="en-US"/>
            </a:defPPr>
            <a:lvl1pPr>
              <a:lnSpc>
                <a:spcPct val="125000"/>
              </a:lnSpc>
              <a:defRPr sz="1400">
                <a:solidFill>
                  <a:prstClr val="black">
                    <a:lumMod val="50000"/>
                    <a:lumOff val="50000"/>
                  </a:prstClr>
                </a:solidFill>
                <a:cs typeface="Microsoft Sans Serif" panose="020B0604020202020204" pitchFamily="34" charset="0"/>
              </a:defRPr>
            </a:lvl1pPr>
          </a:lstStyle>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Longer range &amp; high mobility</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New numerology with 100/200/300us CP</a:t>
            </a:r>
            <a:r>
              <a:rPr kumimoji="0" lang="en-US" sz="1100" b="0" i="0" u="none" strike="noStrike" kern="1200" cap="none" spc="0" normalizeH="0" baseline="30000" noProof="0" dirty="0">
                <a:ln>
                  <a:noFill/>
                </a:ln>
                <a:solidFill>
                  <a:srgbClr val="000000"/>
                </a:solidFill>
                <a:effectLst/>
                <a:uLnTx/>
                <a:uFillTx/>
                <a:latin typeface="Microsoft Sans Serif" panose="020B0604020202020204" pitchFamily="34" charset="0"/>
                <a:ea typeface="+mn-ea"/>
                <a:cs typeface="+mn-cs"/>
              </a:rPr>
              <a:t>2</a:t>
            </a: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 for up2 100km radius</a:t>
            </a:r>
            <a:r>
              <a:rPr kumimoji="0" lang="en-US" sz="1100" b="0" i="0" u="none" strike="noStrike" kern="1200" cap="none" spc="0" normalizeH="0" baseline="30000" noProof="0" dirty="0">
                <a:ln>
                  <a:noFill/>
                </a:ln>
                <a:solidFill>
                  <a:srgbClr val="000000"/>
                </a:solidFill>
                <a:effectLst/>
                <a:uLnTx/>
                <a:uFillTx/>
                <a:latin typeface="Microsoft Sans Serif" panose="020B0604020202020204" pitchFamily="34" charset="0"/>
                <a:ea typeface="+mn-ea"/>
                <a:cs typeface="+mn-cs"/>
              </a:rPr>
              <a:t> </a:t>
            </a: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and 250km/h speed</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More broadcast capacity</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Supports dedicated broadcast network</a:t>
            </a:r>
            <a:b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b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with 100% </a:t>
            </a:r>
            <a:r>
              <a:rPr kumimoji="0" lang="en-US" sz="1100" b="0" i="0" u="none" strike="noStrike" kern="1200" cap="none" spc="0" normalizeH="0" baseline="0" noProof="0" dirty="0" err="1">
                <a:ln>
                  <a:noFill/>
                </a:ln>
                <a:solidFill>
                  <a:srgbClr val="000000"/>
                </a:solidFill>
                <a:effectLst/>
                <a:uLnTx/>
                <a:uFillTx/>
                <a:latin typeface="Microsoft Sans Serif" panose="020B0604020202020204" pitchFamily="34" charset="0"/>
                <a:ea typeface="+mn-ea"/>
                <a:cs typeface="+mn-cs"/>
              </a:rPr>
              <a:t>eMBMS</a:t>
            </a: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 carrier allocation</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More deployment flexibility</a:t>
            </a:r>
          </a:p>
          <a:p>
            <a:pPr marL="0" marR="0" lvl="2" indent="0" algn="l" defTabSz="914400" rtl="0" eaLnBrk="1" fontAlgn="auto" latinLnBrk="0" hangingPunct="1">
              <a:lnSpc>
                <a:spcPct val="107000"/>
              </a:lnSpc>
              <a:spcBef>
                <a:spcPts val="0"/>
              </a:spcBef>
              <a:spcAft>
                <a:spcPts val="1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Single network for mobile and fixed devices with enhanced support for rooftop reception</a:t>
            </a:r>
          </a:p>
          <a:p>
            <a:pPr marL="0" marR="0" lvl="2"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53DC"/>
                </a:solidFill>
                <a:effectLst/>
                <a:uLnTx/>
                <a:uFillTx/>
                <a:latin typeface="Microsoft Sans Serif" panose="020B0604020202020204" pitchFamily="34" charset="0"/>
                <a:ea typeface="+mn-ea"/>
                <a:cs typeface="Microsoft Sans Serif" panose="020B0604020202020204" pitchFamily="34" charset="0"/>
              </a:rPr>
              <a:t>Better efficiency</a:t>
            </a:r>
          </a:p>
          <a:p>
            <a:pPr marL="0" marR="0" lvl="2" indent="0" algn="l" defTabSz="914400" rtl="0" eaLnBrk="1" fontAlgn="auto" latinLnBrk="0" hangingPunct="1">
              <a:lnSpc>
                <a:spcPct val="107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New subframe design reduces overhead</a:t>
            </a:r>
            <a:b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br>
            <a:r>
              <a:rPr kumimoji="0" lang="en-US" sz="1100" b="0" i="0" u="none" strike="noStrike" kern="1200" cap="none" spc="0" normalizeH="0" baseline="0" noProof="0" dirty="0">
                <a:ln>
                  <a:noFill/>
                </a:ln>
                <a:solidFill>
                  <a:srgbClr val="000000"/>
                </a:solidFill>
                <a:effectLst/>
                <a:uLnTx/>
                <a:uFillTx/>
                <a:latin typeface="Microsoft Sans Serif" panose="020B0604020202020204" pitchFamily="34" charset="0"/>
                <a:ea typeface="+mn-ea"/>
                <a:cs typeface="+mn-cs"/>
              </a:rPr>
              <a:t>in dedicated broadcast transmissions</a:t>
            </a:r>
          </a:p>
        </p:txBody>
      </p:sp>
      <p:cxnSp>
        <p:nvCxnSpPr>
          <p:cNvPr id="10" name="Straight Connector 9">
            <a:extLst>
              <a:ext uri="{FF2B5EF4-FFF2-40B4-BE49-F238E27FC236}">
                <a16:creationId xmlns:a16="http://schemas.microsoft.com/office/drawing/2014/main" id="{E3B3609B-D5D0-4A10-95E0-1E23AA15F4DC}"/>
              </a:ext>
            </a:extLst>
          </p:cNvPr>
          <p:cNvCxnSpPr>
            <a:cxnSpLocks/>
          </p:cNvCxnSpPr>
          <p:nvPr/>
        </p:nvCxnSpPr>
        <p:spPr>
          <a:xfrm>
            <a:off x="7856333" y="412322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740A67C8-6081-4BC7-A37A-3982D729D6FC}"/>
              </a:ext>
            </a:extLst>
          </p:cNvPr>
          <p:cNvCxnSpPr>
            <a:cxnSpLocks/>
          </p:cNvCxnSpPr>
          <p:nvPr/>
        </p:nvCxnSpPr>
        <p:spPr>
          <a:xfrm>
            <a:off x="7856333" y="323930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E95BFF32-8E88-44D6-89BA-7301885CD5F7}"/>
              </a:ext>
            </a:extLst>
          </p:cNvPr>
          <p:cNvCxnSpPr>
            <a:cxnSpLocks/>
          </p:cNvCxnSpPr>
          <p:nvPr/>
        </p:nvCxnSpPr>
        <p:spPr>
          <a:xfrm>
            <a:off x="7856333" y="496142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487AD97-E4E0-4423-98E2-BD54EAB6A9D3}"/>
              </a:ext>
            </a:extLst>
          </p:cNvPr>
          <p:cNvGrpSpPr/>
          <p:nvPr/>
        </p:nvGrpSpPr>
        <p:grpSpPr>
          <a:xfrm>
            <a:off x="10750332" y="2745646"/>
            <a:ext cx="933668" cy="370357"/>
            <a:chOff x="10527405" y="2569457"/>
            <a:chExt cx="977633" cy="387796"/>
          </a:xfrm>
        </p:grpSpPr>
        <p:grpSp>
          <p:nvGrpSpPr>
            <p:cNvPr id="440" name="Group 439">
              <a:extLst>
                <a:ext uri="{FF2B5EF4-FFF2-40B4-BE49-F238E27FC236}">
                  <a16:creationId xmlns:a16="http://schemas.microsoft.com/office/drawing/2014/main" id="{C1332E06-8D0B-47E4-8A76-2C7D40043034}"/>
                </a:ext>
              </a:extLst>
            </p:cNvPr>
            <p:cNvGrpSpPr/>
            <p:nvPr/>
          </p:nvGrpSpPr>
          <p:grpSpPr>
            <a:xfrm>
              <a:off x="11185749" y="2833964"/>
              <a:ext cx="319289" cy="123289"/>
              <a:chOff x="3519488" y="3225718"/>
              <a:chExt cx="1097280" cy="423695"/>
            </a:xfrm>
          </p:grpSpPr>
          <p:sp>
            <p:nvSpPr>
              <p:cNvPr id="452" name="Rectangle 5">
                <a:extLst>
                  <a:ext uri="{FF2B5EF4-FFF2-40B4-BE49-F238E27FC236}">
                    <a16:creationId xmlns:a16="http://schemas.microsoft.com/office/drawing/2014/main" id="{95E23331-EA41-4815-8FB1-952038B5E19F}"/>
                  </a:ext>
                </a:extLst>
              </p:cNvPr>
              <p:cNvSpPr>
                <a:spLocks noChangeArrowheads="1"/>
              </p:cNvSpPr>
              <p:nvPr/>
            </p:nvSpPr>
            <p:spPr bwMode="auto">
              <a:xfrm>
                <a:off x="3519488" y="3394114"/>
                <a:ext cx="1097280" cy="255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3" name="Freeform 6">
                <a:extLst>
                  <a:ext uri="{FF2B5EF4-FFF2-40B4-BE49-F238E27FC236}">
                    <a16:creationId xmlns:a16="http://schemas.microsoft.com/office/drawing/2014/main" id="{B20F1FF7-7AE9-4E9F-8EC9-449054904A26}"/>
                  </a:ext>
                </a:extLst>
              </p:cNvPr>
              <p:cNvSpPr>
                <a:spLocks/>
              </p:cNvSpPr>
              <p:nvPr/>
            </p:nvSpPr>
            <p:spPr bwMode="auto">
              <a:xfrm>
                <a:off x="4152157" y="3462081"/>
                <a:ext cx="41592" cy="41592"/>
              </a:xfrm>
              <a:custGeom>
                <a:avLst/>
                <a:gdLst>
                  <a:gd name="T0" fmla="*/ 0 w 46"/>
                  <a:gd name="T1" fmla="*/ 23 h 46"/>
                  <a:gd name="T2" fmla="*/ 0 w 46"/>
                  <a:gd name="T3" fmla="*/ 23 h 46"/>
                  <a:gd name="T4" fmla="*/ 23 w 46"/>
                  <a:gd name="T5" fmla="*/ 0 h 46"/>
                  <a:gd name="T6" fmla="*/ 46 w 46"/>
                  <a:gd name="T7" fmla="*/ 23 h 46"/>
                  <a:gd name="T8" fmla="*/ 46 w 46"/>
                  <a:gd name="T9" fmla="*/ 23 h 46"/>
                  <a:gd name="T10" fmla="*/ 23 w 46"/>
                  <a:gd name="T11" fmla="*/ 46 h 46"/>
                  <a:gd name="T12" fmla="*/ 23 w 46"/>
                  <a:gd name="T13" fmla="*/ 46 h 46"/>
                  <a:gd name="T14" fmla="*/ 0 w 46"/>
                  <a:gd name="T15" fmla="*/ 2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0" y="23"/>
                    </a:moveTo>
                    <a:cubicBezTo>
                      <a:pt x="0" y="23"/>
                      <a:pt x="0" y="23"/>
                      <a:pt x="0" y="23"/>
                    </a:cubicBezTo>
                    <a:cubicBezTo>
                      <a:pt x="0" y="10"/>
                      <a:pt x="10" y="0"/>
                      <a:pt x="23" y="0"/>
                    </a:cubicBezTo>
                    <a:cubicBezTo>
                      <a:pt x="36" y="0"/>
                      <a:pt x="46" y="10"/>
                      <a:pt x="46" y="23"/>
                    </a:cubicBezTo>
                    <a:cubicBezTo>
                      <a:pt x="46" y="23"/>
                      <a:pt x="46" y="23"/>
                      <a:pt x="46" y="23"/>
                    </a:cubicBezTo>
                    <a:cubicBezTo>
                      <a:pt x="46" y="36"/>
                      <a:pt x="36" y="46"/>
                      <a:pt x="23" y="46"/>
                    </a:cubicBezTo>
                    <a:cubicBezTo>
                      <a:pt x="23" y="46"/>
                      <a:pt x="23" y="46"/>
                      <a:pt x="23" y="46"/>
                    </a:cubicBezTo>
                    <a:cubicBezTo>
                      <a:pt x="10" y="46"/>
                      <a:pt x="0" y="36"/>
                      <a:pt x="0" y="2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4" name="Freeform 7">
                <a:extLst>
                  <a:ext uri="{FF2B5EF4-FFF2-40B4-BE49-F238E27FC236}">
                    <a16:creationId xmlns:a16="http://schemas.microsoft.com/office/drawing/2014/main" id="{2FE8F1CE-B568-46E8-83AC-EA8872159066}"/>
                  </a:ext>
                </a:extLst>
              </p:cNvPr>
              <p:cNvSpPr>
                <a:spLocks/>
              </p:cNvSpPr>
              <p:nvPr/>
            </p:nvSpPr>
            <p:spPr bwMode="auto">
              <a:xfrm>
                <a:off x="4216405" y="3462081"/>
                <a:ext cx="315489" cy="41592"/>
              </a:xfrm>
              <a:custGeom>
                <a:avLst/>
                <a:gdLst>
                  <a:gd name="T0" fmla="*/ 0 w 349"/>
                  <a:gd name="T1" fmla="*/ 23 h 46"/>
                  <a:gd name="T2" fmla="*/ 23 w 349"/>
                  <a:gd name="T3" fmla="*/ 0 h 46"/>
                  <a:gd name="T4" fmla="*/ 326 w 349"/>
                  <a:gd name="T5" fmla="*/ 0 h 46"/>
                  <a:gd name="T6" fmla="*/ 349 w 349"/>
                  <a:gd name="T7" fmla="*/ 23 h 46"/>
                  <a:gd name="T8" fmla="*/ 326 w 349"/>
                  <a:gd name="T9" fmla="*/ 46 h 46"/>
                  <a:gd name="T10" fmla="*/ 23 w 349"/>
                  <a:gd name="T11" fmla="*/ 46 h 46"/>
                  <a:gd name="T12" fmla="*/ 0 w 34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349" h="46">
                    <a:moveTo>
                      <a:pt x="0" y="23"/>
                    </a:moveTo>
                    <a:cubicBezTo>
                      <a:pt x="0" y="10"/>
                      <a:pt x="10" y="0"/>
                      <a:pt x="23" y="0"/>
                    </a:cubicBezTo>
                    <a:cubicBezTo>
                      <a:pt x="326" y="0"/>
                      <a:pt x="326" y="0"/>
                      <a:pt x="326" y="0"/>
                    </a:cubicBezTo>
                    <a:cubicBezTo>
                      <a:pt x="339" y="0"/>
                      <a:pt x="349" y="10"/>
                      <a:pt x="349" y="23"/>
                    </a:cubicBezTo>
                    <a:cubicBezTo>
                      <a:pt x="349" y="36"/>
                      <a:pt x="339" y="46"/>
                      <a:pt x="326" y="46"/>
                    </a:cubicBezTo>
                    <a:cubicBezTo>
                      <a:pt x="23" y="46"/>
                      <a:pt x="23" y="46"/>
                      <a:pt x="23" y="46"/>
                    </a:cubicBezTo>
                    <a:cubicBezTo>
                      <a:pt x="10" y="46"/>
                      <a:pt x="0" y="36"/>
                      <a:pt x="0" y="2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5" name="Freeform 8">
                <a:extLst>
                  <a:ext uri="{FF2B5EF4-FFF2-40B4-BE49-F238E27FC236}">
                    <a16:creationId xmlns:a16="http://schemas.microsoft.com/office/drawing/2014/main" id="{8EB89C57-7964-408A-8B2A-30B9A1D119B7}"/>
                  </a:ext>
                </a:extLst>
              </p:cNvPr>
              <p:cNvSpPr>
                <a:spLocks/>
              </p:cNvSpPr>
              <p:nvPr/>
            </p:nvSpPr>
            <p:spPr bwMode="auto">
              <a:xfrm>
                <a:off x="3519488" y="3225718"/>
                <a:ext cx="1097280" cy="168396"/>
              </a:xfrm>
              <a:custGeom>
                <a:avLst/>
                <a:gdLst>
                  <a:gd name="T0" fmla="*/ 3245 w 3245"/>
                  <a:gd name="T1" fmla="*/ 498 h 498"/>
                  <a:gd name="T2" fmla="*/ 0 w 3245"/>
                  <a:gd name="T3" fmla="*/ 498 h 498"/>
                  <a:gd name="T4" fmla="*/ 497 w 3245"/>
                  <a:gd name="T5" fmla="*/ 0 h 498"/>
                  <a:gd name="T6" fmla="*/ 2745 w 3245"/>
                  <a:gd name="T7" fmla="*/ 0 h 498"/>
                  <a:gd name="T8" fmla="*/ 3245 w 3245"/>
                  <a:gd name="T9" fmla="*/ 498 h 498"/>
                </a:gdLst>
                <a:ahLst/>
                <a:cxnLst>
                  <a:cxn ang="0">
                    <a:pos x="T0" y="T1"/>
                  </a:cxn>
                  <a:cxn ang="0">
                    <a:pos x="T2" y="T3"/>
                  </a:cxn>
                  <a:cxn ang="0">
                    <a:pos x="T4" y="T5"/>
                  </a:cxn>
                  <a:cxn ang="0">
                    <a:pos x="T6" y="T7"/>
                  </a:cxn>
                  <a:cxn ang="0">
                    <a:pos x="T8" y="T9"/>
                  </a:cxn>
                </a:cxnLst>
                <a:rect l="0" t="0" r="r" b="b"/>
                <a:pathLst>
                  <a:path w="3245" h="498">
                    <a:moveTo>
                      <a:pt x="3245" y="498"/>
                    </a:moveTo>
                    <a:lnTo>
                      <a:pt x="0" y="498"/>
                    </a:lnTo>
                    <a:lnTo>
                      <a:pt x="497" y="0"/>
                    </a:lnTo>
                    <a:lnTo>
                      <a:pt x="2745" y="0"/>
                    </a:lnTo>
                    <a:lnTo>
                      <a:pt x="3245" y="4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grpSp>
        <p:grpSp>
          <p:nvGrpSpPr>
            <p:cNvPr id="7" name="Group 6">
              <a:extLst>
                <a:ext uri="{FF2B5EF4-FFF2-40B4-BE49-F238E27FC236}">
                  <a16:creationId xmlns:a16="http://schemas.microsoft.com/office/drawing/2014/main" id="{0935C30E-FC75-4F4B-9421-4AF5A4459B44}"/>
                </a:ext>
              </a:extLst>
            </p:cNvPr>
            <p:cNvGrpSpPr/>
            <p:nvPr/>
          </p:nvGrpSpPr>
          <p:grpSpPr>
            <a:xfrm>
              <a:off x="10527405" y="2569457"/>
              <a:ext cx="608300" cy="387795"/>
              <a:chOff x="8425358" y="-975869"/>
              <a:chExt cx="914400" cy="582935"/>
            </a:xfrm>
          </p:grpSpPr>
          <p:grpSp>
            <p:nvGrpSpPr>
              <p:cNvPr id="436" name="Group 4">
                <a:extLst>
                  <a:ext uri="{FF2B5EF4-FFF2-40B4-BE49-F238E27FC236}">
                    <a16:creationId xmlns:a16="http://schemas.microsoft.com/office/drawing/2014/main" id="{55C0E971-1879-4288-91B0-90F1428591A3}"/>
                  </a:ext>
                </a:extLst>
              </p:cNvPr>
              <p:cNvGrpSpPr>
                <a:grpSpLocks noChangeAspect="1"/>
              </p:cNvGrpSpPr>
              <p:nvPr/>
            </p:nvGrpSpPr>
            <p:grpSpPr bwMode="auto">
              <a:xfrm>
                <a:off x="8425358" y="-975869"/>
                <a:ext cx="914400" cy="582935"/>
                <a:chOff x="942" y="1778"/>
                <a:chExt cx="2149" cy="1370"/>
              </a:xfrm>
              <a:solidFill>
                <a:srgbClr val="3253DC"/>
              </a:solidFill>
            </p:grpSpPr>
            <p:sp>
              <p:nvSpPr>
                <p:cNvPr id="437" name="Freeform 5">
                  <a:extLst>
                    <a:ext uri="{FF2B5EF4-FFF2-40B4-BE49-F238E27FC236}">
                      <a16:creationId xmlns:a16="http://schemas.microsoft.com/office/drawing/2014/main" id="{79C21BD1-4BC0-45B7-BB17-7DC4462872A3}"/>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sp>
              <p:nvSpPr>
                <p:cNvPr id="438" name="Freeform 6">
                  <a:extLst>
                    <a:ext uri="{FF2B5EF4-FFF2-40B4-BE49-F238E27FC236}">
                      <a16:creationId xmlns:a16="http://schemas.microsoft.com/office/drawing/2014/main" id="{BD6746C9-4A0B-45F6-BC38-95805E434F58}"/>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grpSp>
          <p:grpSp>
            <p:nvGrpSpPr>
              <p:cNvPr id="468" name="Group 467">
                <a:extLst>
                  <a:ext uri="{FF2B5EF4-FFF2-40B4-BE49-F238E27FC236}">
                    <a16:creationId xmlns:a16="http://schemas.microsoft.com/office/drawing/2014/main" id="{6380655A-13F9-446E-83CC-6F36EF55C492}"/>
                  </a:ext>
                </a:extLst>
              </p:cNvPr>
              <p:cNvGrpSpPr/>
              <p:nvPr/>
            </p:nvGrpSpPr>
            <p:grpSpPr>
              <a:xfrm>
                <a:off x="8630641" y="-781032"/>
                <a:ext cx="503834" cy="158506"/>
                <a:chOff x="10828433" y="2483528"/>
                <a:chExt cx="258463" cy="81313"/>
              </a:xfrm>
            </p:grpSpPr>
            <p:sp>
              <p:nvSpPr>
                <p:cNvPr id="469" name="Freeform 21">
                  <a:extLst>
                    <a:ext uri="{FF2B5EF4-FFF2-40B4-BE49-F238E27FC236}">
                      <a16:creationId xmlns:a16="http://schemas.microsoft.com/office/drawing/2014/main" id="{006F3C0A-4F25-4C8A-ABAF-74F259D317D0}"/>
                    </a:ext>
                  </a:extLst>
                </p:cNvPr>
                <p:cNvSpPr>
                  <a:spLocks/>
                </p:cNvSpPr>
                <p:nvPr/>
              </p:nvSpPr>
              <p:spPr bwMode="auto">
                <a:xfrm>
                  <a:off x="10828433" y="2483528"/>
                  <a:ext cx="258463" cy="8131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470" name="Freeform 22">
                  <a:extLst>
                    <a:ext uri="{FF2B5EF4-FFF2-40B4-BE49-F238E27FC236}">
                      <a16:creationId xmlns:a16="http://schemas.microsoft.com/office/drawing/2014/main" id="{0EF9CE97-CDC0-4F7B-84DB-425912BB55D4}"/>
                    </a:ext>
                  </a:extLst>
                </p:cNvPr>
                <p:cNvSpPr>
                  <a:spLocks noEditPoints="1"/>
                </p:cNvSpPr>
                <p:nvPr/>
              </p:nvSpPr>
              <p:spPr bwMode="auto">
                <a:xfrm>
                  <a:off x="10862725" y="2502396"/>
                  <a:ext cx="38036" cy="43277"/>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71" name="Freeform 23">
                  <a:extLst>
                    <a:ext uri="{FF2B5EF4-FFF2-40B4-BE49-F238E27FC236}">
                      <a16:creationId xmlns:a16="http://schemas.microsoft.com/office/drawing/2014/main" id="{454AE2F5-3086-40DE-AB1C-6265BA937FB8}"/>
                    </a:ext>
                  </a:extLst>
                </p:cNvPr>
                <p:cNvSpPr>
                  <a:spLocks/>
                </p:cNvSpPr>
                <p:nvPr/>
              </p:nvSpPr>
              <p:spPr bwMode="auto">
                <a:xfrm>
                  <a:off x="10908398" y="2503145"/>
                  <a:ext cx="32495" cy="42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72" name="Freeform 24">
                  <a:extLst>
                    <a:ext uri="{FF2B5EF4-FFF2-40B4-BE49-F238E27FC236}">
                      <a16:creationId xmlns:a16="http://schemas.microsoft.com/office/drawing/2014/main" id="{E679C2E2-A583-47DE-B123-B0B45CA76403}"/>
                    </a:ext>
                  </a:extLst>
                </p:cNvPr>
                <p:cNvSpPr>
                  <a:spLocks noEditPoints="1"/>
                </p:cNvSpPr>
                <p:nvPr/>
              </p:nvSpPr>
              <p:spPr bwMode="auto">
                <a:xfrm>
                  <a:off x="10962457" y="2503145"/>
                  <a:ext cx="38036" cy="42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73" name="Rectangle 472">
                  <a:extLst>
                    <a:ext uri="{FF2B5EF4-FFF2-40B4-BE49-F238E27FC236}">
                      <a16:creationId xmlns:a16="http://schemas.microsoft.com/office/drawing/2014/main" id="{9960C8EE-F8A5-42B8-B1B2-C11C93D617F0}"/>
                    </a:ext>
                  </a:extLst>
                </p:cNvPr>
                <p:cNvSpPr>
                  <a:spLocks noChangeArrowheads="1"/>
                </p:cNvSpPr>
                <p:nvPr/>
              </p:nvSpPr>
              <p:spPr bwMode="auto">
                <a:xfrm>
                  <a:off x="11006932" y="2503145"/>
                  <a:ext cx="5241" cy="42079"/>
                </a:xfrm>
                <a:prstGeom prst="rect">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74" name="Freeform 26">
                  <a:extLst>
                    <a:ext uri="{FF2B5EF4-FFF2-40B4-BE49-F238E27FC236}">
                      <a16:creationId xmlns:a16="http://schemas.microsoft.com/office/drawing/2014/main" id="{4EB363F1-EE99-4C5B-AF65-68A30F24AF4E}"/>
                    </a:ext>
                  </a:extLst>
                </p:cNvPr>
                <p:cNvSpPr>
                  <a:spLocks noEditPoints="1"/>
                </p:cNvSpPr>
                <p:nvPr/>
              </p:nvSpPr>
              <p:spPr bwMode="auto">
                <a:xfrm>
                  <a:off x="11022056" y="2503145"/>
                  <a:ext cx="31297" cy="42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grpSp>
      <p:cxnSp>
        <p:nvCxnSpPr>
          <p:cNvPr id="233" name="Straight Connector 232">
            <a:extLst>
              <a:ext uri="{FF2B5EF4-FFF2-40B4-BE49-F238E27FC236}">
                <a16:creationId xmlns:a16="http://schemas.microsoft.com/office/drawing/2014/main" id="{644F7CAE-D987-4149-86AF-E5807BD216ED}"/>
              </a:ext>
            </a:extLst>
          </p:cNvPr>
          <p:cNvCxnSpPr>
            <a:cxnSpLocks/>
          </p:cNvCxnSpPr>
          <p:nvPr/>
        </p:nvCxnSpPr>
        <p:spPr>
          <a:xfrm>
            <a:off x="507569" y="412322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3EC1C86-7F8A-4B7D-932D-944D1DDFA857}"/>
              </a:ext>
            </a:extLst>
          </p:cNvPr>
          <p:cNvCxnSpPr>
            <a:cxnSpLocks/>
          </p:cNvCxnSpPr>
          <p:nvPr/>
        </p:nvCxnSpPr>
        <p:spPr>
          <a:xfrm>
            <a:off x="507569" y="323930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EA8CDA26-7F63-4CFF-A31F-03C1F095913C}"/>
              </a:ext>
            </a:extLst>
          </p:cNvPr>
          <p:cNvCxnSpPr>
            <a:cxnSpLocks/>
          </p:cNvCxnSpPr>
          <p:nvPr/>
        </p:nvCxnSpPr>
        <p:spPr>
          <a:xfrm>
            <a:off x="507569" y="4961429"/>
            <a:ext cx="3822298"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316D0746-34AA-C799-4D4B-5774F0EBAD7D}"/>
              </a:ext>
            </a:extLst>
          </p:cNvPr>
          <p:cNvSpPr>
            <a:spLocks noGrp="1"/>
          </p:cNvSpPr>
          <p:nvPr>
            <p:ph type="ftr" sz="quarter" idx="3"/>
          </p:nvPr>
        </p:nvSpPr>
        <p:spPr/>
        <p:txBody>
          <a:bodyPr/>
          <a:lstStyle/>
          <a:p>
            <a:r>
              <a:rPr lang="en-US"/>
              <a:t>IBC 2023</a:t>
            </a:r>
            <a:endParaRPr lang="en-US" dirty="0"/>
          </a:p>
        </p:txBody>
      </p:sp>
    </p:spTree>
    <p:extLst>
      <p:ext uri="{BB962C8B-B14F-4D97-AF65-F5344CB8AC3E}">
        <p14:creationId xmlns:p14="http://schemas.microsoft.com/office/powerpoint/2010/main" val="294925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6C86-8FC1-C438-BC94-5FAB8FC9A76C}"/>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64EF62CB-FA57-DC95-D6B1-CAEFB5F8820F}"/>
              </a:ext>
            </a:extLst>
          </p:cNvPr>
          <p:cNvSpPr>
            <a:spLocks noGrp="1"/>
          </p:cNvSpPr>
          <p:nvPr>
            <p:ph type="title"/>
          </p:nvPr>
        </p:nvSpPr>
        <p:spPr>
          <a:xfrm>
            <a:off x="495300" y="565125"/>
            <a:ext cx="11187112" cy="439479"/>
          </a:xfrm>
        </p:spPr>
        <p:txBody>
          <a:bodyPr/>
          <a:lstStyle/>
          <a:p>
            <a:r>
              <a:rPr lang="de-DE" dirty="0"/>
              <a:t>RAN: MBMS </a:t>
            </a:r>
            <a:r>
              <a:rPr lang="de-DE" dirty="0">
                <a:sym typeface="Wingdings" panose="05000000000000000000" pitchFamily="2" charset="2"/>
              </a:rPr>
              <a:t> 5G Broadcast Evolution</a:t>
            </a:r>
            <a:endParaRPr lang="en-US" dirty="0"/>
          </a:p>
        </p:txBody>
      </p:sp>
      <p:sp>
        <p:nvSpPr>
          <p:cNvPr id="39" name="L-Shape 38">
            <a:extLst>
              <a:ext uri="{FF2B5EF4-FFF2-40B4-BE49-F238E27FC236}">
                <a16:creationId xmlns:a16="http://schemas.microsoft.com/office/drawing/2014/main" id="{A80F93AF-1C4E-3C3F-7C57-DFC9961BD195}"/>
              </a:ext>
            </a:extLst>
          </p:cNvPr>
          <p:cNvSpPr/>
          <p:nvPr/>
        </p:nvSpPr>
        <p:spPr>
          <a:xfrm rot="5400000">
            <a:off x="914889" y="2503561"/>
            <a:ext cx="410655" cy="1441241"/>
          </a:xfrm>
          <a:prstGeom prst="corner">
            <a:avLst>
              <a:gd name="adj1" fmla="val 16120"/>
              <a:gd name="adj2" fmla="val 16110"/>
            </a:avLst>
          </a:prstGeom>
        </p:spPr>
        <p:style>
          <a:lnRef idx="1">
            <a:schemeClr val="accent2">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sp>
      <p:sp>
        <p:nvSpPr>
          <p:cNvPr id="40" name="Freeform: Shape 39">
            <a:extLst>
              <a:ext uri="{FF2B5EF4-FFF2-40B4-BE49-F238E27FC236}">
                <a16:creationId xmlns:a16="http://schemas.microsoft.com/office/drawing/2014/main" id="{A5184EBE-94FA-F8A3-0561-C814F88987CD}"/>
              </a:ext>
            </a:extLst>
          </p:cNvPr>
          <p:cNvSpPr/>
          <p:nvPr/>
        </p:nvSpPr>
        <p:spPr>
          <a:xfrm>
            <a:off x="482837" y="3141041"/>
            <a:ext cx="2083501" cy="540754"/>
          </a:xfrm>
          <a:custGeom>
            <a:avLst/>
            <a:gdLst>
              <a:gd name="connsiteX0" fmla="*/ 0 w 1814784"/>
              <a:gd name="connsiteY0" fmla="*/ 0 h 540754"/>
              <a:gd name="connsiteX1" fmla="*/ 1814784 w 1814784"/>
              <a:gd name="connsiteY1" fmla="*/ 0 h 540754"/>
              <a:gd name="connsiteX2" fmla="*/ 1814784 w 1814784"/>
              <a:gd name="connsiteY2" fmla="*/ 540754 h 540754"/>
              <a:gd name="connsiteX3" fmla="*/ 0 w 1814784"/>
              <a:gd name="connsiteY3" fmla="*/ 540754 h 540754"/>
              <a:gd name="connsiteX4" fmla="*/ 0 w 181478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784" h="540754">
                <a:moveTo>
                  <a:pt x="0" y="0"/>
                </a:moveTo>
                <a:lnTo>
                  <a:pt x="1814784" y="0"/>
                </a:lnTo>
                <a:lnTo>
                  <a:pt x="1814784"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285750" lvl="0" indent="-285750" algn="l" defTabSz="622300">
              <a:lnSpc>
                <a:spcPct val="90000"/>
              </a:lnSpc>
              <a:spcBef>
                <a:spcPct val="0"/>
              </a:spcBef>
              <a:spcAft>
                <a:spcPts val="300"/>
              </a:spcAft>
              <a:buFont typeface="Arial" panose="020B0604020202020204" pitchFamily="34" charset="0"/>
              <a:buChar char="•"/>
            </a:pPr>
            <a:r>
              <a:rPr lang="en-US" sz="1400" b="1" kern="1200" dirty="0">
                <a:solidFill>
                  <a:schemeClr val="accent1"/>
                </a:solidFill>
              </a:rPr>
              <a:t>Mixed unicast/MBMS carrier </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15 kHz numerology</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Extended CP of 16.7us</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Multi-cell transmission only (MBSFN)</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Up to 60% of subframes for MBSFN transmission</a:t>
            </a:r>
          </a:p>
          <a:p>
            <a:pPr marL="0" lvl="0" indent="0" algn="l" defTabSz="622300">
              <a:lnSpc>
                <a:spcPct val="90000"/>
              </a:lnSpc>
              <a:spcBef>
                <a:spcPct val="0"/>
              </a:spcBef>
              <a:spcAft>
                <a:spcPts val="300"/>
              </a:spcAft>
              <a:buNone/>
            </a:pPr>
            <a:endParaRPr lang="en-US" sz="1400" kern="1200" dirty="0"/>
          </a:p>
        </p:txBody>
      </p:sp>
      <p:sp>
        <p:nvSpPr>
          <p:cNvPr id="41" name="Isosceles Triangle 40">
            <a:extLst>
              <a:ext uri="{FF2B5EF4-FFF2-40B4-BE49-F238E27FC236}">
                <a16:creationId xmlns:a16="http://schemas.microsoft.com/office/drawing/2014/main" id="{03CE6B2D-B658-0F90-EFCF-1FAEDD836BDD}"/>
              </a:ext>
            </a:extLst>
          </p:cNvPr>
          <p:cNvSpPr/>
          <p:nvPr/>
        </p:nvSpPr>
        <p:spPr>
          <a:xfrm>
            <a:off x="1926885" y="2826370"/>
            <a:ext cx="250926" cy="192485"/>
          </a:xfrm>
          <a:prstGeom prst="triangle">
            <a:avLst>
              <a:gd name="adj" fmla="val 100000"/>
            </a:avLst>
          </a:prstGeom>
        </p:spPr>
        <p:style>
          <a:lnRef idx="1">
            <a:schemeClr val="accent3">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42" name="L-Shape 41">
            <a:extLst>
              <a:ext uri="{FF2B5EF4-FFF2-40B4-BE49-F238E27FC236}">
                <a16:creationId xmlns:a16="http://schemas.microsoft.com/office/drawing/2014/main" id="{B3AB879C-B67E-9848-FE87-E8926F50AF3A}"/>
              </a:ext>
            </a:extLst>
          </p:cNvPr>
          <p:cNvSpPr/>
          <p:nvPr/>
        </p:nvSpPr>
        <p:spPr>
          <a:xfrm rot="5400000">
            <a:off x="3017677" y="2037218"/>
            <a:ext cx="410655" cy="1552622"/>
          </a:xfrm>
          <a:prstGeom prst="corner">
            <a:avLst>
              <a:gd name="adj1" fmla="val 16120"/>
              <a:gd name="adj2" fmla="val 16110"/>
            </a:avLst>
          </a:prstGeom>
        </p:spPr>
        <p:style>
          <a:lnRef idx="1">
            <a:schemeClr val="accent4">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sp>
      <p:sp>
        <p:nvSpPr>
          <p:cNvPr id="43" name="Freeform: Shape 42">
            <a:extLst>
              <a:ext uri="{FF2B5EF4-FFF2-40B4-BE49-F238E27FC236}">
                <a16:creationId xmlns:a16="http://schemas.microsoft.com/office/drawing/2014/main" id="{8C4F9F09-F156-47E2-0A2D-E974E9608416}"/>
              </a:ext>
            </a:extLst>
          </p:cNvPr>
          <p:cNvSpPr/>
          <p:nvPr/>
        </p:nvSpPr>
        <p:spPr>
          <a:xfrm>
            <a:off x="2566339" y="2706836"/>
            <a:ext cx="1883783" cy="540754"/>
          </a:xfrm>
          <a:custGeom>
            <a:avLst/>
            <a:gdLst>
              <a:gd name="connsiteX0" fmla="*/ 0 w 1769034"/>
              <a:gd name="connsiteY0" fmla="*/ 0 h 540754"/>
              <a:gd name="connsiteX1" fmla="*/ 1769034 w 1769034"/>
              <a:gd name="connsiteY1" fmla="*/ 0 h 540754"/>
              <a:gd name="connsiteX2" fmla="*/ 1769034 w 1769034"/>
              <a:gd name="connsiteY2" fmla="*/ 540754 h 540754"/>
              <a:gd name="connsiteX3" fmla="*/ 0 w 1769034"/>
              <a:gd name="connsiteY3" fmla="*/ 540754 h 540754"/>
              <a:gd name="connsiteX4" fmla="*/ 0 w 1769034"/>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034" h="540754">
                <a:moveTo>
                  <a:pt x="0" y="0"/>
                </a:moveTo>
                <a:lnTo>
                  <a:pt x="1769034" y="0"/>
                </a:lnTo>
                <a:lnTo>
                  <a:pt x="1769034"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Single-cell transmission  (SC-PTM)</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Transmission on PDSCH with new group identities</a:t>
            </a:r>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Non-synchronized transmitters</a:t>
            </a:r>
          </a:p>
        </p:txBody>
      </p:sp>
      <p:sp>
        <p:nvSpPr>
          <p:cNvPr id="44" name="Isosceles Triangle 43">
            <a:extLst>
              <a:ext uri="{FF2B5EF4-FFF2-40B4-BE49-F238E27FC236}">
                <a16:creationId xmlns:a16="http://schemas.microsoft.com/office/drawing/2014/main" id="{C413CFB3-48FA-7927-5A71-2BE7EFD10DCD}"/>
              </a:ext>
            </a:extLst>
          </p:cNvPr>
          <p:cNvSpPr/>
          <p:nvPr/>
        </p:nvSpPr>
        <p:spPr>
          <a:xfrm>
            <a:off x="6842715" y="2094324"/>
            <a:ext cx="244100" cy="232225"/>
          </a:xfrm>
          <a:prstGeom prst="triangle">
            <a:avLst>
              <a:gd name="adj" fmla="val 100000"/>
            </a:avLst>
          </a:prstGeom>
          <a:solidFill>
            <a:srgbClr val="7030A0"/>
          </a:solidFill>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sp>
      <p:sp>
        <p:nvSpPr>
          <p:cNvPr id="45" name="L-Shape 44">
            <a:extLst>
              <a:ext uri="{FF2B5EF4-FFF2-40B4-BE49-F238E27FC236}">
                <a16:creationId xmlns:a16="http://schemas.microsoft.com/office/drawing/2014/main" id="{0EF00CEF-A9AE-E8CF-F44E-185ECCA3B581}"/>
              </a:ext>
            </a:extLst>
          </p:cNvPr>
          <p:cNvSpPr/>
          <p:nvPr/>
        </p:nvSpPr>
        <p:spPr>
          <a:xfrm rot="5400000">
            <a:off x="5387364" y="922728"/>
            <a:ext cx="410655" cy="2514640"/>
          </a:xfrm>
          <a:prstGeom prst="corner">
            <a:avLst>
              <a:gd name="adj1" fmla="val 16120"/>
              <a:gd name="adj2" fmla="val 16110"/>
            </a:avLst>
          </a:prstGeom>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46" name="Freeform: Shape 45">
            <a:extLst>
              <a:ext uri="{FF2B5EF4-FFF2-40B4-BE49-F238E27FC236}">
                <a16:creationId xmlns:a16="http://schemas.microsoft.com/office/drawing/2014/main" id="{779811FC-6C87-ECBC-9A2B-E485E3B58177}"/>
              </a:ext>
            </a:extLst>
          </p:cNvPr>
          <p:cNvSpPr/>
          <p:nvPr/>
        </p:nvSpPr>
        <p:spPr>
          <a:xfrm>
            <a:off x="4450123" y="2133385"/>
            <a:ext cx="2425943" cy="2630298"/>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285750" lvl="0" indent="-285750" algn="l" defTabSz="622300">
              <a:lnSpc>
                <a:spcPct val="90000"/>
              </a:lnSpc>
              <a:spcBef>
                <a:spcPct val="0"/>
              </a:spcBef>
              <a:spcAft>
                <a:spcPct val="35000"/>
              </a:spcAft>
              <a:buFont typeface="Arial" panose="020B0604020202020204" pitchFamily="34" charset="0"/>
              <a:buChar char="•"/>
            </a:pPr>
            <a:r>
              <a:rPr lang="en-US" sz="1400" kern="1200" dirty="0"/>
              <a:t>Longer cyclic prefixes for support of </a:t>
            </a:r>
            <a:r>
              <a:rPr lang="en-US" sz="1400" b="1" kern="1200" dirty="0">
                <a:solidFill>
                  <a:schemeClr val="bg2"/>
                </a:solidFill>
              </a:rPr>
              <a:t>larger ISD</a:t>
            </a:r>
          </a:p>
          <a:p>
            <a:pPr marL="285750" lvl="0" indent="-285750" algn="l" defTabSz="622300">
              <a:lnSpc>
                <a:spcPct val="90000"/>
              </a:lnSpc>
              <a:spcBef>
                <a:spcPct val="0"/>
              </a:spcBef>
              <a:spcAft>
                <a:spcPct val="35000"/>
              </a:spcAft>
              <a:buFont typeface="Arial" panose="020B0604020202020204" pitchFamily="34" charset="0"/>
              <a:buChar char="•"/>
            </a:pPr>
            <a:r>
              <a:rPr lang="en-US" sz="1400" kern="1200" dirty="0"/>
              <a:t>Up to 100% of subframes for MBSFN transmission on a </a:t>
            </a:r>
            <a:r>
              <a:rPr lang="en-US" sz="1400" b="1" kern="1200" dirty="0">
                <a:solidFill>
                  <a:schemeClr val="bg2"/>
                </a:solidFill>
              </a:rPr>
              <a:t>dedicated carrier</a:t>
            </a:r>
            <a:endParaRPr lang="en-US" sz="1400" kern="1200" dirty="0"/>
          </a:p>
          <a:p>
            <a:pPr marL="285750" lvl="0" indent="-285750" algn="l" defTabSz="622300">
              <a:lnSpc>
                <a:spcPct val="90000"/>
              </a:lnSpc>
              <a:spcBef>
                <a:spcPct val="0"/>
              </a:spcBef>
              <a:spcAft>
                <a:spcPts val="300"/>
              </a:spcAft>
              <a:buFont typeface="Arial" panose="020B0604020202020204" pitchFamily="34" charset="0"/>
              <a:buChar char="•"/>
            </a:pPr>
            <a:r>
              <a:rPr lang="en-US" sz="1400" kern="1200" dirty="0"/>
              <a:t>Subframes fully dedicated to MBSFN transmission </a:t>
            </a:r>
          </a:p>
          <a:p>
            <a:pPr marL="285750" lvl="0" indent="-285750" algn="l" defTabSz="622300">
              <a:lnSpc>
                <a:spcPct val="90000"/>
              </a:lnSpc>
              <a:spcBef>
                <a:spcPct val="0"/>
              </a:spcBef>
              <a:spcAft>
                <a:spcPct val="35000"/>
              </a:spcAft>
              <a:buFont typeface="Arial" panose="020B0604020202020204" pitchFamily="34" charset="0"/>
              <a:buChar char="•"/>
            </a:pPr>
            <a:r>
              <a:rPr lang="en-US" sz="1400" kern="1200" dirty="0"/>
              <a:t>Targeting </a:t>
            </a:r>
            <a:r>
              <a:rPr lang="en-US" sz="1400" b="1" kern="1200" dirty="0">
                <a:solidFill>
                  <a:schemeClr val="bg2"/>
                </a:solidFill>
              </a:rPr>
              <a:t>rooftop and car-mounted</a:t>
            </a:r>
            <a:r>
              <a:rPr lang="en-US" sz="1400" kern="1200" dirty="0"/>
              <a:t> antennas, handheld receivers</a:t>
            </a:r>
          </a:p>
        </p:txBody>
      </p:sp>
      <p:sp>
        <p:nvSpPr>
          <p:cNvPr id="24" name="TextBox 23">
            <a:extLst>
              <a:ext uri="{FF2B5EF4-FFF2-40B4-BE49-F238E27FC236}">
                <a16:creationId xmlns:a16="http://schemas.microsoft.com/office/drawing/2014/main" id="{4695F802-F8A5-A79B-7160-6AD4E999DFBA}"/>
              </a:ext>
            </a:extLst>
          </p:cNvPr>
          <p:cNvSpPr txBox="1"/>
          <p:nvPr/>
        </p:nvSpPr>
        <p:spPr>
          <a:xfrm>
            <a:off x="401448" y="2634305"/>
            <a:ext cx="1399778" cy="354584"/>
          </a:xfrm>
          <a:prstGeom prst="rect">
            <a:avLst/>
          </a:prstGeom>
        </p:spPr>
        <p:txBody>
          <a:bodyPr wrap="square" lIns="0" tIns="0" rIns="0" bIns="0" rtlCol="0">
            <a:spAutoFit/>
          </a:bodyPr>
          <a:lstStyle/>
          <a:p>
            <a:pPr algn="l">
              <a:lnSpc>
                <a:spcPct val="96000"/>
              </a:lnSpc>
            </a:pPr>
            <a:r>
              <a:rPr lang="en-US" sz="2400" dirty="0">
                <a:ln w="0"/>
                <a:solidFill>
                  <a:schemeClr val="accent1"/>
                </a:solidFill>
                <a:effectLst>
                  <a:outerShdw blurRad="38100" dist="25400" dir="5400000" algn="ctr" rotWithShape="0">
                    <a:srgbClr val="6E747A">
                      <a:alpha val="43000"/>
                    </a:srgbClr>
                  </a:outerShdw>
                </a:effectLst>
                <a:latin typeface="Microsoft Sans Serif"/>
                <a:cs typeface="Microsoft Sans Serif" panose="020B0604020202020204" pitchFamily="34" charset="0"/>
              </a:rPr>
              <a:t>Release</a:t>
            </a:r>
            <a:r>
              <a:rPr lang="en-US" sz="2400" dirty="0">
                <a:ln w="22225">
                  <a:solidFill>
                    <a:schemeClr val="accent2"/>
                  </a:solidFill>
                  <a:prstDash val="solid"/>
                </a:ln>
                <a:solidFill>
                  <a:schemeClr val="accent2">
                    <a:lumMod val="40000"/>
                    <a:lumOff val="60000"/>
                  </a:schemeClr>
                </a:solidFill>
                <a:latin typeface="Microsoft Sans Serif"/>
                <a:cs typeface="Microsoft Sans Serif" panose="020B0604020202020204" pitchFamily="34" charset="0"/>
              </a:rPr>
              <a:t> </a:t>
            </a:r>
            <a:r>
              <a:rPr lang="en-US" sz="2400" dirty="0">
                <a:ln w="0"/>
                <a:solidFill>
                  <a:schemeClr val="accent1"/>
                </a:solidFill>
                <a:effectLst>
                  <a:outerShdw blurRad="38100" dist="25400" dir="5400000" algn="ctr" rotWithShape="0">
                    <a:srgbClr val="6E747A">
                      <a:alpha val="43000"/>
                    </a:srgbClr>
                  </a:outerShdw>
                </a:effectLst>
                <a:latin typeface="Microsoft Sans Serif"/>
                <a:cs typeface="Microsoft Sans Serif" panose="020B0604020202020204" pitchFamily="34" charset="0"/>
              </a:rPr>
              <a:t>9</a:t>
            </a:r>
            <a:endParaRPr lang="en-US" sz="2400" dirty="0">
              <a:ln w="22225">
                <a:solidFill>
                  <a:schemeClr val="accent2"/>
                </a:solidFill>
                <a:prstDash val="solid"/>
              </a:ln>
              <a:solidFill>
                <a:schemeClr val="accent2">
                  <a:lumMod val="40000"/>
                  <a:lumOff val="60000"/>
                </a:schemeClr>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463E78FE-5C7B-CEE5-4052-676397F39A6E}"/>
              </a:ext>
            </a:extLst>
          </p:cNvPr>
          <p:cNvSpPr txBox="1"/>
          <p:nvPr/>
        </p:nvSpPr>
        <p:spPr>
          <a:xfrm>
            <a:off x="2360519" y="2166573"/>
            <a:ext cx="1552623" cy="354584"/>
          </a:xfrm>
          <a:prstGeom prst="rect">
            <a:avLst/>
          </a:prstGeom>
        </p:spPr>
        <p:txBody>
          <a:bodyPr wrap="square" lIns="0" tIns="0" rIns="0" bIns="0" rtlCol="0">
            <a:spAutoFit/>
            <a:scene3d>
              <a:camera prst="orthographicFront"/>
              <a:lightRig rig="soft" dir="t">
                <a:rot lat="0" lon="0" rev="15600000"/>
              </a:lightRig>
            </a:scene3d>
            <a:sp3d extrusionH="57150" prstMaterial="softEdge">
              <a:bevelT w="25400" h="38100"/>
            </a:sp3d>
          </a:bodyPr>
          <a:lstStyle/>
          <a:p>
            <a:pPr algn="l">
              <a:lnSpc>
                <a:spcPct val="96000"/>
              </a:lnSpc>
            </a:pPr>
            <a:r>
              <a:rPr lang="en-US" sz="2400" b="1" dirty="0">
                <a:ln/>
                <a:solidFill>
                  <a:schemeClr val="accent4"/>
                </a:solidFill>
                <a:latin typeface="Microsoft Sans Serif"/>
                <a:cs typeface="Microsoft Sans Serif" panose="020B0604020202020204" pitchFamily="34" charset="0"/>
              </a:rPr>
              <a:t>Release 13</a:t>
            </a:r>
          </a:p>
        </p:txBody>
      </p:sp>
      <p:sp>
        <p:nvSpPr>
          <p:cNvPr id="26" name="TextBox 25">
            <a:extLst>
              <a:ext uri="{FF2B5EF4-FFF2-40B4-BE49-F238E27FC236}">
                <a16:creationId xmlns:a16="http://schemas.microsoft.com/office/drawing/2014/main" id="{BBC30699-EDF6-F0F6-46C4-E89A87964743}"/>
              </a:ext>
            </a:extLst>
          </p:cNvPr>
          <p:cNvSpPr txBox="1"/>
          <p:nvPr/>
        </p:nvSpPr>
        <p:spPr>
          <a:xfrm>
            <a:off x="4278097" y="1593945"/>
            <a:ext cx="1639902" cy="354584"/>
          </a:xfrm>
          <a:prstGeom prst="rect">
            <a:avLst/>
          </a:prstGeom>
        </p:spPr>
        <p:txBody>
          <a:bodyPr wrap="square" lIns="0" tIns="0" rIns="0" bIns="0" rtlCol="0">
            <a:spAutoFit/>
          </a:bodyPr>
          <a:lstStyle/>
          <a:p>
            <a:pPr algn="l">
              <a:lnSpc>
                <a:spcPct val="96000"/>
              </a:lnSpc>
            </a:pPr>
            <a:r>
              <a:rPr lang="en-US" sz="2400" dirty="0">
                <a:ln w="0"/>
                <a:gradFill>
                  <a:gsLst>
                    <a:gs pos="21000">
                      <a:srgbClr val="53575C"/>
                    </a:gs>
                    <a:gs pos="88000">
                      <a:srgbClr val="C5C7CA"/>
                    </a:gs>
                  </a:gsLst>
                  <a:lin ang="5400000"/>
                </a:gradFill>
                <a:latin typeface="Microsoft Sans Serif"/>
                <a:cs typeface="Microsoft Sans Serif" panose="020B0604020202020204" pitchFamily="34" charset="0"/>
              </a:rPr>
              <a:t>Release 14</a:t>
            </a:r>
          </a:p>
        </p:txBody>
      </p:sp>
      <p:grpSp>
        <p:nvGrpSpPr>
          <p:cNvPr id="37" name="Group 36">
            <a:extLst>
              <a:ext uri="{FF2B5EF4-FFF2-40B4-BE49-F238E27FC236}">
                <a16:creationId xmlns:a16="http://schemas.microsoft.com/office/drawing/2014/main" id="{24855B89-5B68-8333-9E35-4CB94C14BB34}"/>
              </a:ext>
            </a:extLst>
          </p:cNvPr>
          <p:cNvGrpSpPr/>
          <p:nvPr/>
        </p:nvGrpSpPr>
        <p:grpSpPr>
          <a:xfrm>
            <a:off x="5286208" y="4531452"/>
            <a:ext cx="1864026" cy="1711997"/>
            <a:chOff x="7412273" y="1956898"/>
            <a:chExt cx="1820504" cy="3376006"/>
          </a:xfrm>
        </p:grpSpPr>
        <p:grpSp>
          <p:nvGrpSpPr>
            <p:cNvPr id="27" name="Group 26">
              <a:extLst>
                <a:ext uri="{FF2B5EF4-FFF2-40B4-BE49-F238E27FC236}">
                  <a16:creationId xmlns:a16="http://schemas.microsoft.com/office/drawing/2014/main" id="{86D6E18D-EABC-5335-216F-0F2FB44E6092}"/>
                </a:ext>
              </a:extLst>
            </p:cNvPr>
            <p:cNvGrpSpPr/>
            <p:nvPr/>
          </p:nvGrpSpPr>
          <p:grpSpPr>
            <a:xfrm>
              <a:off x="7440434" y="1956898"/>
              <a:ext cx="1327261" cy="973519"/>
              <a:chOff x="9179052" y="1732995"/>
              <a:chExt cx="1938065" cy="1357400"/>
            </a:xfrm>
          </p:grpSpPr>
          <p:pic>
            <p:nvPicPr>
              <p:cNvPr id="28" name="Picture 27">
                <a:extLst>
                  <a:ext uri="{FF2B5EF4-FFF2-40B4-BE49-F238E27FC236}">
                    <a16:creationId xmlns:a16="http://schemas.microsoft.com/office/drawing/2014/main" id="{D2383400-656F-4D7D-E982-66DB1838172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79052" y="1732995"/>
                <a:ext cx="1938065" cy="1298916"/>
              </a:xfrm>
              <a:prstGeom prst="rect">
                <a:avLst/>
              </a:prstGeom>
            </p:spPr>
          </p:pic>
          <p:sp>
            <p:nvSpPr>
              <p:cNvPr id="29" name="TextBox 28">
                <a:extLst>
                  <a:ext uri="{FF2B5EF4-FFF2-40B4-BE49-F238E27FC236}">
                    <a16:creationId xmlns:a16="http://schemas.microsoft.com/office/drawing/2014/main" id="{DEC26668-B84D-CAE2-533E-3C8B6F0140B7}"/>
                  </a:ext>
                </a:extLst>
              </p:cNvPr>
              <p:cNvSpPr txBox="1"/>
              <p:nvPr/>
            </p:nvSpPr>
            <p:spPr>
              <a:xfrm>
                <a:off x="9829086" y="2883544"/>
                <a:ext cx="637995" cy="206851"/>
              </a:xfrm>
              <a:prstGeom prst="rect">
                <a:avLst/>
              </a:prstGeom>
            </p:spPr>
            <p:txBody>
              <a:bodyPr wrap="none" lIns="0" tIns="0" rIns="0" bIns="0" rtlCol="0">
                <a:spAutoFit/>
              </a:bodyPr>
              <a:lstStyle/>
              <a:p>
                <a:pPr algn="l">
                  <a:lnSpc>
                    <a:spcPct val="96000"/>
                  </a:lnSpc>
                </a:pPr>
                <a:r>
                  <a:rPr lang="en-US" sz="1400" dirty="0">
                    <a:solidFill>
                      <a:srgbClr val="FFC000"/>
                    </a:solidFill>
                    <a:latin typeface="Microsoft Sans Serif"/>
                    <a:cs typeface="Microsoft Sans Serif" panose="020B0604020202020204" pitchFamily="34" charset="0"/>
                  </a:rPr>
                  <a:t>&gt; 15 km</a:t>
                </a:r>
                <a:endParaRPr lang="en-US" sz="1600" dirty="0">
                  <a:solidFill>
                    <a:srgbClr val="FFC000"/>
                  </a:solidFill>
                  <a:latin typeface="Microsoft Sans Serif"/>
                  <a:cs typeface="Microsoft Sans Serif" panose="020B0604020202020204" pitchFamily="34" charset="0"/>
                </a:endParaRPr>
              </a:p>
            </p:txBody>
          </p:sp>
        </p:grpSp>
        <p:pic>
          <p:nvPicPr>
            <p:cNvPr id="30" name="Picture 29">
              <a:extLst>
                <a:ext uri="{FF2B5EF4-FFF2-40B4-BE49-F238E27FC236}">
                  <a16:creationId xmlns:a16="http://schemas.microsoft.com/office/drawing/2014/main" id="{CF9B5509-B7AA-86A7-7B92-DA7CEB5324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2273" y="3914386"/>
              <a:ext cx="1820504" cy="1418518"/>
            </a:xfrm>
            <a:prstGeom prst="rect">
              <a:avLst/>
            </a:prstGeom>
          </p:spPr>
        </p:pic>
        <p:pic>
          <p:nvPicPr>
            <p:cNvPr id="31" name="Picture 30">
              <a:extLst>
                <a:ext uri="{FF2B5EF4-FFF2-40B4-BE49-F238E27FC236}">
                  <a16:creationId xmlns:a16="http://schemas.microsoft.com/office/drawing/2014/main" id="{EF1D8F36-563A-AB81-BBE8-D55895D4C6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0434" y="3155528"/>
              <a:ext cx="1633177" cy="516482"/>
            </a:xfrm>
            <a:prstGeom prst="rect">
              <a:avLst/>
            </a:prstGeom>
          </p:spPr>
        </p:pic>
      </p:grpSp>
      <p:cxnSp>
        <p:nvCxnSpPr>
          <p:cNvPr id="32" name="Straight Arrow Connector 31">
            <a:extLst>
              <a:ext uri="{FF2B5EF4-FFF2-40B4-BE49-F238E27FC236}">
                <a16:creationId xmlns:a16="http://schemas.microsoft.com/office/drawing/2014/main" id="{7F67EDF0-0234-F3BC-4C58-27E042DC682B}"/>
              </a:ext>
            </a:extLst>
          </p:cNvPr>
          <p:cNvCxnSpPr/>
          <p:nvPr/>
        </p:nvCxnSpPr>
        <p:spPr>
          <a:xfrm>
            <a:off x="91512" y="6130780"/>
            <a:ext cx="4294965" cy="0"/>
          </a:xfrm>
          <a:prstGeom prst="straightConnector1">
            <a:avLst/>
          </a:prstGeom>
          <a:ln w="12700" cap="rnd">
            <a:solidFill>
              <a:schemeClr val="accent1"/>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7E3E8B8-C89F-AE79-6513-2911B43233A7}"/>
              </a:ext>
            </a:extLst>
          </p:cNvPr>
          <p:cNvCxnSpPr>
            <a:cxnSpLocks/>
          </p:cNvCxnSpPr>
          <p:nvPr/>
        </p:nvCxnSpPr>
        <p:spPr>
          <a:xfrm>
            <a:off x="4454491" y="6130780"/>
            <a:ext cx="7485872" cy="0"/>
          </a:xfrm>
          <a:prstGeom prst="straightConnector1">
            <a:avLst/>
          </a:prstGeom>
          <a:ln w="12700" cap="rnd">
            <a:solidFill>
              <a:schemeClr val="bg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290AB08-906E-E3C4-440C-20F1715A62CA}"/>
              </a:ext>
            </a:extLst>
          </p:cNvPr>
          <p:cNvSpPr txBox="1"/>
          <p:nvPr/>
        </p:nvSpPr>
        <p:spPr>
          <a:xfrm>
            <a:off x="1012827" y="6178929"/>
            <a:ext cx="2045358" cy="207972"/>
          </a:xfrm>
          <a:prstGeom prst="rect">
            <a:avLst/>
          </a:prstGeom>
        </p:spPr>
        <p:txBody>
          <a:bodyPr wrap="none" lIns="0" tIns="0" rIns="0" bIns="0" rtlCol="0">
            <a:spAutoFit/>
          </a:bodyPr>
          <a:lstStyle/>
          <a:p>
            <a:pPr algn="l">
              <a:lnSpc>
                <a:spcPct val="96000"/>
              </a:lnSpc>
            </a:pPr>
            <a:r>
              <a:rPr lang="en-US" sz="1600" dirty="0">
                <a:solidFill>
                  <a:schemeClr val="accent1"/>
                </a:solidFill>
                <a:latin typeface="Microsoft Sans Serif"/>
                <a:cs typeface="Microsoft Sans Serif" panose="020B0604020202020204" pitchFamily="34" charset="0"/>
              </a:rPr>
              <a:t>“Operator controlled” MBMS</a:t>
            </a:r>
          </a:p>
        </p:txBody>
      </p:sp>
      <p:sp>
        <p:nvSpPr>
          <p:cNvPr id="35" name="TextBox 34">
            <a:extLst>
              <a:ext uri="{FF2B5EF4-FFF2-40B4-BE49-F238E27FC236}">
                <a16:creationId xmlns:a16="http://schemas.microsoft.com/office/drawing/2014/main" id="{4104CB88-AD9E-0B63-8A00-F8827EFEDFE3}"/>
              </a:ext>
            </a:extLst>
          </p:cNvPr>
          <p:cNvSpPr txBox="1"/>
          <p:nvPr/>
        </p:nvSpPr>
        <p:spPr>
          <a:xfrm>
            <a:off x="6555204" y="6211571"/>
            <a:ext cx="2262676" cy="207972"/>
          </a:xfrm>
          <a:prstGeom prst="rect">
            <a:avLst/>
          </a:prstGeom>
        </p:spPr>
        <p:txBody>
          <a:bodyPr wrap="none" lIns="0" tIns="0" rIns="0" bIns="0" rtlCol="0">
            <a:spAutoFit/>
          </a:bodyPr>
          <a:lstStyle/>
          <a:p>
            <a:pPr algn="l">
              <a:lnSpc>
                <a:spcPct val="96000"/>
              </a:lnSpc>
            </a:pPr>
            <a:r>
              <a:rPr lang="en-US" sz="1600" dirty="0">
                <a:solidFill>
                  <a:schemeClr val="bg2"/>
                </a:solidFill>
                <a:latin typeface="Microsoft Sans Serif"/>
                <a:cs typeface="Microsoft Sans Serif" panose="020B0604020202020204" pitchFamily="34" charset="0"/>
              </a:rPr>
              <a:t>“Broadcaster controlled” MBMS</a:t>
            </a:r>
          </a:p>
        </p:txBody>
      </p:sp>
      <p:sp>
        <p:nvSpPr>
          <p:cNvPr id="48" name="L-Shape 47">
            <a:extLst>
              <a:ext uri="{FF2B5EF4-FFF2-40B4-BE49-F238E27FC236}">
                <a16:creationId xmlns:a16="http://schemas.microsoft.com/office/drawing/2014/main" id="{B83A3C23-311F-2CE8-C009-ACC4DE0AE51A}"/>
              </a:ext>
            </a:extLst>
          </p:cNvPr>
          <p:cNvSpPr/>
          <p:nvPr/>
        </p:nvSpPr>
        <p:spPr>
          <a:xfrm rot="5400000">
            <a:off x="8098974" y="500132"/>
            <a:ext cx="410655" cy="2514640"/>
          </a:xfrm>
          <a:prstGeom prst="corner">
            <a:avLst>
              <a:gd name="adj1" fmla="val 16120"/>
              <a:gd name="adj2" fmla="val 16110"/>
            </a:avLst>
          </a:prstGeom>
          <a:solidFill>
            <a:srgbClr val="7030A0"/>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49" name="Freeform: Shape 48">
            <a:extLst>
              <a:ext uri="{FF2B5EF4-FFF2-40B4-BE49-F238E27FC236}">
                <a16:creationId xmlns:a16="http://schemas.microsoft.com/office/drawing/2014/main" id="{F5DF2306-A3E8-B767-3C5B-533ED6A64661}"/>
              </a:ext>
            </a:extLst>
          </p:cNvPr>
          <p:cNvSpPr/>
          <p:nvPr/>
        </p:nvSpPr>
        <p:spPr>
          <a:xfrm>
            <a:off x="7161734" y="1710788"/>
            <a:ext cx="2297906" cy="2470593"/>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285750" lvl="0" indent="-285750" algn="l" defTabSz="622300">
              <a:lnSpc>
                <a:spcPct val="90000"/>
              </a:lnSpc>
              <a:spcBef>
                <a:spcPct val="0"/>
              </a:spcBef>
              <a:spcAft>
                <a:spcPts val="300"/>
              </a:spcAft>
              <a:buFont typeface="Arial" panose="020B0604020202020204" pitchFamily="34" charset="0"/>
              <a:buChar char="•"/>
            </a:pPr>
            <a:r>
              <a:rPr lang="en-US" sz="1400" b="1" dirty="0">
                <a:solidFill>
                  <a:srgbClr val="E04F4F"/>
                </a:solidFill>
              </a:rPr>
              <a:t>New numerologies</a:t>
            </a:r>
            <a:r>
              <a:rPr lang="en-US" sz="1400" dirty="0"/>
              <a:t> to target </a:t>
            </a:r>
            <a:r>
              <a:rPr lang="en-US" sz="1400" b="1" dirty="0">
                <a:solidFill>
                  <a:srgbClr val="E04F4F"/>
                </a:solidFill>
              </a:rPr>
              <a:t>rooftop reception </a:t>
            </a:r>
            <a:r>
              <a:rPr lang="en-US" sz="1400" dirty="0"/>
              <a:t>with up to </a:t>
            </a:r>
            <a:r>
              <a:rPr lang="en-US" sz="1400" b="1" dirty="0">
                <a:solidFill>
                  <a:srgbClr val="E04F4F"/>
                </a:solidFill>
              </a:rPr>
              <a:t>125 km ISD</a:t>
            </a:r>
            <a:endParaRPr lang="en-US" sz="1400" b="1" kern="1200" dirty="0">
              <a:solidFill>
                <a:srgbClr val="E04F4F"/>
              </a:solidFill>
            </a:endParaRPr>
          </a:p>
          <a:p>
            <a:pPr marL="285750" lvl="0" indent="-285750">
              <a:spcAft>
                <a:spcPts val="300"/>
              </a:spcAft>
              <a:buFont typeface="Arial" panose="020B0604020202020204" pitchFamily="34" charset="0"/>
              <a:buChar char="•"/>
            </a:pPr>
            <a:r>
              <a:rPr lang="en-US" sz="1400" b="1" dirty="0">
                <a:solidFill>
                  <a:srgbClr val="E04F4F"/>
                </a:solidFill>
              </a:rPr>
              <a:t>High mobility reception</a:t>
            </a:r>
            <a:r>
              <a:rPr lang="en-US" sz="1400" dirty="0"/>
              <a:t>: fixed, portable and mobile receivers </a:t>
            </a:r>
            <a:r>
              <a:rPr lang="en-US" sz="1400" b="1" dirty="0">
                <a:solidFill>
                  <a:srgbClr val="E04F4F"/>
                </a:solidFill>
              </a:rPr>
              <a:t>up to 250 km/h</a:t>
            </a:r>
            <a:endParaRPr lang="en-US" sz="1400" dirty="0"/>
          </a:p>
          <a:p>
            <a:pPr marL="285750" lvl="0" indent="-285750" algn="l" defTabSz="622300">
              <a:lnSpc>
                <a:spcPct val="90000"/>
              </a:lnSpc>
              <a:spcBef>
                <a:spcPct val="0"/>
              </a:spcBef>
              <a:spcAft>
                <a:spcPts val="300"/>
              </a:spcAft>
              <a:buFont typeface="Arial" panose="020B0604020202020204" pitchFamily="34" charset="0"/>
              <a:buChar char="•"/>
            </a:pPr>
            <a:r>
              <a:rPr lang="en-US" sz="1400" b="1" kern="1200" dirty="0">
                <a:solidFill>
                  <a:srgbClr val="E04F4F"/>
                </a:solidFill>
              </a:rPr>
              <a:t>Enhancements to CAS</a:t>
            </a:r>
            <a:r>
              <a:rPr lang="en-US" sz="1400" kern="1200" dirty="0"/>
              <a:t>—increased PDCCH </a:t>
            </a:r>
            <a:r>
              <a:rPr lang="en-US" sz="1400" kern="1200" dirty="0" err="1"/>
              <a:t>agg</a:t>
            </a:r>
            <a:r>
              <a:rPr lang="en-US" sz="1400" kern="1200" dirty="0"/>
              <a:t>. Level, PBCH repetition, CFI in MIB</a:t>
            </a:r>
          </a:p>
        </p:txBody>
      </p:sp>
      <p:sp>
        <p:nvSpPr>
          <p:cNvPr id="50" name="TextBox 49">
            <a:extLst>
              <a:ext uri="{FF2B5EF4-FFF2-40B4-BE49-F238E27FC236}">
                <a16:creationId xmlns:a16="http://schemas.microsoft.com/office/drawing/2014/main" id="{4D32DD38-5B47-5602-BBEF-A904EE34CEDE}"/>
              </a:ext>
            </a:extLst>
          </p:cNvPr>
          <p:cNvSpPr txBox="1"/>
          <p:nvPr/>
        </p:nvSpPr>
        <p:spPr>
          <a:xfrm>
            <a:off x="7046981" y="1135664"/>
            <a:ext cx="1639902" cy="354584"/>
          </a:xfrm>
          <a:prstGeom prst="rect">
            <a:avLst/>
          </a:prstGeom>
        </p:spPr>
        <p:txBody>
          <a:bodyPr wrap="square" lIns="0" tIns="0" rIns="0" bIns="0" rtlCol="0">
            <a:spAutoFit/>
          </a:bodyPr>
          <a:lstStyle/>
          <a:p>
            <a:pPr algn="l">
              <a:lnSpc>
                <a:spcPct val="96000"/>
              </a:lnSpc>
            </a:pPr>
            <a:r>
              <a:rPr lang="en-US" sz="2400" dirty="0">
                <a:ln w="0"/>
                <a:gradFill>
                  <a:gsLst>
                    <a:gs pos="21000">
                      <a:srgbClr val="53575C"/>
                    </a:gs>
                    <a:gs pos="88000">
                      <a:srgbClr val="C5C7CA"/>
                    </a:gs>
                  </a:gsLst>
                  <a:lin ang="5400000"/>
                </a:gradFill>
                <a:latin typeface="Microsoft Sans Serif"/>
                <a:cs typeface="Microsoft Sans Serif" panose="020B0604020202020204" pitchFamily="34" charset="0"/>
              </a:rPr>
              <a:t>Release 16</a:t>
            </a:r>
          </a:p>
        </p:txBody>
      </p:sp>
      <p:sp>
        <p:nvSpPr>
          <p:cNvPr id="51" name="Isosceles Triangle 50">
            <a:extLst>
              <a:ext uri="{FF2B5EF4-FFF2-40B4-BE49-F238E27FC236}">
                <a16:creationId xmlns:a16="http://schemas.microsoft.com/office/drawing/2014/main" id="{43CD779F-6BB8-E8DF-5C4B-F37E2DCC6768}"/>
              </a:ext>
            </a:extLst>
          </p:cNvPr>
          <p:cNvSpPr/>
          <p:nvPr/>
        </p:nvSpPr>
        <p:spPr>
          <a:xfrm>
            <a:off x="4040883" y="2555419"/>
            <a:ext cx="244100" cy="232225"/>
          </a:xfrm>
          <a:prstGeom prst="triangle">
            <a:avLst>
              <a:gd name="adj" fmla="val 100000"/>
            </a:avLst>
          </a:prstGeom>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sp>
      <p:pic>
        <p:nvPicPr>
          <p:cNvPr id="52" name="Picture 51">
            <a:extLst>
              <a:ext uri="{FF2B5EF4-FFF2-40B4-BE49-F238E27FC236}">
                <a16:creationId xmlns:a16="http://schemas.microsoft.com/office/drawing/2014/main" id="{B12DD6E1-5E89-124E-5E0E-2CB57A385F13}"/>
              </a:ext>
            </a:extLst>
          </p:cNvPr>
          <p:cNvPicPr>
            <a:picLocks noChangeAspect="1"/>
          </p:cNvPicPr>
          <p:nvPr/>
        </p:nvPicPr>
        <p:blipFill>
          <a:blip r:embed="rId5"/>
          <a:stretch>
            <a:fillRect/>
          </a:stretch>
        </p:blipFill>
        <p:spPr>
          <a:xfrm>
            <a:off x="7793241" y="4058867"/>
            <a:ext cx="3956241" cy="2004996"/>
          </a:xfrm>
          <a:prstGeom prst="rect">
            <a:avLst/>
          </a:prstGeom>
        </p:spPr>
      </p:pic>
      <p:sp>
        <p:nvSpPr>
          <p:cNvPr id="12" name="Isosceles Triangle 11">
            <a:extLst>
              <a:ext uri="{FF2B5EF4-FFF2-40B4-BE49-F238E27FC236}">
                <a16:creationId xmlns:a16="http://schemas.microsoft.com/office/drawing/2014/main" id="{9926C675-4B0A-FE1C-4C0A-B917C142D588}"/>
              </a:ext>
            </a:extLst>
          </p:cNvPr>
          <p:cNvSpPr/>
          <p:nvPr/>
        </p:nvSpPr>
        <p:spPr>
          <a:xfrm>
            <a:off x="9426288" y="1650680"/>
            <a:ext cx="244100" cy="232225"/>
          </a:xfrm>
          <a:prstGeom prst="triangle">
            <a:avLst>
              <a:gd name="adj" fmla="val 100000"/>
            </a:avLst>
          </a:prstGeom>
          <a:solidFill>
            <a:srgbClr val="FFC000"/>
          </a:solidFill>
          <a:ln>
            <a:solidFill>
              <a:srgbClr val="FFC000"/>
            </a:solidFill>
          </a:ln>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sp>
      <p:sp>
        <p:nvSpPr>
          <p:cNvPr id="13" name="L-Shape 12">
            <a:extLst>
              <a:ext uri="{FF2B5EF4-FFF2-40B4-BE49-F238E27FC236}">
                <a16:creationId xmlns:a16="http://schemas.microsoft.com/office/drawing/2014/main" id="{F0E47314-C7A6-FB17-91C9-609F887FD61A}"/>
              </a:ext>
            </a:extLst>
          </p:cNvPr>
          <p:cNvSpPr/>
          <p:nvPr/>
        </p:nvSpPr>
        <p:spPr>
          <a:xfrm rot="5400000">
            <a:off x="10599694" y="139342"/>
            <a:ext cx="410655" cy="2348934"/>
          </a:xfrm>
          <a:prstGeom prst="corner">
            <a:avLst>
              <a:gd name="adj1" fmla="val 16120"/>
              <a:gd name="adj2" fmla="val 16110"/>
            </a:avLst>
          </a:prstGeom>
          <a:solidFill>
            <a:srgbClr val="FFC000"/>
          </a:solidFill>
          <a:ln>
            <a:solidFill>
              <a:srgbClr val="FFC000"/>
            </a:solidFill>
          </a:ln>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CD175950-8689-0A33-D979-D54ED1298E45}"/>
              </a:ext>
            </a:extLst>
          </p:cNvPr>
          <p:cNvSpPr/>
          <p:nvPr/>
        </p:nvSpPr>
        <p:spPr>
          <a:xfrm>
            <a:off x="9745307" y="1267144"/>
            <a:ext cx="2234182" cy="2470593"/>
          </a:xfrm>
          <a:custGeom>
            <a:avLst/>
            <a:gdLst>
              <a:gd name="connsiteX0" fmla="*/ 0 w 2234182"/>
              <a:gd name="connsiteY0" fmla="*/ 0 h 540754"/>
              <a:gd name="connsiteX1" fmla="*/ 2234182 w 2234182"/>
              <a:gd name="connsiteY1" fmla="*/ 0 h 540754"/>
              <a:gd name="connsiteX2" fmla="*/ 2234182 w 2234182"/>
              <a:gd name="connsiteY2" fmla="*/ 540754 h 540754"/>
              <a:gd name="connsiteX3" fmla="*/ 0 w 2234182"/>
              <a:gd name="connsiteY3" fmla="*/ 540754 h 540754"/>
              <a:gd name="connsiteX4" fmla="*/ 0 w 2234182"/>
              <a:gd name="connsiteY4" fmla="*/ 0 h 540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82" h="540754">
                <a:moveTo>
                  <a:pt x="0" y="0"/>
                </a:moveTo>
                <a:lnTo>
                  <a:pt x="2234182" y="0"/>
                </a:lnTo>
                <a:lnTo>
                  <a:pt x="2234182" y="540754"/>
                </a:lnTo>
                <a:lnTo>
                  <a:pt x="0" y="5407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285750" lvl="0" indent="-285750">
              <a:spcAft>
                <a:spcPts val="300"/>
              </a:spcAft>
              <a:buFont typeface="Arial" panose="020B0604020202020204" pitchFamily="34" charset="0"/>
              <a:buChar char="•"/>
            </a:pPr>
            <a:r>
              <a:rPr lang="en-US" sz="1400" b="1" dirty="0">
                <a:solidFill>
                  <a:srgbClr val="E04F4F"/>
                </a:solidFill>
              </a:rPr>
              <a:t>6/7/8 MHz channel bandwidth </a:t>
            </a:r>
            <a:r>
              <a:rPr lang="en-US" sz="1400" dirty="0">
                <a:solidFill>
                  <a:schemeClr val="tx1"/>
                </a:solidFill>
              </a:rPr>
              <a:t>to support common global channel bandwidth for broadcast systems</a:t>
            </a:r>
            <a:endParaRPr lang="en-US" sz="1400" dirty="0">
              <a:solidFill>
                <a:srgbClr val="E04F4F"/>
              </a:solidFill>
            </a:endParaRPr>
          </a:p>
          <a:p>
            <a:pPr marL="285750" lvl="0" indent="-285750">
              <a:spcAft>
                <a:spcPts val="300"/>
              </a:spcAft>
              <a:buFont typeface="Arial" panose="020B0604020202020204" pitchFamily="34" charset="0"/>
              <a:buChar char="•"/>
            </a:pPr>
            <a:r>
              <a:rPr lang="en-US" sz="1400" b="1" dirty="0">
                <a:solidFill>
                  <a:srgbClr val="E04F4F"/>
                </a:solidFill>
              </a:rPr>
              <a:t>Introduction of UHF Band 108 </a:t>
            </a:r>
            <a:r>
              <a:rPr lang="en-US" sz="1400" dirty="0">
                <a:solidFill>
                  <a:schemeClr val="tx1"/>
                </a:solidFill>
              </a:rPr>
              <a:t>to address RF transmitter and receiver requirements</a:t>
            </a:r>
            <a:r>
              <a:rPr lang="en-US" sz="1400" b="1" dirty="0">
                <a:solidFill>
                  <a:srgbClr val="E04F4F"/>
                </a:solidFill>
              </a:rPr>
              <a:t> </a:t>
            </a:r>
          </a:p>
          <a:p>
            <a:pPr marL="285750" lvl="0" indent="-285750">
              <a:spcAft>
                <a:spcPts val="300"/>
              </a:spcAft>
              <a:buFont typeface="Arial" panose="020B0604020202020204" pitchFamily="34" charset="0"/>
              <a:buChar char="•"/>
            </a:pPr>
            <a:endParaRPr lang="en-US" sz="1400" b="1" dirty="0">
              <a:solidFill>
                <a:srgbClr val="E04F4F"/>
              </a:solidFill>
            </a:endParaRPr>
          </a:p>
        </p:txBody>
      </p:sp>
      <p:sp>
        <p:nvSpPr>
          <p:cNvPr id="15" name="TextBox 14">
            <a:extLst>
              <a:ext uri="{FF2B5EF4-FFF2-40B4-BE49-F238E27FC236}">
                <a16:creationId xmlns:a16="http://schemas.microsoft.com/office/drawing/2014/main" id="{7BFF6655-8420-C538-2014-9B26B42948D4}"/>
              </a:ext>
            </a:extLst>
          </p:cNvPr>
          <p:cNvSpPr txBox="1"/>
          <p:nvPr/>
        </p:nvSpPr>
        <p:spPr>
          <a:xfrm>
            <a:off x="9630554" y="692020"/>
            <a:ext cx="2051858" cy="354584"/>
          </a:xfrm>
          <a:prstGeom prst="rect">
            <a:avLst/>
          </a:prstGeom>
        </p:spPr>
        <p:txBody>
          <a:bodyPr wrap="square" lIns="0" tIns="0" rIns="0" bIns="0" rtlCol="0">
            <a:spAutoFit/>
          </a:bodyPr>
          <a:lstStyle/>
          <a:p>
            <a:pPr algn="l">
              <a:lnSpc>
                <a:spcPct val="96000"/>
              </a:lnSpc>
            </a:pPr>
            <a:r>
              <a:rPr lang="en-US" sz="2400" dirty="0">
                <a:ln w="0"/>
                <a:gradFill>
                  <a:gsLst>
                    <a:gs pos="21000">
                      <a:srgbClr val="53575C"/>
                    </a:gs>
                    <a:gs pos="88000">
                      <a:srgbClr val="C5C7CA"/>
                    </a:gs>
                  </a:gsLst>
                  <a:lin ang="5400000"/>
                </a:gradFill>
                <a:latin typeface="Microsoft Sans Serif"/>
                <a:cs typeface="Microsoft Sans Serif" panose="020B0604020202020204" pitchFamily="34" charset="0"/>
              </a:rPr>
              <a:t>Release 17/18</a:t>
            </a:r>
          </a:p>
        </p:txBody>
      </p:sp>
    </p:spTree>
    <p:extLst>
      <p:ext uri="{BB962C8B-B14F-4D97-AF65-F5344CB8AC3E}">
        <p14:creationId xmlns:p14="http://schemas.microsoft.com/office/powerpoint/2010/main" val="133722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1721566"/>
            <a:ext cx="8829675" cy="2209066"/>
          </a:xfrm>
        </p:spPr>
        <p:txBody>
          <a:bodyPr/>
          <a:lstStyle/>
          <a:p>
            <a:r>
              <a:rPr lang="en-US" dirty="0"/>
              <a:t>Performance Comparison 5G Broadcast vs. an unconstrained system</a:t>
            </a:r>
          </a:p>
        </p:txBody>
      </p:sp>
    </p:spTree>
    <p:extLst>
      <p:ext uri="{BB962C8B-B14F-4D97-AF65-F5344CB8AC3E}">
        <p14:creationId xmlns:p14="http://schemas.microsoft.com/office/powerpoint/2010/main" val="140390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DE6717-7200-7A2D-F2C5-BFCA3F4519CC}"/>
              </a:ext>
            </a:extLst>
          </p:cNvPr>
          <p:cNvSpPr>
            <a:spLocks noGrp="1"/>
          </p:cNvSpPr>
          <p:nvPr>
            <p:ph type="title"/>
          </p:nvPr>
        </p:nvSpPr>
        <p:spPr>
          <a:xfrm>
            <a:off x="495300" y="565125"/>
            <a:ext cx="11187112" cy="439479"/>
          </a:xfrm>
        </p:spPr>
        <p:txBody>
          <a:bodyPr/>
          <a:lstStyle/>
          <a:p>
            <a:r>
              <a:rPr lang="de-DE" dirty="0"/>
              <a:t>Summary of potentially identified differences</a:t>
            </a:r>
            <a:endParaRPr lang="en-US" dirty="0"/>
          </a:p>
        </p:txBody>
      </p:sp>
      <p:sp>
        <p:nvSpPr>
          <p:cNvPr id="5" name="Subtitle 4">
            <a:extLst>
              <a:ext uri="{FF2B5EF4-FFF2-40B4-BE49-F238E27FC236}">
                <a16:creationId xmlns:a16="http://schemas.microsoft.com/office/drawing/2014/main" id="{6073BEAB-112F-5F91-32E5-FD2140E07E41}"/>
              </a:ext>
            </a:extLst>
          </p:cNvPr>
          <p:cNvSpPr>
            <a:spLocks noGrp="1"/>
          </p:cNvSpPr>
          <p:nvPr>
            <p:ph type="subTitle" idx="1"/>
          </p:nvPr>
        </p:nvSpPr>
        <p:spPr/>
        <p:txBody>
          <a:bodyPr/>
          <a:lstStyle/>
          <a:p>
            <a:endParaRPr lang="en-US"/>
          </a:p>
        </p:txBody>
      </p:sp>
      <p:graphicFrame>
        <p:nvGraphicFramePr>
          <p:cNvPr id="2" name="Diagram 1">
            <a:extLst>
              <a:ext uri="{FF2B5EF4-FFF2-40B4-BE49-F238E27FC236}">
                <a16:creationId xmlns:a16="http://schemas.microsoft.com/office/drawing/2014/main" id="{D4016B49-AF8C-D02B-3779-3F0A24C336CE}"/>
              </a:ext>
            </a:extLst>
          </p:cNvPr>
          <p:cNvGraphicFramePr/>
          <p:nvPr>
            <p:extLst>
              <p:ext uri="{D42A27DB-BD31-4B8C-83A1-F6EECF244321}">
                <p14:modId xmlns:p14="http://schemas.microsoft.com/office/powerpoint/2010/main" val="1210417693"/>
              </p:ext>
            </p:extLst>
          </p:nvPr>
        </p:nvGraphicFramePr>
        <p:xfrm>
          <a:off x="494189" y="122529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Footer Placeholder 7">
            <a:extLst>
              <a:ext uri="{FF2B5EF4-FFF2-40B4-BE49-F238E27FC236}">
                <a16:creationId xmlns:a16="http://schemas.microsoft.com/office/drawing/2014/main" id="{A3ABA029-84A2-19E0-0C92-FE60E0130251}"/>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144156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oter Placeholder 1">
            <a:extLst>
              <a:ext uri="{FF2B5EF4-FFF2-40B4-BE49-F238E27FC236}">
                <a16:creationId xmlns:a16="http://schemas.microsoft.com/office/drawing/2014/main" id="{70DD16F8-2EBF-7517-503F-DA0E23DC844A}"/>
              </a:ext>
            </a:extLst>
          </p:cNvPr>
          <p:cNvSpPr>
            <a:spLocks noGrp="1"/>
          </p:cNvSpPr>
          <p:nvPr>
            <p:ph type="ftr" sz="quarter" idx="10"/>
          </p:nvPr>
        </p:nvSpPr>
        <p:spPr>
          <a:xfrm>
            <a:off x="495299" y="6534114"/>
            <a:ext cx="10489691" cy="116955"/>
          </a:xfrm>
        </p:spPr>
        <p:txBody>
          <a:bodyPr/>
          <a:lstStyle/>
          <a:p>
            <a:r>
              <a:rPr lang="en-US"/>
              <a:t>IBC 2023</a:t>
            </a:r>
          </a:p>
        </p:txBody>
      </p:sp>
      <p:sp>
        <p:nvSpPr>
          <p:cNvPr id="22" name="Title 2">
            <a:extLst>
              <a:ext uri="{FF2B5EF4-FFF2-40B4-BE49-F238E27FC236}">
                <a16:creationId xmlns:a16="http://schemas.microsoft.com/office/drawing/2014/main" id="{5CDD312F-87E8-D751-A8DC-03B977558C25}"/>
              </a:ext>
            </a:extLst>
          </p:cNvPr>
          <p:cNvSpPr>
            <a:spLocks noGrp="1"/>
          </p:cNvSpPr>
          <p:nvPr>
            <p:ph type="title"/>
          </p:nvPr>
        </p:nvSpPr>
        <p:spPr>
          <a:xfrm>
            <a:off x="495300" y="565125"/>
            <a:ext cx="11187112" cy="439479"/>
          </a:xfrm>
        </p:spPr>
        <p:txBody>
          <a:bodyPr/>
          <a:lstStyle/>
          <a:p>
            <a:r>
              <a:rPr lang="de-DE" dirty="0"/>
              <a:t>Simulations</a:t>
            </a:r>
            <a:endParaRPr lang="en-US" dirty="0"/>
          </a:p>
        </p:txBody>
      </p:sp>
      <p:sp>
        <p:nvSpPr>
          <p:cNvPr id="23" name="Subtitle 4">
            <a:extLst>
              <a:ext uri="{FF2B5EF4-FFF2-40B4-BE49-F238E27FC236}">
                <a16:creationId xmlns:a16="http://schemas.microsoft.com/office/drawing/2014/main" id="{56447451-8BFF-F209-F108-DA2058ED3B11}"/>
              </a:ext>
            </a:extLst>
          </p:cNvPr>
          <p:cNvSpPr>
            <a:spLocks noGrp="1"/>
          </p:cNvSpPr>
          <p:nvPr>
            <p:ph type="subTitle" idx="1"/>
          </p:nvPr>
        </p:nvSpPr>
        <p:spPr>
          <a:xfrm>
            <a:off x="494189" y="1088135"/>
            <a:ext cx="11188223" cy="274320"/>
          </a:xfrm>
        </p:spPr>
        <p:txBody>
          <a:bodyPr/>
          <a:lstStyle/>
          <a:p>
            <a:r>
              <a:rPr lang="de-DE" dirty="0"/>
              <a:t>Aligned with IEEE papers [1][2]</a:t>
            </a:r>
            <a:endParaRPr lang="en-US" dirty="0"/>
          </a:p>
        </p:txBody>
      </p:sp>
      <mc:AlternateContent xmlns:mc="http://schemas.openxmlformats.org/markup-compatibility/2006">
        <mc:Choice xmlns:a14="http://schemas.microsoft.com/office/drawing/2010/main" Requires="a14">
          <p:graphicFrame>
            <p:nvGraphicFramePr>
              <p:cNvPr id="7" name="Table 6">
                <a:extLst>
                  <a:ext uri="{FF2B5EF4-FFF2-40B4-BE49-F238E27FC236}">
                    <a16:creationId xmlns:a16="http://schemas.microsoft.com/office/drawing/2014/main" id="{76639539-A669-323B-DE33-9DA579C84019}"/>
                  </a:ext>
                </a:extLst>
              </p:cNvPr>
              <p:cNvGraphicFramePr>
                <a:graphicFrameLocks noGrp="1"/>
              </p:cNvGraphicFramePr>
              <p:nvPr>
                <p:extLst>
                  <p:ext uri="{D42A27DB-BD31-4B8C-83A1-F6EECF244321}">
                    <p14:modId xmlns:p14="http://schemas.microsoft.com/office/powerpoint/2010/main" val="785687702"/>
                  </p:ext>
                </p:extLst>
              </p:nvPr>
            </p:nvGraphicFramePr>
            <p:xfrm>
              <a:off x="781099" y="1445987"/>
              <a:ext cx="10629802" cy="4793631"/>
            </p:xfrm>
            <a:graphic>
              <a:graphicData uri="http://schemas.openxmlformats.org/drawingml/2006/table">
                <a:tbl>
                  <a:tblPr firstRow="1">
                    <a:tableStyleId>{35758FB7-9AC5-4552-8A53-C91805E547FA}</a:tableStyleId>
                  </a:tblPr>
                  <a:tblGrid>
                    <a:gridCol w="3702442">
                      <a:extLst>
                        <a:ext uri="{9D8B030D-6E8A-4147-A177-3AD203B41FA5}">
                          <a16:colId xmlns:a16="http://schemas.microsoft.com/office/drawing/2014/main" val="2805771943"/>
                        </a:ext>
                      </a:extLst>
                    </a:gridCol>
                    <a:gridCol w="4543734">
                      <a:extLst>
                        <a:ext uri="{9D8B030D-6E8A-4147-A177-3AD203B41FA5}">
                          <a16:colId xmlns:a16="http://schemas.microsoft.com/office/drawing/2014/main" val="41101427"/>
                        </a:ext>
                      </a:extLst>
                    </a:gridCol>
                    <a:gridCol w="2383626">
                      <a:extLst>
                        <a:ext uri="{9D8B030D-6E8A-4147-A177-3AD203B41FA5}">
                          <a16:colId xmlns:a16="http://schemas.microsoft.com/office/drawing/2014/main" val="1971780600"/>
                        </a:ext>
                      </a:extLst>
                    </a:gridCol>
                  </a:tblGrid>
                  <a:tr h="228600">
                    <a:tc>
                      <a:txBody>
                        <a:bodyPr/>
                        <a:lstStyle/>
                        <a:p>
                          <a:pPr marL="0" marR="0" algn="l">
                            <a:lnSpc>
                              <a:spcPct val="100000"/>
                            </a:lnSpc>
                            <a:spcBef>
                              <a:spcPts val="0"/>
                            </a:spcBef>
                            <a:spcAft>
                              <a:spcPts val="0"/>
                            </a:spcAft>
                          </a:pPr>
                          <a:r>
                            <a:rPr lang="en-US" sz="1200" b="1" cap="none" spc="0" dirty="0">
                              <a:solidFill>
                                <a:schemeClr val="bg1"/>
                              </a:solidFill>
                              <a:effectLst/>
                            </a:rPr>
                            <a:t>Parameter</a:t>
                          </a:r>
                          <a:endParaRPr lang="en-US" sz="1200" b="1" cap="none" spc="0" dirty="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tc>
                      <a:txBody>
                        <a:bodyPr/>
                        <a:lstStyle/>
                        <a:p>
                          <a:pPr marL="0" marR="0" algn="ctr">
                            <a:lnSpc>
                              <a:spcPct val="100000"/>
                            </a:lnSpc>
                            <a:spcBef>
                              <a:spcPts val="0"/>
                            </a:spcBef>
                            <a:spcAft>
                              <a:spcPts val="0"/>
                            </a:spcAft>
                          </a:pPr>
                          <a:r>
                            <a:rPr lang="en-US" sz="1200" b="1" cap="none" spc="0" dirty="0">
                              <a:solidFill>
                                <a:schemeClr val="bg1"/>
                              </a:solidFill>
                              <a:effectLst/>
                            </a:rPr>
                            <a:t>Unconstrained System (i.e., ATSC 3.0)</a:t>
                          </a:r>
                          <a:endParaRPr lang="en-US" sz="1200" b="1" cap="none" spc="0" dirty="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tc>
                      <a:txBody>
                        <a:bodyPr/>
                        <a:lstStyle/>
                        <a:p>
                          <a:pPr marL="0" marR="0" algn="ctr">
                            <a:lnSpc>
                              <a:spcPct val="100000"/>
                            </a:lnSpc>
                            <a:spcBef>
                              <a:spcPts val="0"/>
                            </a:spcBef>
                            <a:spcAft>
                              <a:spcPts val="0"/>
                            </a:spcAft>
                          </a:pPr>
                          <a:r>
                            <a:rPr lang="en-US" sz="1200" b="1" cap="none" spc="0">
                              <a:solidFill>
                                <a:schemeClr val="bg1"/>
                              </a:solidFill>
                              <a:effectLst/>
                            </a:rPr>
                            <a:t>5G Broadcast</a:t>
                          </a:r>
                          <a:endParaRPr lang="en-US" sz="1200" b="1" cap="none" spc="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extLst>
                      <a:ext uri="{0D108BD9-81ED-4DB2-BD59-A6C34878D82A}">
                        <a16:rowId xmlns:a16="http://schemas.microsoft.com/office/drawing/2014/main" val="46582621"/>
                      </a:ext>
                    </a:extLst>
                  </a:tr>
                  <a:tr h="228600">
                    <a:tc>
                      <a:txBody>
                        <a:bodyPr/>
                        <a:lstStyle/>
                        <a:p>
                          <a:pPr marL="0" marR="0" algn="l">
                            <a:lnSpc>
                              <a:spcPct val="100000"/>
                            </a:lnSpc>
                            <a:spcBef>
                              <a:spcPts val="0"/>
                            </a:spcBef>
                            <a:spcAft>
                              <a:spcPts val="0"/>
                            </a:spcAft>
                          </a:pPr>
                          <a:r>
                            <a:rPr lang="en-US" sz="1200" b="1" cap="none" spc="0" dirty="0">
                              <a:solidFill>
                                <a:schemeClr val="tx1"/>
                              </a:solidFill>
                              <a:effectLst/>
                            </a:rPr>
                            <a:t>System Bandwidth (MHz)</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842675973"/>
                      </a:ext>
                    </a:extLst>
                  </a:tr>
                  <a:tr h="228600">
                    <a:tc>
                      <a:txBody>
                        <a:bodyPr/>
                        <a:lstStyle/>
                        <a:p>
                          <a:pPr marL="0" marR="0" algn="l">
                            <a:lnSpc>
                              <a:spcPct val="100000"/>
                            </a:lnSpc>
                            <a:spcBef>
                              <a:spcPts val="0"/>
                            </a:spcBef>
                            <a:spcAft>
                              <a:spcPts val="0"/>
                            </a:spcAft>
                          </a:pPr>
                          <a:r>
                            <a:rPr lang="en-US" sz="1200" b="1" cap="none" spc="0">
                              <a:solidFill>
                                <a:schemeClr val="tx1"/>
                              </a:solidFill>
                              <a:effectLst/>
                            </a:rPr>
                            <a:t>Useful BW (M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7.7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7.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875975216"/>
                      </a:ext>
                    </a:extLst>
                  </a:tr>
                  <a:tr h="228600">
                    <a:tc>
                      <a:txBody>
                        <a:bodyPr/>
                        <a:lstStyle/>
                        <a:p>
                          <a:pPr marL="0" marR="0" algn="l">
                            <a:lnSpc>
                              <a:spcPct val="100000"/>
                            </a:lnSpc>
                            <a:spcBef>
                              <a:spcPts val="0"/>
                            </a:spcBef>
                            <a:spcAft>
                              <a:spcPts val="0"/>
                            </a:spcAft>
                          </a:pPr>
                          <a:r>
                            <a:rPr lang="en-US" sz="1200" b="1" cap="none" spc="0" dirty="0">
                              <a:solidFill>
                                <a:schemeClr val="tx1"/>
                              </a:solidFill>
                              <a:effectLst/>
                            </a:rPr>
                            <a:t>FFT length</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19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228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504772066"/>
                      </a:ext>
                    </a:extLst>
                  </a:tr>
                  <a:tr h="228600">
                    <a:tc>
                      <a:txBody>
                        <a:bodyPr/>
                        <a:lstStyle/>
                        <a:p>
                          <a:pPr marL="0" marR="0" algn="l">
                            <a:lnSpc>
                              <a:spcPct val="100000"/>
                            </a:lnSpc>
                            <a:spcBef>
                              <a:spcPts val="0"/>
                            </a:spcBef>
                            <a:spcAft>
                              <a:spcPts val="0"/>
                            </a:spcAft>
                          </a:pPr>
                          <a:r>
                            <a:rPr lang="en-US" sz="1200" b="1" cap="none" spc="0">
                              <a:solidFill>
                                <a:schemeClr val="tx1"/>
                              </a:solidFill>
                              <a:effectLst/>
                            </a:rPr>
                            <a:t>Subcarrier Spacing (k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125</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25</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339679892"/>
                      </a:ext>
                    </a:extLst>
                  </a:tr>
                  <a:tr h="228600">
                    <a:tc>
                      <a:txBody>
                        <a:bodyPr/>
                        <a:lstStyle/>
                        <a:p>
                          <a:pPr marL="0" marR="0" algn="l">
                            <a:lnSpc>
                              <a:spcPct val="100000"/>
                            </a:lnSpc>
                            <a:spcBef>
                              <a:spcPts val="0"/>
                            </a:spcBef>
                            <a:spcAft>
                              <a:spcPts val="0"/>
                            </a:spcAft>
                          </a:pPr>
                          <a:r>
                            <a:rPr lang="en-US" sz="1200" b="1" cap="none" spc="0">
                              <a:solidFill>
                                <a:schemeClr val="tx1"/>
                              </a:solidFill>
                              <a:effectLst/>
                            </a:rPr>
                            <a:t>Sampling rate (M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9.216</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5.36</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637237584"/>
                      </a:ext>
                    </a:extLst>
                  </a:tr>
                  <a:tr h="228600">
                    <a:tc>
                      <a:txBody>
                        <a:bodyPr/>
                        <a:lstStyle/>
                        <a:p>
                          <a:pPr marL="0" marR="0" algn="l">
                            <a:lnSpc>
                              <a:spcPct val="100000"/>
                            </a:lnSpc>
                            <a:spcBef>
                              <a:spcPts val="0"/>
                            </a:spcBef>
                            <a:spcAft>
                              <a:spcPts val="0"/>
                            </a:spcAft>
                          </a:pPr>
                          <a:r>
                            <a:rPr lang="en-US" sz="1200" b="1" cap="none" spc="0" dirty="0">
                              <a:solidFill>
                                <a:schemeClr val="tx1"/>
                              </a:solidFill>
                              <a:effectLst/>
                            </a:rPr>
                            <a:t>OFDM symbol duration (us)</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89</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00</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262856402"/>
                      </a:ext>
                    </a:extLst>
                  </a:tr>
                  <a:tr h="228600">
                    <a:tc>
                      <a:txBody>
                        <a:bodyPr/>
                        <a:lstStyle/>
                        <a:p>
                          <a:pPr marL="0" marR="0" algn="l">
                            <a:lnSpc>
                              <a:spcPct val="100000"/>
                            </a:lnSpc>
                            <a:spcBef>
                              <a:spcPts val="0"/>
                            </a:spcBef>
                            <a:spcAft>
                              <a:spcPts val="0"/>
                            </a:spcAft>
                          </a:pPr>
                          <a:r>
                            <a:rPr lang="en-US" sz="1200" b="1" cap="none" spc="0">
                              <a:solidFill>
                                <a:schemeClr val="tx1"/>
                              </a:solidFill>
                              <a:effectLst/>
                            </a:rPr>
                            <a:t>CP duration (u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222.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200</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185491777"/>
                      </a:ext>
                    </a:extLst>
                  </a:tr>
                  <a:tr h="228600">
                    <a:tc>
                      <a:txBody>
                        <a:bodyPr/>
                        <a:lstStyle/>
                        <a:p>
                          <a:pPr marL="0" marR="0" algn="l">
                            <a:lnSpc>
                              <a:spcPct val="100000"/>
                            </a:lnSpc>
                            <a:spcBef>
                              <a:spcPts val="0"/>
                            </a:spcBef>
                            <a:spcAft>
                              <a:spcPts val="0"/>
                            </a:spcAft>
                          </a:pPr>
                          <a:r>
                            <a:rPr lang="en-US" sz="1200" b="1" cap="none" spc="0">
                              <a:solidFill>
                                <a:schemeClr val="tx1"/>
                              </a:solidFill>
                              <a:effectLst/>
                            </a:rPr>
                            <a:t>Channel estimation </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a:solidFill>
                                <a:schemeClr val="tx1"/>
                              </a:solidFill>
                              <a:effectLst/>
                            </a:rPr>
                            <a:t>LMMSE over 48 consecutive pilots per RB bundle</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2932938203"/>
                      </a:ext>
                    </a:extLst>
                  </a:tr>
                  <a:tr h="228600">
                    <a:tc>
                      <a:txBody>
                        <a:bodyPr/>
                        <a:lstStyle/>
                        <a:p>
                          <a:pPr marL="0" marR="0" algn="just">
                            <a:lnSpc>
                              <a:spcPct val="100000"/>
                            </a:lnSpc>
                            <a:spcBef>
                              <a:spcPts val="0"/>
                            </a:spcBef>
                            <a:spcAft>
                              <a:spcPts val="0"/>
                            </a:spcAft>
                          </a:pPr>
                          <a:r>
                            <a:rPr lang="en-US" sz="1200" b="1" cap="none" spc="0">
                              <a:solidFill>
                                <a:schemeClr val="tx1"/>
                              </a:solidFill>
                              <a:effectLst/>
                            </a:rPr>
                            <a:t>Number of Rx antenna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dirty="0">
                              <a:solidFill>
                                <a:schemeClr val="tx1"/>
                              </a:solidFill>
                              <a:effectLst/>
                            </a:rPr>
                            <a:t>1 (unless specified otherwise)</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3056039543"/>
                      </a:ext>
                    </a:extLst>
                  </a:tr>
                  <a:tr h="228600">
                    <a:tc>
                      <a:txBody>
                        <a:bodyPr/>
                        <a:lstStyle/>
                        <a:p>
                          <a:pPr marL="0" marR="0" algn="l">
                            <a:lnSpc>
                              <a:spcPct val="100000"/>
                            </a:lnSpc>
                            <a:spcBef>
                              <a:spcPts val="0"/>
                            </a:spcBef>
                            <a:spcAft>
                              <a:spcPts val="0"/>
                            </a:spcAft>
                          </a:pPr>
                          <a:r>
                            <a:rPr lang="en-US" sz="1200" b="1" cap="none" spc="0">
                              <a:solidFill>
                                <a:schemeClr val="tx1"/>
                              </a:solidFill>
                              <a:effectLst/>
                            </a:rPr>
                            <a:t>Pilot pattern stagger</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Fd3, Td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Fd3, Td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403112040"/>
                      </a:ext>
                    </a:extLst>
                  </a:tr>
                  <a:tr h="228600">
                    <a:tc>
                      <a:txBody>
                        <a:bodyPr/>
                        <a:lstStyle/>
                        <a:p>
                          <a:pPr marL="0" marR="0" algn="l">
                            <a:lnSpc>
                              <a:spcPct val="100000"/>
                            </a:lnSpc>
                            <a:spcBef>
                              <a:spcPts val="0"/>
                            </a:spcBef>
                            <a:spcAft>
                              <a:spcPts val="0"/>
                            </a:spcAft>
                          </a:pPr>
                          <a:r>
                            <a:rPr lang="en-US" sz="1200" b="1" cap="none" spc="0">
                              <a:solidFill>
                                <a:schemeClr val="tx1"/>
                              </a:solidFill>
                              <a:effectLst/>
                            </a:rPr>
                            <a:t>Time (T) and/or Frequency (F) interleaver</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F </a:t>
                          </a:r>
                          <a:r>
                            <a:rPr lang="en-US" sz="1200" cap="none" spc="0" dirty="0" err="1">
                              <a:solidFill>
                                <a:schemeClr val="tx1"/>
                              </a:solidFill>
                              <a:effectLst/>
                            </a:rPr>
                            <a:t>interleaver</a:t>
                          </a:r>
                          <a:r>
                            <a:rPr lang="en-US" sz="1200" cap="none" spc="0" dirty="0">
                              <a:solidFill>
                                <a:schemeClr val="tx1"/>
                              </a:solidFill>
                              <a:effectLst/>
                            </a:rPr>
                            <a:t>: ON</a:t>
                          </a:r>
                        </a:p>
                        <a:p>
                          <a:pPr marL="0" marR="0" algn="ctr">
                            <a:lnSpc>
                              <a:spcPct val="100000"/>
                            </a:lnSpc>
                            <a:spcBef>
                              <a:spcPts val="0"/>
                            </a:spcBef>
                            <a:spcAft>
                              <a:spcPts val="0"/>
                            </a:spcAft>
                          </a:pPr>
                          <a:r>
                            <a:rPr lang="en-US" sz="1200" cap="none" spc="0" dirty="0">
                              <a:solidFill>
                                <a:schemeClr val="tx1"/>
                              </a:solidFill>
                              <a:effectLst/>
                            </a:rPr>
                            <a:t>T </a:t>
                          </a:r>
                          <a:r>
                            <a:rPr lang="en-US" sz="1200" cap="none" spc="0" dirty="0" err="1">
                              <a:solidFill>
                                <a:schemeClr val="tx1"/>
                              </a:solidFill>
                              <a:effectLst/>
                            </a:rPr>
                            <a:t>interleaver</a:t>
                          </a:r>
                          <a:r>
                            <a:rPr lang="en-US" sz="1200" cap="none" spc="0" dirty="0">
                              <a:solidFill>
                                <a:schemeClr val="tx1"/>
                              </a:solidFill>
                              <a:effectLst/>
                            </a:rPr>
                            <a:t>: 400 </a:t>
                          </a:r>
                          <a:r>
                            <a:rPr lang="en-US" sz="1200" cap="none" spc="0" dirty="0" err="1">
                              <a:solidFill>
                                <a:schemeClr val="tx1"/>
                              </a:solidFill>
                              <a:effectLst/>
                            </a:rPr>
                            <a:t>ms</a:t>
                          </a:r>
                          <a:r>
                            <a:rPr lang="en-US" sz="1200" cap="none" spc="0" dirty="0">
                              <a:solidFill>
                                <a:schemeClr val="tx1"/>
                              </a:solidFill>
                              <a:effectLst/>
                            </a:rPr>
                            <a:t> extended CTI</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None</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694256578"/>
                      </a:ext>
                    </a:extLst>
                  </a:tr>
                  <a:tr h="228600">
                    <a:tc>
                      <a:txBody>
                        <a:bodyPr/>
                        <a:lstStyle/>
                        <a:p>
                          <a:pPr marL="0" marR="0" algn="l">
                            <a:lnSpc>
                              <a:spcPct val="100000"/>
                            </a:lnSpc>
                            <a:spcBef>
                              <a:spcPts val="0"/>
                            </a:spcBef>
                            <a:spcAft>
                              <a:spcPts val="0"/>
                            </a:spcAft>
                          </a:pPr>
                          <a:r>
                            <a:rPr lang="en-US" sz="1200" b="1" cap="none" spc="0">
                              <a:solidFill>
                                <a:schemeClr val="tx1"/>
                              </a:solidFill>
                              <a:effectLst/>
                            </a:rPr>
                            <a:t>Modulation</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QPSK (Svc 1)</a:t>
                          </a:r>
                        </a:p>
                        <a:p>
                          <a:pPr marL="0" marR="0" algn="ctr">
                            <a:lnSpc>
                              <a:spcPct val="100000"/>
                            </a:lnSpc>
                            <a:spcBef>
                              <a:spcPts val="0"/>
                            </a:spcBef>
                            <a:spcAft>
                              <a:spcPts val="0"/>
                            </a:spcAft>
                          </a:pPr>
                          <a:r>
                            <a:rPr lang="en-US" sz="1200" cap="none" spc="0" dirty="0">
                              <a:solidFill>
                                <a:schemeClr val="tx1"/>
                              </a:solidFill>
                              <a:effectLst/>
                            </a:rPr>
                            <a:t>NUC 16-QAM (Svc 2)</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QPSK (Svc 1)</a:t>
                          </a:r>
                        </a:p>
                        <a:p>
                          <a:pPr marL="0" marR="0" algn="ctr">
                            <a:lnSpc>
                              <a:spcPct val="100000"/>
                            </a:lnSpc>
                            <a:spcBef>
                              <a:spcPts val="0"/>
                            </a:spcBef>
                            <a:spcAft>
                              <a:spcPts val="0"/>
                            </a:spcAft>
                          </a:pPr>
                          <a:r>
                            <a:rPr lang="en-US" sz="1200" cap="none" spc="0">
                              <a:solidFill>
                                <a:schemeClr val="tx1"/>
                              </a:solidFill>
                              <a:effectLst/>
                            </a:rPr>
                            <a:t>16-QAM (Svc 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3784236460"/>
                      </a:ext>
                    </a:extLst>
                  </a:tr>
                  <a:tr h="228600">
                    <a:tc>
                      <a:txBody>
                        <a:bodyPr/>
                        <a:lstStyle/>
                        <a:p>
                          <a:pPr marL="0" marR="0" algn="l">
                            <a:lnSpc>
                              <a:spcPct val="100000"/>
                            </a:lnSpc>
                            <a:spcBef>
                              <a:spcPts val="0"/>
                            </a:spcBef>
                            <a:spcAft>
                              <a:spcPts val="0"/>
                            </a:spcAft>
                          </a:pPr>
                          <a:r>
                            <a:rPr lang="en-US" sz="1200" b="1" cap="none" spc="0">
                              <a:solidFill>
                                <a:schemeClr val="tx1"/>
                              </a:solidFill>
                              <a:effectLst/>
                            </a:rPr>
                            <a:t>Coding</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8/15 LDPC 64800 + BCH</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14:m>
                            <m:oMath xmlns:m="http://schemas.openxmlformats.org/officeDocument/2006/math">
                              <m:r>
                                <a:rPr lang="en-US" sz="1200" cap="none" spc="0">
                                  <a:solidFill>
                                    <a:schemeClr val="tx1"/>
                                  </a:solidFill>
                                  <a:effectLst/>
                                  <a:latin typeface="Cambria Math" panose="02040503050406030204" pitchFamily="18" charset="0"/>
                                </a:rPr>
                                <m:t>≈</m:t>
                              </m:r>
                            </m:oMath>
                          </a14:m>
                          <a:r>
                            <a:rPr lang="en-US" sz="1200" cap="none" spc="0">
                              <a:solidFill>
                                <a:schemeClr val="tx1"/>
                              </a:solidFill>
                              <a:effectLst/>
                            </a:rPr>
                            <a:t>8/15 Turbo</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241223731"/>
                      </a:ext>
                    </a:extLst>
                  </a:tr>
                  <a:tr h="228600">
                    <a:tc>
                      <a:txBody>
                        <a:bodyPr/>
                        <a:lstStyle/>
                        <a:p>
                          <a:pPr marL="0" marR="0" algn="l">
                            <a:lnSpc>
                              <a:spcPct val="100000"/>
                            </a:lnSpc>
                            <a:spcBef>
                              <a:spcPts val="0"/>
                            </a:spcBef>
                            <a:spcAft>
                              <a:spcPts val="0"/>
                            </a:spcAft>
                          </a:pPr>
                          <a:r>
                            <a:rPr lang="en-US" sz="1200" b="1" cap="none" spc="0">
                              <a:solidFill>
                                <a:schemeClr val="tx1"/>
                              </a:solidFill>
                              <a:effectLst/>
                            </a:rPr>
                            <a:t>TB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34368</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5544 (Svc 1)</a:t>
                          </a:r>
                        </a:p>
                        <a:p>
                          <a:pPr marL="0" marR="0" algn="ctr">
                            <a:lnSpc>
                              <a:spcPct val="100000"/>
                            </a:lnSpc>
                            <a:spcBef>
                              <a:spcPts val="0"/>
                            </a:spcBef>
                            <a:spcAft>
                              <a:spcPts val="0"/>
                            </a:spcAft>
                          </a:pPr>
                          <a:r>
                            <a:rPr lang="en-US" sz="1200" cap="none" spc="0">
                              <a:solidFill>
                                <a:schemeClr val="tx1"/>
                              </a:solidFill>
                              <a:effectLst/>
                            </a:rPr>
                            <a:t>10296 (Svc 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632925644"/>
                      </a:ext>
                    </a:extLst>
                  </a:tr>
                  <a:tr h="228600">
                    <a:tc>
                      <a:txBody>
                        <a:bodyPr/>
                        <a:lstStyle/>
                        <a:p>
                          <a:pPr marL="0" marR="0" algn="just">
                            <a:lnSpc>
                              <a:spcPct val="100000"/>
                            </a:lnSpc>
                            <a:spcBef>
                              <a:spcPts val="0"/>
                            </a:spcBef>
                            <a:spcAft>
                              <a:spcPts val="0"/>
                            </a:spcAft>
                          </a:pPr>
                          <a:r>
                            <a:rPr lang="en-US" sz="1200" b="1" cap="none" spc="0">
                              <a:solidFill>
                                <a:schemeClr val="tx1"/>
                              </a:solidFill>
                              <a:effectLst/>
                            </a:rPr>
                            <a:t>Throughput</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dirty="0">
                              <a:solidFill>
                                <a:schemeClr val="tx1"/>
                              </a:solidFill>
                              <a:effectLst/>
                            </a:rPr>
                            <a:t>~5 Mbps for Svc1 and ~10 Mbps for Svc 2</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3636628166"/>
                      </a:ext>
                    </a:extLst>
                  </a:tr>
                </a:tbl>
              </a:graphicData>
            </a:graphic>
          </p:graphicFrame>
        </mc:Choice>
        <mc:Fallback>
          <p:graphicFrame>
            <p:nvGraphicFramePr>
              <p:cNvPr id="7" name="Table 6">
                <a:extLst>
                  <a:ext uri="{FF2B5EF4-FFF2-40B4-BE49-F238E27FC236}">
                    <a16:creationId xmlns:a16="http://schemas.microsoft.com/office/drawing/2014/main" id="{76639539-A669-323B-DE33-9DA579C84019}"/>
                  </a:ext>
                </a:extLst>
              </p:cNvPr>
              <p:cNvGraphicFramePr>
                <a:graphicFrameLocks noGrp="1"/>
              </p:cNvGraphicFramePr>
              <p:nvPr>
                <p:extLst>
                  <p:ext uri="{D42A27DB-BD31-4B8C-83A1-F6EECF244321}">
                    <p14:modId xmlns:p14="http://schemas.microsoft.com/office/powerpoint/2010/main" val="785687702"/>
                  </p:ext>
                </p:extLst>
              </p:nvPr>
            </p:nvGraphicFramePr>
            <p:xfrm>
              <a:off x="781099" y="1445987"/>
              <a:ext cx="10629802" cy="4793631"/>
            </p:xfrm>
            <a:graphic>
              <a:graphicData uri="http://schemas.openxmlformats.org/drawingml/2006/table">
                <a:tbl>
                  <a:tblPr firstRow="1">
                    <a:tableStyleId>{35758FB7-9AC5-4552-8A53-C91805E547FA}</a:tableStyleId>
                  </a:tblPr>
                  <a:tblGrid>
                    <a:gridCol w="3702442">
                      <a:extLst>
                        <a:ext uri="{9D8B030D-6E8A-4147-A177-3AD203B41FA5}">
                          <a16:colId xmlns:a16="http://schemas.microsoft.com/office/drawing/2014/main" val="2805771943"/>
                        </a:ext>
                      </a:extLst>
                    </a:gridCol>
                    <a:gridCol w="4543734">
                      <a:extLst>
                        <a:ext uri="{9D8B030D-6E8A-4147-A177-3AD203B41FA5}">
                          <a16:colId xmlns:a16="http://schemas.microsoft.com/office/drawing/2014/main" val="41101427"/>
                        </a:ext>
                      </a:extLst>
                    </a:gridCol>
                    <a:gridCol w="2383626">
                      <a:extLst>
                        <a:ext uri="{9D8B030D-6E8A-4147-A177-3AD203B41FA5}">
                          <a16:colId xmlns:a16="http://schemas.microsoft.com/office/drawing/2014/main" val="1971780600"/>
                        </a:ext>
                      </a:extLst>
                    </a:gridCol>
                  </a:tblGrid>
                  <a:tr h="338046">
                    <a:tc>
                      <a:txBody>
                        <a:bodyPr/>
                        <a:lstStyle/>
                        <a:p>
                          <a:pPr marL="0" marR="0" algn="l">
                            <a:lnSpc>
                              <a:spcPct val="100000"/>
                            </a:lnSpc>
                            <a:spcBef>
                              <a:spcPts val="0"/>
                            </a:spcBef>
                            <a:spcAft>
                              <a:spcPts val="0"/>
                            </a:spcAft>
                          </a:pPr>
                          <a:r>
                            <a:rPr lang="en-US" sz="1200" b="1" cap="none" spc="0" dirty="0">
                              <a:solidFill>
                                <a:schemeClr val="bg1"/>
                              </a:solidFill>
                              <a:effectLst/>
                            </a:rPr>
                            <a:t>Parameter</a:t>
                          </a:r>
                          <a:endParaRPr lang="en-US" sz="1200" b="1" cap="none" spc="0" dirty="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tc>
                      <a:txBody>
                        <a:bodyPr/>
                        <a:lstStyle/>
                        <a:p>
                          <a:pPr marL="0" marR="0" algn="ctr">
                            <a:lnSpc>
                              <a:spcPct val="100000"/>
                            </a:lnSpc>
                            <a:spcBef>
                              <a:spcPts val="0"/>
                            </a:spcBef>
                            <a:spcAft>
                              <a:spcPts val="0"/>
                            </a:spcAft>
                          </a:pPr>
                          <a:r>
                            <a:rPr lang="en-US" sz="1200" b="1" cap="none" spc="0" dirty="0">
                              <a:solidFill>
                                <a:schemeClr val="bg1"/>
                              </a:solidFill>
                              <a:effectLst/>
                            </a:rPr>
                            <a:t>Unconstrained System (i.e., ATSC 3.0)</a:t>
                          </a:r>
                          <a:endParaRPr lang="en-US" sz="1200" b="1" cap="none" spc="0" dirty="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tc>
                      <a:txBody>
                        <a:bodyPr/>
                        <a:lstStyle/>
                        <a:p>
                          <a:pPr marL="0" marR="0" algn="ctr">
                            <a:lnSpc>
                              <a:spcPct val="100000"/>
                            </a:lnSpc>
                            <a:spcBef>
                              <a:spcPts val="0"/>
                            </a:spcBef>
                            <a:spcAft>
                              <a:spcPts val="0"/>
                            </a:spcAft>
                          </a:pPr>
                          <a:r>
                            <a:rPr lang="en-US" sz="1200" b="1" cap="none" spc="0">
                              <a:solidFill>
                                <a:schemeClr val="bg1"/>
                              </a:solidFill>
                              <a:effectLst/>
                            </a:rPr>
                            <a:t>5G Broadcast</a:t>
                          </a:r>
                          <a:endParaRPr lang="en-US" sz="1200" b="1" cap="none" spc="0">
                            <a:solidFill>
                              <a:schemeClr val="bg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77583" marB="77583" anchor="ctr"/>
                    </a:tc>
                    <a:extLst>
                      <a:ext uri="{0D108BD9-81ED-4DB2-BD59-A6C34878D82A}">
                        <a16:rowId xmlns:a16="http://schemas.microsoft.com/office/drawing/2014/main" val="46582621"/>
                      </a:ext>
                    </a:extLst>
                  </a:tr>
                  <a:tr h="260463">
                    <a:tc>
                      <a:txBody>
                        <a:bodyPr/>
                        <a:lstStyle/>
                        <a:p>
                          <a:pPr marL="0" marR="0" algn="l">
                            <a:lnSpc>
                              <a:spcPct val="100000"/>
                            </a:lnSpc>
                            <a:spcBef>
                              <a:spcPts val="0"/>
                            </a:spcBef>
                            <a:spcAft>
                              <a:spcPts val="0"/>
                            </a:spcAft>
                          </a:pPr>
                          <a:r>
                            <a:rPr lang="en-US" sz="1200" b="1" cap="none" spc="0" dirty="0">
                              <a:solidFill>
                                <a:schemeClr val="tx1"/>
                              </a:solidFill>
                              <a:effectLst/>
                            </a:rPr>
                            <a:t>System Bandwidth (MHz)</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842675973"/>
                      </a:ext>
                    </a:extLst>
                  </a:tr>
                  <a:tr h="260463">
                    <a:tc>
                      <a:txBody>
                        <a:bodyPr/>
                        <a:lstStyle/>
                        <a:p>
                          <a:pPr marL="0" marR="0" algn="l">
                            <a:lnSpc>
                              <a:spcPct val="100000"/>
                            </a:lnSpc>
                            <a:spcBef>
                              <a:spcPts val="0"/>
                            </a:spcBef>
                            <a:spcAft>
                              <a:spcPts val="0"/>
                            </a:spcAft>
                          </a:pPr>
                          <a:r>
                            <a:rPr lang="en-US" sz="1200" b="1" cap="none" spc="0">
                              <a:solidFill>
                                <a:schemeClr val="tx1"/>
                              </a:solidFill>
                              <a:effectLst/>
                            </a:rPr>
                            <a:t>Useful BW (M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7.7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7.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875975216"/>
                      </a:ext>
                    </a:extLst>
                  </a:tr>
                  <a:tr h="260463">
                    <a:tc>
                      <a:txBody>
                        <a:bodyPr/>
                        <a:lstStyle/>
                        <a:p>
                          <a:pPr marL="0" marR="0" algn="l">
                            <a:lnSpc>
                              <a:spcPct val="100000"/>
                            </a:lnSpc>
                            <a:spcBef>
                              <a:spcPts val="0"/>
                            </a:spcBef>
                            <a:spcAft>
                              <a:spcPts val="0"/>
                            </a:spcAft>
                          </a:pPr>
                          <a:r>
                            <a:rPr lang="en-US" sz="1200" b="1" cap="none" spc="0" dirty="0">
                              <a:solidFill>
                                <a:schemeClr val="tx1"/>
                              </a:solidFill>
                              <a:effectLst/>
                            </a:rPr>
                            <a:t>FFT length</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19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2288</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504772066"/>
                      </a:ext>
                    </a:extLst>
                  </a:tr>
                  <a:tr h="260463">
                    <a:tc>
                      <a:txBody>
                        <a:bodyPr/>
                        <a:lstStyle/>
                        <a:p>
                          <a:pPr marL="0" marR="0" algn="l">
                            <a:lnSpc>
                              <a:spcPct val="100000"/>
                            </a:lnSpc>
                            <a:spcBef>
                              <a:spcPts val="0"/>
                            </a:spcBef>
                            <a:spcAft>
                              <a:spcPts val="0"/>
                            </a:spcAft>
                          </a:pPr>
                          <a:r>
                            <a:rPr lang="en-US" sz="1200" b="1" cap="none" spc="0">
                              <a:solidFill>
                                <a:schemeClr val="tx1"/>
                              </a:solidFill>
                              <a:effectLst/>
                            </a:rPr>
                            <a:t>Subcarrier Spacing (k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125</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25</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339679892"/>
                      </a:ext>
                    </a:extLst>
                  </a:tr>
                  <a:tr h="260463">
                    <a:tc>
                      <a:txBody>
                        <a:bodyPr/>
                        <a:lstStyle/>
                        <a:p>
                          <a:pPr marL="0" marR="0" algn="l">
                            <a:lnSpc>
                              <a:spcPct val="100000"/>
                            </a:lnSpc>
                            <a:spcBef>
                              <a:spcPts val="0"/>
                            </a:spcBef>
                            <a:spcAft>
                              <a:spcPts val="0"/>
                            </a:spcAft>
                          </a:pPr>
                          <a:r>
                            <a:rPr lang="en-US" sz="1200" b="1" cap="none" spc="0">
                              <a:solidFill>
                                <a:schemeClr val="tx1"/>
                              </a:solidFill>
                              <a:effectLst/>
                            </a:rPr>
                            <a:t>Sampling rate (MHz)</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9.216</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15.36</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637237584"/>
                      </a:ext>
                    </a:extLst>
                  </a:tr>
                  <a:tr h="260463">
                    <a:tc>
                      <a:txBody>
                        <a:bodyPr/>
                        <a:lstStyle/>
                        <a:p>
                          <a:pPr marL="0" marR="0" algn="l">
                            <a:lnSpc>
                              <a:spcPct val="100000"/>
                            </a:lnSpc>
                            <a:spcBef>
                              <a:spcPts val="0"/>
                            </a:spcBef>
                            <a:spcAft>
                              <a:spcPts val="0"/>
                            </a:spcAft>
                          </a:pPr>
                          <a:r>
                            <a:rPr lang="en-US" sz="1200" b="1" cap="none" spc="0" dirty="0">
                              <a:solidFill>
                                <a:schemeClr val="tx1"/>
                              </a:solidFill>
                              <a:effectLst/>
                            </a:rPr>
                            <a:t>OFDM symbol duration (us)</a:t>
                          </a:r>
                          <a:endParaRPr lang="en-US" sz="1200" b="1"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89</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800</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262856402"/>
                      </a:ext>
                    </a:extLst>
                  </a:tr>
                  <a:tr h="260463">
                    <a:tc>
                      <a:txBody>
                        <a:bodyPr/>
                        <a:lstStyle/>
                        <a:p>
                          <a:pPr marL="0" marR="0" algn="l">
                            <a:lnSpc>
                              <a:spcPct val="100000"/>
                            </a:lnSpc>
                            <a:spcBef>
                              <a:spcPts val="0"/>
                            </a:spcBef>
                            <a:spcAft>
                              <a:spcPts val="0"/>
                            </a:spcAft>
                          </a:pPr>
                          <a:r>
                            <a:rPr lang="en-US" sz="1200" b="1" cap="none" spc="0">
                              <a:solidFill>
                                <a:schemeClr val="tx1"/>
                              </a:solidFill>
                              <a:effectLst/>
                            </a:rPr>
                            <a:t>CP duration (u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222.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200</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2185491777"/>
                      </a:ext>
                    </a:extLst>
                  </a:tr>
                  <a:tr h="260463">
                    <a:tc>
                      <a:txBody>
                        <a:bodyPr/>
                        <a:lstStyle/>
                        <a:p>
                          <a:pPr marL="0" marR="0" algn="l">
                            <a:lnSpc>
                              <a:spcPct val="100000"/>
                            </a:lnSpc>
                            <a:spcBef>
                              <a:spcPts val="0"/>
                            </a:spcBef>
                            <a:spcAft>
                              <a:spcPts val="0"/>
                            </a:spcAft>
                          </a:pPr>
                          <a:r>
                            <a:rPr lang="en-US" sz="1200" b="1" cap="none" spc="0">
                              <a:solidFill>
                                <a:schemeClr val="tx1"/>
                              </a:solidFill>
                              <a:effectLst/>
                            </a:rPr>
                            <a:t>Channel estimation </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a:solidFill>
                                <a:schemeClr val="tx1"/>
                              </a:solidFill>
                              <a:effectLst/>
                            </a:rPr>
                            <a:t>LMMSE over 48 consecutive pilots per RB bundle</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2932938203"/>
                      </a:ext>
                    </a:extLst>
                  </a:tr>
                  <a:tr h="260463">
                    <a:tc>
                      <a:txBody>
                        <a:bodyPr/>
                        <a:lstStyle/>
                        <a:p>
                          <a:pPr marL="0" marR="0" algn="just">
                            <a:lnSpc>
                              <a:spcPct val="100000"/>
                            </a:lnSpc>
                            <a:spcBef>
                              <a:spcPts val="0"/>
                            </a:spcBef>
                            <a:spcAft>
                              <a:spcPts val="0"/>
                            </a:spcAft>
                          </a:pPr>
                          <a:r>
                            <a:rPr lang="en-US" sz="1200" b="1" cap="none" spc="0">
                              <a:solidFill>
                                <a:schemeClr val="tx1"/>
                              </a:solidFill>
                              <a:effectLst/>
                            </a:rPr>
                            <a:t>Number of Rx antenna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dirty="0">
                              <a:solidFill>
                                <a:schemeClr val="tx1"/>
                              </a:solidFill>
                              <a:effectLst/>
                            </a:rPr>
                            <a:t>1 (unless specified otherwise)</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3056039543"/>
                      </a:ext>
                    </a:extLst>
                  </a:tr>
                  <a:tr h="260463">
                    <a:tc>
                      <a:txBody>
                        <a:bodyPr/>
                        <a:lstStyle/>
                        <a:p>
                          <a:pPr marL="0" marR="0" algn="l">
                            <a:lnSpc>
                              <a:spcPct val="100000"/>
                            </a:lnSpc>
                            <a:spcBef>
                              <a:spcPts val="0"/>
                            </a:spcBef>
                            <a:spcAft>
                              <a:spcPts val="0"/>
                            </a:spcAft>
                          </a:pPr>
                          <a:r>
                            <a:rPr lang="en-US" sz="1200" b="1" cap="none" spc="0">
                              <a:solidFill>
                                <a:schemeClr val="tx1"/>
                              </a:solidFill>
                              <a:effectLst/>
                            </a:rPr>
                            <a:t>Pilot pattern stagger</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Fd3, Td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Fd3, Td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403112040"/>
                      </a:ext>
                    </a:extLst>
                  </a:tr>
                  <a:tr h="443343">
                    <a:tc>
                      <a:txBody>
                        <a:bodyPr/>
                        <a:lstStyle/>
                        <a:p>
                          <a:pPr marL="0" marR="0" algn="l">
                            <a:lnSpc>
                              <a:spcPct val="100000"/>
                            </a:lnSpc>
                            <a:spcBef>
                              <a:spcPts val="0"/>
                            </a:spcBef>
                            <a:spcAft>
                              <a:spcPts val="0"/>
                            </a:spcAft>
                          </a:pPr>
                          <a:r>
                            <a:rPr lang="en-US" sz="1200" b="1" cap="none" spc="0">
                              <a:solidFill>
                                <a:schemeClr val="tx1"/>
                              </a:solidFill>
                              <a:effectLst/>
                            </a:rPr>
                            <a:t>Time (T) and/or Frequency (F) interleaver</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F </a:t>
                          </a:r>
                          <a:r>
                            <a:rPr lang="en-US" sz="1200" cap="none" spc="0" dirty="0" err="1">
                              <a:solidFill>
                                <a:schemeClr val="tx1"/>
                              </a:solidFill>
                              <a:effectLst/>
                            </a:rPr>
                            <a:t>interleaver</a:t>
                          </a:r>
                          <a:r>
                            <a:rPr lang="en-US" sz="1200" cap="none" spc="0" dirty="0">
                              <a:solidFill>
                                <a:schemeClr val="tx1"/>
                              </a:solidFill>
                              <a:effectLst/>
                            </a:rPr>
                            <a:t>: ON</a:t>
                          </a:r>
                        </a:p>
                        <a:p>
                          <a:pPr marL="0" marR="0" algn="ctr">
                            <a:lnSpc>
                              <a:spcPct val="100000"/>
                            </a:lnSpc>
                            <a:spcBef>
                              <a:spcPts val="0"/>
                            </a:spcBef>
                            <a:spcAft>
                              <a:spcPts val="0"/>
                            </a:spcAft>
                          </a:pPr>
                          <a:r>
                            <a:rPr lang="en-US" sz="1200" cap="none" spc="0" dirty="0">
                              <a:solidFill>
                                <a:schemeClr val="tx1"/>
                              </a:solidFill>
                              <a:effectLst/>
                            </a:rPr>
                            <a:t>T </a:t>
                          </a:r>
                          <a:r>
                            <a:rPr lang="en-US" sz="1200" cap="none" spc="0" dirty="0" err="1">
                              <a:solidFill>
                                <a:schemeClr val="tx1"/>
                              </a:solidFill>
                              <a:effectLst/>
                            </a:rPr>
                            <a:t>interleaver</a:t>
                          </a:r>
                          <a:r>
                            <a:rPr lang="en-US" sz="1200" cap="none" spc="0" dirty="0">
                              <a:solidFill>
                                <a:schemeClr val="tx1"/>
                              </a:solidFill>
                              <a:effectLst/>
                            </a:rPr>
                            <a:t>: 400 </a:t>
                          </a:r>
                          <a:r>
                            <a:rPr lang="en-US" sz="1200" cap="none" spc="0" dirty="0" err="1">
                              <a:solidFill>
                                <a:schemeClr val="tx1"/>
                              </a:solidFill>
                              <a:effectLst/>
                            </a:rPr>
                            <a:t>ms</a:t>
                          </a:r>
                          <a:r>
                            <a:rPr lang="en-US" sz="1200" cap="none" spc="0" dirty="0">
                              <a:solidFill>
                                <a:schemeClr val="tx1"/>
                              </a:solidFill>
                              <a:effectLst/>
                            </a:rPr>
                            <a:t> extended CTI</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None</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694256578"/>
                      </a:ext>
                    </a:extLst>
                  </a:tr>
                  <a:tr h="443343">
                    <a:tc>
                      <a:txBody>
                        <a:bodyPr/>
                        <a:lstStyle/>
                        <a:p>
                          <a:pPr marL="0" marR="0" algn="l">
                            <a:lnSpc>
                              <a:spcPct val="100000"/>
                            </a:lnSpc>
                            <a:spcBef>
                              <a:spcPts val="0"/>
                            </a:spcBef>
                            <a:spcAft>
                              <a:spcPts val="0"/>
                            </a:spcAft>
                          </a:pPr>
                          <a:r>
                            <a:rPr lang="en-US" sz="1200" b="1" cap="none" spc="0">
                              <a:solidFill>
                                <a:schemeClr val="tx1"/>
                              </a:solidFill>
                              <a:effectLst/>
                            </a:rPr>
                            <a:t>Modulation</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QPSK (Svc 1)</a:t>
                          </a:r>
                        </a:p>
                        <a:p>
                          <a:pPr marL="0" marR="0" algn="ctr">
                            <a:lnSpc>
                              <a:spcPct val="100000"/>
                            </a:lnSpc>
                            <a:spcBef>
                              <a:spcPts val="0"/>
                            </a:spcBef>
                            <a:spcAft>
                              <a:spcPts val="0"/>
                            </a:spcAft>
                          </a:pPr>
                          <a:r>
                            <a:rPr lang="en-US" sz="1200" cap="none" spc="0" dirty="0">
                              <a:solidFill>
                                <a:schemeClr val="tx1"/>
                              </a:solidFill>
                              <a:effectLst/>
                            </a:rPr>
                            <a:t>NUC 16-QAM (Svc 2)</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QPSK (Svc 1)</a:t>
                          </a:r>
                        </a:p>
                        <a:p>
                          <a:pPr marL="0" marR="0" algn="ctr">
                            <a:lnSpc>
                              <a:spcPct val="100000"/>
                            </a:lnSpc>
                            <a:spcBef>
                              <a:spcPts val="0"/>
                            </a:spcBef>
                            <a:spcAft>
                              <a:spcPts val="0"/>
                            </a:spcAft>
                          </a:pPr>
                          <a:r>
                            <a:rPr lang="en-US" sz="1200" cap="none" spc="0">
                              <a:solidFill>
                                <a:schemeClr val="tx1"/>
                              </a:solidFill>
                              <a:effectLst/>
                            </a:rPr>
                            <a:t>16-QAM (Svc 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3784236460"/>
                      </a:ext>
                    </a:extLst>
                  </a:tr>
                  <a:tr h="260463">
                    <a:tc>
                      <a:txBody>
                        <a:bodyPr/>
                        <a:lstStyle/>
                        <a:p>
                          <a:pPr marL="0" marR="0" algn="l">
                            <a:lnSpc>
                              <a:spcPct val="100000"/>
                            </a:lnSpc>
                            <a:spcBef>
                              <a:spcPts val="0"/>
                            </a:spcBef>
                            <a:spcAft>
                              <a:spcPts val="0"/>
                            </a:spcAft>
                          </a:pPr>
                          <a:r>
                            <a:rPr lang="en-US" sz="1200" b="1" cap="none" spc="0">
                              <a:solidFill>
                                <a:schemeClr val="tx1"/>
                              </a:solidFill>
                              <a:effectLst/>
                            </a:rPr>
                            <a:t>Coding</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8/15 LDPC 64800 + BCH</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endParaRPr lang="en-US"/>
                        </a:p>
                      </a:txBody>
                      <a:tcPr marL="54308" marR="38792" marT="0" marB="77583">
                        <a:blipFill>
                          <a:blip r:embed="rId2"/>
                          <a:stretch>
                            <a:fillRect l="-346292" t="-1500000" r="-512" b="-280952"/>
                          </a:stretch>
                        </a:blipFill>
                      </a:tcPr>
                    </a:tc>
                    <a:extLst>
                      <a:ext uri="{0D108BD9-81ED-4DB2-BD59-A6C34878D82A}">
                        <a16:rowId xmlns:a16="http://schemas.microsoft.com/office/drawing/2014/main" val="2241223731"/>
                      </a:ext>
                    </a:extLst>
                  </a:tr>
                  <a:tr h="443343">
                    <a:tc>
                      <a:txBody>
                        <a:bodyPr/>
                        <a:lstStyle/>
                        <a:p>
                          <a:pPr marL="0" marR="0" algn="l">
                            <a:lnSpc>
                              <a:spcPct val="100000"/>
                            </a:lnSpc>
                            <a:spcBef>
                              <a:spcPts val="0"/>
                            </a:spcBef>
                            <a:spcAft>
                              <a:spcPts val="0"/>
                            </a:spcAft>
                          </a:pPr>
                          <a:r>
                            <a:rPr lang="en-US" sz="1200" b="1" cap="none" spc="0">
                              <a:solidFill>
                                <a:schemeClr val="tx1"/>
                              </a:solidFill>
                              <a:effectLst/>
                            </a:rPr>
                            <a:t>TBS</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dirty="0">
                              <a:solidFill>
                                <a:schemeClr val="tx1"/>
                              </a:solidFill>
                              <a:effectLst/>
                            </a:rPr>
                            <a:t>34368</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a:txBody>
                        <a:bodyPr/>
                        <a:lstStyle/>
                        <a:p>
                          <a:pPr marL="0" marR="0" algn="ctr">
                            <a:lnSpc>
                              <a:spcPct val="100000"/>
                            </a:lnSpc>
                            <a:spcBef>
                              <a:spcPts val="0"/>
                            </a:spcBef>
                            <a:spcAft>
                              <a:spcPts val="0"/>
                            </a:spcAft>
                          </a:pPr>
                          <a:r>
                            <a:rPr lang="en-US" sz="1200" cap="none" spc="0">
                              <a:solidFill>
                                <a:schemeClr val="tx1"/>
                              </a:solidFill>
                              <a:effectLst/>
                            </a:rPr>
                            <a:t>5544 (Svc 1)</a:t>
                          </a:r>
                        </a:p>
                        <a:p>
                          <a:pPr marL="0" marR="0" algn="ctr">
                            <a:lnSpc>
                              <a:spcPct val="100000"/>
                            </a:lnSpc>
                            <a:spcBef>
                              <a:spcPts val="0"/>
                            </a:spcBef>
                            <a:spcAft>
                              <a:spcPts val="0"/>
                            </a:spcAft>
                          </a:pPr>
                          <a:r>
                            <a:rPr lang="en-US" sz="1200" cap="none" spc="0">
                              <a:solidFill>
                                <a:schemeClr val="tx1"/>
                              </a:solidFill>
                              <a:effectLst/>
                            </a:rPr>
                            <a:t>10296 (Svc 2)</a:t>
                          </a:r>
                          <a:endParaRPr lang="en-US" sz="1200"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extLst>
                      <a:ext uri="{0D108BD9-81ED-4DB2-BD59-A6C34878D82A}">
                        <a16:rowId xmlns:a16="http://schemas.microsoft.com/office/drawing/2014/main" val="1632925644"/>
                      </a:ext>
                    </a:extLst>
                  </a:tr>
                  <a:tr h="260463">
                    <a:tc>
                      <a:txBody>
                        <a:bodyPr/>
                        <a:lstStyle/>
                        <a:p>
                          <a:pPr marL="0" marR="0" algn="just">
                            <a:lnSpc>
                              <a:spcPct val="100000"/>
                            </a:lnSpc>
                            <a:spcBef>
                              <a:spcPts val="0"/>
                            </a:spcBef>
                            <a:spcAft>
                              <a:spcPts val="0"/>
                            </a:spcAft>
                          </a:pPr>
                          <a:r>
                            <a:rPr lang="en-US" sz="1200" b="1" cap="none" spc="0">
                              <a:solidFill>
                                <a:schemeClr val="tx1"/>
                              </a:solidFill>
                              <a:effectLst/>
                            </a:rPr>
                            <a:t>Throughput</a:t>
                          </a:r>
                          <a:endParaRPr lang="en-US" sz="1200" b="1" cap="none" spc="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gridSpan="2">
                      <a:txBody>
                        <a:bodyPr/>
                        <a:lstStyle/>
                        <a:p>
                          <a:pPr marL="0" marR="0" algn="ctr">
                            <a:lnSpc>
                              <a:spcPct val="100000"/>
                            </a:lnSpc>
                            <a:spcBef>
                              <a:spcPts val="0"/>
                            </a:spcBef>
                            <a:spcAft>
                              <a:spcPts val="0"/>
                            </a:spcAft>
                          </a:pPr>
                          <a:r>
                            <a:rPr lang="en-US" sz="1200" cap="none" spc="0" dirty="0">
                              <a:solidFill>
                                <a:schemeClr val="tx1"/>
                              </a:solidFill>
                              <a:effectLst/>
                            </a:rPr>
                            <a:t>~5 Mbps for Svc1 and ~10 Mbps for Svc 2</a:t>
                          </a:r>
                          <a:endParaRPr lang="en-US" sz="1200" cap="none" spc="0" dirty="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a:txBody>
                      <a:tcPr marL="54308" marR="38792" marT="0" marB="77583"/>
                    </a:tc>
                    <a:tc hMerge="1">
                      <a:txBody>
                        <a:bodyPr/>
                        <a:lstStyle/>
                        <a:p>
                          <a:endParaRPr lang="en-US"/>
                        </a:p>
                      </a:txBody>
                      <a:tcPr/>
                    </a:tc>
                    <a:extLst>
                      <a:ext uri="{0D108BD9-81ED-4DB2-BD59-A6C34878D82A}">
                        <a16:rowId xmlns:a16="http://schemas.microsoft.com/office/drawing/2014/main" val="3636628166"/>
                      </a:ext>
                    </a:extLst>
                  </a:tr>
                </a:tbl>
              </a:graphicData>
            </a:graphic>
          </p:graphicFrame>
        </mc:Fallback>
      </mc:AlternateContent>
      <p:sp>
        <p:nvSpPr>
          <p:cNvPr id="3" name="TextBox 2">
            <a:extLst>
              <a:ext uri="{FF2B5EF4-FFF2-40B4-BE49-F238E27FC236}">
                <a16:creationId xmlns:a16="http://schemas.microsoft.com/office/drawing/2014/main" id="{4CA074F9-75AE-0D3E-65F7-5DC025E0BA21}"/>
              </a:ext>
            </a:extLst>
          </p:cNvPr>
          <p:cNvSpPr txBox="1"/>
          <p:nvPr/>
        </p:nvSpPr>
        <p:spPr>
          <a:xfrm>
            <a:off x="4909585" y="161542"/>
            <a:ext cx="6400800" cy="1063753"/>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lIns="0" tIns="0" rIns="0" bIns="0" rtlCol="0">
            <a:spAutoFit/>
          </a:bodyPr>
          <a:lstStyle/>
          <a:p>
            <a:pPr>
              <a:lnSpc>
                <a:spcPct val="96000"/>
              </a:lnSpc>
            </a:pPr>
            <a:r>
              <a:rPr lang="en-GB" sz="1200" dirty="0">
                <a:solidFill>
                  <a:srgbClr val="333333"/>
                </a:solidFill>
                <a:effectLst/>
                <a:latin typeface="Arial" panose="020B0604020202020204" pitchFamily="34" charset="0"/>
                <a:ea typeface="Arial" panose="020B0604020202020204" pitchFamily="34" charset="0"/>
              </a:rPr>
              <a:t> [1] S. -I. Park </a:t>
            </a:r>
            <a:r>
              <a:rPr lang="en-GB" sz="1200" i="1" dirty="0">
                <a:solidFill>
                  <a:srgbClr val="333333"/>
                </a:solidFill>
                <a:effectLst/>
                <a:latin typeface="Arial" panose="020B0604020202020204" pitchFamily="34" charset="0"/>
                <a:ea typeface="Arial" panose="020B0604020202020204" pitchFamily="34" charset="0"/>
              </a:rPr>
              <a:t>et al</a:t>
            </a:r>
            <a:r>
              <a:rPr lang="en-GB" sz="1200" dirty="0">
                <a:solidFill>
                  <a:srgbClr val="333333"/>
                </a:solidFill>
                <a:effectLst/>
                <a:latin typeface="Arial" panose="020B0604020202020204" pitchFamily="34" charset="0"/>
                <a:ea typeface="Arial" panose="020B0604020202020204" pitchFamily="34" charset="0"/>
              </a:rPr>
              <a:t>., "Performance Analysis of All Modulation and Code Combinations in ATSC 3.0 Physical Layer Protocol," in </a:t>
            </a:r>
            <a:r>
              <a:rPr lang="en-GB" sz="1200" i="1" dirty="0">
                <a:solidFill>
                  <a:srgbClr val="333333"/>
                </a:solidFill>
                <a:effectLst/>
                <a:latin typeface="Arial" panose="020B0604020202020204" pitchFamily="34" charset="0"/>
                <a:ea typeface="Arial" panose="020B0604020202020204" pitchFamily="34" charset="0"/>
              </a:rPr>
              <a:t>IEEE Trans. on Broadcasting</a:t>
            </a:r>
            <a:r>
              <a:rPr lang="en-GB" sz="1200" dirty="0">
                <a:solidFill>
                  <a:srgbClr val="333333"/>
                </a:solidFill>
                <a:effectLst/>
                <a:latin typeface="Arial" panose="020B0604020202020204" pitchFamily="34" charset="0"/>
                <a:ea typeface="Arial" panose="020B0604020202020204" pitchFamily="34" charset="0"/>
              </a:rPr>
              <a:t>, vol. 65, no. 2, pp. 197-210, June 2019, </a:t>
            </a:r>
            <a:r>
              <a:rPr lang="en-GB" sz="1200" dirty="0" err="1">
                <a:solidFill>
                  <a:srgbClr val="333333"/>
                </a:solidFill>
                <a:effectLst/>
                <a:latin typeface="Arial" panose="020B0604020202020204" pitchFamily="34" charset="0"/>
                <a:ea typeface="Arial" panose="020B0604020202020204" pitchFamily="34" charset="0"/>
              </a:rPr>
              <a:t>doi</a:t>
            </a:r>
            <a:r>
              <a:rPr lang="en-GB" sz="1200" dirty="0">
                <a:solidFill>
                  <a:srgbClr val="333333"/>
                </a:solidFill>
                <a:effectLst/>
                <a:latin typeface="Arial" panose="020B0604020202020204" pitchFamily="34" charset="0"/>
                <a:ea typeface="Arial" panose="020B0604020202020204" pitchFamily="34" charset="0"/>
              </a:rPr>
              <a:t>: 10.1109/TBC.2018.2871372</a:t>
            </a:r>
          </a:p>
          <a:p>
            <a:pPr>
              <a:lnSpc>
                <a:spcPct val="96000"/>
              </a:lnSpc>
            </a:pPr>
            <a:r>
              <a:rPr lang="en-US" sz="1200" dirty="0">
                <a:latin typeface="Arial" panose="020B0604020202020204" pitchFamily="34" charset="0"/>
                <a:ea typeface="SimSun" panose="02010600030101010101" pitchFamily="2" charset="-122"/>
                <a:cs typeface="Times New Roman" panose="02020603050405020304" pitchFamily="18" charset="0"/>
              </a:rPr>
              <a:t>[2] S. -K. Ahn et al., "Evaluation of ATSC 3.0 and 3GPP Rel-17 5G Broadcasting Systems for Mobile Handheld Applications," in IEEE Trans. on Broadcasting, </a:t>
            </a:r>
            <a:r>
              <a:rPr lang="en-US" sz="1200" dirty="0" err="1">
                <a:latin typeface="Arial" panose="020B0604020202020204" pitchFamily="34" charset="0"/>
                <a:ea typeface="SimSun" panose="02010600030101010101" pitchFamily="2" charset="-122"/>
                <a:cs typeface="Times New Roman" panose="02020603050405020304" pitchFamily="18" charset="0"/>
              </a:rPr>
              <a:t>doi</a:t>
            </a:r>
            <a:r>
              <a:rPr lang="en-US" sz="1200" dirty="0">
                <a:latin typeface="Arial" panose="020B0604020202020204" pitchFamily="34" charset="0"/>
                <a:ea typeface="SimSun" panose="02010600030101010101" pitchFamily="2" charset="-122"/>
                <a:cs typeface="Times New Roman" panose="02020603050405020304" pitchFamily="18" charset="0"/>
              </a:rPr>
              <a:t>: 10.1109/TBC.2022.3222988.</a:t>
            </a:r>
            <a:endParaRPr lang="en-GB" sz="1200" dirty="0">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36323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oter Placeholder 1">
            <a:extLst>
              <a:ext uri="{FF2B5EF4-FFF2-40B4-BE49-F238E27FC236}">
                <a16:creationId xmlns:a16="http://schemas.microsoft.com/office/drawing/2014/main" id="{70DD16F8-2EBF-7517-503F-DA0E23DC844A}"/>
              </a:ext>
            </a:extLst>
          </p:cNvPr>
          <p:cNvSpPr>
            <a:spLocks noGrp="1"/>
          </p:cNvSpPr>
          <p:nvPr>
            <p:ph type="ftr" sz="quarter" idx="10"/>
          </p:nvPr>
        </p:nvSpPr>
        <p:spPr>
          <a:xfrm>
            <a:off x="495299" y="6534114"/>
            <a:ext cx="10489691" cy="116955"/>
          </a:xfrm>
        </p:spPr>
        <p:txBody>
          <a:bodyPr/>
          <a:lstStyle/>
          <a:p>
            <a:r>
              <a:rPr lang="en-US"/>
              <a:t>IBC 2023</a:t>
            </a:r>
          </a:p>
        </p:txBody>
      </p:sp>
      <p:sp>
        <p:nvSpPr>
          <p:cNvPr id="22" name="Title 2">
            <a:extLst>
              <a:ext uri="{FF2B5EF4-FFF2-40B4-BE49-F238E27FC236}">
                <a16:creationId xmlns:a16="http://schemas.microsoft.com/office/drawing/2014/main" id="{5CDD312F-87E8-D751-A8DC-03B977558C25}"/>
              </a:ext>
            </a:extLst>
          </p:cNvPr>
          <p:cNvSpPr>
            <a:spLocks noGrp="1"/>
          </p:cNvSpPr>
          <p:nvPr>
            <p:ph type="title"/>
          </p:nvPr>
        </p:nvSpPr>
        <p:spPr>
          <a:xfrm>
            <a:off x="495300" y="565125"/>
            <a:ext cx="11187112" cy="439479"/>
          </a:xfrm>
        </p:spPr>
        <p:txBody>
          <a:bodyPr/>
          <a:lstStyle/>
          <a:p>
            <a:r>
              <a:rPr lang="en-US" dirty="0"/>
              <a:t>Achievable spectral </a:t>
            </a:r>
            <a:r>
              <a:rPr lang="en-US" dirty="0" err="1"/>
              <a:t>efficiency&amp;capacity</a:t>
            </a:r>
            <a:r>
              <a:rPr lang="en-US" dirty="0"/>
              <a:t> (LTE, NR, ATSC)</a:t>
            </a:r>
          </a:p>
        </p:txBody>
      </p:sp>
      <p:sp>
        <p:nvSpPr>
          <p:cNvPr id="23" name="Subtitle 4">
            <a:extLst>
              <a:ext uri="{FF2B5EF4-FFF2-40B4-BE49-F238E27FC236}">
                <a16:creationId xmlns:a16="http://schemas.microsoft.com/office/drawing/2014/main" id="{56447451-8BFF-F209-F108-DA2058ED3B11}"/>
              </a:ext>
            </a:extLst>
          </p:cNvPr>
          <p:cNvSpPr>
            <a:spLocks noGrp="1"/>
          </p:cNvSpPr>
          <p:nvPr>
            <p:ph type="subTitle" idx="1"/>
          </p:nvPr>
        </p:nvSpPr>
        <p:spPr>
          <a:xfrm>
            <a:off x="494189" y="1088135"/>
            <a:ext cx="11188223" cy="265907"/>
          </a:xfrm>
        </p:spPr>
        <p:txBody>
          <a:bodyPr/>
          <a:lstStyle/>
          <a:p>
            <a:r>
              <a:rPr lang="en-US" dirty="0">
                <a:solidFill>
                  <a:srgbClr val="FF0000"/>
                </a:solidFill>
              </a:rPr>
              <a:t>1 Receive antenna, </a:t>
            </a:r>
            <a:r>
              <a:rPr lang="en-US" dirty="0"/>
              <a:t>AWGN</a:t>
            </a:r>
          </a:p>
        </p:txBody>
      </p:sp>
      <p:pic>
        <p:nvPicPr>
          <p:cNvPr id="8" name="Picture 7" descr="A graph of a graph with red and blue lines&#10;&#10;Description automatically generated">
            <a:extLst>
              <a:ext uri="{FF2B5EF4-FFF2-40B4-BE49-F238E27FC236}">
                <a16:creationId xmlns:a16="http://schemas.microsoft.com/office/drawing/2014/main" id="{E9D98AC5-64EA-C77B-1B7F-854B320C559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480" y="2343938"/>
            <a:ext cx="6126480" cy="4174335"/>
          </a:xfrm>
          <a:prstGeom prst="rect">
            <a:avLst/>
          </a:prstGeom>
        </p:spPr>
      </p:pic>
      <p:pic>
        <p:nvPicPr>
          <p:cNvPr id="9" name="Picture 8" descr="A graph of a graph&#10;&#10;Description automatically generated">
            <a:extLst>
              <a:ext uri="{FF2B5EF4-FFF2-40B4-BE49-F238E27FC236}">
                <a16:creationId xmlns:a16="http://schemas.microsoft.com/office/drawing/2014/main" id="{AB6A51B6-E534-146E-14CB-69FF368477C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156960" y="2518660"/>
            <a:ext cx="6035040" cy="4112031"/>
          </a:xfrm>
          <a:prstGeom prst="rect">
            <a:avLst/>
          </a:prstGeom>
        </p:spPr>
      </p:pic>
      <p:sp>
        <p:nvSpPr>
          <p:cNvPr id="10" name="Content Placeholder 3">
            <a:extLst>
              <a:ext uri="{FF2B5EF4-FFF2-40B4-BE49-F238E27FC236}">
                <a16:creationId xmlns:a16="http://schemas.microsoft.com/office/drawing/2014/main" id="{C0C46467-0B94-CDE8-410D-5B64F731785C}"/>
              </a:ext>
            </a:extLst>
          </p:cNvPr>
          <p:cNvSpPr txBox="1">
            <a:spLocks/>
          </p:cNvSpPr>
          <p:nvPr/>
        </p:nvSpPr>
        <p:spPr>
          <a:xfrm>
            <a:off x="495300" y="1533629"/>
            <a:ext cx="11187112" cy="4681727"/>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r>
              <a:rPr lang="en-US" b="1" dirty="0">
                <a:solidFill>
                  <a:schemeClr val="bg2">
                    <a:lumMod val="75000"/>
                  </a:schemeClr>
                </a:solidFill>
              </a:rPr>
              <a:t>All technologies close to Shannon limit (&lt; 2dB), NR and LTE (5GB) offer similar performance</a:t>
            </a:r>
            <a:endParaRPr lang="en-US" dirty="0">
              <a:solidFill>
                <a:schemeClr val="tx1"/>
              </a:solidFill>
            </a:endParaRPr>
          </a:p>
          <a:p>
            <a:r>
              <a:rPr lang="en-US" b="1" dirty="0">
                <a:solidFill>
                  <a:schemeClr val="bg2">
                    <a:lumMod val="75000"/>
                  </a:schemeClr>
                </a:solidFill>
              </a:rPr>
              <a:t>Gains of an unconstrained system are &lt; 1dB, and get smaller with adding constraints (64k -&gt; 16k)  </a:t>
            </a:r>
          </a:p>
        </p:txBody>
      </p:sp>
      <p:sp>
        <p:nvSpPr>
          <p:cNvPr id="11" name="Rectangle 10">
            <a:extLst>
              <a:ext uri="{FF2B5EF4-FFF2-40B4-BE49-F238E27FC236}">
                <a16:creationId xmlns:a16="http://schemas.microsoft.com/office/drawing/2014/main" id="{E627157B-933C-6EB6-A077-9BF12C2C06CD}"/>
              </a:ext>
            </a:extLst>
          </p:cNvPr>
          <p:cNvSpPr/>
          <p:nvPr/>
        </p:nvSpPr>
        <p:spPr>
          <a:xfrm>
            <a:off x="9841720" y="5324371"/>
            <a:ext cx="2286540" cy="926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Channel Code and BICM 0.5 – 1dB</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312346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76314BE-8E7A-4436-6FAC-A7D696B03420}"/>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67C7DFD9-9B3D-9EA0-E9CA-AE77A3B9F4C3}"/>
              </a:ext>
            </a:extLst>
          </p:cNvPr>
          <p:cNvSpPr>
            <a:spLocks noGrp="1"/>
          </p:cNvSpPr>
          <p:nvPr>
            <p:ph type="title"/>
          </p:nvPr>
        </p:nvSpPr>
        <p:spPr>
          <a:xfrm>
            <a:off x="495300" y="565125"/>
            <a:ext cx="11187112" cy="439479"/>
          </a:xfrm>
        </p:spPr>
        <p:txBody>
          <a:bodyPr/>
          <a:lstStyle/>
          <a:p>
            <a:r>
              <a:rPr lang="de-DE" dirty="0"/>
              <a:t>Frequency &amp; Time Interleaver (1)</a:t>
            </a:r>
            <a:endParaRPr lang="en-US" dirty="0"/>
          </a:p>
        </p:txBody>
      </p:sp>
      <p:sp>
        <p:nvSpPr>
          <p:cNvPr id="4" name="Content Placeholder 3">
            <a:extLst>
              <a:ext uri="{FF2B5EF4-FFF2-40B4-BE49-F238E27FC236}">
                <a16:creationId xmlns:a16="http://schemas.microsoft.com/office/drawing/2014/main" id="{F347371B-FC2D-9B53-14B2-BEF558D79D3F}"/>
              </a:ext>
            </a:extLst>
          </p:cNvPr>
          <p:cNvSpPr>
            <a:spLocks noGrp="1"/>
          </p:cNvSpPr>
          <p:nvPr>
            <p:ph sz="quarter" idx="14"/>
          </p:nvPr>
        </p:nvSpPr>
        <p:spPr>
          <a:xfrm>
            <a:off x="495300" y="1719072"/>
            <a:ext cx="5102311" cy="4681727"/>
          </a:xfrm>
        </p:spPr>
        <p:txBody>
          <a:bodyPr/>
          <a:lstStyle/>
          <a:p>
            <a:r>
              <a:rPr lang="en-US" dirty="0"/>
              <a:t>Analyzing the performance difference between ATSC 3.0 and 5G Broadcast over a Rician fading channel (RC20 channel from [1]) for static and 3 km/h</a:t>
            </a:r>
          </a:p>
          <a:p>
            <a:r>
              <a:rPr lang="en-US" dirty="0"/>
              <a:t>For static and 3 km/h, additional gain compared to AWGN (BICM and Code), is the Frequency </a:t>
            </a:r>
            <a:r>
              <a:rPr lang="en-US" dirty="0" err="1"/>
              <a:t>Interleaver</a:t>
            </a:r>
            <a:r>
              <a:rPr lang="en-US" dirty="0"/>
              <a:t> with around 0.5dB. </a:t>
            </a:r>
          </a:p>
          <a:p>
            <a:r>
              <a:rPr lang="en-US" dirty="0"/>
              <a:t>No gains for Time </a:t>
            </a:r>
            <a:r>
              <a:rPr lang="en-US" dirty="0" err="1"/>
              <a:t>Interleaver</a:t>
            </a:r>
            <a:r>
              <a:rPr lang="en-US" dirty="0"/>
              <a:t> with a reasonably powerful </a:t>
            </a:r>
            <a:r>
              <a:rPr lang="en-US" dirty="0" err="1"/>
              <a:t>LoS</a:t>
            </a:r>
            <a:r>
              <a:rPr lang="en-US" dirty="0"/>
              <a:t> component</a:t>
            </a:r>
          </a:p>
          <a:p>
            <a:endParaRPr lang="en-US" dirty="0"/>
          </a:p>
        </p:txBody>
      </p:sp>
      <p:sp>
        <p:nvSpPr>
          <p:cNvPr id="5" name="Subtitle 4">
            <a:extLst>
              <a:ext uri="{FF2B5EF4-FFF2-40B4-BE49-F238E27FC236}">
                <a16:creationId xmlns:a16="http://schemas.microsoft.com/office/drawing/2014/main" id="{741084B5-7FA2-04EB-73B9-A7D332112F10}"/>
              </a:ext>
            </a:extLst>
          </p:cNvPr>
          <p:cNvSpPr>
            <a:spLocks noGrp="1"/>
          </p:cNvSpPr>
          <p:nvPr>
            <p:ph type="subTitle" idx="1"/>
          </p:nvPr>
        </p:nvSpPr>
        <p:spPr/>
        <p:txBody>
          <a:bodyPr/>
          <a:lstStyle/>
          <a:p>
            <a:r>
              <a:rPr lang="en-GB" sz="1800" dirty="0">
                <a:effectLst/>
                <a:latin typeface="Arial" panose="020B0604020202020204" pitchFamily="34" charset="0"/>
                <a:ea typeface="SimSun" panose="02010600030101010101" pitchFamily="2" charset="-122"/>
                <a:cs typeface="Times New Roman" panose="02020603050405020304" pitchFamily="18" charset="0"/>
              </a:rPr>
              <a:t>Performance over multipath channels with line-of-sight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LoS</a:t>
            </a:r>
            <a:r>
              <a:rPr lang="en-GB" sz="1800" dirty="0">
                <a:effectLst/>
                <a:latin typeface="Arial" panose="020B0604020202020204" pitchFamily="34" charset="0"/>
                <a:ea typeface="SimSun" panose="02010600030101010101" pitchFamily="2" charset="-122"/>
                <a:cs typeface="Times New Roman" panose="02020603050405020304" pitchFamily="18" charset="0"/>
              </a:rPr>
              <a:t>) paths, single receive antenna</a:t>
            </a:r>
            <a:endParaRPr lang="en-US" dirty="0"/>
          </a:p>
        </p:txBody>
      </p:sp>
      <p:pic>
        <p:nvPicPr>
          <p:cNvPr id="6" name="Picture 5" descr="A graph of a graph with numbers and lines&#10;&#10;Description automatically generated">
            <a:extLst>
              <a:ext uri="{FF2B5EF4-FFF2-40B4-BE49-F238E27FC236}">
                <a16:creationId xmlns:a16="http://schemas.microsoft.com/office/drawing/2014/main" id="{CF3B5CB6-F637-F81B-8838-52F6FE20172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40144" y="1676793"/>
            <a:ext cx="6291263" cy="4616082"/>
          </a:xfrm>
          <a:prstGeom prst="rect">
            <a:avLst/>
          </a:prstGeom>
          <a:noFill/>
          <a:ln>
            <a:noFill/>
          </a:ln>
        </p:spPr>
      </p:pic>
      <p:sp>
        <p:nvSpPr>
          <p:cNvPr id="9" name="Rectangle 8">
            <a:extLst>
              <a:ext uri="{FF2B5EF4-FFF2-40B4-BE49-F238E27FC236}">
                <a16:creationId xmlns:a16="http://schemas.microsoft.com/office/drawing/2014/main" id="{1C42A124-A5C8-1D96-6948-B51D4618951C}"/>
              </a:ext>
            </a:extLst>
          </p:cNvPr>
          <p:cNvSpPr/>
          <p:nvPr/>
        </p:nvSpPr>
        <p:spPr>
          <a:xfrm>
            <a:off x="9744867" y="129490"/>
            <a:ext cx="2286540" cy="926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Frequency Interleaver 0.5 dB</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46335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76314BE-8E7A-4436-6FAC-A7D696B03420}"/>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67C7DFD9-9B3D-9EA0-E9CA-AE77A3B9F4C3}"/>
              </a:ext>
            </a:extLst>
          </p:cNvPr>
          <p:cNvSpPr>
            <a:spLocks noGrp="1"/>
          </p:cNvSpPr>
          <p:nvPr>
            <p:ph type="title"/>
          </p:nvPr>
        </p:nvSpPr>
        <p:spPr>
          <a:xfrm>
            <a:off x="495300" y="565125"/>
            <a:ext cx="11187112" cy="439479"/>
          </a:xfrm>
        </p:spPr>
        <p:txBody>
          <a:bodyPr/>
          <a:lstStyle/>
          <a:p>
            <a:r>
              <a:rPr lang="de-DE" dirty="0"/>
              <a:t>Frequency &amp; Time Interleaver (2)</a:t>
            </a:r>
            <a:endParaRPr lang="en-US" dirty="0"/>
          </a:p>
        </p:txBody>
      </p:sp>
      <p:sp>
        <p:nvSpPr>
          <p:cNvPr id="4" name="Content Placeholder 3">
            <a:extLst>
              <a:ext uri="{FF2B5EF4-FFF2-40B4-BE49-F238E27FC236}">
                <a16:creationId xmlns:a16="http://schemas.microsoft.com/office/drawing/2014/main" id="{F347371B-FC2D-9B53-14B2-BEF558D79D3F}"/>
              </a:ext>
            </a:extLst>
          </p:cNvPr>
          <p:cNvSpPr>
            <a:spLocks noGrp="1"/>
          </p:cNvSpPr>
          <p:nvPr>
            <p:ph sz="quarter" idx="14"/>
          </p:nvPr>
        </p:nvSpPr>
        <p:spPr>
          <a:xfrm>
            <a:off x="495300" y="1719072"/>
            <a:ext cx="7028906" cy="4681727"/>
          </a:xfrm>
        </p:spPr>
        <p:txBody>
          <a:bodyPr>
            <a:normAutofit/>
          </a:bodyPr>
          <a:lstStyle/>
          <a:p>
            <a:r>
              <a:rPr lang="en-US" dirty="0"/>
              <a:t>Analyzing the performance difference between ATSC 3.0 and 5G Broadcast over a </a:t>
            </a:r>
            <a:r>
              <a:rPr lang="en-US" dirty="0" err="1"/>
              <a:t>NLoS</a:t>
            </a:r>
            <a:r>
              <a:rPr lang="en-US" dirty="0"/>
              <a:t> RL20 channel from [1]</a:t>
            </a:r>
          </a:p>
          <a:p>
            <a:r>
              <a:rPr lang="en-US" dirty="0"/>
              <a:t>ATSC 3.0 offers additional performance benefits, with additional 0.5 dB (on top of the 1.4 dB gap) </a:t>
            </a:r>
          </a:p>
          <a:p>
            <a:r>
              <a:rPr lang="en-US" dirty="0"/>
              <a:t>Gain from using a frequency </a:t>
            </a:r>
            <a:r>
              <a:rPr lang="en-US" dirty="0" err="1"/>
              <a:t>interleaver</a:t>
            </a:r>
            <a:r>
              <a:rPr lang="en-US" dirty="0"/>
              <a:t> (in a static setting) remains relatively small. </a:t>
            </a:r>
          </a:p>
          <a:p>
            <a:r>
              <a:rPr lang="en-US" dirty="0"/>
              <a:t>Larger gain for ATSC 3.0 in Svc2 since at very high data rate, as the 5G Broadcast standard requires two </a:t>
            </a:r>
            <a:r>
              <a:rPr lang="en-US" dirty="0" err="1"/>
              <a:t>codeblocks</a:t>
            </a:r>
            <a:r>
              <a:rPr lang="en-US" dirty="0"/>
              <a:t> instead of one</a:t>
            </a:r>
          </a:p>
          <a:p>
            <a:endParaRPr lang="en-US" dirty="0"/>
          </a:p>
        </p:txBody>
      </p:sp>
      <p:sp>
        <p:nvSpPr>
          <p:cNvPr id="5" name="Subtitle 4">
            <a:extLst>
              <a:ext uri="{FF2B5EF4-FFF2-40B4-BE49-F238E27FC236}">
                <a16:creationId xmlns:a16="http://schemas.microsoft.com/office/drawing/2014/main" id="{741084B5-7FA2-04EB-73B9-A7D332112F10}"/>
              </a:ext>
            </a:extLst>
          </p:cNvPr>
          <p:cNvSpPr>
            <a:spLocks noGrp="1"/>
          </p:cNvSpPr>
          <p:nvPr>
            <p:ph type="subTitle" idx="1"/>
          </p:nvPr>
        </p:nvSpPr>
        <p:spPr/>
        <p:txBody>
          <a:bodyPr/>
          <a:lstStyle/>
          <a:p>
            <a:r>
              <a:rPr lang="en-GB" sz="1800" dirty="0">
                <a:effectLst/>
                <a:latin typeface="Arial" panose="020B0604020202020204" pitchFamily="34" charset="0"/>
                <a:ea typeface="SimSun" panose="02010600030101010101" pitchFamily="2" charset="-122"/>
                <a:cs typeface="Times New Roman" panose="02020603050405020304" pitchFamily="18" charset="0"/>
              </a:rPr>
              <a:t>Non-line-of-sight multipath channels, single receive antenna</a:t>
            </a:r>
            <a:endParaRPr lang="en-US" dirty="0"/>
          </a:p>
        </p:txBody>
      </p:sp>
      <p:pic>
        <p:nvPicPr>
          <p:cNvPr id="7" name="Picture 6" descr="A picture containing text, diagram, font, line&#10;&#10;Description automatically generated">
            <a:extLst>
              <a:ext uri="{FF2B5EF4-FFF2-40B4-BE49-F238E27FC236}">
                <a16:creationId xmlns:a16="http://schemas.microsoft.com/office/drawing/2014/main" id="{BE4B397F-6893-4E48-2C49-54AED7E74E4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898532" y="0"/>
            <a:ext cx="4259783" cy="3375607"/>
          </a:xfrm>
          <a:prstGeom prst="rect">
            <a:avLst/>
          </a:prstGeom>
          <a:noFill/>
          <a:ln>
            <a:noFill/>
          </a:ln>
        </p:spPr>
      </p:pic>
      <p:pic>
        <p:nvPicPr>
          <p:cNvPr id="8" name="Picture 7" descr="A picture containing text, font, number, diagram&#10;&#10;Description automatically generated">
            <a:extLst>
              <a:ext uri="{FF2B5EF4-FFF2-40B4-BE49-F238E27FC236}">
                <a16:creationId xmlns:a16="http://schemas.microsoft.com/office/drawing/2014/main" id="{8530864C-4B77-5F9D-1FB2-414A43302F0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64849" y="3410304"/>
            <a:ext cx="4327151" cy="3429189"/>
          </a:xfrm>
          <a:prstGeom prst="rect">
            <a:avLst/>
          </a:prstGeom>
          <a:noFill/>
          <a:ln>
            <a:noFill/>
          </a:ln>
        </p:spPr>
      </p:pic>
      <p:sp>
        <p:nvSpPr>
          <p:cNvPr id="6" name="Rectangle 5">
            <a:extLst>
              <a:ext uri="{FF2B5EF4-FFF2-40B4-BE49-F238E27FC236}">
                <a16:creationId xmlns:a16="http://schemas.microsoft.com/office/drawing/2014/main" id="{1918CE74-D2CA-2B61-46D1-672740CCDD91}"/>
              </a:ext>
            </a:extLst>
          </p:cNvPr>
          <p:cNvSpPr/>
          <p:nvPr/>
        </p:nvSpPr>
        <p:spPr>
          <a:xfrm>
            <a:off x="9804754" y="209384"/>
            <a:ext cx="2286540" cy="926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Time Interleaver for static NLOS </a:t>
            </a:r>
            <a:br>
              <a:rPr lang="de-DE" dirty="0">
                <a:solidFill>
                  <a:schemeClr val="bg1"/>
                </a:solidFill>
                <a:latin typeface="Microsoft Sans Serif"/>
                <a:cs typeface="Microsoft Sans Serif" panose="020B0604020202020204" pitchFamily="34" charset="0"/>
              </a:rPr>
            </a:br>
            <a:r>
              <a:rPr lang="de-DE" dirty="0">
                <a:solidFill>
                  <a:schemeClr val="bg1"/>
                </a:solidFill>
                <a:latin typeface="Microsoft Sans Serif"/>
                <a:cs typeface="Microsoft Sans Serif" panose="020B0604020202020204" pitchFamily="34" charset="0"/>
              </a:rPr>
              <a:t>0.5-1 dB</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515534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E4FA90-0F64-5C24-ECAD-F02CA0B6079F}"/>
              </a:ext>
            </a:extLst>
          </p:cNvPr>
          <p:cNvSpPr>
            <a:spLocks noGrp="1"/>
          </p:cNvSpPr>
          <p:nvPr>
            <p:ph type="ftr" sz="quarter" idx="10"/>
          </p:nvPr>
        </p:nvSpPr>
        <p:spPr>
          <a:xfrm>
            <a:off x="495299" y="6532895"/>
            <a:ext cx="10489691" cy="118174"/>
          </a:xfrm>
        </p:spPr>
        <p:txBody>
          <a:bodyPr wrap="square" anchor="b">
            <a:normAutofit/>
          </a:bodyPr>
          <a:lstStyle/>
          <a:p>
            <a:r>
              <a:rPr lang="en-US"/>
              <a:t>IBC 2023</a:t>
            </a:r>
          </a:p>
        </p:txBody>
      </p:sp>
      <p:sp>
        <p:nvSpPr>
          <p:cNvPr id="3" name="Title 2">
            <a:extLst>
              <a:ext uri="{FF2B5EF4-FFF2-40B4-BE49-F238E27FC236}">
                <a16:creationId xmlns:a16="http://schemas.microsoft.com/office/drawing/2014/main" id="{B6B72285-22AD-737F-CB57-32437C83421A}"/>
              </a:ext>
            </a:extLst>
          </p:cNvPr>
          <p:cNvSpPr>
            <a:spLocks noGrp="1"/>
          </p:cNvSpPr>
          <p:nvPr>
            <p:ph type="title"/>
          </p:nvPr>
        </p:nvSpPr>
        <p:spPr>
          <a:xfrm>
            <a:off x="495300" y="549415"/>
            <a:ext cx="11187112" cy="455189"/>
          </a:xfrm>
        </p:spPr>
        <p:txBody>
          <a:bodyPr wrap="square" anchor="b">
            <a:normAutofit/>
          </a:bodyPr>
          <a:lstStyle/>
          <a:p>
            <a:r>
              <a:rPr lang="de-DE"/>
              <a:t>Receive Antennas for NLoS</a:t>
            </a:r>
            <a:endParaRPr lang="en-US" dirty="0"/>
          </a:p>
        </p:txBody>
      </p:sp>
      <p:sp>
        <p:nvSpPr>
          <p:cNvPr id="14" name="Content Placeholder 3">
            <a:extLst>
              <a:ext uri="{FF2B5EF4-FFF2-40B4-BE49-F238E27FC236}">
                <a16:creationId xmlns:a16="http://schemas.microsoft.com/office/drawing/2014/main" id="{8368EA2B-A3C0-FD2E-33E5-EE03F8FF6107}"/>
              </a:ext>
            </a:extLst>
          </p:cNvPr>
          <p:cNvSpPr>
            <a:spLocks noGrp="1"/>
          </p:cNvSpPr>
          <p:nvPr>
            <p:ph sz="quarter" idx="16"/>
          </p:nvPr>
        </p:nvSpPr>
        <p:spPr>
          <a:xfrm>
            <a:off x="495299" y="1719072"/>
            <a:ext cx="5466587" cy="4681727"/>
          </a:xfrm>
        </p:spPr>
        <p:txBody>
          <a:bodyPr/>
          <a:lstStyle/>
          <a:p>
            <a:r>
              <a:rPr lang="en-US" dirty="0"/>
              <a:t>2 Rx antennas are a basic feature in cellular modems</a:t>
            </a:r>
          </a:p>
          <a:p>
            <a:r>
              <a:rPr lang="en-US"/>
              <a:t>Harness</a:t>
            </a:r>
            <a:r>
              <a:rPr lang="en-US" dirty="0"/>
              <a:t> the spatial orders of diversity in a mobile environment, and result in a performance gap of 2 dB for 5G Broadcast, when compared against ATSC 3.0. </a:t>
            </a:r>
          </a:p>
          <a:p>
            <a:r>
              <a:rPr lang="en-US" dirty="0"/>
              <a:t>In low mobility, the time </a:t>
            </a:r>
            <a:r>
              <a:rPr lang="en-US" dirty="0" err="1"/>
              <a:t>interleaver</a:t>
            </a:r>
            <a:r>
              <a:rPr lang="en-US" dirty="0"/>
              <a:t> from ATSC provides additional gains of around 1dB</a:t>
            </a:r>
          </a:p>
        </p:txBody>
      </p:sp>
      <p:pic>
        <p:nvPicPr>
          <p:cNvPr id="6" name="Picture 5" descr="A graph of a graph with blue lines&#10;&#10;Description automatically generated">
            <a:extLst>
              <a:ext uri="{FF2B5EF4-FFF2-40B4-BE49-F238E27FC236}">
                <a16:creationId xmlns:a16="http://schemas.microsoft.com/office/drawing/2014/main" id="{91C24A59-90EF-B53E-4F1D-F84F5B21D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215825" y="1898940"/>
            <a:ext cx="5466587" cy="4321991"/>
          </a:xfrm>
          <a:prstGeom prst="rect">
            <a:avLst/>
          </a:prstGeom>
          <a:noFill/>
          <a:ln>
            <a:noFill/>
          </a:ln>
        </p:spPr>
      </p:pic>
      <p:sp>
        <p:nvSpPr>
          <p:cNvPr id="13" name="Subtitle 5">
            <a:extLst>
              <a:ext uri="{FF2B5EF4-FFF2-40B4-BE49-F238E27FC236}">
                <a16:creationId xmlns:a16="http://schemas.microsoft.com/office/drawing/2014/main" id="{6C0296D4-E8C7-3427-4200-D55F2234DCF3}"/>
              </a:ext>
            </a:extLst>
          </p:cNvPr>
          <p:cNvSpPr>
            <a:spLocks noGrp="1"/>
          </p:cNvSpPr>
          <p:nvPr>
            <p:ph type="subTitle" idx="1"/>
          </p:nvPr>
        </p:nvSpPr>
        <p:spPr>
          <a:xfrm>
            <a:off x="494189" y="1088136"/>
            <a:ext cx="11188223" cy="265907"/>
          </a:xfrm>
        </p:spPr>
        <p:txBody>
          <a:bodyPr/>
          <a:lstStyle/>
          <a:p>
            <a:r>
              <a:rPr lang="en-GB" sz="1800" i="1" dirty="0">
                <a:effectLst/>
                <a:latin typeface="Arial" panose="020B0604020202020204" pitchFamily="34" charset="0"/>
                <a:ea typeface="SimSun" panose="02010600030101010101" pitchFamily="2" charset="-122"/>
                <a:cs typeface="Times New Roman" panose="02020603050405020304" pitchFamily="18" charset="0"/>
              </a:rPr>
              <a:t>fading</a:t>
            </a:r>
            <a:r>
              <a:rPr lang="en-GB" sz="1800" dirty="0">
                <a:effectLst/>
                <a:latin typeface="Arial" panose="020B0604020202020204" pitchFamily="34" charset="0"/>
                <a:ea typeface="SimSun" panose="02010600030101010101" pitchFamily="2" charset="-122"/>
                <a:cs typeface="Times New Roman" panose="02020603050405020304" pitchFamily="18" charset="0"/>
              </a:rPr>
              <a:t>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NLoS</a:t>
            </a:r>
            <a:r>
              <a:rPr lang="en-GB" sz="1800" dirty="0">
                <a:effectLst/>
                <a:latin typeface="Arial" panose="020B0604020202020204" pitchFamily="34" charset="0"/>
                <a:ea typeface="SimSun" panose="02010600030101010101" pitchFamily="2" charset="-122"/>
                <a:cs typeface="Times New Roman" panose="02020603050405020304" pitchFamily="18" charset="0"/>
              </a:rPr>
              <a:t> channel, for a pedestrian UE (with a mobility of 3 kmph) in an urban environment [2]</a:t>
            </a:r>
            <a:endParaRPr lang="en-US" dirty="0"/>
          </a:p>
        </p:txBody>
      </p:sp>
      <p:sp>
        <p:nvSpPr>
          <p:cNvPr id="4" name="Rectangle 3">
            <a:extLst>
              <a:ext uri="{FF2B5EF4-FFF2-40B4-BE49-F238E27FC236}">
                <a16:creationId xmlns:a16="http://schemas.microsoft.com/office/drawing/2014/main" id="{B7FC040A-EC8C-6DD9-E2C6-475A1B8E8CEB}"/>
              </a:ext>
            </a:extLst>
          </p:cNvPr>
          <p:cNvSpPr/>
          <p:nvPr/>
        </p:nvSpPr>
        <p:spPr>
          <a:xfrm>
            <a:off x="9841720" y="77848"/>
            <a:ext cx="2286540" cy="926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Time Interleaver for 3km/h NLOS  1 dB</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1593592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E4FA90-0F64-5C24-ECAD-F02CA0B6079F}"/>
              </a:ext>
            </a:extLst>
          </p:cNvPr>
          <p:cNvSpPr>
            <a:spLocks noGrp="1"/>
          </p:cNvSpPr>
          <p:nvPr>
            <p:ph type="ftr" sz="quarter" idx="10"/>
          </p:nvPr>
        </p:nvSpPr>
        <p:spPr/>
        <p:txBody>
          <a:bodyPr wrap="square" anchor="b">
            <a:normAutofit lnSpcReduction="10000"/>
          </a:bodyPr>
          <a:lstStyle/>
          <a:p>
            <a:r>
              <a:rPr lang="en-US"/>
              <a:t>IBC 2023</a:t>
            </a:r>
          </a:p>
        </p:txBody>
      </p:sp>
      <p:sp>
        <p:nvSpPr>
          <p:cNvPr id="3" name="Title 2">
            <a:extLst>
              <a:ext uri="{FF2B5EF4-FFF2-40B4-BE49-F238E27FC236}">
                <a16:creationId xmlns:a16="http://schemas.microsoft.com/office/drawing/2014/main" id="{B6B72285-22AD-737F-CB57-32437C83421A}"/>
              </a:ext>
            </a:extLst>
          </p:cNvPr>
          <p:cNvSpPr>
            <a:spLocks noGrp="1"/>
          </p:cNvSpPr>
          <p:nvPr>
            <p:ph type="title"/>
          </p:nvPr>
        </p:nvSpPr>
        <p:spPr/>
        <p:txBody>
          <a:bodyPr wrap="square" anchor="b">
            <a:normAutofit fontScale="90000"/>
          </a:bodyPr>
          <a:lstStyle/>
          <a:p>
            <a:r>
              <a:rPr lang="de-DE" dirty="0"/>
              <a:t>Some Fundamentals of Cellular Modems </a:t>
            </a:r>
            <a:endParaRPr lang="en-US" dirty="0"/>
          </a:p>
        </p:txBody>
      </p:sp>
      <p:sp>
        <p:nvSpPr>
          <p:cNvPr id="14" name="Content Placeholder 3">
            <a:extLst>
              <a:ext uri="{FF2B5EF4-FFF2-40B4-BE49-F238E27FC236}">
                <a16:creationId xmlns:a16="http://schemas.microsoft.com/office/drawing/2014/main" id="{8368EA2B-A3C0-FD2E-33E5-EE03F8FF6107}"/>
              </a:ext>
            </a:extLst>
          </p:cNvPr>
          <p:cNvSpPr>
            <a:spLocks noGrp="1"/>
          </p:cNvSpPr>
          <p:nvPr>
            <p:ph sz="quarter" idx="14"/>
          </p:nvPr>
        </p:nvSpPr>
        <p:spPr/>
        <p:txBody>
          <a:bodyPr>
            <a:normAutofit fontScale="92500"/>
          </a:bodyPr>
          <a:lstStyle/>
          <a:p>
            <a:r>
              <a:rPr lang="en-US" dirty="0"/>
              <a:t>3GPP technologies are primarily designed for exploiting </a:t>
            </a:r>
            <a:r>
              <a:rPr lang="en-US" dirty="0">
                <a:solidFill>
                  <a:srgbClr val="F816D8"/>
                </a:solidFill>
              </a:rPr>
              <a:t>frequent and rapid feedback on the current channel state at each receiver</a:t>
            </a:r>
            <a:r>
              <a:rPr lang="en-US" dirty="0"/>
              <a:t> and then optimize the delivery exploiting time and frequency scheduling, adaptive coding and modulation, interference management, power allocation, spatial multiplexing using multiple antennas and other functionalities.</a:t>
            </a:r>
          </a:p>
          <a:p>
            <a:r>
              <a:rPr lang="en-US" dirty="0"/>
              <a:t>Hence, cellular modem hardware is built to process </a:t>
            </a:r>
            <a:r>
              <a:rPr lang="en-US" dirty="0">
                <a:solidFill>
                  <a:srgbClr val="F816D8"/>
                </a:solidFill>
              </a:rPr>
              <a:t>"one Transport Block in one slot"</a:t>
            </a:r>
            <a:r>
              <a:rPr lang="en-US" dirty="0"/>
              <a:t>, as a design principle to adapt and react to the above feedback. </a:t>
            </a:r>
          </a:p>
          <a:p>
            <a:r>
              <a:rPr lang="de-DE" dirty="0"/>
              <a:t>Hybrid ARQ is designed to provide additional redundancy for one transport block within another single slot in order to react to non-decodable transport blocks</a:t>
            </a:r>
          </a:p>
          <a:p>
            <a:r>
              <a:rPr lang="de-DE" dirty="0"/>
              <a:t>Any departure from the above design has significant impact on receiver implementation</a:t>
            </a:r>
          </a:p>
          <a:p>
            <a:pPr lvl="1"/>
            <a:r>
              <a:rPr lang="de-DE" dirty="0"/>
              <a:t>Cost of collecting LLRs for multiple transport blocks requires a large increase of on-chip memory</a:t>
            </a:r>
          </a:p>
          <a:p>
            <a:pPr lvl="1"/>
            <a:r>
              <a:rPr lang="de-DE" dirty="0"/>
              <a:t>A cellular modem only stores LLRs for a single transport block in the on-chip memory</a:t>
            </a:r>
          </a:p>
          <a:p>
            <a:pPr lvl="1"/>
            <a:r>
              <a:rPr lang="de-DE" dirty="0"/>
              <a:t>Huge change to the hardware implementation due to the scheduling of writing/reading to/from memory</a:t>
            </a:r>
          </a:p>
          <a:p>
            <a:pPr lvl="1"/>
            <a:r>
              <a:rPr lang="de-DE" dirty="0"/>
              <a:t>Area size is costly, moving data off and on chip is heavily impacting power consumption and and and </a:t>
            </a:r>
            <a:r>
              <a:rPr lang="de-DE" dirty="0">
                <a:sym typeface="Wingdings" panose="05000000000000000000" pitchFamily="2" charset="2"/>
              </a:rPr>
              <a:t> infeasible</a:t>
            </a:r>
            <a:endParaRPr lang="en-US" dirty="0"/>
          </a:p>
        </p:txBody>
      </p:sp>
      <p:sp>
        <p:nvSpPr>
          <p:cNvPr id="13" name="Subtitle 5">
            <a:extLst>
              <a:ext uri="{FF2B5EF4-FFF2-40B4-BE49-F238E27FC236}">
                <a16:creationId xmlns:a16="http://schemas.microsoft.com/office/drawing/2014/main" id="{6C0296D4-E8C7-3427-4200-D55F2234DCF3}"/>
              </a:ext>
            </a:extLst>
          </p:cNvPr>
          <p:cNvSpPr>
            <a:spLocks noGrp="1"/>
          </p:cNvSpPr>
          <p:nvPr>
            <p:ph type="subTitle" idx="1"/>
          </p:nvPr>
        </p:nvSpPr>
        <p:spPr>
          <a:xfrm>
            <a:off x="494189" y="1088135"/>
            <a:ext cx="11188223" cy="265907"/>
          </a:xfrm>
        </p:spPr>
        <p:txBody>
          <a:bodyPr/>
          <a:lstStyle/>
          <a:p>
            <a:r>
              <a:rPr lang="en-US" dirty="0"/>
              <a:t>For mobility and NLOS situations, the exploitation of time and frequency diversity is very essential</a:t>
            </a:r>
          </a:p>
        </p:txBody>
      </p:sp>
    </p:spTree>
    <p:extLst>
      <p:ext uri="{BB962C8B-B14F-4D97-AF65-F5344CB8AC3E}">
        <p14:creationId xmlns:p14="http://schemas.microsoft.com/office/powerpoint/2010/main" val="634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9DD38F-15E5-4926-9A6E-F50C71118940}"/>
              </a:ext>
            </a:extLst>
          </p:cNvPr>
          <p:cNvPicPr>
            <a:picLocks noChangeAspect="1"/>
          </p:cNvPicPr>
          <p:nvPr/>
        </p:nvPicPr>
        <p:blipFill>
          <a:blip r:embed="rId3"/>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D0A6C69-DC25-46B3-83FE-D668C146E2A2}"/>
              </a:ext>
            </a:extLst>
          </p:cNvPr>
          <p:cNvSpPr/>
          <p:nvPr/>
        </p:nvSpPr>
        <p:spPr>
          <a:xfrm>
            <a:off x="1" y="0"/>
            <a:ext cx="12191999" cy="6858000"/>
          </a:xfrm>
          <a:prstGeom prst="rect">
            <a:avLst/>
          </a:prstGeom>
          <a:gradFill>
            <a:gsLst>
              <a:gs pos="17000">
                <a:srgbClr val="151831">
                  <a:alpha val="70000"/>
                </a:srgbClr>
              </a:gs>
              <a:gs pos="36000">
                <a:srgbClr val="222346">
                  <a:alpha val="38824"/>
                </a:srgbClr>
              </a:gs>
              <a:gs pos="92000">
                <a:schemeClr val="bg1">
                  <a:alpha val="0"/>
                </a:schemeClr>
              </a:gs>
              <a:gs pos="58000">
                <a:srgbClr val="3B223E">
                  <a:alpha val="11765"/>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a:xfrm>
            <a:off x="3350218" y="366133"/>
            <a:ext cx="2608489"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September 15, 2023</a:t>
            </a:r>
          </a:p>
        </p:txBody>
      </p:sp>
      <p:sp>
        <p:nvSpPr>
          <p:cNvPr id="12"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a:xfrm>
            <a:off x="5958707" y="386990"/>
            <a:ext cx="3985393"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IBC 2023</a:t>
            </a:r>
          </a:p>
        </p:txBody>
      </p:sp>
      <p:sp>
        <p:nvSpPr>
          <p:cNvPr id="3" name="Title 2">
            <a:extLst>
              <a:ext uri="{FF2B5EF4-FFF2-40B4-BE49-F238E27FC236}">
                <a16:creationId xmlns:a16="http://schemas.microsoft.com/office/drawing/2014/main" id="{2584845F-75C2-415A-8317-9BE337A0A649}"/>
              </a:ext>
            </a:extLst>
          </p:cNvPr>
          <p:cNvSpPr>
            <a:spLocks noGrp="1"/>
          </p:cNvSpPr>
          <p:nvPr>
            <p:ph type="title"/>
          </p:nvPr>
        </p:nvSpPr>
        <p:spPr>
          <a:xfrm>
            <a:off x="431636" y="2288134"/>
            <a:ext cx="9352444" cy="1927964"/>
          </a:xfrm>
        </p:spPr>
        <p:txBody>
          <a:bodyPr/>
          <a:lstStyle/>
          <a:p>
            <a:r>
              <a:rPr lang="en-US" sz="7200" dirty="0"/>
              <a:t>5G Broadcast – Future TV+ for everyone</a:t>
            </a:r>
            <a:endParaRPr lang="en-US" sz="2400" dirty="0"/>
          </a:p>
        </p:txBody>
      </p:sp>
      <p:sp>
        <p:nvSpPr>
          <p:cNvPr id="16" name="Freeform 5">
            <a:extLst>
              <a:ext uri="{FF2B5EF4-FFF2-40B4-BE49-F238E27FC236}">
                <a16:creationId xmlns:a16="http://schemas.microsoft.com/office/drawing/2014/main" id="{06C7F0AE-140D-4634-92AC-2929EC1FBE2C}"/>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7" name="Text Placeholder 7">
            <a:extLst>
              <a:ext uri="{FF2B5EF4-FFF2-40B4-BE49-F238E27FC236}">
                <a16:creationId xmlns:a16="http://schemas.microsoft.com/office/drawing/2014/main" id="{BE281CEE-A427-9343-B066-3987258CBC3E}"/>
              </a:ext>
            </a:extLst>
          </p:cNvPr>
          <p:cNvSpPr txBox="1">
            <a:spLocks/>
          </p:cNvSpPr>
          <p:nvPr/>
        </p:nvSpPr>
        <p:spPr bwMode="black">
          <a:xfrm>
            <a:off x="9076177" y="366133"/>
            <a:ext cx="2620523" cy="443198"/>
          </a:xfrm>
          <a:prstGeom prst="rect">
            <a:avLst/>
          </a:prstGeom>
        </p:spPr>
        <p:txBody>
          <a:bodyPr vert="horz" wrap="square" lIns="0" tIns="0" rIns="0" bIns="0" rtlCol="0" anchor="b">
            <a:spAutoFit/>
          </a:bodyPr>
          <a:lstStyle>
            <a:lvl1pPr marL="0" marR="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kern="1200" baseline="0">
                <a:solidFill>
                  <a:schemeClr val="bg1"/>
                </a:solidFill>
                <a:latin typeface="+mn-lt"/>
                <a:ea typeface="+mn-ea"/>
                <a:cs typeface="+mn-cs"/>
              </a:defRPr>
            </a:lvl1pPr>
            <a:lvl2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baseline="0">
                <a:solidFill>
                  <a:schemeClr val="bg1"/>
                </a:solidFill>
                <a:latin typeface="+mn-lt"/>
                <a:ea typeface="+mn-ea"/>
                <a:cs typeface="+mn-cs"/>
              </a:defRPr>
            </a:lvl2pPr>
            <a:lvl3pPr marL="0" indent="0" algn="r" defTabSz="914400" rtl="0" eaLnBrk="1" latinLnBrk="0" hangingPunct="1">
              <a:lnSpc>
                <a:spcPct val="90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a:solidFill>
                  <a:schemeClr val="bg1"/>
                </a:solidFill>
                <a:latin typeface="+mn-lt"/>
                <a:ea typeface="+mn-ea"/>
                <a:cs typeface="+mn-cs"/>
              </a:defRPr>
            </a:lvl4pPr>
            <a:lvl5pPr marL="0" indent="0" algn="r" defTabSz="914400" rtl="0" eaLnBrk="1" latinLnBrk="0" hangingPunct="1">
              <a:lnSpc>
                <a:spcPct val="90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r>
              <a:rPr kumimoji="0" lang="en-US" sz="1600" b="1" i="0" u="none" strike="noStrike" kern="1200" cap="none" spc="0" normalizeH="0" baseline="0" noProof="0">
                <a:ln>
                  <a:noFill/>
                </a:ln>
                <a:solidFill>
                  <a:srgbClr val="F7F8FA"/>
                </a:solidFill>
                <a:effectLst/>
                <a:uLnTx/>
                <a:uFillTx/>
                <a:latin typeface="Microsoft Sans Serif"/>
                <a:ea typeface="+mn-ea"/>
                <a:cs typeface="+mn-cs"/>
              </a:rPr>
              <a:t>@</a:t>
            </a:r>
            <a:r>
              <a:rPr kumimoji="0" lang="en-US" sz="1600" b="1" i="0" u="none" strike="noStrike" kern="1200" cap="none" spc="0" normalizeH="0" baseline="0" noProof="0" err="1">
                <a:ln>
                  <a:noFill/>
                </a:ln>
                <a:solidFill>
                  <a:srgbClr val="F7F8FA"/>
                </a:solidFill>
                <a:effectLst/>
                <a:uLnTx/>
                <a:uFillTx/>
                <a:latin typeface="Microsoft Sans Serif"/>
                <a:ea typeface="+mn-ea"/>
                <a:cs typeface="+mn-cs"/>
              </a:rPr>
              <a:t>qualcomm</a:t>
            </a:r>
            <a:r>
              <a:rPr kumimoji="0" lang="en-US" sz="1600" b="1" i="0" u="none" strike="noStrike" kern="1200" cap="none" spc="0" normalizeH="0" baseline="0" noProof="0">
                <a:ln>
                  <a:noFill/>
                </a:ln>
                <a:solidFill>
                  <a:srgbClr val="F7F8FA"/>
                </a:solidFill>
                <a:effectLst/>
                <a:uLnTx/>
                <a:uFillTx/>
                <a:latin typeface="Microsoft Sans Serif"/>
                <a:ea typeface="+mn-ea"/>
                <a:cs typeface="+mn-cs"/>
              </a:rPr>
              <a:t>_tech</a:t>
            </a:r>
          </a:p>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endParaRPr kumimoji="0" lang="en-US" sz="1600" b="1"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0" name="Text Placeholder 7">
            <a:extLst>
              <a:ext uri="{FF2B5EF4-FFF2-40B4-BE49-F238E27FC236}">
                <a16:creationId xmlns:a16="http://schemas.microsoft.com/office/drawing/2014/main" id="{6DA8A551-B5C8-40AD-8A71-D58C6F83DACC}"/>
              </a:ext>
            </a:extLst>
          </p:cNvPr>
          <p:cNvSpPr>
            <a:spLocks noGrp="1"/>
          </p:cNvSpPr>
          <p:nvPr>
            <p:ph type="body" sz="quarter" idx="10"/>
          </p:nvPr>
        </p:nvSpPr>
        <p:spPr>
          <a:xfrm>
            <a:off x="495299" y="4944712"/>
            <a:ext cx="8580878" cy="1342830"/>
          </a:xfrm>
        </p:spPr>
        <p:txBody>
          <a:bodyPr/>
          <a:lstStyle/>
          <a:p>
            <a:r>
              <a:rPr lang="en-US" dirty="0"/>
              <a:t>Dr. Thomas Stockhammer</a:t>
            </a:r>
          </a:p>
          <a:p>
            <a:r>
              <a:rPr lang="en-US" dirty="0"/>
              <a:t>Senior Director Technical Standards</a:t>
            </a:r>
          </a:p>
          <a:p>
            <a:r>
              <a:rPr lang="en-US" dirty="0"/>
              <a:t>Qualcomm Technologies</a:t>
            </a:r>
          </a:p>
        </p:txBody>
      </p:sp>
    </p:spTree>
    <p:extLst>
      <p:ext uri="{BB962C8B-B14F-4D97-AF65-F5344CB8AC3E}">
        <p14:creationId xmlns:p14="http://schemas.microsoft.com/office/powerpoint/2010/main" val="161258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E4FA90-0F64-5C24-ECAD-F02CA0B6079F}"/>
              </a:ext>
            </a:extLst>
          </p:cNvPr>
          <p:cNvSpPr>
            <a:spLocks noGrp="1"/>
          </p:cNvSpPr>
          <p:nvPr>
            <p:ph type="ftr" sz="quarter" idx="10"/>
          </p:nvPr>
        </p:nvSpPr>
        <p:spPr/>
        <p:txBody>
          <a:bodyPr wrap="square" anchor="b">
            <a:normAutofit lnSpcReduction="10000"/>
          </a:bodyPr>
          <a:lstStyle/>
          <a:p>
            <a:r>
              <a:rPr lang="en-US"/>
              <a:t>IBC 2023</a:t>
            </a:r>
          </a:p>
        </p:txBody>
      </p:sp>
      <p:sp>
        <p:nvSpPr>
          <p:cNvPr id="3" name="Title 2">
            <a:extLst>
              <a:ext uri="{FF2B5EF4-FFF2-40B4-BE49-F238E27FC236}">
                <a16:creationId xmlns:a16="http://schemas.microsoft.com/office/drawing/2014/main" id="{B6B72285-22AD-737F-CB57-32437C83421A}"/>
              </a:ext>
            </a:extLst>
          </p:cNvPr>
          <p:cNvSpPr>
            <a:spLocks noGrp="1"/>
          </p:cNvSpPr>
          <p:nvPr>
            <p:ph type="title"/>
          </p:nvPr>
        </p:nvSpPr>
        <p:spPr/>
        <p:txBody>
          <a:bodyPr wrap="square" anchor="b">
            <a:normAutofit fontScale="90000"/>
          </a:bodyPr>
          <a:lstStyle/>
          <a:p>
            <a:r>
              <a:rPr lang="de-DE" dirty="0"/>
              <a:t>Interleaving – Facts, Challenges and Opportunities</a:t>
            </a:r>
            <a:endParaRPr lang="en-US" dirty="0"/>
          </a:p>
        </p:txBody>
      </p:sp>
      <mc:AlternateContent xmlns:mc="http://schemas.openxmlformats.org/markup-compatibility/2006">
        <mc:Choice xmlns:a14="http://schemas.microsoft.com/office/drawing/2010/main" Requires="a14">
          <p:sp>
            <p:nvSpPr>
              <p:cNvPr id="14" name="Content Placeholder 3">
                <a:extLst>
                  <a:ext uri="{FF2B5EF4-FFF2-40B4-BE49-F238E27FC236}">
                    <a16:creationId xmlns:a16="http://schemas.microsoft.com/office/drawing/2014/main" id="{8368EA2B-A3C0-FD2E-33E5-EE03F8FF6107}"/>
                  </a:ext>
                </a:extLst>
              </p:cNvPr>
              <p:cNvSpPr>
                <a:spLocks noGrp="1"/>
              </p:cNvSpPr>
              <p:nvPr>
                <p:ph sz="quarter" idx="14"/>
              </p:nvPr>
            </p:nvSpPr>
            <p:spPr/>
            <p:txBody>
              <a:bodyPr>
                <a:normAutofit lnSpcReduction="10000"/>
              </a:bodyPr>
              <a:lstStyle/>
              <a:p>
                <a:r>
                  <a:rPr lang="en-US" dirty="0"/>
                  <a:t>MBMS uses </a:t>
                </a:r>
                <a:r>
                  <a:rPr lang="en-US" dirty="0">
                    <a:solidFill>
                      <a:srgbClr val="F816D8"/>
                    </a:solidFill>
                  </a:rPr>
                  <a:t>Application Layer</a:t>
                </a:r>
                <a:r>
                  <a:rPr lang="en-US" dirty="0"/>
                  <a:t> FEC and Unicast Repair to address time diversity.</a:t>
                </a:r>
              </a:p>
              <a:p>
                <a:pPr lvl="1"/>
                <a:r>
                  <a:rPr lang="en-US" dirty="0"/>
                  <a:t>Application Layer FEC works very well for the purpose of file casting with spreading over a long-time frame</a:t>
                </a:r>
              </a:p>
              <a:p>
                <a:pPr lvl="2"/>
                <a:r>
                  <a:rPr lang="en-US" sz="1300" dirty="0"/>
                  <a:t>M. Luby, T. </a:t>
                </a:r>
                <a:r>
                  <a:rPr lang="en-US" sz="1300" dirty="0" err="1"/>
                  <a:t>Gasiba</a:t>
                </a:r>
                <a:r>
                  <a:rPr lang="en-US" sz="1300" dirty="0"/>
                  <a:t>, T. Stockhammer and M. Watson, "Reliable Multimedia Download Delivery in Cellular Broadcast Networks," in IEEE Transactions on Broadcasting, vol. 53, no. 1, pp. 235-246, March 2007, </a:t>
                </a:r>
                <a:r>
                  <a:rPr lang="en-US" sz="1300" dirty="0" err="1"/>
                  <a:t>doi</a:t>
                </a:r>
                <a:r>
                  <a:rPr lang="en-US" sz="1300" dirty="0"/>
                  <a:t>: 10.1109/TBC.2007.891703</a:t>
                </a:r>
              </a:p>
              <a:p>
                <a:pPr lvl="1"/>
                <a:r>
                  <a:rPr lang="en-US" dirty="0"/>
                  <a:t>Application Layer FEC has its limits when it comes to below 1 second latencies (see 3GPP TR 26.881)</a:t>
                </a:r>
              </a:p>
              <a:p>
                <a:pPr lvl="2"/>
                <a:r>
                  <a:rPr lang="en-US" sz="1300" dirty="0"/>
                  <a:t>It is recommended for that </a:t>
                </a:r>
              </a:p>
              <a:p>
                <a:pPr marL="864108" lvl="3" indent="-342900">
                  <a:buFont typeface="+mj-lt"/>
                  <a:buAutoNum type="arabicPeriod"/>
                </a:pPr>
                <a:r>
                  <a:rPr lang="en-US" sz="1300" dirty="0"/>
                  <a:t>For low-delay applications, with latencies of at most 1 second, should be supported by well-dimensioned physical layer FEC</a:t>
                </a:r>
              </a:p>
              <a:p>
                <a:pPr marL="864108" lvl="3" indent="-342900">
                  <a:buFont typeface="+mj-lt"/>
                  <a:buAutoNum type="arabicPeriod"/>
                </a:pPr>
                <a:r>
                  <a:rPr lang="en-US" sz="1300" dirty="0"/>
                  <a:t>for latencies in the range of a few seconds or more the technology in TS26.346 for AL-FEC is applicable as it has been chosen by 3GPP. The FEC framework was designed for latencies in the range of several seconds and therefore applies also to those cases. </a:t>
                </a:r>
                <a:endParaRPr lang="en-US" sz="1500" dirty="0"/>
              </a:p>
              <a:p>
                <a:pPr lvl="1"/>
                <a:r>
                  <a:rPr lang="en-US" dirty="0"/>
                  <a:t>Application Layer FEC and Unicast Repair is obviously available in 5G Broadcast and can be exploited.</a:t>
                </a:r>
              </a:p>
              <a:p>
                <a:r>
                  <a:rPr lang="en-US" dirty="0"/>
                  <a:t>What about physical layer interleaving in 3GPP Systems?</a:t>
                </a:r>
              </a:p>
              <a:p>
                <a:pPr lvl="1"/>
                <a:r>
                  <a:rPr lang="en-GB" dirty="0"/>
                  <a:t>Harnessing time diversity for 5G Broadcast was first proposed in 3GPP by EBU/IRT/BBC (R1-1911355), where it was pointed out that physical-layer time interleaving provides performance benefits - especially for high-mobility use cases. </a:t>
                </a:r>
              </a:p>
              <a:p>
                <a:pPr lvl="1"/>
                <a:r>
                  <a:rPr lang="en-GB" dirty="0"/>
                  <a:t>However, the solution proposed in R1-1911355 would require anywhere between a </a:t>
                </a:r>
                <a14:m>
                  <m:oMath xmlns:m="http://schemas.openxmlformats.org/officeDocument/2006/math">
                    <m:r>
                      <a:rPr lang="en-GB"/>
                      <m:t>13</m:t>
                    </m:r>
                  </m:oMath>
                </a14:m>
                <a:r>
                  <a:rPr lang="en-GB" dirty="0"/>
                  <a:t>x to </a:t>
                </a:r>
                <a14:m>
                  <m:oMath xmlns:m="http://schemas.openxmlformats.org/officeDocument/2006/math">
                    <m:r>
                      <a:rPr lang="en-GB"/>
                      <m:t>39</m:t>
                    </m:r>
                  </m:oMath>
                </a14:m>
                <a:r>
                  <a:rPr lang="en-GB" dirty="0"/>
                  <a:t>x increase in the LLR buffer memory of the receiver. </a:t>
                </a:r>
              </a:p>
              <a:p>
                <a:pPr lvl="1"/>
                <a:r>
                  <a:rPr lang="en-US" dirty="0"/>
                  <a:t>Due to the design principle "mixing multiple Transport Blocks into a single slot" it was considered infeasible</a:t>
                </a:r>
              </a:p>
              <a:p>
                <a:r>
                  <a:rPr lang="en-US" dirty="0"/>
                  <a:t>Can we create a modem-friendly time and frequency interleaving?</a:t>
                </a:r>
              </a:p>
            </p:txBody>
          </p:sp>
        </mc:Choice>
        <mc:Fallback>
          <p:sp>
            <p:nvSpPr>
              <p:cNvPr id="14" name="Content Placeholder 3">
                <a:extLst>
                  <a:ext uri="{FF2B5EF4-FFF2-40B4-BE49-F238E27FC236}">
                    <a16:creationId xmlns:a16="http://schemas.microsoft.com/office/drawing/2014/main" id="{8368EA2B-A3C0-FD2E-33E5-EE03F8FF6107}"/>
                  </a:ext>
                </a:extLst>
              </p:cNvPr>
              <p:cNvSpPr>
                <a:spLocks noGrp="1" noRot="1" noChangeAspect="1" noMove="1" noResize="1" noEditPoints="1" noAdjustHandles="1" noChangeArrowheads="1" noChangeShapeType="1" noTextEdit="1"/>
              </p:cNvSpPr>
              <p:nvPr>
                <p:ph sz="quarter" idx="14"/>
              </p:nvPr>
            </p:nvSpPr>
            <p:spPr>
              <a:blipFill>
                <a:blip r:embed="rId2"/>
                <a:stretch>
                  <a:fillRect l="-1526" t="-2214" r="-1199"/>
                </a:stretch>
              </a:blipFill>
            </p:spPr>
            <p:txBody>
              <a:bodyPr/>
              <a:lstStyle/>
              <a:p>
                <a:r>
                  <a:rPr lang="en-US">
                    <a:noFill/>
                  </a:rPr>
                  <a:t> </a:t>
                </a:r>
              </a:p>
            </p:txBody>
          </p:sp>
        </mc:Fallback>
      </mc:AlternateContent>
      <p:sp>
        <p:nvSpPr>
          <p:cNvPr id="13" name="Subtitle 5">
            <a:extLst>
              <a:ext uri="{FF2B5EF4-FFF2-40B4-BE49-F238E27FC236}">
                <a16:creationId xmlns:a16="http://schemas.microsoft.com/office/drawing/2014/main" id="{6C0296D4-E8C7-3427-4200-D55F2234DCF3}"/>
              </a:ext>
            </a:extLst>
          </p:cNvPr>
          <p:cNvSpPr>
            <a:spLocks noGrp="1"/>
          </p:cNvSpPr>
          <p:nvPr>
            <p:ph type="subTitle" idx="1"/>
          </p:nvPr>
        </p:nvSpPr>
        <p:spPr>
          <a:xfrm>
            <a:off x="494189" y="1088135"/>
            <a:ext cx="11188223" cy="265907"/>
          </a:xfrm>
        </p:spPr>
        <p:txBody>
          <a:bodyPr/>
          <a:lstStyle/>
          <a:p>
            <a:r>
              <a:rPr lang="en-US" dirty="0"/>
              <a:t>How to handle time and frequency diversity exploitation in case of the absence of a feedback channel</a:t>
            </a:r>
          </a:p>
        </p:txBody>
      </p:sp>
    </p:spTree>
    <p:extLst>
      <p:ext uri="{BB962C8B-B14F-4D97-AF65-F5344CB8AC3E}">
        <p14:creationId xmlns:p14="http://schemas.microsoft.com/office/powerpoint/2010/main" val="36100221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4D0B337-CD4F-17E4-9B85-120CEE2ACB35}"/>
              </a:ext>
            </a:extLst>
          </p:cNvPr>
          <p:cNvSpPr>
            <a:spLocks noGrp="1"/>
          </p:cNvSpPr>
          <p:nvPr>
            <p:ph type="ftr" sz="quarter" idx="10"/>
          </p:nvPr>
        </p:nvSpPr>
        <p:spPr/>
        <p:txBody>
          <a:bodyPr/>
          <a:lstStyle/>
          <a:p>
            <a:r>
              <a:rPr lang="en-US"/>
              <a:t>IBC 2023</a:t>
            </a:r>
          </a:p>
        </p:txBody>
      </p:sp>
      <p:sp>
        <p:nvSpPr>
          <p:cNvPr id="3" name="Title 2">
            <a:extLst>
              <a:ext uri="{FF2B5EF4-FFF2-40B4-BE49-F238E27FC236}">
                <a16:creationId xmlns:a16="http://schemas.microsoft.com/office/drawing/2014/main" id="{86CF7AF8-87E5-2E72-824A-DF6929063CCA}"/>
              </a:ext>
            </a:extLst>
          </p:cNvPr>
          <p:cNvSpPr>
            <a:spLocks noGrp="1"/>
          </p:cNvSpPr>
          <p:nvPr>
            <p:ph type="title"/>
          </p:nvPr>
        </p:nvSpPr>
        <p:spPr>
          <a:xfrm>
            <a:off x="495300" y="565125"/>
            <a:ext cx="11187112" cy="439479"/>
          </a:xfrm>
        </p:spPr>
        <p:txBody>
          <a:bodyPr/>
          <a:lstStyle/>
          <a:p>
            <a:r>
              <a:rPr lang="en-US" dirty="0"/>
              <a:t>Time Interleaving </a:t>
            </a:r>
            <a:r>
              <a:rPr lang="en-US" b="1" dirty="0">
                <a:solidFill>
                  <a:srgbClr val="00B050"/>
                </a:solidFill>
              </a:rPr>
              <a:t>proposal</a:t>
            </a:r>
            <a:r>
              <a:rPr lang="en-US" dirty="0"/>
              <a:t>: </a:t>
            </a:r>
            <a:r>
              <a:rPr lang="en-US" dirty="0">
                <a:solidFill>
                  <a:schemeClr val="bg2"/>
                </a:solidFill>
              </a:rPr>
              <a:t>3GPP modem-friendly designs</a:t>
            </a:r>
          </a:p>
        </p:txBody>
      </p:sp>
      <mc:AlternateContent xmlns:mc="http://schemas.openxmlformats.org/markup-compatibility/2006">
        <mc:Choice xmlns:a14="http://schemas.microsoft.com/office/drawing/2010/main" Requires="a14">
          <p:sp>
            <p:nvSpPr>
              <p:cNvPr id="4" name="Content Placeholder 3">
                <a:extLst>
                  <a:ext uri="{FF2B5EF4-FFF2-40B4-BE49-F238E27FC236}">
                    <a16:creationId xmlns:a16="http://schemas.microsoft.com/office/drawing/2014/main" id="{95D6056D-52AD-329C-CD1E-C03E9F9F3C15}"/>
                  </a:ext>
                </a:extLst>
              </p:cNvPr>
              <p:cNvSpPr>
                <a:spLocks noGrp="1"/>
              </p:cNvSpPr>
              <p:nvPr>
                <p:ph sz="quarter" idx="14"/>
              </p:nvPr>
            </p:nvSpPr>
            <p:spPr>
              <a:xfrm>
                <a:off x="495300" y="1719072"/>
                <a:ext cx="11187112" cy="3118741"/>
              </a:xfrm>
            </p:spPr>
            <p:txBody>
              <a:bodyPr>
                <a:normAutofit/>
              </a:bodyPr>
              <a:lstStyle/>
              <a:p>
                <a:pPr marL="182880" marR="0" indent="-182880">
                  <a:spcBef>
                    <a:spcPts val="0"/>
                  </a:spcBef>
                  <a:spcAft>
                    <a:spcPts val="600"/>
                  </a:spcAft>
                </a:pPr>
                <a:r>
                  <a:rPr lang="en-GB" sz="1600" dirty="0"/>
                  <a:t>Objective: Design that provides time-diversity </a:t>
                </a:r>
                <a:r>
                  <a:rPr lang="en-GB" sz="1600" dirty="0">
                    <a:solidFill>
                      <a:srgbClr val="F816D8"/>
                    </a:solidFill>
                  </a:rPr>
                  <a:t>without increasing the LLR buffer memory </a:t>
                </a:r>
                <a:r>
                  <a:rPr lang="en-GB" sz="1600" dirty="0"/>
                  <a:t>at the receiver. </a:t>
                </a:r>
              </a:p>
              <a:p>
                <a:pPr marL="182880" marR="0" indent="-182880">
                  <a:spcBef>
                    <a:spcPts val="0"/>
                  </a:spcBef>
                  <a:spcAft>
                    <a:spcPts val="600"/>
                  </a:spcAft>
                </a:pPr>
                <a:r>
                  <a:rPr lang="en-GB" sz="1600" dirty="0"/>
                  <a:t>Basic Approach: Reuse of the </a:t>
                </a:r>
                <a:r>
                  <a:rPr lang="en-GB" sz="1600" dirty="0">
                    <a:solidFill>
                      <a:srgbClr val="F816D8"/>
                    </a:solidFill>
                  </a:rPr>
                  <a:t>3GPP building block behind HARQ retransmissions </a:t>
                </a:r>
                <a:r>
                  <a:rPr lang="en-GB" sz="1600" dirty="0"/>
                  <a:t>and combining, which allows to spread the coded bits of a transport block (TB) across multiple non-consecutive slots/subframes. </a:t>
                </a:r>
              </a:p>
              <a:p>
                <a:pPr marL="182880" marR="0" indent="-182880">
                  <a:spcBef>
                    <a:spcPts val="0"/>
                  </a:spcBef>
                  <a:spcAft>
                    <a:spcPts val="600"/>
                  </a:spcAft>
                </a:pPr>
                <a:r>
                  <a:rPr lang="en-GB" sz="1600" dirty="0"/>
                  <a:t>Details: </a:t>
                </a:r>
              </a:p>
              <a:p>
                <a:pPr marL="402336" lvl="1" indent="-182880">
                  <a:spcAft>
                    <a:spcPts val="600"/>
                  </a:spcAft>
                </a:pPr>
                <a:r>
                  <a:rPr lang="en-GB" sz="1050" dirty="0"/>
                  <a:t>TB size is scaled by </a:t>
                </a:r>
                <a14:m>
                  <m:oMath xmlns:m="http://schemas.openxmlformats.org/officeDocument/2006/math">
                    <m:r>
                      <a:rPr lang="en-GB" sz="1050"/>
                      <m:t>𝑛</m:t>
                    </m:r>
                  </m:oMath>
                </a14:m>
                <a:r>
                  <a:rPr lang="en-GB" sz="1050" dirty="0"/>
                  <a:t>—the number of redundancy versions (RVs) used for each TB. </a:t>
                </a:r>
              </a:p>
              <a:p>
                <a:pPr marL="402336" lvl="1" indent="-182880">
                  <a:spcAft>
                    <a:spcPts val="600"/>
                  </a:spcAft>
                </a:pPr>
                <a:r>
                  <a:rPr lang="en-GB" sz="1050" dirty="0"/>
                  <a:t>The “</a:t>
                </a:r>
                <a:r>
                  <a:rPr lang="en-GB" sz="1050" dirty="0">
                    <a:solidFill>
                      <a:srgbClr val="F816D8"/>
                    </a:solidFill>
                  </a:rPr>
                  <a:t>HARQ memory</a:t>
                </a:r>
                <a:r>
                  <a:rPr lang="en-GB" sz="1050" dirty="0"/>
                  <a:t>” is used to store the LLRs corresponding to each RV and decode after all </a:t>
                </a:r>
                <a14:m>
                  <m:oMath xmlns:m="http://schemas.openxmlformats.org/officeDocument/2006/math">
                    <m:r>
                      <a:rPr lang="en-GB" sz="1050"/>
                      <m:t>𝑛</m:t>
                    </m:r>
                  </m:oMath>
                </a14:m>
                <a:r>
                  <a:rPr lang="en-GB" sz="1050" dirty="0"/>
                  <a:t> RVs for a TB have been received.</a:t>
                </a:r>
              </a:p>
              <a:p>
                <a:pPr marL="402336" lvl="1" indent="-182880">
                  <a:spcAft>
                    <a:spcPts val="600"/>
                  </a:spcAft>
                </a:pPr>
                <a:r>
                  <a:rPr lang="en-GB" sz="1050" dirty="0"/>
                  <a:t>Each RV spans a </a:t>
                </a:r>
                <a:r>
                  <a:rPr lang="en-GB" sz="1050" dirty="0">
                    <a:solidFill>
                      <a:srgbClr val="F816D8"/>
                    </a:solidFill>
                  </a:rPr>
                  <a:t>single</a:t>
                </a:r>
                <a:r>
                  <a:rPr lang="en-GB" sz="1050" dirty="0"/>
                  <a:t> slot/subframe, and each TB is </a:t>
                </a:r>
                <a:r>
                  <a:rPr lang="en-GB" sz="1050" dirty="0">
                    <a:solidFill>
                      <a:srgbClr val="F816D8"/>
                    </a:solidFill>
                  </a:rPr>
                  <a:t>transmitted over </a:t>
                </a:r>
                <a14:m>
                  <m:oMath xmlns:m="http://schemas.openxmlformats.org/officeDocument/2006/math">
                    <m:r>
                      <a:rPr lang="en-GB" sz="1050">
                        <a:solidFill>
                          <a:srgbClr val="F816D8"/>
                        </a:solidFill>
                      </a:rPr>
                      <m:t>𝑛</m:t>
                    </m:r>
                  </m:oMath>
                </a14:m>
                <a:r>
                  <a:rPr lang="en-GB" sz="1050" dirty="0">
                    <a:solidFill>
                      <a:srgbClr val="F816D8"/>
                    </a:solidFill>
                  </a:rPr>
                  <a:t> occasions</a:t>
                </a:r>
                <a:r>
                  <a:rPr lang="en-GB" sz="1050" dirty="0"/>
                  <a:t>, with </a:t>
                </a:r>
                <a:r>
                  <a:rPr lang="en-GB" sz="1050" dirty="0">
                    <a:solidFill>
                      <a:srgbClr val="F816D8"/>
                    </a:solidFill>
                  </a:rPr>
                  <a:t>separation of </a:t>
                </a:r>
                <a14:m>
                  <m:oMath xmlns:m="http://schemas.openxmlformats.org/officeDocument/2006/math">
                    <m:r>
                      <a:rPr lang="en-GB" sz="1050">
                        <a:solidFill>
                          <a:srgbClr val="F816D8"/>
                        </a:solidFill>
                      </a:rPr>
                      <m:t>𝑚</m:t>
                    </m:r>
                  </m:oMath>
                </a14:m>
                <a:r>
                  <a:rPr lang="en-GB" sz="1050" dirty="0">
                    <a:solidFill>
                      <a:srgbClr val="F816D8"/>
                    </a:solidFill>
                  </a:rPr>
                  <a:t> slots </a:t>
                </a:r>
                <a:r>
                  <a:rPr lang="en-GB" sz="1050" dirty="0"/>
                  <a:t>between each transmission.</a:t>
                </a:r>
                <a:endParaRPr lang="en-US" sz="1050" dirty="0"/>
              </a:p>
              <a:p>
                <a:pPr marL="182880" indent="-182880">
                  <a:spcBef>
                    <a:spcPts val="0"/>
                  </a:spcBef>
                  <a:spcAft>
                    <a:spcPts val="600"/>
                  </a:spcAft>
                </a:pPr>
                <a:r>
                  <a:rPr lang="en-GB" sz="1600" dirty="0"/>
                  <a:t>Following two HARQ techniques at the receiver are re-used to build the time </a:t>
                </a:r>
                <a:r>
                  <a:rPr lang="en-GB" sz="1600" dirty="0" err="1"/>
                  <a:t>interleaver</a:t>
                </a:r>
                <a:endParaRPr lang="en-US" sz="1600" dirty="0"/>
              </a:p>
              <a:p>
                <a:pPr marL="562356" lvl="1" indent="-342900">
                  <a:spcAft>
                    <a:spcPts val="600"/>
                  </a:spcAft>
                  <a:buFont typeface="+mj-lt"/>
                  <a:buAutoNum type="arabicPeriod"/>
                </a:pPr>
                <a:r>
                  <a:rPr lang="en-US" sz="1100" dirty="0"/>
                  <a:t>At a given (TTI), the modem is only required to process reception from a </a:t>
                </a:r>
                <a:r>
                  <a:rPr lang="en-US" sz="1100" dirty="0">
                    <a:solidFill>
                      <a:srgbClr val="F816D8"/>
                    </a:solidFill>
                  </a:rPr>
                  <a:t>single</a:t>
                </a:r>
                <a:r>
                  <a:rPr lang="en-US" sz="1100" dirty="0"/>
                  <a:t> TB. The ordering of coded bits within one TTI is the same as in current cellular systems.</a:t>
                </a:r>
              </a:p>
              <a:p>
                <a:pPr marL="562356" lvl="1" indent="-342900">
                  <a:spcAft>
                    <a:spcPts val="600"/>
                  </a:spcAft>
                  <a:buFont typeface="+mj-lt"/>
                  <a:buAutoNum type="arabicPeriod"/>
                </a:pPr>
                <a:r>
                  <a:rPr lang="en-US" sz="1100" dirty="0"/>
                  <a:t>The already existing </a:t>
                </a:r>
                <a:r>
                  <a:rPr lang="en-US" sz="1100" dirty="0">
                    <a:solidFill>
                      <a:srgbClr val="F816D8"/>
                    </a:solidFill>
                  </a:rPr>
                  <a:t>“HARQ-process handling”</a:t>
                </a:r>
                <a:r>
                  <a:rPr lang="en-US" sz="1100" dirty="0"/>
                  <a:t> framework is re-used.</a:t>
                </a:r>
              </a:p>
            </p:txBody>
          </p:sp>
        </mc:Choice>
        <mc:Fallback>
          <p:sp>
            <p:nvSpPr>
              <p:cNvPr id="4" name="Content Placeholder 3">
                <a:extLst>
                  <a:ext uri="{FF2B5EF4-FFF2-40B4-BE49-F238E27FC236}">
                    <a16:creationId xmlns:a16="http://schemas.microsoft.com/office/drawing/2014/main" id="{95D6056D-52AD-329C-CD1E-C03E9F9F3C15}"/>
                  </a:ext>
                </a:extLst>
              </p:cNvPr>
              <p:cNvSpPr>
                <a:spLocks noGrp="1" noRot="1" noChangeAspect="1" noMove="1" noResize="1" noEditPoints="1" noAdjustHandles="1" noChangeArrowheads="1" noChangeShapeType="1" noTextEdit="1"/>
              </p:cNvSpPr>
              <p:nvPr>
                <p:ph sz="quarter" idx="14"/>
              </p:nvPr>
            </p:nvSpPr>
            <p:spPr>
              <a:xfrm>
                <a:off x="495300" y="1719072"/>
                <a:ext cx="11187112" cy="3118741"/>
              </a:xfrm>
              <a:blipFill>
                <a:blip r:embed="rId2"/>
                <a:stretch>
                  <a:fillRect l="-1035" t="-1953" r="-327"/>
                </a:stretch>
              </a:blipFill>
            </p:spPr>
            <p:txBody>
              <a:bodyPr/>
              <a:lstStyle/>
              <a:p>
                <a:r>
                  <a:rPr lang="en-US">
                    <a:noFill/>
                  </a:rPr>
                  <a:t> </a:t>
                </a:r>
              </a:p>
            </p:txBody>
          </p:sp>
        </mc:Fallback>
      </mc:AlternateContent>
      <p:sp>
        <p:nvSpPr>
          <p:cNvPr id="5" name="Subtitle 4">
            <a:extLst>
              <a:ext uri="{FF2B5EF4-FFF2-40B4-BE49-F238E27FC236}">
                <a16:creationId xmlns:a16="http://schemas.microsoft.com/office/drawing/2014/main" id="{F2607616-0C21-0901-70B3-1C4E8C89E473}"/>
              </a:ext>
            </a:extLst>
          </p:cNvPr>
          <p:cNvSpPr>
            <a:spLocks noGrp="1"/>
          </p:cNvSpPr>
          <p:nvPr>
            <p:ph type="subTitle" idx="1"/>
          </p:nvPr>
        </p:nvSpPr>
        <p:spPr/>
        <p:txBody>
          <a:bodyPr/>
          <a:lstStyle/>
          <a:p>
            <a:r>
              <a:rPr lang="en-US" dirty="0"/>
              <a:t>Interleaved transmission of “HARQ redundancy versions” of (scaled) transport blocks across slots/subframes.</a:t>
            </a:r>
          </a:p>
        </p:txBody>
      </p:sp>
      <p:pic>
        <p:nvPicPr>
          <p:cNvPr id="6" name="Picture 5" descr="Graphical user interface, text&#10;&#10;Description automatically generated">
            <a:extLst>
              <a:ext uri="{FF2B5EF4-FFF2-40B4-BE49-F238E27FC236}">
                <a16:creationId xmlns:a16="http://schemas.microsoft.com/office/drawing/2014/main" id="{2E08A492-9CE7-2014-EFD5-2F294D92C1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5035" y="4663356"/>
            <a:ext cx="9092364" cy="2213017"/>
          </a:xfrm>
          <a:prstGeom prst="rect">
            <a:avLst/>
          </a:prstGeom>
        </p:spPr>
      </p:pic>
    </p:spTree>
    <p:extLst>
      <p:ext uri="{BB962C8B-B14F-4D97-AF65-F5344CB8AC3E}">
        <p14:creationId xmlns:p14="http://schemas.microsoft.com/office/powerpoint/2010/main" val="1950662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CD977B-6DF7-A6D7-7BF6-B888F9CEFE10}"/>
              </a:ext>
            </a:extLst>
          </p:cNvPr>
          <p:cNvSpPr>
            <a:spLocks noGrp="1"/>
          </p:cNvSpPr>
          <p:nvPr>
            <p:ph type="title"/>
          </p:nvPr>
        </p:nvSpPr>
        <p:spPr>
          <a:xfrm>
            <a:off x="468080" y="592823"/>
            <a:ext cx="11187112" cy="361959"/>
          </a:xfrm>
        </p:spPr>
        <p:txBody>
          <a:bodyPr/>
          <a:lstStyle/>
          <a:p>
            <a:r>
              <a:rPr lang="en-US" dirty="0"/>
              <a:t>Time Interleaving </a:t>
            </a:r>
            <a:r>
              <a:rPr lang="en-US" b="1" dirty="0">
                <a:solidFill>
                  <a:srgbClr val="00B050"/>
                </a:solidFill>
              </a:rPr>
              <a:t>proposals</a:t>
            </a:r>
            <a:r>
              <a:rPr lang="en-US" dirty="0"/>
              <a:t>: </a:t>
            </a:r>
            <a:r>
              <a:rPr lang="en-US" dirty="0">
                <a:solidFill>
                  <a:srgbClr val="FF0000"/>
                </a:solidFill>
              </a:rPr>
              <a:t>modem-friendly designs</a:t>
            </a:r>
          </a:p>
        </p:txBody>
      </p:sp>
      <p:grpSp>
        <p:nvGrpSpPr>
          <p:cNvPr id="72" name="Group 71">
            <a:extLst>
              <a:ext uri="{FF2B5EF4-FFF2-40B4-BE49-F238E27FC236}">
                <a16:creationId xmlns:a16="http://schemas.microsoft.com/office/drawing/2014/main" id="{1D60DFC0-2686-B0E4-C534-186BDAE2DAF4}"/>
              </a:ext>
            </a:extLst>
          </p:cNvPr>
          <p:cNvGrpSpPr/>
          <p:nvPr/>
        </p:nvGrpSpPr>
        <p:grpSpPr>
          <a:xfrm>
            <a:off x="495913" y="1240896"/>
            <a:ext cx="6011835" cy="3285085"/>
            <a:chOff x="2642532" y="1258345"/>
            <a:chExt cx="6014906" cy="3392234"/>
          </a:xfrm>
        </p:grpSpPr>
        <p:grpSp>
          <p:nvGrpSpPr>
            <p:cNvPr id="38" name="Group 37">
              <a:extLst>
                <a:ext uri="{FF2B5EF4-FFF2-40B4-BE49-F238E27FC236}">
                  <a16:creationId xmlns:a16="http://schemas.microsoft.com/office/drawing/2014/main" id="{0B7E3613-5540-7FC3-26F2-685B15D69E53}"/>
                </a:ext>
              </a:extLst>
            </p:cNvPr>
            <p:cNvGrpSpPr/>
            <p:nvPr/>
          </p:nvGrpSpPr>
          <p:grpSpPr>
            <a:xfrm>
              <a:off x="2642532" y="1258345"/>
              <a:ext cx="6014906" cy="3392234"/>
              <a:chOff x="495300" y="268915"/>
              <a:chExt cx="11039562" cy="7115339"/>
            </a:xfrm>
          </p:grpSpPr>
          <p:sp>
            <p:nvSpPr>
              <p:cNvPr id="42" name="Rectangle 41">
                <a:extLst>
                  <a:ext uri="{FF2B5EF4-FFF2-40B4-BE49-F238E27FC236}">
                    <a16:creationId xmlns:a16="http://schemas.microsoft.com/office/drawing/2014/main" id="{B02767EA-FB94-56B9-6341-9AFCDC4CB864}"/>
                  </a:ext>
                </a:extLst>
              </p:cNvPr>
              <p:cNvSpPr/>
              <p:nvPr/>
            </p:nvSpPr>
            <p:spPr>
              <a:xfrm>
                <a:off x="1761705" y="3783435"/>
                <a:ext cx="469768" cy="19294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3" name="Rectangle 42">
                <a:extLst>
                  <a:ext uri="{FF2B5EF4-FFF2-40B4-BE49-F238E27FC236}">
                    <a16:creationId xmlns:a16="http://schemas.microsoft.com/office/drawing/2014/main" id="{20747A61-F7D1-4246-0DCF-A32A08A8DC47}"/>
                  </a:ext>
                </a:extLst>
              </p:cNvPr>
              <p:cNvSpPr/>
              <p:nvPr/>
            </p:nvSpPr>
            <p:spPr>
              <a:xfrm>
                <a:off x="4771797" y="3783435"/>
                <a:ext cx="469769" cy="19294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4" name="Rectangle 43">
                <a:extLst>
                  <a:ext uri="{FF2B5EF4-FFF2-40B4-BE49-F238E27FC236}">
                    <a16:creationId xmlns:a16="http://schemas.microsoft.com/office/drawing/2014/main" id="{4E85610D-CDFA-E14D-ABDA-88984756EBE4}"/>
                  </a:ext>
                </a:extLst>
              </p:cNvPr>
              <p:cNvSpPr/>
              <p:nvPr/>
            </p:nvSpPr>
            <p:spPr>
              <a:xfrm>
                <a:off x="9851289" y="3783435"/>
                <a:ext cx="469770" cy="19294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5" name="Rectangle 44">
                <a:extLst>
                  <a:ext uri="{FF2B5EF4-FFF2-40B4-BE49-F238E27FC236}">
                    <a16:creationId xmlns:a16="http://schemas.microsoft.com/office/drawing/2014/main" id="{5B4CFF60-F65E-9690-724A-0DD943857E2F}"/>
                  </a:ext>
                </a:extLst>
              </p:cNvPr>
              <p:cNvSpPr/>
              <p:nvPr/>
            </p:nvSpPr>
            <p:spPr>
              <a:xfrm>
                <a:off x="4920223" y="268915"/>
                <a:ext cx="2166994" cy="52850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6" name="Rectangle 45">
                <a:extLst>
                  <a:ext uri="{FF2B5EF4-FFF2-40B4-BE49-F238E27FC236}">
                    <a16:creationId xmlns:a16="http://schemas.microsoft.com/office/drawing/2014/main" id="{2359E837-79FF-4FE6-20F4-695CD7FF6BDA}"/>
                  </a:ext>
                </a:extLst>
              </p:cNvPr>
              <p:cNvSpPr/>
              <p:nvPr/>
            </p:nvSpPr>
            <p:spPr>
              <a:xfrm>
                <a:off x="495300" y="2165759"/>
                <a:ext cx="11020730" cy="528506"/>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cxnSp>
            <p:nvCxnSpPr>
              <p:cNvPr id="47" name="Straight Arrow Connector 46">
                <a:extLst>
                  <a:ext uri="{FF2B5EF4-FFF2-40B4-BE49-F238E27FC236}">
                    <a16:creationId xmlns:a16="http://schemas.microsoft.com/office/drawing/2014/main" id="{FE3D7A48-4B45-6747-4CD5-AE91920852C7}"/>
                  </a:ext>
                </a:extLst>
              </p:cNvPr>
              <p:cNvCxnSpPr>
                <a:cxnSpLocks/>
                <a:stCxn id="45" idx="2"/>
                <a:endCxn id="46" idx="0"/>
              </p:cNvCxnSpPr>
              <p:nvPr/>
            </p:nvCxnSpPr>
            <p:spPr>
              <a:xfrm>
                <a:off x="6003720" y="797421"/>
                <a:ext cx="1945" cy="1368338"/>
              </a:xfrm>
              <a:prstGeom prst="straightConnector1">
                <a:avLst/>
              </a:prstGeom>
              <a:ln w="28575" cap="rnd">
                <a:solidFill>
                  <a:schemeClr val="accent1"/>
                </a:solidFill>
                <a:round/>
                <a:headEnd type="none" w="sm" len="sm"/>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6B1EDC0-EBD0-F173-5CFB-874298D13DF9}"/>
                  </a:ext>
                </a:extLst>
              </p:cNvPr>
              <p:cNvCxnSpPr>
                <a:cxnSpLocks/>
                <a:stCxn id="46" idx="2"/>
              </p:cNvCxnSpPr>
              <p:nvPr/>
            </p:nvCxnSpPr>
            <p:spPr>
              <a:xfrm flipH="1">
                <a:off x="2030136" y="2694265"/>
                <a:ext cx="3975529" cy="996891"/>
              </a:xfrm>
              <a:prstGeom prst="straightConnector1">
                <a:avLst/>
              </a:prstGeom>
              <a:ln w="28575" cap="rnd">
                <a:solidFill>
                  <a:srgbClr val="FF0000"/>
                </a:solidFill>
                <a:round/>
                <a:headEnd type="none" w="sm" len="sm"/>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95DDA8A-EF7E-D4E0-F1F0-259E5FE40D0C}"/>
                  </a:ext>
                </a:extLst>
              </p:cNvPr>
              <p:cNvCxnSpPr>
                <a:cxnSpLocks/>
              </p:cNvCxnSpPr>
              <p:nvPr/>
            </p:nvCxnSpPr>
            <p:spPr>
              <a:xfrm flipH="1">
                <a:off x="4957894" y="2694265"/>
                <a:ext cx="1052819" cy="996891"/>
              </a:xfrm>
              <a:prstGeom prst="straightConnector1">
                <a:avLst/>
              </a:prstGeom>
              <a:ln w="28575" cap="rnd">
                <a:solidFill>
                  <a:srgbClr val="FF0000"/>
                </a:solidFill>
                <a:round/>
                <a:headEnd type="none" w="sm" len="sm"/>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B6A898E-5A03-AB21-0021-B657E927E029}"/>
                  </a:ext>
                </a:extLst>
              </p:cNvPr>
              <p:cNvCxnSpPr>
                <a:cxnSpLocks/>
                <a:stCxn id="46" idx="2"/>
              </p:cNvCxnSpPr>
              <p:nvPr/>
            </p:nvCxnSpPr>
            <p:spPr>
              <a:xfrm>
                <a:off x="6005665" y="2694265"/>
                <a:ext cx="4010790" cy="996891"/>
              </a:xfrm>
              <a:prstGeom prst="straightConnector1">
                <a:avLst/>
              </a:prstGeom>
              <a:ln w="28575" cap="rnd">
                <a:solidFill>
                  <a:srgbClr val="FF0000"/>
                </a:solidFill>
                <a:round/>
                <a:headEnd type="none" w="sm" len="sm"/>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C3786DA4-2468-CFC1-3E7F-40AAD0EB6A6F}"/>
                  </a:ext>
                </a:extLst>
              </p:cNvPr>
              <p:cNvSpPr/>
              <p:nvPr/>
            </p:nvSpPr>
            <p:spPr>
              <a:xfrm>
                <a:off x="2291734"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2" name="Rectangle 51">
                <a:extLst>
                  <a:ext uri="{FF2B5EF4-FFF2-40B4-BE49-F238E27FC236}">
                    <a16:creationId xmlns:a16="http://schemas.microsoft.com/office/drawing/2014/main" id="{66476E2C-FF8C-55B0-A679-FFD60E21B22A}"/>
                  </a:ext>
                </a:extLst>
              </p:cNvPr>
              <p:cNvSpPr/>
              <p:nvPr/>
            </p:nvSpPr>
            <p:spPr>
              <a:xfrm>
                <a:off x="2811860"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3" name="Rectangle 52">
                <a:extLst>
                  <a:ext uri="{FF2B5EF4-FFF2-40B4-BE49-F238E27FC236}">
                    <a16:creationId xmlns:a16="http://schemas.microsoft.com/office/drawing/2014/main" id="{DCC970C1-52B7-87B9-6B28-171C59065747}"/>
                  </a:ext>
                </a:extLst>
              </p:cNvPr>
              <p:cNvSpPr/>
              <p:nvPr/>
            </p:nvSpPr>
            <p:spPr>
              <a:xfrm>
                <a:off x="4251671"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4" name="Rectangle 53">
                <a:extLst>
                  <a:ext uri="{FF2B5EF4-FFF2-40B4-BE49-F238E27FC236}">
                    <a16:creationId xmlns:a16="http://schemas.microsoft.com/office/drawing/2014/main" id="{780904E2-6695-1A14-5731-AD172C4C1B53}"/>
                  </a:ext>
                </a:extLst>
              </p:cNvPr>
              <p:cNvSpPr/>
              <p:nvPr/>
            </p:nvSpPr>
            <p:spPr>
              <a:xfrm>
                <a:off x="5281976"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5" name="Rectangle 54">
                <a:extLst>
                  <a:ext uri="{FF2B5EF4-FFF2-40B4-BE49-F238E27FC236}">
                    <a16:creationId xmlns:a16="http://schemas.microsoft.com/office/drawing/2014/main" id="{2C55278C-509D-9E3B-78BF-CC3520170F39}"/>
                  </a:ext>
                </a:extLst>
              </p:cNvPr>
              <p:cNvSpPr/>
              <p:nvPr/>
            </p:nvSpPr>
            <p:spPr>
              <a:xfrm>
                <a:off x="5802102"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6" name="Rectangle 55">
                <a:extLst>
                  <a:ext uri="{FF2B5EF4-FFF2-40B4-BE49-F238E27FC236}">
                    <a16:creationId xmlns:a16="http://schemas.microsoft.com/office/drawing/2014/main" id="{14AAEFCA-6277-4EB3-8FE9-F531EC126FF4}"/>
                  </a:ext>
                </a:extLst>
              </p:cNvPr>
              <p:cNvSpPr/>
              <p:nvPr/>
            </p:nvSpPr>
            <p:spPr>
              <a:xfrm>
                <a:off x="7065744"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57" name="TextBox 56">
                <a:extLst>
                  <a:ext uri="{FF2B5EF4-FFF2-40B4-BE49-F238E27FC236}">
                    <a16:creationId xmlns:a16="http://schemas.microsoft.com/office/drawing/2014/main" id="{98D580FA-70B6-26D7-1D8E-87D1752A04B3}"/>
                  </a:ext>
                </a:extLst>
              </p:cNvPr>
              <p:cNvSpPr txBox="1"/>
              <p:nvPr/>
            </p:nvSpPr>
            <p:spPr>
              <a:xfrm>
                <a:off x="3414319" y="4160938"/>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p:sp>
            <p:nvSpPr>
              <p:cNvPr id="58" name="TextBox 57">
                <a:extLst>
                  <a:ext uri="{FF2B5EF4-FFF2-40B4-BE49-F238E27FC236}">
                    <a16:creationId xmlns:a16="http://schemas.microsoft.com/office/drawing/2014/main" id="{00A228C6-EE25-59C0-228D-A81C3D726606}"/>
                  </a:ext>
                </a:extLst>
              </p:cNvPr>
              <p:cNvSpPr txBox="1"/>
              <p:nvPr/>
            </p:nvSpPr>
            <p:spPr>
              <a:xfrm>
                <a:off x="6348919" y="4152550"/>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p:sp>
            <p:nvSpPr>
              <p:cNvPr id="59" name="TextBox 58">
                <a:extLst>
                  <a:ext uri="{FF2B5EF4-FFF2-40B4-BE49-F238E27FC236}">
                    <a16:creationId xmlns:a16="http://schemas.microsoft.com/office/drawing/2014/main" id="{B857F3DC-DF2E-4E02-FC9B-4AD1376236DF}"/>
                  </a:ext>
                </a:extLst>
              </p:cNvPr>
              <p:cNvSpPr txBox="1"/>
              <p:nvPr/>
            </p:nvSpPr>
            <p:spPr>
              <a:xfrm>
                <a:off x="8438774" y="4135771"/>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p:sp>
            <p:nvSpPr>
              <p:cNvPr id="60" name="TextBox 59">
                <a:extLst>
                  <a:ext uri="{FF2B5EF4-FFF2-40B4-BE49-F238E27FC236}">
                    <a16:creationId xmlns:a16="http://schemas.microsoft.com/office/drawing/2014/main" id="{7CB058A1-629D-EEB5-4EA2-91F7712B9797}"/>
                  </a:ext>
                </a:extLst>
              </p:cNvPr>
              <p:cNvSpPr txBox="1"/>
              <p:nvPr/>
            </p:nvSpPr>
            <p:spPr>
              <a:xfrm>
                <a:off x="10856901" y="4160938"/>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p:sp>
            <p:nvSpPr>
              <p:cNvPr id="61" name="TextBox 60">
                <a:extLst>
                  <a:ext uri="{FF2B5EF4-FFF2-40B4-BE49-F238E27FC236}">
                    <a16:creationId xmlns:a16="http://schemas.microsoft.com/office/drawing/2014/main" id="{6899547F-B940-33FC-9F9F-3039E0263DAD}"/>
                  </a:ext>
                </a:extLst>
              </p:cNvPr>
              <p:cNvSpPr txBox="1"/>
              <p:nvPr/>
            </p:nvSpPr>
            <p:spPr>
              <a:xfrm>
                <a:off x="706239" y="4160940"/>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p:sp>
            <p:nvSpPr>
              <p:cNvPr id="62" name="TextBox 61">
                <a:extLst>
                  <a:ext uri="{FF2B5EF4-FFF2-40B4-BE49-F238E27FC236}">
                    <a16:creationId xmlns:a16="http://schemas.microsoft.com/office/drawing/2014/main" id="{729B953E-62CD-E538-0770-332BE582063B}"/>
                  </a:ext>
                </a:extLst>
              </p:cNvPr>
              <p:cNvSpPr txBox="1"/>
              <p:nvPr/>
            </p:nvSpPr>
            <p:spPr>
              <a:xfrm>
                <a:off x="637563" y="360725"/>
                <a:ext cx="10763076" cy="299431"/>
              </a:xfrm>
              <a:prstGeom prst="rect">
                <a:avLst/>
              </a:prstGeom>
            </p:spPr>
            <p:txBody>
              <a:bodyPr wrap="square" lIns="0" tIns="0" rIns="0" bIns="0" rtlCol="0">
                <a:spAutoFit/>
              </a:bodyPr>
              <a:lstStyle/>
              <a:p>
                <a:pPr algn="ctr">
                  <a:lnSpc>
                    <a:spcPct val="96000"/>
                  </a:lnSpc>
                </a:pPr>
                <a:endParaRPr lang="en-US" sz="1600" dirty="0">
                  <a:solidFill>
                    <a:schemeClr val="tx2"/>
                  </a:solidFill>
                  <a:latin typeface="Microsoft Sans Serif"/>
                  <a:cs typeface="Microsoft Sans Serif" panose="020B0604020202020204" pitchFamily="34" charset="0"/>
                </a:endParaRPr>
              </a:p>
            </p:txBody>
          </p:sp>
          <p:sp>
            <p:nvSpPr>
              <p:cNvPr id="63" name="Left Brace 62">
                <a:extLst>
                  <a:ext uri="{FF2B5EF4-FFF2-40B4-BE49-F238E27FC236}">
                    <a16:creationId xmlns:a16="http://schemas.microsoft.com/office/drawing/2014/main" id="{2FF72EBD-5F52-9759-5DDB-C7D26DDE3DE8}"/>
                  </a:ext>
                </a:extLst>
              </p:cNvPr>
              <p:cNvSpPr/>
              <p:nvPr/>
            </p:nvSpPr>
            <p:spPr>
              <a:xfrm rot="16200000">
                <a:off x="3006174" y="4543255"/>
                <a:ext cx="470449" cy="2960083"/>
              </a:xfrm>
              <a:prstGeom prst="leftBrace">
                <a:avLst/>
              </a:prstGeom>
              <a:ln w="12700" cap="rnd">
                <a:solidFill>
                  <a:schemeClr val="tx1"/>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Left Brace 63">
                <a:extLst>
                  <a:ext uri="{FF2B5EF4-FFF2-40B4-BE49-F238E27FC236}">
                    <a16:creationId xmlns:a16="http://schemas.microsoft.com/office/drawing/2014/main" id="{B3FB8C20-A1BA-007C-8427-E0973BD83F48}"/>
                  </a:ext>
                </a:extLst>
              </p:cNvPr>
              <p:cNvSpPr/>
              <p:nvPr/>
            </p:nvSpPr>
            <p:spPr>
              <a:xfrm rot="16200000">
                <a:off x="5928446" y="4655647"/>
                <a:ext cx="470449" cy="2743684"/>
              </a:xfrm>
              <a:prstGeom prst="leftBrace">
                <a:avLst/>
              </a:prstGeom>
              <a:ln w="12700" cap="rnd">
                <a:solidFill>
                  <a:schemeClr val="tx1"/>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02232835-2963-EC2A-F8A5-E9FEF76EAC05}"/>
                  </a:ext>
                </a:extLst>
              </p:cNvPr>
              <p:cNvSpPr txBox="1"/>
              <p:nvPr/>
            </p:nvSpPr>
            <p:spPr>
              <a:xfrm>
                <a:off x="6320864" y="2718496"/>
                <a:ext cx="677961" cy="709105"/>
              </a:xfrm>
              <a:prstGeom prst="rect">
                <a:avLst/>
              </a:prstGeom>
            </p:spPr>
            <p:txBody>
              <a:bodyPr wrap="square" lIns="0" tIns="0" rIns="0" bIns="0" rtlCol="0">
                <a:spAutoFit/>
              </a:bodyPr>
              <a:lstStyle/>
              <a:p>
                <a:pPr algn="ctr">
                  <a:lnSpc>
                    <a:spcPct val="96000"/>
                  </a:lnSpc>
                </a:pPr>
                <a:r>
                  <a:rPr lang="en-US" sz="4800" dirty="0">
                    <a:solidFill>
                      <a:schemeClr val="tx2"/>
                    </a:solidFill>
                    <a:latin typeface="Microsoft Sans Serif"/>
                    <a:cs typeface="Microsoft Sans Serif" panose="020B0604020202020204" pitchFamily="34" charset="0"/>
                  </a:rPr>
                  <a:t>…</a:t>
                </a:r>
              </a:p>
            </p:txBody>
          </p:sp>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3C5C8B1A-ADCE-7C7D-20DD-E9E5456CAD7C}"/>
                      </a:ext>
                    </a:extLst>
                  </p:cNvPr>
                  <p:cNvSpPr txBox="1"/>
                  <p:nvPr/>
                </p:nvSpPr>
                <p:spPr>
                  <a:xfrm>
                    <a:off x="1996588" y="6268624"/>
                    <a:ext cx="2397687" cy="1115630"/>
                  </a:xfrm>
                  <a:prstGeom prst="rect">
                    <a:avLst/>
                  </a:prstGeom>
                </p:spPr>
                <p:txBody>
                  <a:bodyPr wrap="square" lIns="0" tIns="0" rIns="0" bIns="0" rtlCol="0">
                    <a:spAutoFit/>
                  </a:bodyPr>
                  <a:lstStyle/>
                  <a:p>
                    <a:pPr algn="ctr">
                      <a:lnSpc>
                        <a:spcPct val="96000"/>
                      </a:lnSpc>
                    </a:pPr>
                    <a:r>
                      <a:rPr lang="en-US" sz="1200" b="0" dirty="0">
                        <a:solidFill>
                          <a:schemeClr val="tx2"/>
                        </a:solidFill>
                        <a:cs typeface="Microsoft Sans Serif" panose="020B0604020202020204" pitchFamily="34" charset="0"/>
                      </a:rPr>
                      <a:t>Parts of </a:t>
                    </a:r>
                    <a14:m>
                      <m:oMath xmlns:m="http://schemas.openxmlformats.org/officeDocument/2006/math">
                        <m:r>
                          <a:rPr lang="en-US" sz="1200" b="0" i="1" smtClean="0">
                            <a:solidFill>
                              <a:schemeClr val="tx2"/>
                            </a:solidFill>
                            <a:latin typeface="Cambria Math" panose="02040503050406030204" pitchFamily="18" charset="0"/>
                            <a:cs typeface="Microsoft Sans Serif" panose="020B0604020202020204" pitchFamily="34" charset="0"/>
                          </a:rPr>
                          <m:t>𝑚</m:t>
                        </m:r>
                      </m:oMath>
                    </a14:m>
                    <a:r>
                      <a:rPr lang="en-US" sz="1200" dirty="0">
                        <a:solidFill>
                          <a:schemeClr val="tx2"/>
                        </a:solidFill>
                        <a:latin typeface="Microsoft Sans Serif"/>
                        <a:cs typeface="Microsoft Sans Serif" panose="020B0604020202020204" pitchFamily="34" charset="0"/>
                      </a:rPr>
                      <a:t> TBs spread across </a:t>
                    </a:r>
                    <a14:m>
                      <m:oMath xmlns:m="http://schemas.openxmlformats.org/officeDocument/2006/math">
                        <m:r>
                          <a:rPr lang="en-US" sz="1200" b="0" i="1" smtClean="0">
                            <a:solidFill>
                              <a:schemeClr val="tx2"/>
                            </a:solidFill>
                            <a:latin typeface="Cambria Math" panose="02040503050406030204" pitchFamily="18" charset="0"/>
                            <a:cs typeface="Microsoft Sans Serif" panose="020B0604020202020204" pitchFamily="34" charset="0"/>
                          </a:rPr>
                          <m:t>𝑚</m:t>
                        </m:r>
                      </m:oMath>
                    </a14:m>
                    <a:r>
                      <a:rPr lang="en-US" sz="1200" dirty="0">
                        <a:solidFill>
                          <a:schemeClr val="tx2"/>
                        </a:solidFill>
                        <a:latin typeface="Microsoft Sans Serif"/>
                        <a:cs typeface="Microsoft Sans Serif" panose="020B0604020202020204" pitchFamily="34" charset="0"/>
                      </a:rPr>
                      <a:t> slots</a:t>
                    </a:r>
                  </a:p>
                </p:txBody>
              </p:sp>
            </mc:Choice>
            <mc:Fallback>
              <p:sp>
                <p:nvSpPr>
                  <p:cNvPr id="66" name="TextBox 65">
                    <a:extLst>
                      <a:ext uri="{FF2B5EF4-FFF2-40B4-BE49-F238E27FC236}">
                        <a16:creationId xmlns:a16="http://schemas.microsoft.com/office/drawing/2014/main" id="{3C5C8B1A-ADCE-7C7D-20DD-E9E5456CAD7C}"/>
                      </a:ext>
                    </a:extLst>
                  </p:cNvPr>
                  <p:cNvSpPr txBox="1">
                    <a:spLocks noRot="1" noChangeAspect="1" noMove="1" noResize="1" noEditPoints="1" noAdjustHandles="1" noChangeArrowheads="1" noChangeShapeType="1" noTextEdit="1"/>
                  </p:cNvSpPr>
                  <p:nvPr/>
                </p:nvSpPr>
                <p:spPr>
                  <a:xfrm>
                    <a:off x="1996588" y="6268624"/>
                    <a:ext cx="2397687" cy="1115630"/>
                  </a:xfrm>
                  <a:prstGeom prst="rect">
                    <a:avLst/>
                  </a:prstGeom>
                  <a:blipFill>
                    <a:blip r:embed="rId2"/>
                    <a:stretch>
                      <a:fillRect t="-11905" b="-20238"/>
                    </a:stretch>
                  </a:blipFill>
                </p:spPr>
                <p:txBody>
                  <a:bodyPr/>
                  <a:lstStyle/>
                  <a:p>
                    <a:r>
                      <a:rPr lang="en-US">
                        <a:noFill/>
                      </a:rPr>
                      <a:t> </a:t>
                    </a:r>
                  </a:p>
                </p:txBody>
              </p:sp>
            </mc:Fallback>
          </mc:AlternateContent>
          <p:sp>
            <p:nvSpPr>
              <p:cNvPr id="67" name="Rectangle 66">
                <a:extLst>
                  <a:ext uri="{FF2B5EF4-FFF2-40B4-BE49-F238E27FC236}">
                    <a16:creationId xmlns:a16="http://schemas.microsoft.com/office/drawing/2014/main" id="{B4914F7A-4826-0EEB-D50A-E7F1C47780CA}"/>
                  </a:ext>
                </a:extLst>
              </p:cNvPr>
              <p:cNvSpPr/>
              <p:nvPr/>
            </p:nvSpPr>
            <p:spPr>
              <a:xfrm>
                <a:off x="10379263" y="3783435"/>
                <a:ext cx="469768" cy="1929468"/>
              </a:xfrm>
              <a:prstGeom prst="rect">
                <a:avLst/>
              </a:prstGeom>
              <a:noFill/>
              <a:ln w="19050">
                <a:solidFill>
                  <a:srgbClr val="4C5B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mc:AlternateContent xmlns:mc="http://schemas.openxmlformats.org/markup-compatibility/2006">
            <mc:Choice xmlns:a14="http://schemas.microsoft.com/office/drawing/2010/main" Requires="a14">
              <p:sp>
                <p:nvSpPr>
                  <p:cNvPr id="68" name="TextBox 67">
                    <a:extLst>
                      <a:ext uri="{FF2B5EF4-FFF2-40B4-BE49-F238E27FC236}">
                        <a16:creationId xmlns:a16="http://schemas.microsoft.com/office/drawing/2014/main" id="{448E3536-0A0B-6B33-0D4E-D1CA2E51F3C6}"/>
                      </a:ext>
                    </a:extLst>
                  </p:cNvPr>
                  <p:cNvSpPr txBox="1"/>
                  <p:nvPr/>
                </p:nvSpPr>
                <p:spPr>
                  <a:xfrm>
                    <a:off x="1802256" y="3103908"/>
                    <a:ext cx="493068" cy="471941"/>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200" b="1" i="1" smtClean="0">
                              <a:solidFill>
                                <a:srgbClr val="FF0000"/>
                              </a:solidFill>
                              <a:latin typeface="Cambria Math" panose="02040503050406030204" pitchFamily="18" charset="0"/>
                              <a:cs typeface="Microsoft Sans Serif" panose="020B0604020202020204" pitchFamily="34" charset="0"/>
                            </a:rPr>
                            <m:t>𝑻</m:t>
                          </m:r>
                          <m:sSubSup>
                            <m:sSubSupPr>
                              <m:ctrlPr>
                                <a:rPr lang="en-US" sz="1200" b="1" i="1" smtClean="0">
                                  <a:solidFill>
                                    <a:srgbClr val="FF0000"/>
                                  </a:solidFill>
                                  <a:latin typeface="Cambria Math" panose="02040503050406030204" pitchFamily="18" charset="0"/>
                                  <a:cs typeface="Microsoft Sans Serif" panose="020B0604020202020204" pitchFamily="34" charset="0"/>
                                </a:rPr>
                              </m:ctrlPr>
                            </m:sSubSupPr>
                            <m:e>
                              <m:r>
                                <a:rPr lang="en-US" sz="1200" b="1" i="1" smtClean="0">
                                  <a:solidFill>
                                    <a:srgbClr val="FF0000"/>
                                  </a:solidFill>
                                  <a:latin typeface="Cambria Math" panose="02040503050406030204" pitchFamily="18" charset="0"/>
                                  <a:cs typeface="Microsoft Sans Serif" panose="020B0604020202020204" pitchFamily="34" charset="0"/>
                                </a:rPr>
                                <m:t>𝑩</m:t>
                              </m:r>
                            </m:e>
                            <m:sub>
                              <m:r>
                                <a:rPr lang="en-US" sz="1200" b="1" i="1" smtClean="0">
                                  <a:solidFill>
                                    <a:srgbClr val="FF0000"/>
                                  </a:solidFill>
                                  <a:latin typeface="Cambria Math" panose="02040503050406030204" pitchFamily="18" charset="0"/>
                                  <a:cs typeface="Microsoft Sans Serif" panose="020B0604020202020204" pitchFamily="34" charset="0"/>
                                </a:rPr>
                                <m:t>𝒊</m:t>
                              </m:r>
                            </m:sub>
                            <m:sup>
                              <m:r>
                                <a:rPr lang="en-US" sz="1200" b="1" i="1" smtClean="0">
                                  <a:solidFill>
                                    <a:srgbClr val="FF0000"/>
                                  </a:solidFill>
                                  <a:latin typeface="Cambria Math" panose="02040503050406030204" pitchFamily="18" charset="0"/>
                                  <a:cs typeface="Microsoft Sans Serif" panose="020B0604020202020204" pitchFamily="34" charset="0"/>
                                </a:rPr>
                                <m:t>(</m:t>
                              </m:r>
                              <m:r>
                                <a:rPr lang="en-US" sz="1200" b="1" i="1" smtClean="0">
                                  <a:solidFill>
                                    <a:srgbClr val="FF0000"/>
                                  </a:solidFill>
                                  <a:latin typeface="Cambria Math" panose="02040503050406030204" pitchFamily="18" charset="0"/>
                                  <a:cs typeface="Microsoft Sans Serif" panose="020B0604020202020204" pitchFamily="34" charset="0"/>
                                </a:rPr>
                                <m:t>𝟏</m:t>
                              </m:r>
                              <m:r>
                                <a:rPr lang="en-US" sz="1200" b="1" i="1" smtClean="0">
                                  <a:solidFill>
                                    <a:srgbClr val="FF0000"/>
                                  </a:solidFill>
                                  <a:latin typeface="Cambria Math" panose="02040503050406030204" pitchFamily="18" charset="0"/>
                                  <a:cs typeface="Microsoft Sans Serif" panose="020B0604020202020204" pitchFamily="34" charset="0"/>
                                </a:rPr>
                                <m:t>)</m:t>
                              </m:r>
                            </m:sup>
                          </m:sSubSup>
                        </m:oMath>
                      </m:oMathPara>
                    </a14:m>
                    <a:endParaRPr lang="en-US" sz="1200" b="1" dirty="0">
                      <a:solidFill>
                        <a:schemeClr val="tx2"/>
                      </a:solidFill>
                      <a:latin typeface="Microsoft Sans Serif"/>
                      <a:cs typeface="Microsoft Sans Serif" panose="020B0604020202020204" pitchFamily="34" charset="0"/>
                    </a:endParaRPr>
                  </a:p>
                </p:txBody>
              </p:sp>
            </mc:Choice>
            <mc:Fallback>
              <p:sp>
                <p:nvSpPr>
                  <p:cNvPr id="68" name="TextBox 67">
                    <a:extLst>
                      <a:ext uri="{FF2B5EF4-FFF2-40B4-BE49-F238E27FC236}">
                        <a16:creationId xmlns:a16="http://schemas.microsoft.com/office/drawing/2014/main" id="{448E3536-0A0B-6B33-0D4E-D1CA2E51F3C6}"/>
                      </a:ext>
                    </a:extLst>
                  </p:cNvPr>
                  <p:cNvSpPr txBox="1">
                    <a:spLocks noRot="1" noChangeAspect="1" noMove="1" noResize="1" noEditPoints="1" noAdjustHandles="1" noChangeArrowheads="1" noChangeShapeType="1" noTextEdit="1"/>
                  </p:cNvSpPr>
                  <p:nvPr/>
                </p:nvSpPr>
                <p:spPr>
                  <a:xfrm>
                    <a:off x="1802256" y="3103908"/>
                    <a:ext cx="493068" cy="471941"/>
                  </a:xfrm>
                  <a:prstGeom prst="rect">
                    <a:avLst/>
                  </a:prstGeom>
                  <a:blipFill>
                    <a:blip r:embed="rId3"/>
                    <a:stretch>
                      <a:fillRect l="-20455" t="-5556" r="-54545" b="-1944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9" name="TextBox 68">
                    <a:extLst>
                      <a:ext uri="{FF2B5EF4-FFF2-40B4-BE49-F238E27FC236}">
                        <a16:creationId xmlns:a16="http://schemas.microsoft.com/office/drawing/2014/main" id="{C085AB17-42CB-364C-E07B-02112BCFAECC}"/>
                      </a:ext>
                    </a:extLst>
                  </p:cNvPr>
                  <p:cNvSpPr txBox="1"/>
                  <p:nvPr/>
                </p:nvSpPr>
                <p:spPr>
                  <a:xfrm>
                    <a:off x="4517653" y="3187090"/>
                    <a:ext cx="535356" cy="471941"/>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200" b="1" i="1" smtClean="0">
                              <a:solidFill>
                                <a:srgbClr val="FF0000"/>
                              </a:solidFill>
                              <a:latin typeface="Cambria Math" panose="02040503050406030204" pitchFamily="18" charset="0"/>
                              <a:cs typeface="Microsoft Sans Serif" panose="020B0604020202020204" pitchFamily="34" charset="0"/>
                            </a:rPr>
                            <m:t>𝑻</m:t>
                          </m:r>
                          <m:sSubSup>
                            <m:sSubSupPr>
                              <m:ctrlPr>
                                <a:rPr lang="en-US" sz="1200" b="1" i="1">
                                  <a:solidFill>
                                    <a:srgbClr val="FF0000"/>
                                  </a:solidFill>
                                  <a:latin typeface="Cambria Math" panose="02040503050406030204" pitchFamily="18" charset="0"/>
                                  <a:cs typeface="Microsoft Sans Serif" panose="020B0604020202020204" pitchFamily="34" charset="0"/>
                                </a:rPr>
                              </m:ctrlPr>
                            </m:sSubSupPr>
                            <m:e>
                              <m:r>
                                <a:rPr lang="en-US" sz="1200" b="1" i="1">
                                  <a:solidFill>
                                    <a:srgbClr val="FF0000"/>
                                  </a:solidFill>
                                  <a:latin typeface="Cambria Math" panose="02040503050406030204" pitchFamily="18" charset="0"/>
                                  <a:cs typeface="Microsoft Sans Serif" panose="020B0604020202020204" pitchFamily="34" charset="0"/>
                                </a:rPr>
                                <m:t>𝑩</m:t>
                              </m:r>
                            </m:e>
                            <m:sub>
                              <m:r>
                                <a:rPr lang="en-US" sz="1200" b="1" i="1" smtClean="0">
                                  <a:solidFill>
                                    <a:srgbClr val="FF0000"/>
                                  </a:solidFill>
                                  <a:latin typeface="Cambria Math" panose="02040503050406030204" pitchFamily="18" charset="0"/>
                                  <a:cs typeface="Microsoft Sans Serif" panose="020B0604020202020204" pitchFamily="34" charset="0"/>
                                </a:rPr>
                                <m:t>𝒊</m:t>
                              </m:r>
                            </m:sub>
                            <m:sup>
                              <m:r>
                                <a:rPr lang="en-US" sz="1200" b="1" i="1">
                                  <a:solidFill>
                                    <a:srgbClr val="FF0000"/>
                                  </a:solidFill>
                                  <a:latin typeface="Cambria Math" panose="02040503050406030204" pitchFamily="18" charset="0"/>
                                  <a:cs typeface="Microsoft Sans Serif" panose="020B0604020202020204" pitchFamily="34" charset="0"/>
                                </a:rPr>
                                <m:t>(</m:t>
                              </m:r>
                              <m:r>
                                <a:rPr lang="en-US" sz="1200" b="1" i="1" smtClean="0">
                                  <a:solidFill>
                                    <a:srgbClr val="FF0000"/>
                                  </a:solidFill>
                                  <a:latin typeface="Cambria Math" panose="02040503050406030204" pitchFamily="18" charset="0"/>
                                  <a:cs typeface="Microsoft Sans Serif" panose="020B0604020202020204" pitchFamily="34" charset="0"/>
                                </a:rPr>
                                <m:t>𝟐</m:t>
                              </m:r>
                              <m:r>
                                <a:rPr lang="en-US" sz="1200" b="1" i="1">
                                  <a:solidFill>
                                    <a:srgbClr val="FF0000"/>
                                  </a:solidFill>
                                  <a:latin typeface="Cambria Math" panose="02040503050406030204" pitchFamily="18" charset="0"/>
                                  <a:cs typeface="Microsoft Sans Serif" panose="020B0604020202020204" pitchFamily="34" charset="0"/>
                                </a:rPr>
                                <m:t>)</m:t>
                              </m:r>
                            </m:sup>
                          </m:sSubSup>
                        </m:oMath>
                      </m:oMathPara>
                    </a14:m>
                    <a:endParaRPr lang="en-US" sz="1200" b="1" dirty="0">
                      <a:solidFill>
                        <a:srgbClr val="FF0000"/>
                      </a:solidFill>
                      <a:cs typeface="Microsoft Sans Serif" panose="020B0604020202020204" pitchFamily="34" charset="0"/>
                    </a:endParaRPr>
                  </a:p>
                </p:txBody>
              </p:sp>
            </mc:Choice>
            <mc:Fallback>
              <p:sp>
                <p:nvSpPr>
                  <p:cNvPr id="69" name="TextBox 68">
                    <a:extLst>
                      <a:ext uri="{FF2B5EF4-FFF2-40B4-BE49-F238E27FC236}">
                        <a16:creationId xmlns:a16="http://schemas.microsoft.com/office/drawing/2014/main" id="{C085AB17-42CB-364C-E07B-02112BCFAECC}"/>
                      </a:ext>
                    </a:extLst>
                  </p:cNvPr>
                  <p:cNvSpPr txBox="1">
                    <a:spLocks noRot="1" noChangeAspect="1" noMove="1" noResize="1" noEditPoints="1" noAdjustHandles="1" noChangeArrowheads="1" noChangeShapeType="1" noTextEdit="1"/>
                  </p:cNvSpPr>
                  <p:nvPr/>
                </p:nvSpPr>
                <p:spPr>
                  <a:xfrm>
                    <a:off x="4517653" y="3187090"/>
                    <a:ext cx="535356" cy="471941"/>
                  </a:xfrm>
                  <a:prstGeom prst="rect">
                    <a:avLst/>
                  </a:prstGeom>
                  <a:blipFill>
                    <a:blip r:embed="rId4"/>
                    <a:stretch>
                      <a:fillRect l="-18750" t="-8571" r="-41667" b="-20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30E26D53-9336-4616-E00F-F105F28C56D3}"/>
                      </a:ext>
                    </a:extLst>
                  </p:cNvPr>
                  <p:cNvSpPr txBox="1"/>
                  <p:nvPr/>
                </p:nvSpPr>
                <p:spPr>
                  <a:xfrm>
                    <a:off x="9748776" y="3152552"/>
                    <a:ext cx="535356" cy="471941"/>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200" b="1" i="1" smtClean="0">
                              <a:solidFill>
                                <a:srgbClr val="FF0000"/>
                              </a:solidFill>
                              <a:latin typeface="Cambria Math" panose="02040503050406030204" pitchFamily="18" charset="0"/>
                              <a:cs typeface="Microsoft Sans Serif" panose="020B0604020202020204" pitchFamily="34" charset="0"/>
                            </a:rPr>
                            <m:t>𝑻</m:t>
                          </m:r>
                          <m:sSubSup>
                            <m:sSubSupPr>
                              <m:ctrlPr>
                                <a:rPr lang="en-US" sz="1200" b="1" i="1">
                                  <a:solidFill>
                                    <a:srgbClr val="FF0000"/>
                                  </a:solidFill>
                                  <a:latin typeface="Cambria Math" panose="02040503050406030204" pitchFamily="18" charset="0"/>
                                  <a:cs typeface="Microsoft Sans Serif" panose="020B0604020202020204" pitchFamily="34" charset="0"/>
                                </a:rPr>
                              </m:ctrlPr>
                            </m:sSubSupPr>
                            <m:e>
                              <m:r>
                                <a:rPr lang="en-US" sz="1200" b="1" i="1">
                                  <a:solidFill>
                                    <a:srgbClr val="FF0000"/>
                                  </a:solidFill>
                                  <a:latin typeface="Cambria Math" panose="02040503050406030204" pitchFamily="18" charset="0"/>
                                  <a:cs typeface="Microsoft Sans Serif" panose="020B0604020202020204" pitchFamily="34" charset="0"/>
                                </a:rPr>
                                <m:t>𝑩</m:t>
                              </m:r>
                            </m:e>
                            <m:sub>
                              <m:r>
                                <a:rPr lang="en-US" sz="1200" b="1" i="1" smtClean="0">
                                  <a:solidFill>
                                    <a:srgbClr val="FF0000"/>
                                  </a:solidFill>
                                  <a:latin typeface="Cambria Math" panose="02040503050406030204" pitchFamily="18" charset="0"/>
                                  <a:cs typeface="Microsoft Sans Serif" panose="020B0604020202020204" pitchFamily="34" charset="0"/>
                                </a:rPr>
                                <m:t>𝒊</m:t>
                              </m:r>
                            </m:sub>
                            <m:sup>
                              <m:r>
                                <a:rPr lang="en-US" sz="1200" b="1" i="1">
                                  <a:solidFill>
                                    <a:srgbClr val="FF0000"/>
                                  </a:solidFill>
                                  <a:latin typeface="Cambria Math" panose="02040503050406030204" pitchFamily="18" charset="0"/>
                                  <a:cs typeface="Microsoft Sans Serif" panose="020B0604020202020204" pitchFamily="34" charset="0"/>
                                </a:rPr>
                                <m:t>(</m:t>
                              </m:r>
                              <m:r>
                                <a:rPr lang="en-US" sz="1200" b="1" i="1" smtClean="0">
                                  <a:solidFill>
                                    <a:srgbClr val="FF0000"/>
                                  </a:solidFill>
                                  <a:latin typeface="Cambria Math" panose="02040503050406030204" pitchFamily="18" charset="0"/>
                                  <a:cs typeface="Microsoft Sans Serif" panose="020B0604020202020204" pitchFamily="34" charset="0"/>
                                </a:rPr>
                                <m:t>𝒏</m:t>
                              </m:r>
                              <m:r>
                                <a:rPr lang="en-US" sz="1200" b="1" i="1">
                                  <a:solidFill>
                                    <a:srgbClr val="FF0000"/>
                                  </a:solidFill>
                                  <a:latin typeface="Cambria Math" panose="02040503050406030204" pitchFamily="18" charset="0"/>
                                  <a:cs typeface="Microsoft Sans Serif" panose="020B0604020202020204" pitchFamily="34" charset="0"/>
                                </a:rPr>
                                <m:t>)</m:t>
                              </m:r>
                            </m:sup>
                          </m:sSubSup>
                        </m:oMath>
                      </m:oMathPara>
                    </a14:m>
                    <a:endParaRPr lang="en-US" sz="1200" b="1" dirty="0">
                      <a:solidFill>
                        <a:schemeClr val="tx2"/>
                      </a:solidFill>
                      <a:cs typeface="Microsoft Sans Serif" panose="020B0604020202020204" pitchFamily="34" charset="0"/>
                    </a:endParaRPr>
                  </a:p>
                </p:txBody>
              </p:sp>
            </mc:Choice>
            <mc:Fallback>
              <p:sp>
                <p:nvSpPr>
                  <p:cNvPr id="70" name="TextBox 69">
                    <a:extLst>
                      <a:ext uri="{FF2B5EF4-FFF2-40B4-BE49-F238E27FC236}">
                        <a16:creationId xmlns:a16="http://schemas.microsoft.com/office/drawing/2014/main" id="{30E26D53-9336-4616-E00F-F105F28C56D3}"/>
                      </a:ext>
                    </a:extLst>
                  </p:cNvPr>
                  <p:cNvSpPr txBox="1">
                    <a:spLocks noRot="1" noChangeAspect="1" noMove="1" noResize="1" noEditPoints="1" noAdjustHandles="1" noChangeArrowheads="1" noChangeShapeType="1" noTextEdit="1"/>
                  </p:cNvSpPr>
                  <p:nvPr/>
                </p:nvSpPr>
                <p:spPr>
                  <a:xfrm>
                    <a:off x="9748776" y="3152552"/>
                    <a:ext cx="535356" cy="471941"/>
                  </a:xfrm>
                  <a:prstGeom prst="rect">
                    <a:avLst/>
                  </a:prstGeom>
                  <a:blipFill>
                    <a:blip r:embed="rId5"/>
                    <a:stretch>
                      <a:fillRect l="-18750" t="-8333" r="-43750" b="-16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1" name="TextBox 70">
                    <a:extLst>
                      <a:ext uri="{FF2B5EF4-FFF2-40B4-BE49-F238E27FC236}">
                        <a16:creationId xmlns:a16="http://schemas.microsoft.com/office/drawing/2014/main" id="{DF5FC454-5F34-6745-A8E6-68FAD2E1EDFA}"/>
                      </a:ext>
                    </a:extLst>
                  </p:cNvPr>
                  <p:cNvSpPr txBox="1"/>
                  <p:nvPr/>
                </p:nvSpPr>
                <p:spPr>
                  <a:xfrm>
                    <a:off x="4838141" y="6258522"/>
                    <a:ext cx="2397687" cy="1115630"/>
                  </a:xfrm>
                  <a:prstGeom prst="rect">
                    <a:avLst/>
                  </a:prstGeom>
                </p:spPr>
                <p:txBody>
                  <a:bodyPr wrap="square" lIns="0" tIns="0" rIns="0" bIns="0" rtlCol="0">
                    <a:spAutoFit/>
                  </a:bodyPr>
                  <a:lstStyle/>
                  <a:p>
                    <a:pPr algn="ctr">
                      <a:lnSpc>
                        <a:spcPct val="96000"/>
                      </a:lnSpc>
                    </a:pPr>
                    <a:r>
                      <a:rPr lang="en-US" sz="1200" b="0" dirty="0">
                        <a:solidFill>
                          <a:schemeClr val="tx2"/>
                        </a:solidFill>
                        <a:cs typeface="Microsoft Sans Serif" panose="020B0604020202020204" pitchFamily="34" charset="0"/>
                      </a:rPr>
                      <a:t>Parts of </a:t>
                    </a:r>
                    <a14:m>
                      <m:oMath xmlns:m="http://schemas.openxmlformats.org/officeDocument/2006/math">
                        <m:r>
                          <a:rPr lang="en-US" sz="1200" b="0" i="1" smtClean="0">
                            <a:solidFill>
                              <a:schemeClr val="tx2"/>
                            </a:solidFill>
                            <a:latin typeface="Cambria Math" panose="02040503050406030204" pitchFamily="18" charset="0"/>
                            <a:cs typeface="Microsoft Sans Serif" panose="020B0604020202020204" pitchFamily="34" charset="0"/>
                          </a:rPr>
                          <m:t>𝑚</m:t>
                        </m:r>
                      </m:oMath>
                    </a14:m>
                    <a:r>
                      <a:rPr lang="en-US" sz="1200" dirty="0">
                        <a:solidFill>
                          <a:schemeClr val="tx2"/>
                        </a:solidFill>
                        <a:latin typeface="Microsoft Sans Serif"/>
                        <a:cs typeface="Microsoft Sans Serif" panose="020B0604020202020204" pitchFamily="34" charset="0"/>
                      </a:rPr>
                      <a:t> TBs spread across </a:t>
                    </a:r>
                    <a14:m>
                      <m:oMath xmlns:m="http://schemas.openxmlformats.org/officeDocument/2006/math">
                        <m:r>
                          <a:rPr lang="en-US" sz="1200" b="0" i="1" smtClean="0">
                            <a:solidFill>
                              <a:schemeClr val="tx2"/>
                            </a:solidFill>
                            <a:latin typeface="Cambria Math" panose="02040503050406030204" pitchFamily="18" charset="0"/>
                            <a:cs typeface="Microsoft Sans Serif" panose="020B0604020202020204" pitchFamily="34" charset="0"/>
                          </a:rPr>
                          <m:t>𝑚</m:t>
                        </m:r>
                      </m:oMath>
                    </a14:m>
                    <a:r>
                      <a:rPr lang="en-US" sz="1200" dirty="0">
                        <a:solidFill>
                          <a:schemeClr val="tx2"/>
                        </a:solidFill>
                        <a:latin typeface="Microsoft Sans Serif"/>
                        <a:cs typeface="Microsoft Sans Serif" panose="020B0604020202020204" pitchFamily="34" charset="0"/>
                      </a:rPr>
                      <a:t> slots</a:t>
                    </a:r>
                  </a:p>
                </p:txBody>
              </p:sp>
            </mc:Choice>
            <mc:Fallback>
              <p:sp>
                <p:nvSpPr>
                  <p:cNvPr id="71" name="TextBox 70">
                    <a:extLst>
                      <a:ext uri="{FF2B5EF4-FFF2-40B4-BE49-F238E27FC236}">
                        <a16:creationId xmlns:a16="http://schemas.microsoft.com/office/drawing/2014/main" id="{DF5FC454-5F34-6745-A8E6-68FAD2E1EDFA}"/>
                      </a:ext>
                    </a:extLst>
                  </p:cNvPr>
                  <p:cNvSpPr txBox="1">
                    <a:spLocks noRot="1" noChangeAspect="1" noMove="1" noResize="1" noEditPoints="1" noAdjustHandles="1" noChangeArrowheads="1" noChangeShapeType="1" noTextEdit="1"/>
                  </p:cNvSpPr>
                  <p:nvPr/>
                </p:nvSpPr>
                <p:spPr>
                  <a:xfrm>
                    <a:off x="4838141" y="6258522"/>
                    <a:ext cx="2397687" cy="1115630"/>
                  </a:xfrm>
                  <a:prstGeom prst="rect">
                    <a:avLst/>
                  </a:prstGeom>
                  <a:blipFill>
                    <a:blip r:embed="rId6"/>
                    <a:stretch>
                      <a:fillRect t="-11765" b="-20000"/>
                    </a:stretch>
                  </a:blipFill>
                </p:spPr>
                <p:txBody>
                  <a:bodyPr/>
                  <a:lstStyle/>
                  <a:p>
                    <a:r>
                      <a:rPr lang="en-US">
                        <a:noFill/>
                      </a:rPr>
                      <a:t> </a:t>
                    </a:r>
                  </a:p>
                </p:txBody>
              </p:sp>
            </mc:Fallback>
          </mc:AlternateContent>
        </p:grpSp>
        <p:sp>
          <p:nvSpPr>
            <p:cNvPr id="39" name="TextBox 38">
              <a:extLst>
                <a:ext uri="{FF2B5EF4-FFF2-40B4-BE49-F238E27FC236}">
                  <a16:creationId xmlns:a16="http://schemas.microsoft.com/office/drawing/2014/main" id="{17FB9B04-AD8B-46CB-9ED9-DB03A996D3A8}"/>
                </a:ext>
              </a:extLst>
            </p:cNvPr>
            <p:cNvSpPr txBox="1"/>
            <p:nvPr/>
          </p:nvSpPr>
          <p:spPr>
            <a:xfrm>
              <a:off x="5100559" y="1302115"/>
              <a:ext cx="1100706" cy="177293"/>
            </a:xfrm>
            <a:prstGeom prst="rect">
              <a:avLst/>
            </a:prstGeom>
          </p:spPr>
          <p:txBody>
            <a:bodyPr wrap="square" lIns="0" tIns="0" rIns="0" bIns="0" rtlCol="0">
              <a:spAutoFit/>
            </a:bodyPr>
            <a:lstStyle/>
            <a:p>
              <a:pPr algn="ctr">
                <a:lnSpc>
                  <a:spcPct val="96000"/>
                </a:lnSpc>
              </a:pPr>
              <a:r>
                <a:rPr lang="en-US" sz="1200" dirty="0">
                  <a:solidFill>
                    <a:schemeClr val="tx2"/>
                  </a:solidFill>
                  <a:latin typeface="Microsoft Sans Serif"/>
                  <a:cs typeface="Microsoft Sans Serif" panose="020B0604020202020204" pitchFamily="34" charset="0"/>
                </a:rPr>
                <a:t>Original TBS</a:t>
              </a:r>
            </a:p>
          </p:txBody>
        </p:sp>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B5853B77-0A0F-6648-C9BC-54502CE6DA13}"/>
                    </a:ext>
                  </a:extLst>
                </p:cNvPr>
                <p:cNvSpPr txBox="1"/>
                <p:nvPr/>
              </p:nvSpPr>
              <p:spPr>
                <a:xfrm>
                  <a:off x="5650912" y="1716493"/>
                  <a:ext cx="1313262" cy="354583"/>
                </a:xfrm>
                <a:prstGeom prst="rect">
                  <a:avLst/>
                </a:prstGeom>
              </p:spPr>
              <p:txBody>
                <a:bodyPr wrap="square" lIns="0" tIns="0" rIns="0" bIns="0" rtlCol="0">
                  <a:spAutoFit/>
                </a:bodyPr>
                <a:lstStyle/>
                <a:p>
                  <a:pPr algn="ctr">
                    <a:lnSpc>
                      <a:spcPct val="96000"/>
                    </a:lnSpc>
                  </a:pPr>
                  <a:r>
                    <a:rPr lang="en-US" sz="1200" b="1" dirty="0">
                      <a:solidFill>
                        <a:schemeClr val="accent1"/>
                      </a:solidFill>
                      <a:latin typeface="Microsoft Sans Serif"/>
                      <a:cs typeface="Microsoft Sans Serif" panose="020B0604020202020204" pitchFamily="34" charset="0"/>
                    </a:rPr>
                    <a:t>Scale original TBS by a factor of </a:t>
                  </a:r>
                  <a14:m>
                    <m:oMath xmlns:m="http://schemas.openxmlformats.org/officeDocument/2006/math">
                      <m:r>
                        <a:rPr lang="en-US" sz="1200" b="1" i="1" smtClean="0">
                          <a:solidFill>
                            <a:schemeClr val="accent1"/>
                          </a:solidFill>
                          <a:latin typeface="Cambria Math" panose="02040503050406030204" pitchFamily="18" charset="0"/>
                          <a:cs typeface="Microsoft Sans Serif" panose="020B0604020202020204" pitchFamily="34" charset="0"/>
                        </a:rPr>
                        <m:t>𝒏</m:t>
                      </m:r>
                    </m:oMath>
                  </a14:m>
                  <a:endParaRPr lang="en-US" sz="1200" b="1" dirty="0">
                    <a:solidFill>
                      <a:schemeClr val="accent1"/>
                    </a:solidFill>
                    <a:latin typeface="Microsoft Sans Serif"/>
                    <a:cs typeface="Microsoft Sans Serif" panose="020B0604020202020204" pitchFamily="34" charset="0"/>
                  </a:endParaRPr>
                </a:p>
              </p:txBody>
            </p:sp>
          </mc:Choice>
          <mc:Fallback>
            <p:sp>
              <p:nvSpPr>
                <p:cNvPr id="40" name="TextBox 39">
                  <a:extLst>
                    <a:ext uri="{FF2B5EF4-FFF2-40B4-BE49-F238E27FC236}">
                      <a16:creationId xmlns:a16="http://schemas.microsoft.com/office/drawing/2014/main" id="{B5853B77-0A0F-6648-C9BC-54502CE6DA13}"/>
                    </a:ext>
                  </a:extLst>
                </p:cNvPr>
                <p:cNvSpPr txBox="1">
                  <a:spLocks noRot="1" noChangeAspect="1" noMove="1" noResize="1" noEditPoints="1" noAdjustHandles="1" noChangeArrowheads="1" noChangeShapeType="1" noTextEdit="1"/>
                </p:cNvSpPr>
                <p:nvPr/>
              </p:nvSpPr>
              <p:spPr>
                <a:xfrm>
                  <a:off x="5650912" y="1716493"/>
                  <a:ext cx="1313262" cy="354583"/>
                </a:xfrm>
                <a:prstGeom prst="rect">
                  <a:avLst/>
                </a:prstGeom>
                <a:blipFill>
                  <a:blip r:embed="rId7"/>
                  <a:stretch>
                    <a:fillRect l="-6047" t="-17544" r="-7442" b="-2807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1" name="TextBox 40">
                  <a:extLst>
                    <a:ext uri="{FF2B5EF4-FFF2-40B4-BE49-F238E27FC236}">
                      <a16:creationId xmlns:a16="http://schemas.microsoft.com/office/drawing/2014/main" id="{87790CFB-19F0-0FE0-9ACE-810AA528B4DF}"/>
                    </a:ext>
                  </a:extLst>
                </p:cNvPr>
                <p:cNvSpPr txBox="1"/>
                <p:nvPr/>
              </p:nvSpPr>
              <p:spPr>
                <a:xfrm>
                  <a:off x="2720044" y="2203354"/>
                  <a:ext cx="5863203" cy="177293"/>
                </a:xfrm>
                <a:prstGeom prst="rect">
                  <a:avLst/>
                </a:prstGeom>
              </p:spPr>
              <p:txBody>
                <a:bodyPr wrap="square" lIns="0" tIns="0" rIns="0" bIns="0" rtlCol="0">
                  <a:spAutoFit/>
                </a:bodyPr>
                <a:lstStyle/>
                <a:p>
                  <a:pPr algn="ctr">
                    <a:lnSpc>
                      <a:spcPct val="96000"/>
                    </a:lnSpc>
                  </a:pPr>
                  <a:r>
                    <a:rPr lang="en-US" sz="1200" b="1" dirty="0">
                      <a:solidFill>
                        <a:schemeClr val="accent1"/>
                      </a:solidFill>
                      <a:latin typeface="Microsoft Sans Serif"/>
                      <a:cs typeface="Microsoft Sans Serif" panose="020B0604020202020204" pitchFamily="34" charset="0"/>
                    </a:rPr>
                    <a:t>Transmit “parts” (e.g., RVs) of the </a:t>
                  </a:r>
                  <a14:m>
                    <m:oMath xmlns:m="http://schemas.openxmlformats.org/officeDocument/2006/math">
                      <m:r>
                        <a:rPr lang="en-US" sz="1200" b="1" i="1" smtClean="0">
                          <a:solidFill>
                            <a:schemeClr val="accent1"/>
                          </a:solidFill>
                          <a:latin typeface="Cambria Math" panose="02040503050406030204" pitchFamily="18" charset="0"/>
                          <a:cs typeface="Microsoft Sans Serif" panose="020B0604020202020204" pitchFamily="34" charset="0"/>
                        </a:rPr>
                        <m:t>𝒏</m:t>
                      </m:r>
                    </m:oMath>
                  </a14:m>
                  <a:r>
                    <a:rPr lang="en-US" sz="1200" b="1" dirty="0">
                      <a:solidFill>
                        <a:schemeClr val="accent1"/>
                      </a:solidFill>
                      <a:latin typeface="Microsoft Sans Serif"/>
                      <a:cs typeface="Microsoft Sans Serif" panose="020B0604020202020204" pitchFamily="34" charset="0"/>
                    </a:rPr>
                    <a:t>-scaled TB over </a:t>
                  </a:r>
                  <a14:m>
                    <m:oMath xmlns:m="http://schemas.openxmlformats.org/officeDocument/2006/math">
                      <m:r>
                        <a:rPr lang="en-US" sz="1200" b="1" i="1" smtClean="0">
                          <a:solidFill>
                            <a:schemeClr val="accent1"/>
                          </a:solidFill>
                          <a:latin typeface="Cambria Math" panose="02040503050406030204" pitchFamily="18" charset="0"/>
                          <a:cs typeface="Microsoft Sans Serif" panose="020B0604020202020204" pitchFamily="34" charset="0"/>
                        </a:rPr>
                        <m:t>𝒏</m:t>
                      </m:r>
                    </m:oMath>
                  </a14:m>
                  <a:r>
                    <a:rPr lang="en-US" sz="1200" b="1" dirty="0">
                      <a:solidFill>
                        <a:schemeClr val="accent1"/>
                      </a:solidFill>
                      <a:latin typeface="Microsoft Sans Serif"/>
                      <a:cs typeface="Microsoft Sans Serif" panose="020B0604020202020204" pitchFamily="34" charset="0"/>
                    </a:rPr>
                    <a:t> “non-contiguous” slots</a:t>
                  </a:r>
                </a:p>
              </p:txBody>
            </p:sp>
          </mc:Choice>
          <mc:Fallback>
            <p:sp>
              <p:nvSpPr>
                <p:cNvPr id="41" name="TextBox 40">
                  <a:extLst>
                    <a:ext uri="{FF2B5EF4-FFF2-40B4-BE49-F238E27FC236}">
                      <a16:creationId xmlns:a16="http://schemas.microsoft.com/office/drawing/2014/main" id="{87790CFB-19F0-0FE0-9ACE-810AA528B4DF}"/>
                    </a:ext>
                  </a:extLst>
                </p:cNvPr>
                <p:cNvSpPr txBox="1">
                  <a:spLocks noRot="1" noChangeAspect="1" noMove="1" noResize="1" noEditPoints="1" noAdjustHandles="1" noChangeArrowheads="1" noChangeShapeType="1" noTextEdit="1"/>
                </p:cNvSpPr>
                <p:nvPr/>
              </p:nvSpPr>
              <p:spPr>
                <a:xfrm>
                  <a:off x="2720044" y="2203354"/>
                  <a:ext cx="5863203" cy="177293"/>
                </a:xfrm>
                <a:prstGeom prst="rect">
                  <a:avLst/>
                </a:prstGeom>
                <a:blipFill>
                  <a:blip r:embed="rId8"/>
                  <a:stretch>
                    <a:fillRect t="-35714" b="-53571"/>
                  </a:stretch>
                </a:blipFill>
              </p:spPr>
              <p:txBody>
                <a:bodyPr/>
                <a:lstStyle/>
                <a:p>
                  <a:r>
                    <a:rPr lang="en-US">
                      <a:noFill/>
                    </a:rPr>
                    <a:t> </a:t>
                  </a:r>
                </a:p>
              </p:txBody>
            </p:sp>
          </mc:Fallback>
        </mc:AlternateContent>
      </p:grpSp>
      <p:sp>
        <p:nvSpPr>
          <p:cNvPr id="116" name="TextBox 115">
            <a:extLst>
              <a:ext uri="{FF2B5EF4-FFF2-40B4-BE49-F238E27FC236}">
                <a16:creationId xmlns:a16="http://schemas.microsoft.com/office/drawing/2014/main" id="{2D128CE9-33F9-970A-9D89-0FA8FF9FE178}"/>
              </a:ext>
            </a:extLst>
          </p:cNvPr>
          <p:cNvSpPr txBox="1"/>
          <p:nvPr/>
        </p:nvSpPr>
        <p:spPr>
          <a:xfrm>
            <a:off x="5769606" y="5971790"/>
            <a:ext cx="2965190" cy="484884"/>
          </a:xfrm>
          <a:prstGeom prst="rect">
            <a:avLst/>
          </a:prstGeom>
        </p:spPr>
        <p:txBody>
          <a:bodyPr wrap="square" lIns="0" tIns="0" rIns="0" bIns="0" rtlCol="0">
            <a:spAutoFit/>
          </a:bodyPr>
          <a:lstStyle/>
          <a:p>
            <a:pPr algn="ctr">
              <a:lnSpc>
                <a:spcPct val="96000"/>
              </a:lnSpc>
            </a:pPr>
            <a:r>
              <a:rPr lang="en-US" sz="1200" dirty="0">
                <a:solidFill>
                  <a:schemeClr val="tx2"/>
                </a:solidFill>
                <a:latin typeface="Microsoft Sans Serif"/>
                <a:cs typeface="Microsoft Sans Serif" panose="020B0604020202020204" pitchFamily="34" charset="0"/>
              </a:rPr>
              <a:t>Example circular buffer (for a </a:t>
            </a:r>
            <a:r>
              <a:rPr lang="en-US" sz="1200" dirty="0" err="1">
                <a:solidFill>
                  <a:schemeClr val="tx2"/>
                </a:solidFill>
                <a:latin typeface="Microsoft Sans Serif"/>
                <a:cs typeface="Microsoft Sans Serif" panose="020B0604020202020204" pitchFamily="34" charset="0"/>
              </a:rPr>
              <a:t>codeblock</a:t>
            </a:r>
            <a:r>
              <a:rPr lang="en-US" sz="1200" dirty="0">
                <a:solidFill>
                  <a:schemeClr val="tx2"/>
                </a:solidFill>
                <a:latin typeface="Microsoft Sans Serif"/>
                <a:cs typeface="Microsoft Sans Serif" panose="020B0604020202020204" pitchFamily="34" charset="0"/>
              </a:rPr>
              <a:t> of a scaled TB) for incremental redundancy using </a:t>
            </a:r>
            <a:r>
              <a:rPr lang="en-US" sz="1200" b="1" u="sng" dirty="0">
                <a:solidFill>
                  <a:srgbClr val="FF0000"/>
                </a:solidFill>
                <a:latin typeface="Microsoft Sans Serif"/>
                <a:cs typeface="Microsoft Sans Serif" panose="020B0604020202020204" pitchFamily="34" charset="0"/>
              </a:rPr>
              <a:t>“legacy” RV starting pointers</a:t>
            </a:r>
          </a:p>
        </p:txBody>
      </p:sp>
      <p:grpSp>
        <p:nvGrpSpPr>
          <p:cNvPr id="117" name="Group 116">
            <a:extLst>
              <a:ext uri="{FF2B5EF4-FFF2-40B4-BE49-F238E27FC236}">
                <a16:creationId xmlns:a16="http://schemas.microsoft.com/office/drawing/2014/main" id="{2CE762E4-FD95-3383-A9C3-5FF160AE5BD2}"/>
              </a:ext>
            </a:extLst>
          </p:cNvPr>
          <p:cNvGrpSpPr/>
          <p:nvPr/>
        </p:nvGrpSpPr>
        <p:grpSpPr>
          <a:xfrm>
            <a:off x="6111394" y="3429150"/>
            <a:ext cx="2867417" cy="2365901"/>
            <a:chOff x="1136948" y="1609170"/>
            <a:chExt cx="4604887" cy="3778623"/>
          </a:xfrm>
        </p:grpSpPr>
        <p:sp>
          <p:nvSpPr>
            <p:cNvPr id="141" name="Circle: Hollow 140">
              <a:extLst>
                <a:ext uri="{FF2B5EF4-FFF2-40B4-BE49-F238E27FC236}">
                  <a16:creationId xmlns:a16="http://schemas.microsoft.com/office/drawing/2014/main" id="{460131DE-ABA2-558B-2FF4-91972C15DD10}"/>
                </a:ext>
              </a:extLst>
            </p:cNvPr>
            <p:cNvSpPr/>
            <p:nvPr/>
          </p:nvSpPr>
          <p:spPr>
            <a:xfrm>
              <a:off x="1427747" y="2032870"/>
              <a:ext cx="2935706" cy="2919664"/>
            </a:xfrm>
            <a:prstGeom prst="donut">
              <a:avLst>
                <a:gd name="adj" fmla="val 798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42" name="Block Arc 141">
              <a:extLst>
                <a:ext uri="{FF2B5EF4-FFF2-40B4-BE49-F238E27FC236}">
                  <a16:creationId xmlns:a16="http://schemas.microsoft.com/office/drawing/2014/main" id="{D193EE52-8378-6CAC-CBC0-CCDB8813875E}"/>
                </a:ext>
              </a:extLst>
            </p:cNvPr>
            <p:cNvSpPr/>
            <p:nvPr/>
          </p:nvSpPr>
          <p:spPr>
            <a:xfrm>
              <a:off x="1427747" y="2086658"/>
              <a:ext cx="2826124" cy="2514600"/>
            </a:xfrm>
            <a:prstGeom prst="blockArc">
              <a:avLst>
                <a:gd name="adj1" fmla="val 16246204"/>
                <a:gd name="adj2" fmla="val 19207162"/>
                <a:gd name="adj3" fmla="val 393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43" name="Block Arc 142">
              <a:extLst>
                <a:ext uri="{FF2B5EF4-FFF2-40B4-BE49-F238E27FC236}">
                  <a16:creationId xmlns:a16="http://schemas.microsoft.com/office/drawing/2014/main" id="{E6356EB6-1F94-CF4F-434C-427A6D8CF398}"/>
                </a:ext>
              </a:extLst>
            </p:cNvPr>
            <p:cNvSpPr/>
            <p:nvPr/>
          </p:nvSpPr>
          <p:spPr>
            <a:xfrm rot="5400000">
              <a:off x="1747513" y="2230950"/>
              <a:ext cx="2705441" cy="2416857"/>
            </a:xfrm>
            <a:prstGeom prst="blockArc">
              <a:avLst>
                <a:gd name="adj1" fmla="val 16246204"/>
                <a:gd name="adj2" fmla="val 19207161"/>
                <a:gd name="adj3" fmla="val 39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44" name="Block Arc 143">
              <a:extLst>
                <a:ext uri="{FF2B5EF4-FFF2-40B4-BE49-F238E27FC236}">
                  <a16:creationId xmlns:a16="http://schemas.microsoft.com/office/drawing/2014/main" id="{93B77B4C-794A-83AD-D179-FBAB486DC753}"/>
                </a:ext>
              </a:extLst>
            </p:cNvPr>
            <p:cNvSpPr/>
            <p:nvPr/>
          </p:nvSpPr>
          <p:spPr>
            <a:xfrm rot="10800000">
              <a:off x="1539676" y="2455340"/>
              <a:ext cx="2705441" cy="2416857"/>
            </a:xfrm>
            <a:prstGeom prst="blockArc">
              <a:avLst>
                <a:gd name="adj1" fmla="val 16246204"/>
                <a:gd name="adj2" fmla="val 19207161"/>
                <a:gd name="adj3" fmla="val 3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45" name="Block Arc 144">
              <a:extLst>
                <a:ext uri="{FF2B5EF4-FFF2-40B4-BE49-F238E27FC236}">
                  <a16:creationId xmlns:a16="http://schemas.microsoft.com/office/drawing/2014/main" id="{E590207D-88C6-EEC1-5F41-C8293A9B9BE3}"/>
                </a:ext>
              </a:extLst>
            </p:cNvPr>
            <p:cNvSpPr/>
            <p:nvPr/>
          </p:nvSpPr>
          <p:spPr>
            <a:xfrm rot="18054393">
              <a:off x="1334543" y="2230950"/>
              <a:ext cx="2705441" cy="2416857"/>
            </a:xfrm>
            <a:prstGeom prst="blockArc">
              <a:avLst>
                <a:gd name="adj1" fmla="val 16246204"/>
                <a:gd name="adj2" fmla="val 19207161"/>
                <a:gd name="adj3" fmla="val 393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cxnSp>
          <p:nvCxnSpPr>
            <p:cNvPr id="146" name="Straight Connector 145">
              <a:extLst>
                <a:ext uri="{FF2B5EF4-FFF2-40B4-BE49-F238E27FC236}">
                  <a16:creationId xmlns:a16="http://schemas.microsoft.com/office/drawing/2014/main" id="{1494BDFE-EAF4-53B5-3202-6312B7206D9F}"/>
                </a:ext>
              </a:extLst>
            </p:cNvPr>
            <p:cNvCxnSpPr/>
            <p:nvPr/>
          </p:nvCxnSpPr>
          <p:spPr>
            <a:xfrm flipV="1">
              <a:off x="2840809" y="1609170"/>
              <a:ext cx="0" cy="663388"/>
            </a:xfrm>
            <a:prstGeom prst="line">
              <a:avLst/>
            </a:prstGeom>
            <a:ln w="25400" cap="rnd">
              <a:solidFill>
                <a:schemeClr val="tx1"/>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056DE43C-F7DD-BC5B-888E-B61146BBAB26}"/>
                </a:ext>
              </a:extLst>
            </p:cNvPr>
            <p:cNvCxnSpPr/>
            <p:nvPr/>
          </p:nvCxnSpPr>
          <p:spPr>
            <a:xfrm flipV="1">
              <a:off x="2857736" y="4724405"/>
              <a:ext cx="0" cy="663388"/>
            </a:xfrm>
            <a:prstGeom prst="line">
              <a:avLst/>
            </a:prstGeom>
            <a:ln w="25400" cap="rnd">
              <a:solidFill>
                <a:schemeClr val="accent1"/>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5F62A46-AC4E-2C4C-1C0B-EACB2109B810}"/>
                </a:ext>
              </a:extLst>
            </p:cNvPr>
            <p:cNvCxnSpPr>
              <a:cxnSpLocks/>
            </p:cNvCxnSpPr>
            <p:nvPr/>
          </p:nvCxnSpPr>
          <p:spPr>
            <a:xfrm>
              <a:off x="4145174" y="3439378"/>
              <a:ext cx="745073" cy="0"/>
            </a:xfrm>
            <a:prstGeom prst="line">
              <a:avLst/>
            </a:prstGeom>
            <a:ln w="25400" cap="rnd">
              <a:solidFill>
                <a:srgbClr val="FF0000"/>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50E7C154-BAF6-C4BD-8864-839D1024320B}"/>
                </a:ext>
              </a:extLst>
            </p:cNvPr>
            <p:cNvCxnSpPr>
              <a:cxnSpLocks/>
            </p:cNvCxnSpPr>
            <p:nvPr/>
          </p:nvCxnSpPr>
          <p:spPr>
            <a:xfrm flipH="1" flipV="1">
              <a:off x="1136948" y="2541499"/>
              <a:ext cx="653421" cy="331694"/>
            </a:xfrm>
            <a:prstGeom prst="line">
              <a:avLst/>
            </a:prstGeom>
            <a:ln w="25400" cap="rnd">
              <a:solidFill>
                <a:srgbClr val="00B050"/>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50" name="TextBox 149">
                  <a:extLst>
                    <a:ext uri="{FF2B5EF4-FFF2-40B4-BE49-F238E27FC236}">
                      <a16:creationId xmlns:a16="http://schemas.microsoft.com/office/drawing/2014/main" id="{6A46BB96-4DA8-B3D5-EA62-30FB85B2A869}"/>
                    </a:ext>
                  </a:extLst>
                </p:cNvPr>
                <p:cNvSpPr txBox="1"/>
                <p:nvPr/>
              </p:nvSpPr>
              <p:spPr>
                <a:xfrm>
                  <a:off x="2840809" y="1740075"/>
                  <a:ext cx="1044929" cy="258789"/>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600" b="1" i="1" smtClean="0">
                            <a:solidFill>
                              <a:schemeClr val="tx2"/>
                            </a:solidFill>
                            <a:latin typeface="Cambria Math" panose="02040503050406030204" pitchFamily="18" charset="0"/>
                            <a:cs typeface="Microsoft Sans Serif" panose="020B0604020202020204" pitchFamily="34" charset="0"/>
                          </a:rPr>
                          <m:t>𝑹</m:t>
                        </m:r>
                        <m:sSub>
                          <m:sSubPr>
                            <m:ctrlPr>
                              <a:rPr lang="en-US" sz="1600" b="1" i="1" smtClean="0">
                                <a:solidFill>
                                  <a:schemeClr val="tx2"/>
                                </a:solidFill>
                                <a:latin typeface="Cambria Math" panose="02040503050406030204" pitchFamily="18" charset="0"/>
                                <a:cs typeface="Microsoft Sans Serif" panose="020B0604020202020204" pitchFamily="34" charset="0"/>
                              </a:rPr>
                            </m:ctrlPr>
                          </m:sSubPr>
                          <m:e>
                            <m:r>
                              <a:rPr lang="en-US" sz="1600" b="1" i="1" smtClean="0">
                                <a:solidFill>
                                  <a:schemeClr val="tx2"/>
                                </a:solidFill>
                                <a:latin typeface="Cambria Math" panose="02040503050406030204" pitchFamily="18" charset="0"/>
                                <a:cs typeface="Microsoft Sans Serif" panose="020B0604020202020204" pitchFamily="34" charset="0"/>
                              </a:rPr>
                              <m:t>𝑽</m:t>
                            </m:r>
                          </m:e>
                          <m:sub>
                            <m:r>
                              <a:rPr lang="en-US" sz="1600" b="1" i="1" smtClean="0">
                                <a:solidFill>
                                  <a:schemeClr val="tx2"/>
                                </a:solidFill>
                                <a:latin typeface="Cambria Math" panose="02040503050406030204" pitchFamily="18" charset="0"/>
                                <a:cs typeface="Microsoft Sans Serif" panose="020B0604020202020204" pitchFamily="34" charset="0"/>
                              </a:rPr>
                              <m:t>𝟎</m:t>
                            </m:r>
                            <m:r>
                              <a:rPr lang="en-US" sz="1600" b="1" i="1" smtClean="0">
                                <a:solidFill>
                                  <a:schemeClr val="tx2"/>
                                </a:solidFill>
                                <a:latin typeface="Cambria Math" panose="02040503050406030204" pitchFamily="18" charset="0"/>
                                <a:cs typeface="Microsoft Sans Serif" panose="020B0604020202020204" pitchFamily="34" charset="0"/>
                              </a:rPr>
                              <m:t>,</m:t>
                            </m:r>
                            <m:r>
                              <a:rPr lang="en-US" sz="1600" b="1" i="1" smtClean="0">
                                <a:solidFill>
                                  <a:schemeClr val="tx2"/>
                                </a:solidFill>
                                <a:latin typeface="Cambria Math" panose="02040503050406030204" pitchFamily="18" charset="0"/>
                                <a:cs typeface="Microsoft Sans Serif" panose="020B0604020202020204" pitchFamily="34" charset="0"/>
                              </a:rPr>
                              <m:t>𝑳𝒆𝒈𝒂𝒄𝒚</m:t>
                            </m:r>
                          </m:sub>
                        </m:sSub>
                      </m:oMath>
                    </m:oMathPara>
                  </a14:m>
                  <a:endParaRPr lang="en-US" sz="1600" b="1" dirty="0">
                    <a:solidFill>
                      <a:schemeClr val="tx2"/>
                    </a:solidFill>
                    <a:latin typeface="Microsoft Sans Serif"/>
                    <a:cs typeface="Microsoft Sans Serif" panose="020B0604020202020204" pitchFamily="34" charset="0"/>
                  </a:endParaRPr>
                </a:p>
              </p:txBody>
            </p:sp>
          </mc:Choice>
          <mc:Fallback>
            <p:sp>
              <p:nvSpPr>
                <p:cNvPr id="150" name="TextBox 149">
                  <a:extLst>
                    <a:ext uri="{FF2B5EF4-FFF2-40B4-BE49-F238E27FC236}">
                      <a16:creationId xmlns:a16="http://schemas.microsoft.com/office/drawing/2014/main" id="{6A46BB96-4DA8-B3D5-EA62-30FB85B2A869}"/>
                    </a:ext>
                  </a:extLst>
                </p:cNvPr>
                <p:cNvSpPr txBox="1">
                  <a:spLocks noRot="1" noChangeAspect="1" noMove="1" noResize="1" noEditPoints="1" noAdjustHandles="1" noChangeArrowheads="1" noChangeShapeType="1" noTextEdit="1"/>
                </p:cNvSpPr>
                <p:nvPr/>
              </p:nvSpPr>
              <p:spPr>
                <a:xfrm>
                  <a:off x="2840809" y="1740075"/>
                  <a:ext cx="1044929" cy="258789"/>
                </a:xfrm>
                <a:prstGeom prst="rect">
                  <a:avLst/>
                </a:prstGeom>
                <a:blipFill>
                  <a:blip r:embed="rId9"/>
                  <a:stretch>
                    <a:fillRect l="-11321" r="-50943" b="-100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1" name="TextBox 150">
                  <a:extLst>
                    <a:ext uri="{FF2B5EF4-FFF2-40B4-BE49-F238E27FC236}">
                      <a16:creationId xmlns:a16="http://schemas.microsoft.com/office/drawing/2014/main" id="{C9A493C8-B364-B747-3BBE-D2B6C2C39049}"/>
                    </a:ext>
                  </a:extLst>
                </p:cNvPr>
                <p:cNvSpPr txBox="1"/>
                <p:nvPr/>
              </p:nvSpPr>
              <p:spPr>
                <a:xfrm>
                  <a:off x="4380197" y="3462863"/>
                  <a:ext cx="1044928" cy="258789"/>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600" b="1" i="1" smtClean="0">
                            <a:solidFill>
                              <a:srgbClr val="FF0000"/>
                            </a:solidFill>
                            <a:latin typeface="Cambria Math" panose="02040503050406030204" pitchFamily="18" charset="0"/>
                            <a:cs typeface="Microsoft Sans Serif" panose="020B0604020202020204" pitchFamily="34" charset="0"/>
                          </a:rPr>
                          <m:t>𝑹</m:t>
                        </m:r>
                        <m:sSub>
                          <m:sSubPr>
                            <m:ctrlPr>
                              <a:rPr lang="en-US" sz="1600" b="1" i="1" smtClean="0">
                                <a:solidFill>
                                  <a:srgbClr val="FF0000"/>
                                </a:solidFill>
                                <a:latin typeface="Cambria Math" panose="02040503050406030204" pitchFamily="18" charset="0"/>
                                <a:cs typeface="Microsoft Sans Serif" panose="020B0604020202020204" pitchFamily="34" charset="0"/>
                              </a:rPr>
                            </m:ctrlPr>
                          </m:sSubPr>
                          <m:e>
                            <m:r>
                              <a:rPr lang="en-US" sz="1600" b="1" i="1" smtClean="0">
                                <a:solidFill>
                                  <a:srgbClr val="FF0000"/>
                                </a:solidFill>
                                <a:latin typeface="Cambria Math" panose="02040503050406030204" pitchFamily="18" charset="0"/>
                                <a:cs typeface="Microsoft Sans Serif" panose="020B0604020202020204" pitchFamily="34" charset="0"/>
                              </a:rPr>
                              <m:t>𝑽</m:t>
                            </m:r>
                          </m:e>
                          <m:sub>
                            <m:r>
                              <a:rPr lang="en-US" sz="1600" b="1" i="1" smtClean="0">
                                <a:solidFill>
                                  <a:srgbClr val="FF0000"/>
                                </a:solidFill>
                                <a:latin typeface="Cambria Math" panose="02040503050406030204" pitchFamily="18" charset="0"/>
                                <a:cs typeface="Microsoft Sans Serif" panose="020B0604020202020204" pitchFamily="34" charset="0"/>
                              </a:rPr>
                              <m:t>𝟏</m:t>
                            </m:r>
                            <m:r>
                              <a:rPr lang="en-US" sz="1600" b="1" i="1" smtClean="0">
                                <a:solidFill>
                                  <a:srgbClr val="FF0000"/>
                                </a:solidFill>
                                <a:latin typeface="Cambria Math" panose="02040503050406030204" pitchFamily="18" charset="0"/>
                                <a:cs typeface="Microsoft Sans Serif" panose="020B0604020202020204" pitchFamily="34" charset="0"/>
                              </a:rPr>
                              <m:t>,</m:t>
                            </m:r>
                            <m:r>
                              <a:rPr lang="en-US" sz="1600" b="1" i="1" smtClean="0">
                                <a:solidFill>
                                  <a:srgbClr val="FF0000"/>
                                </a:solidFill>
                                <a:latin typeface="Cambria Math" panose="02040503050406030204" pitchFamily="18" charset="0"/>
                                <a:cs typeface="Microsoft Sans Serif" panose="020B0604020202020204" pitchFamily="34" charset="0"/>
                              </a:rPr>
                              <m:t>𝑳𝒆𝒈𝒂𝒄𝒚</m:t>
                            </m:r>
                          </m:sub>
                        </m:sSub>
                      </m:oMath>
                    </m:oMathPara>
                  </a14:m>
                  <a:endParaRPr lang="en-US" sz="1600" b="1" dirty="0">
                    <a:solidFill>
                      <a:srgbClr val="FF0000"/>
                    </a:solidFill>
                    <a:latin typeface="Microsoft Sans Serif"/>
                    <a:cs typeface="Microsoft Sans Serif" panose="020B0604020202020204" pitchFamily="34" charset="0"/>
                  </a:endParaRPr>
                </a:p>
              </p:txBody>
            </p:sp>
          </mc:Choice>
          <mc:Fallback>
            <p:sp>
              <p:nvSpPr>
                <p:cNvPr id="151" name="TextBox 150">
                  <a:extLst>
                    <a:ext uri="{FF2B5EF4-FFF2-40B4-BE49-F238E27FC236}">
                      <a16:creationId xmlns:a16="http://schemas.microsoft.com/office/drawing/2014/main" id="{C9A493C8-B364-B747-3BBE-D2B6C2C39049}"/>
                    </a:ext>
                  </a:extLst>
                </p:cNvPr>
                <p:cNvSpPr txBox="1">
                  <a:spLocks noRot="1" noChangeAspect="1" noMove="1" noResize="1" noEditPoints="1" noAdjustHandles="1" noChangeArrowheads="1" noChangeShapeType="1" noTextEdit="1"/>
                </p:cNvSpPr>
                <p:nvPr/>
              </p:nvSpPr>
              <p:spPr>
                <a:xfrm>
                  <a:off x="4380197" y="3462863"/>
                  <a:ext cx="1044928" cy="258789"/>
                </a:xfrm>
                <a:prstGeom prst="rect">
                  <a:avLst/>
                </a:prstGeom>
                <a:blipFill>
                  <a:blip r:embed="rId10"/>
                  <a:stretch>
                    <a:fillRect l="-11215" r="-49533" b="-100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2" name="TextBox 151">
                  <a:extLst>
                    <a:ext uri="{FF2B5EF4-FFF2-40B4-BE49-F238E27FC236}">
                      <a16:creationId xmlns:a16="http://schemas.microsoft.com/office/drawing/2014/main" id="{69C40C15-FF0C-A2BC-524A-7ED424BF3E23}"/>
                    </a:ext>
                  </a:extLst>
                </p:cNvPr>
                <p:cNvSpPr txBox="1"/>
                <p:nvPr/>
              </p:nvSpPr>
              <p:spPr>
                <a:xfrm>
                  <a:off x="1413658" y="4791286"/>
                  <a:ext cx="1044928" cy="258789"/>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600" b="1" i="1" smtClean="0">
                            <a:solidFill>
                              <a:schemeClr val="accent1"/>
                            </a:solidFill>
                            <a:latin typeface="Cambria Math" panose="02040503050406030204" pitchFamily="18" charset="0"/>
                            <a:cs typeface="Microsoft Sans Serif" panose="020B0604020202020204" pitchFamily="34" charset="0"/>
                          </a:rPr>
                          <m:t>𝑹</m:t>
                        </m:r>
                        <m:sSub>
                          <m:sSubPr>
                            <m:ctrlPr>
                              <a:rPr lang="en-US" sz="1600" b="1" i="1" smtClean="0">
                                <a:solidFill>
                                  <a:schemeClr val="accent1"/>
                                </a:solidFill>
                                <a:latin typeface="Cambria Math" panose="02040503050406030204" pitchFamily="18" charset="0"/>
                                <a:cs typeface="Microsoft Sans Serif" panose="020B0604020202020204" pitchFamily="34" charset="0"/>
                              </a:rPr>
                            </m:ctrlPr>
                          </m:sSubPr>
                          <m:e>
                            <m:r>
                              <a:rPr lang="en-US" sz="1600" b="1" i="1" smtClean="0">
                                <a:solidFill>
                                  <a:schemeClr val="accent1"/>
                                </a:solidFill>
                                <a:latin typeface="Cambria Math" panose="02040503050406030204" pitchFamily="18" charset="0"/>
                                <a:cs typeface="Microsoft Sans Serif" panose="020B0604020202020204" pitchFamily="34" charset="0"/>
                              </a:rPr>
                              <m:t>𝑽</m:t>
                            </m:r>
                          </m:e>
                          <m:sub>
                            <m:r>
                              <a:rPr lang="en-US" sz="1600" b="1" i="1" smtClean="0">
                                <a:solidFill>
                                  <a:schemeClr val="accent1"/>
                                </a:solidFill>
                                <a:latin typeface="Cambria Math" panose="02040503050406030204" pitchFamily="18" charset="0"/>
                                <a:cs typeface="Microsoft Sans Serif" panose="020B0604020202020204" pitchFamily="34" charset="0"/>
                              </a:rPr>
                              <m:t>𝟐</m:t>
                            </m:r>
                            <m:r>
                              <a:rPr lang="en-US" sz="1600" b="1" i="1" smtClean="0">
                                <a:solidFill>
                                  <a:schemeClr val="accent1"/>
                                </a:solidFill>
                                <a:latin typeface="Cambria Math" panose="02040503050406030204" pitchFamily="18" charset="0"/>
                                <a:cs typeface="Microsoft Sans Serif" panose="020B0604020202020204" pitchFamily="34" charset="0"/>
                              </a:rPr>
                              <m:t>,</m:t>
                            </m:r>
                            <m:r>
                              <a:rPr lang="en-US" sz="1600" b="1" i="1" smtClean="0">
                                <a:solidFill>
                                  <a:schemeClr val="accent1"/>
                                </a:solidFill>
                                <a:latin typeface="Cambria Math" panose="02040503050406030204" pitchFamily="18" charset="0"/>
                                <a:cs typeface="Microsoft Sans Serif" panose="020B0604020202020204" pitchFamily="34" charset="0"/>
                              </a:rPr>
                              <m:t>𝑳𝒆𝒈𝒂𝒄𝒚</m:t>
                            </m:r>
                          </m:sub>
                        </m:sSub>
                      </m:oMath>
                    </m:oMathPara>
                  </a14:m>
                  <a:endParaRPr lang="en-US" sz="1600" b="1" dirty="0">
                    <a:solidFill>
                      <a:schemeClr val="accent1"/>
                    </a:solidFill>
                    <a:latin typeface="Microsoft Sans Serif"/>
                    <a:cs typeface="Microsoft Sans Serif" panose="020B0604020202020204" pitchFamily="34" charset="0"/>
                  </a:endParaRPr>
                </a:p>
              </p:txBody>
            </p:sp>
          </mc:Choice>
          <mc:Fallback>
            <p:sp>
              <p:nvSpPr>
                <p:cNvPr id="152" name="TextBox 151">
                  <a:extLst>
                    <a:ext uri="{FF2B5EF4-FFF2-40B4-BE49-F238E27FC236}">
                      <a16:creationId xmlns:a16="http://schemas.microsoft.com/office/drawing/2014/main" id="{69C40C15-FF0C-A2BC-524A-7ED424BF3E23}"/>
                    </a:ext>
                  </a:extLst>
                </p:cNvPr>
                <p:cNvSpPr txBox="1">
                  <a:spLocks noRot="1" noChangeAspect="1" noMove="1" noResize="1" noEditPoints="1" noAdjustHandles="1" noChangeArrowheads="1" noChangeShapeType="1" noTextEdit="1"/>
                </p:cNvSpPr>
                <p:nvPr/>
              </p:nvSpPr>
              <p:spPr>
                <a:xfrm>
                  <a:off x="1413658" y="4791286"/>
                  <a:ext cx="1044928" cy="258789"/>
                </a:xfrm>
                <a:prstGeom prst="rect">
                  <a:avLst/>
                </a:prstGeom>
                <a:blipFill>
                  <a:blip r:embed="rId11"/>
                  <a:stretch>
                    <a:fillRect l="-11215" r="-49533" b="-100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3" name="TextBox 152">
                  <a:extLst>
                    <a:ext uri="{FF2B5EF4-FFF2-40B4-BE49-F238E27FC236}">
                      <a16:creationId xmlns:a16="http://schemas.microsoft.com/office/drawing/2014/main" id="{97FF70CC-FC0C-95A6-6665-4F5C45C627F5}"/>
                    </a:ext>
                  </a:extLst>
                </p:cNvPr>
                <p:cNvSpPr txBox="1"/>
                <p:nvPr/>
              </p:nvSpPr>
              <p:spPr>
                <a:xfrm rot="18628134">
                  <a:off x="1234512" y="2071758"/>
                  <a:ext cx="1044929" cy="258788"/>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600" b="1" i="1" smtClean="0">
                            <a:solidFill>
                              <a:srgbClr val="00B050"/>
                            </a:solidFill>
                            <a:latin typeface="Cambria Math" panose="02040503050406030204" pitchFamily="18" charset="0"/>
                            <a:cs typeface="Microsoft Sans Serif" panose="020B0604020202020204" pitchFamily="34" charset="0"/>
                          </a:rPr>
                          <m:t>𝑹</m:t>
                        </m:r>
                        <m:sSub>
                          <m:sSubPr>
                            <m:ctrlPr>
                              <a:rPr lang="en-US" sz="1600" b="1" i="1" smtClean="0">
                                <a:solidFill>
                                  <a:srgbClr val="00B050"/>
                                </a:solidFill>
                                <a:latin typeface="Cambria Math" panose="02040503050406030204" pitchFamily="18" charset="0"/>
                                <a:cs typeface="Microsoft Sans Serif" panose="020B0604020202020204" pitchFamily="34" charset="0"/>
                              </a:rPr>
                            </m:ctrlPr>
                          </m:sSubPr>
                          <m:e>
                            <m:r>
                              <a:rPr lang="en-US" sz="1600" b="1" i="1" smtClean="0">
                                <a:solidFill>
                                  <a:srgbClr val="00B050"/>
                                </a:solidFill>
                                <a:latin typeface="Cambria Math" panose="02040503050406030204" pitchFamily="18" charset="0"/>
                                <a:cs typeface="Microsoft Sans Serif" panose="020B0604020202020204" pitchFamily="34" charset="0"/>
                              </a:rPr>
                              <m:t>𝑽</m:t>
                            </m:r>
                          </m:e>
                          <m:sub>
                            <m:r>
                              <a:rPr lang="en-US" sz="1600" b="1" i="1" smtClean="0">
                                <a:solidFill>
                                  <a:srgbClr val="00B050"/>
                                </a:solidFill>
                                <a:latin typeface="Cambria Math" panose="02040503050406030204" pitchFamily="18" charset="0"/>
                                <a:cs typeface="Microsoft Sans Serif" panose="020B0604020202020204" pitchFamily="34" charset="0"/>
                              </a:rPr>
                              <m:t>𝟑</m:t>
                            </m:r>
                            <m:r>
                              <a:rPr lang="en-US" sz="1600" b="1" i="1" smtClean="0">
                                <a:solidFill>
                                  <a:srgbClr val="00B050"/>
                                </a:solidFill>
                                <a:latin typeface="Cambria Math" panose="02040503050406030204" pitchFamily="18" charset="0"/>
                                <a:cs typeface="Microsoft Sans Serif" panose="020B0604020202020204" pitchFamily="34" charset="0"/>
                              </a:rPr>
                              <m:t>,</m:t>
                            </m:r>
                            <m:r>
                              <a:rPr lang="en-US" sz="1600" b="1" i="1" smtClean="0">
                                <a:solidFill>
                                  <a:srgbClr val="00B050"/>
                                </a:solidFill>
                                <a:latin typeface="Cambria Math" panose="02040503050406030204" pitchFamily="18" charset="0"/>
                                <a:cs typeface="Microsoft Sans Serif" panose="020B0604020202020204" pitchFamily="34" charset="0"/>
                              </a:rPr>
                              <m:t>𝑳𝒆𝒈𝒂𝒄𝒚</m:t>
                            </m:r>
                          </m:sub>
                        </m:sSub>
                      </m:oMath>
                    </m:oMathPara>
                  </a14:m>
                  <a:endParaRPr lang="en-US" sz="1600" b="1" dirty="0">
                    <a:solidFill>
                      <a:srgbClr val="00B050"/>
                    </a:solidFill>
                    <a:latin typeface="Microsoft Sans Serif"/>
                    <a:cs typeface="Microsoft Sans Serif" panose="020B0604020202020204" pitchFamily="34" charset="0"/>
                  </a:endParaRPr>
                </a:p>
              </p:txBody>
            </p:sp>
          </mc:Choice>
          <mc:Fallback>
            <p:sp>
              <p:nvSpPr>
                <p:cNvPr id="153" name="TextBox 152">
                  <a:extLst>
                    <a:ext uri="{FF2B5EF4-FFF2-40B4-BE49-F238E27FC236}">
                      <a16:creationId xmlns:a16="http://schemas.microsoft.com/office/drawing/2014/main" id="{97FF70CC-FC0C-95A6-6665-4F5C45C627F5}"/>
                    </a:ext>
                  </a:extLst>
                </p:cNvPr>
                <p:cNvSpPr txBox="1">
                  <a:spLocks noRot="1" noChangeAspect="1" noMove="1" noResize="1" noEditPoints="1" noAdjustHandles="1" noChangeArrowheads="1" noChangeShapeType="1" noTextEdit="1"/>
                </p:cNvSpPr>
                <p:nvPr/>
              </p:nvSpPr>
              <p:spPr>
                <a:xfrm rot="18628134">
                  <a:off x="1234512" y="2071758"/>
                  <a:ext cx="1044929" cy="258788"/>
                </a:xfrm>
                <a:prstGeom prst="rect">
                  <a:avLst/>
                </a:prstGeom>
                <a:blipFill>
                  <a:blip r:embed="rId12"/>
                  <a:stretch>
                    <a:fillRect l="-4396" t="-28000" r="-60440" b="-19000"/>
                  </a:stretch>
                </a:blipFill>
              </p:spPr>
              <p:txBody>
                <a:bodyPr/>
                <a:lstStyle/>
                <a:p>
                  <a:r>
                    <a:rPr lang="en-US">
                      <a:noFill/>
                    </a:rPr>
                    <a:t> </a:t>
                  </a:r>
                </a:p>
              </p:txBody>
            </p:sp>
          </mc:Fallback>
        </mc:AlternateContent>
        <p:sp>
          <p:nvSpPr>
            <p:cNvPr id="154" name="Block Arc 153">
              <a:extLst>
                <a:ext uri="{FF2B5EF4-FFF2-40B4-BE49-F238E27FC236}">
                  <a16:creationId xmlns:a16="http://schemas.microsoft.com/office/drawing/2014/main" id="{F7662930-217A-5B8A-C8A1-DDE798CFD238}"/>
                </a:ext>
              </a:extLst>
            </p:cNvPr>
            <p:cNvSpPr/>
            <p:nvPr/>
          </p:nvSpPr>
          <p:spPr>
            <a:xfrm rot="2813002">
              <a:off x="1534337" y="2103739"/>
              <a:ext cx="2826124" cy="2514600"/>
            </a:xfrm>
            <a:prstGeom prst="blockArc">
              <a:avLst>
                <a:gd name="adj1" fmla="val 16246204"/>
                <a:gd name="adj2" fmla="val 18334133"/>
                <a:gd name="adj3" fmla="val 2922"/>
              </a:avLst>
            </a:prstGeom>
            <a:pattFill prst="plaid">
              <a:fgClr>
                <a:srgbClr val="7030A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55" name="TextBox 154">
              <a:extLst>
                <a:ext uri="{FF2B5EF4-FFF2-40B4-BE49-F238E27FC236}">
                  <a16:creationId xmlns:a16="http://schemas.microsoft.com/office/drawing/2014/main" id="{3F747981-137B-6F51-DAE2-D661E29DC0B2}"/>
                </a:ext>
              </a:extLst>
            </p:cNvPr>
            <p:cNvSpPr txBox="1"/>
            <p:nvPr/>
          </p:nvSpPr>
          <p:spPr>
            <a:xfrm>
              <a:off x="4343341" y="2249796"/>
              <a:ext cx="1398494" cy="531877"/>
            </a:xfrm>
            <a:prstGeom prst="rect">
              <a:avLst/>
            </a:prstGeom>
          </p:spPr>
          <p:txBody>
            <a:bodyPr wrap="square" lIns="0" tIns="0" rIns="0" bIns="0" rtlCol="0">
              <a:spAutoFit/>
            </a:bodyPr>
            <a:lstStyle/>
            <a:p>
              <a:pPr algn="ctr">
                <a:lnSpc>
                  <a:spcPct val="96000"/>
                </a:lnSpc>
              </a:pPr>
              <a:r>
                <a:rPr lang="en-US" sz="1200" dirty="0">
                  <a:solidFill>
                    <a:srgbClr val="7030A0"/>
                  </a:solidFill>
                  <a:latin typeface="Microsoft Sans Serif"/>
                  <a:cs typeface="Microsoft Sans Serif" panose="020B0604020202020204" pitchFamily="34" charset="0"/>
                </a:rPr>
                <a:t>(Potentially) punctured systematic bits</a:t>
              </a:r>
            </a:p>
          </p:txBody>
        </p:sp>
        <p:cxnSp>
          <p:nvCxnSpPr>
            <p:cNvPr id="156" name="Straight Arrow Connector 155">
              <a:extLst>
                <a:ext uri="{FF2B5EF4-FFF2-40B4-BE49-F238E27FC236}">
                  <a16:creationId xmlns:a16="http://schemas.microsoft.com/office/drawing/2014/main" id="{E5DB6F90-7E90-7CD9-4F10-817A338EEC38}"/>
                </a:ext>
              </a:extLst>
            </p:cNvPr>
            <p:cNvCxnSpPr>
              <a:stCxn id="155" idx="1"/>
            </p:cNvCxnSpPr>
            <p:nvPr/>
          </p:nvCxnSpPr>
          <p:spPr>
            <a:xfrm flipH="1">
              <a:off x="4026119" y="2515735"/>
              <a:ext cx="317222" cy="191611"/>
            </a:xfrm>
            <a:prstGeom prst="straightConnector1">
              <a:avLst/>
            </a:prstGeom>
            <a:ln w="12700" cap="rnd">
              <a:solidFill>
                <a:srgbClr val="7030A0"/>
              </a:solidFill>
              <a:round/>
              <a:headEnd type="none" w="sm" len="sm"/>
              <a:tailEnd type="triangle"/>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54605D42-E173-0FB0-002F-A8DD03DAA5C7}"/>
              </a:ext>
            </a:extLst>
          </p:cNvPr>
          <p:cNvGrpSpPr/>
          <p:nvPr/>
        </p:nvGrpSpPr>
        <p:grpSpPr>
          <a:xfrm>
            <a:off x="9199464" y="3468512"/>
            <a:ext cx="2491482" cy="2387010"/>
            <a:chOff x="1427747" y="1609170"/>
            <a:chExt cx="4001159" cy="3812337"/>
          </a:xfrm>
        </p:grpSpPr>
        <p:sp>
          <p:nvSpPr>
            <p:cNvPr id="129" name="Circle: Hollow 128">
              <a:extLst>
                <a:ext uri="{FF2B5EF4-FFF2-40B4-BE49-F238E27FC236}">
                  <a16:creationId xmlns:a16="http://schemas.microsoft.com/office/drawing/2014/main" id="{C8987F35-1EA3-FA7F-162C-E350A52D595C}"/>
                </a:ext>
              </a:extLst>
            </p:cNvPr>
            <p:cNvSpPr/>
            <p:nvPr/>
          </p:nvSpPr>
          <p:spPr>
            <a:xfrm>
              <a:off x="1427747" y="2032870"/>
              <a:ext cx="2935706" cy="2919664"/>
            </a:xfrm>
            <a:prstGeom prst="donut">
              <a:avLst>
                <a:gd name="adj" fmla="val 798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30" name="Block Arc 129">
              <a:extLst>
                <a:ext uri="{FF2B5EF4-FFF2-40B4-BE49-F238E27FC236}">
                  <a16:creationId xmlns:a16="http://schemas.microsoft.com/office/drawing/2014/main" id="{70DAD084-521E-0F3C-F074-D2ACB438C1FE}"/>
                </a:ext>
              </a:extLst>
            </p:cNvPr>
            <p:cNvSpPr/>
            <p:nvPr/>
          </p:nvSpPr>
          <p:spPr>
            <a:xfrm>
              <a:off x="1427747" y="2086658"/>
              <a:ext cx="2826124" cy="2514600"/>
            </a:xfrm>
            <a:prstGeom prst="blockArc">
              <a:avLst>
                <a:gd name="adj1" fmla="val 16246204"/>
                <a:gd name="adj2" fmla="val 19207162"/>
                <a:gd name="adj3" fmla="val 393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31" name="Block Arc 130">
              <a:extLst>
                <a:ext uri="{FF2B5EF4-FFF2-40B4-BE49-F238E27FC236}">
                  <a16:creationId xmlns:a16="http://schemas.microsoft.com/office/drawing/2014/main" id="{B779F3AE-A200-1C82-3B55-F42F602713F7}"/>
                </a:ext>
              </a:extLst>
            </p:cNvPr>
            <p:cNvSpPr/>
            <p:nvPr/>
          </p:nvSpPr>
          <p:spPr>
            <a:xfrm rot="5400000">
              <a:off x="1729984" y="2239517"/>
              <a:ext cx="2705441" cy="2416857"/>
            </a:xfrm>
            <a:prstGeom prst="blockArc">
              <a:avLst>
                <a:gd name="adj1" fmla="val 16296661"/>
                <a:gd name="adj2" fmla="val 19159540"/>
                <a:gd name="adj3" fmla="val 359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32" name="Block Arc 131">
              <a:extLst>
                <a:ext uri="{FF2B5EF4-FFF2-40B4-BE49-F238E27FC236}">
                  <a16:creationId xmlns:a16="http://schemas.microsoft.com/office/drawing/2014/main" id="{FF124FAE-B606-32EE-CAEC-47CC5C538952}"/>
                </a:ext>
              </a:extLst>
            </p:cNvPr>
            <p:cNvSpPr/>
            <p:nvPr/>
          </p:nvSpPr>
          <p:spPr>
            <a:xfrm rot="8149210">
              <a:off x="1727574" y="2372144"/>
              <a:ext cx="2705441" cy="2416857"/>
            </a:xfrm>
            <a:prstGeom prst="blockArc">
              <a:avLst>
                <a:gd name="adj1" fmla="val 16246204"/>
                <a:gd name="adj2" fmla="val 19207161"/>
                <a:gd name="adj3" fmla="val 393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133" name="Block Arc 132">
              <a:extLst>
                <a:ext uri="{FF2B5EF4-FFF2-40B4-BE49-F238E27FC236}">
                  <a16:creationId xmlns:a16="http://schemas.microsoft.com/office/drawing/2014/main" id="{136947B0-E17E-EFD7-2439-A243076FDA99}"/>
                </a:ext>
              </a:extLst>
            </p:cNvPr>
            <p:cNvSpPr/>
            <p:nvPr/>
          </p:nvSpPr>
          <p:spPr>
            <a:xfrm rot="10974908">
              <a:off x="1585992" y="2487900"/>
              <a:ext cx="2681615" cy="2385596"/>
            </a:xfrm>
            <a:prstGeom prst="blockArc">
              <a:avLst>
                <a:gd name="adj1" fmla="val 16246204"/>
                <a:gd name="adj2" fmla="val 19175182"/>
                <a:gd name="adj3" fmla="val 329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cxnSp>
          <p:nvCxnSpPr>
            <p:cNvPr id="134" name="Straight Connector 133">
              <a:extLst>
                <a:ext uri="{FF2B5EF4-FFF2-40B4-BE49-F238E27FC236}">
                  <a16:creationId xmlns:a16="http://schemas.microsoft.com/office/drawing/2014/main" id="{63B31079-7F3D-A60E-FBD1-5CDF48BD6A64}"/>
                </a:ext>
              </a:extLst>
            </p:cNvPr>
            <p:cNvCxnSpPr/>
            <p:nvPr/>
          </p:nvCxnSpPr>
          <p:spPr>
            <a:xfrm flipV="1">
              <a:off x="2840809" y="1609170"/>
              <a:ext cx="0" cy="663388"/>
            </a:xfrm>
            <a:prstGeom prst="line">
              <a:avLst/>
            </a:prstGeom>
            <a:ln w="25400" cap="rnd">
              <a:solidFill>
                <a:schemeClr val="tx1"/>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7D887BE-4280-3E4D-9A1B-40EE62AD8721}"/>
                </a:ext>
              </a:extLst>
            </p:cNvPr>
            <p:cNvCxnSpPr/>
            <p:nvPr/>
          </p:nvCxnSpPr>
          <p:spPr>
            <a:xfrm flipV="1">
              <a:off x="2902886" y="4758119"/>
              <a:ext cx="0" cy="663388"/>
            </a:xfrm>
            <a:prstGeom prst="line">
              <a:avLst/>
            </a:prstGeom>
            <a:ln w="25400" cap="rnd">
              <a:solidFill>
                <a:srgbClr val="FFC000"/>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B0F7FD1-3E2B-B163-9942-6A1BE92648AC}"/>
                </a:ext>
              </a:extLst>
            </p:cNvPr>
            <p:cNvCxnSpPr>
              <a:cxnSpLocks/>
            </p:cNvCxnSpPr>
            <p:nvPr/>
          </p:nvCxnSpPr>
          <p:spPr>
            <a:xfrm>
              <a:off x="4145174" y="3439378"/>
              <a:ext cx="745073" cy="0"/>
            </a:xfrm>
            <a:prstGeom prst="line">
              <a:avLst/>
            </a:prstGeom>
            <a:ln w="25400" cap="rnd">
              <a:solidFill>
                <a:schemeClr val="accent1"/>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37" name="TextBox 136">
                  <a:extLst>
                    <a:ext uri="{FF2B5EF4-FFF2-40B4-BE49-F238E27FC236}">
                      <a16:creationId xmlns:a16="http://schemas.microsoft.com/office/drawing/2014/main" id="{5601B21B-48F6-BEB7-0A42-6C4850C5F601}"/>
                    </a:ext>
                  </a:extLst>
                </p:cNvPr>
                <p:cNvSpPr txBox="1"/>
                <p:nvPr/>
              </p:nvSpPr>
              <p:spPr>
                <a:xfrm>
                  <a:off x="2872183" y="1740075"/>
                  <a:ext cx="1044929" cy="413317"/>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600" b="1" i="1" smtClean="0">
                            <a:solidFill>
                              <a:schemeClr val="tx2"/>
                            </a:solidFill>
                            <a:latin typeface="Cambria Math" panose="02040503050406030204" pitchFamily="18" charset="0"/>
                            <a:cs typeface="Microsoft Sans Serif" panose="020B0604020202020204" pitchFamily="34" charset="0"/>
                          </a:rPr>
                          <m:t>𝑹</m:t>
                        </m:r>
                        <m:sSub>
                          <m:sSubPr>
                            <m:ctrlPr>
                              <a:rPr lang="en-US" sz="1600" b="1" i="1" smtClean="0">
                                <a:solidFill>
                                  <a:schemeClr val="tx2"/>
                                </a:solidFill>
                                <a:latin typeface="Cambria Math" panose="02040503050406030204" pitchFamily="18" charset="0"/>
                                <a:cs typeface="Microsoft Sans Serif" panose="020B0604020202020204" pitchFamily="34" charset="0"/>
                              </a:rPr>
                            </m:ctrlPr>
                          </m:sSubPr>
                          <m:e>
                            <m:r>
                              <a:rPr lang="en-US" sz="1600" b="1" i="1" smtClean="0">
                                <a:solidFill>
                                  <a:schemeClr val="tx2"/>
                                </a:solidFill>
                                <a:latin typeface="Cambria Math" panose="02040503050406030204" pitchFamily="18" charset="0"/>
                                <a:cs typeface="Microsoft Sans Serif" panose="020B0604020202020204" pitchFamily="34" charset="0"/>
                              </a:rPr>
                              <m:t>𝑽</m:t>
                            </m:r>
                          </m:e>
                          <m:sub>
                            <m:r>
                              <a:rPr lang="en-US" sz="1600" b="1" i="1" smtClean="0">
                                <a:solidFill>
                                  <a:schemeClr val="tx2"/>
                                </a:solidFill>
                                <a:latin typeface="Cambria Math" panose="02040503050406030204" pitchFamily="18" charset="0"/>
                                <a:cs typeface="Microsoft Sans Serif" panose="020B0604020202020204" pitchFamily="34" charset="0"/>
                              </a:rPr>
                              <m:t>𝟎</m:t>
                            </m:r>
                            <m:r>
                              <a:rPr lang="en-US" sz="1600" b="1" i="1" smtClean="0">
                                <a:solidFill>
                                  <a:schemeClr val="tx2"/>
                                </a:solidFill>
                                <a:latin typeface="Cambria Math" panose="02040503050406030204" pitchFamily="18" charset="0"/>
                                <a:cs typeface="Microsoft Sans Serif" panose="020B0604020202020204" pitchFamily="34" charset="0"/>
                              </a:rPr>
                              <m:t>,</m:t>
                            </m:r>
                            <m:r>
                              <a:rPr lang="en-US" sz="1600" b="1" i="1" smtClean="0">
                                <a:solidFill>
                                  <a:schemeClr val="tx2"/>
                                </a:solidFill>
                                <a:latin typeface="Cambria Math" panose="02040503050406030204" pitchFamily="18" charset="0"/>
                                <a:cs typeface="Microsoft Sans Serif" panose="020B0604020202020204" pitchFamily="34" charset="0"/>
                              </a:rPr>
                              <m:t>𝑴𝒐𝒅𝒊𝒇𝒊</m:t>
                            </m:r>
                            <m:r>
                              <a:rPr lang="en-US" sz="1600" b="1" i="1" smtClean="0">
                                <a:solidFill>
                                  <a:schemeClr val="tx2"/>
                                </a:solidFill>
                                <a:latin typeface="Cambria Math" panose="02040503050406030204" pitchFamily="18" charset="0"/>
                                <a:cs typeface="Microsoft Sans Serif" panose="020B0604020202020204" pitchFamily="34" charset="0"/>
                              </a:rPr>
                              <m:t>𝒆𝒅</m:t>
                            </m:r>
                          </m:sub>
                        </m:sSub>
                      </m:oMath>
                    </m:oMathPara>
                  </a14:m>
                  <a:endParaRPr lang="en-US" sz="1600" b="1" dirty="0">
                    <a:solidFill>
                      <a:schemeClr val="tx2"/>
                    </a:solidFill>
                    <a:latin typeface="Microsoft Sans Serif"/>
                    <a:cs typeface="Microsoft Sans Serif" panose="020B0604020202020204" pitchFamily="34" charset="0"/>
                  </a:endParaRPr>
                </a:p>
              </p:txBody>
            </p:sp>
          </mc:Choice>
          <mc:Fallback>
            <p:sp>
              <p:nvSpPr>
                <p:cNvPr id="137" name="TextBox 136">
                  <a:extLst>
                    <a:ext uri="{FF2B5EF4-FFF2-40B4-BE49-F238E27FC236}">
                      <a16:creationId xmlns:a16="http://schemas.microsoft.com/office/drawing/2014/main" id="{5601B21B-48F6-BEB7-0A42-6C4850C5F601}"/>
                    </a:ext>
                  </a:extLst>
                </p:cNvPr>
                <p:cNvSpPr txBox="1">
                  <a:spLocks noRot="1" noChangeAspect="1" noMove="1" noResize="1" noEditPoints="1" noAdjustHandles="1" noChangeArrowheads="1" noChangeShapeType="1" noTextEdit="1"/>
                </p:cNvSpPr>
                <p:nvPr/>
              </p:nvSpPr>
              <p:spPr>
                <a:xfrm>
                  <a:off x="2872183" y="1740075"/>
                  <a:ext cx="1044929" cy="413317"/>
                </a:xfrm>
                <a:prstGeom prst="rect">
                  <a:avLst/>
                </a:prstGeom>
                <a:blipFill>
                  <a:blip r:embed="rId13"/>
                  <a:stretch>
                    <a:fillRect l="-11321" r="-74528" b="-2790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8" name="TextBox 137">
                  <a:extLst>
                    <a:ext uri="{FF2B5EF4-FFF2-40B4-BE49-F238E27FC236}">
                      <a16:creationId xmlns:a16="http://schemas.microsoft.com/office/drawing/2014/main" id="{FA69042A-0845-8746-5AF1-E62A5C394AD0}"/>
                    </a:ext>
                  </a:extLst>
                </p:cNvPr>
                <p:cNvSpPr txBox="1"/>
                <p:nvPr/>
              </p:nvSpPr>
              <p:spPr>
                <a:xfrm>
                  <a:off x="4383977" y="3454757"/>
                  <a:ext cx="1044929" cy="413317"/>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600" b="1" i="1" smtClean="0">
                            <a:solidFill>
                              <a:schemeClr val="accent1"/>
                            </a:solidFill>
                            <a:latin typeface="Cambria Math" panose="02040503050406030204" pitchFamily="18" charset="0"/>
                            <a:cs typeface="Microsoft Sans Serif" panose="020B0604020202020204" pitchFamily="34" charset="0"/>
                          </a:rPr>
                          <m:t>𝑹</m:t>
                        </m:r>
                        <m:sSub>
                          <m:sSubPr>
                            <m:ctrlPr>
                              <a:rPr lang="en-US" sz="1600" b="1" i="1" smtClean="0">
                                <a:solidFill>
                                  <a:schemeClr val="accent1"/>
                                </a:solidFill>
                                <a:latin typeface="Cambria Math" panose="02040503050406030204" pitchFamily="18" charset="0"/>
                                <a:cs typeface="Microsoft Sans Serif" panose="020B0604020202020204" pitchFamily="34" charset="0"/>
                              </a:rPr>
                            </m:ctrlPr>
                          </m:sSubPr>
                          <m:e>
                            <m:r>
                              <a:rPr lang="en-US" sz="1600" b="1" i="1" smtClean="0">
                                <a:solidFill>
                                  <a:schemeClr val="accent1"/>
                                </a:solidFill>
                                <a:latin typeface="Cambria Math" panose="02040503050406030204" pitchFamily="18" charset="0"/>
                                <a:cs typeface="Microsoft Sans Serif" panose="020B0604020202020204" pitchFamily="34" charset="0"/>
                              </a:rPr>
                              <m:t>𝑽</m:t>
                            </m:r>
                          </m:e>
                          <m:sub>
                            <m:r>
                              <a:rPr lang="en-US" sz="1600" b="1" i="1" smtClean="0">
                                <a:solidFill>
                                  <a:schemeClr val="accent1"/>
                                </a:solidFill>
                                <a:latin typeface="Cambria Math" panose="02040503050406030204" pitchFamily="18" charset="0"/>
                                <a:cs typeface="Microsoft Sans Serif" panose="020B0604020202020204" pitchFamily="34" charset="0"/>
                              </a:rPr>
                              <m:t>𝟐</m:t>
                            </m:r>
                            <m:r>
                              <a:rPr lang="en-US" sz="1600" b="1" i="1" smtClean="0">
                                <a:solidFill>
                                  <a:schemeClr val="accent1"/>
                                </a:solidFill>
                                <a:latin typeface="Cambria Math" panose="02040503050406030204" pitchFamily="18" charset="0"/>
                                <a:cs typeface="Microsoft Sans Serif" panose="020B0604020202020204" pitchFamily="34" charset="0"/>
                              </a:rPr>
                              <m:t>,</m:t>
                            </m:r>
                            <m:r>
                              <a:rPr lang="en-US" sz="1600" b="1" i="1" smtClean="0">
                                <a:solidFill>
                                  <a:schemeClr val="accent1"/>
                                </a:solidFill>
                                <a:latin typeface="Cambria Math" panose="02040503050406030204" pitchFamily="18" charset="0"/>
                                <a:cs typeface="Microsoft Sans Serif" panose="020B0604020202020204" pitchFamily="34" charset="0"/>
                              </a:rPr>
                              <m:t>𝑴𝒐𝒅𝒊𝒇</m:t>
                            </m:r>
                            <m:r>
                              <a:rPr lang="en-US" sz="1600" b="1" i="1" smtClean="0">
                                <a:solidFill>
                                  <a:schemeClr val="accent1"/>
                                </a:solidFill>
                                <a:latin typeface="Cambria Math" panose="02040503050406030204" pitchFamily="18" charset="0"/>
                                <a:cs typeface="Microsoft Sans Serif" panose="020B0604020202020204" pitchFamily="34" charset="0"/>
                              </a:rPr>
                              <m:t>𝒊𝒆𝒅</m:t>
                            </m:r>
                          </m:sub>
                        </m:sSub>
                      </m:oMath>
                    </m:oMathPara>
                  </a14:m>
                  <a:endParaRPr lang="en-US" sz="1600" b="1" dirty="0">
                    <a:solidFill>
                      <a:schemeClr val="accent1"/>
                    </a:solidFill>
                    <a:latin typeface="Microsoft Sans Serif"/>
                    <a:cs typeface="Microsoft Sans Serif" panose="020B0604020202020204" pitchFamily="34" charset="0"/>
                  </a:endParaRPr>
                </a:p>
              </p:txBody>
            </p:sp>
          </mc:Choice>
          <mc:Fallback>
            <p:sp>
              <p:nvSpPr>
                <p:cNvPr id="138" name="TextBox 137">
                  <a:extLst>
                    <a:ext uri="{FF2B5EF4-FFF2-40B4-BE49-F238E27FC236}">
                      <a16:creationId xmlns:a16="http://schemas.microsoft.com/office/drawing/2014/main" id="{FA69042A-0845-8746-5AF1-E62A5C394AD0}"/>
                    </a:ext>
                  </a:extLst>
                </p:cNvPr>
                <p:cNvSpPr txBox="1">
                  <a:spLocks noRot="1" noChangeAspect="1" noMove="1" noResize="1" noEditPoints="1" noAdjustHandles="1" noChangeArrowheads="1" noChangeShapeType="1" noTextEdit="1"/>
                </p:cNvSpPr>
                <p:nvPr/>
              </p:nvSpPr>
              <p:spPr>
                <a:xfrm>
                  <a:off x="4383977" y="3454757"/>
                  <a:ext cx="1044929" cy="413317"/>
                </a:xfrm>
                <a:prstGeom prst="rect">
                  <a:avLst/>
                </a:prstGeom>
                <a:blipFill>
                  <a:blip r:embed="rId14"/>
                  <a:stretch>
                    <a:fillRect l="-10280" r="-73832" b="-30952"/>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9" name="TextBox 138">
                  <a:extLst>
                    <a:ext uri="{FF2B5EF4-FFF2-40B4-BE49-F238E27FC236}">
                      <a16:creationId xmlns:a16="http://schemas.microsoft.com/office/drawing/2014/main" id="{67414DEB-8D69-9496-4AFD-19B85F7A924D}"/>
                    </a:ext>
                  </a:extLst>
                </p:cNvPr>
                <p:cNvSpPr txBox="1"/>
                <p:nvPr/>
              </p:nvSpPr>
              <p:spPr>
                <a:xfrm>
                  <a:off x="1802230" y="4892878"/>
                  <a:ext cx="1044929" cy="413317"/>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600" b="1" i="1" smtClean="0">
                            <a:solidFill>
                              <a:srgbClr val="FFC000"/>
                            </a:solidFill>
                            <a:latin typeface="Cambria Math" panose="02040503050406030204" pitchFamily="18" charset="0"/>
                            <a:cs typeface="Microsoft Sans Serif" panose="020B0604020202020204" pitchFamily="34" charset="0"/>
                          </a:rPr>
                          <m:t>𝑹</m:t>
                        </m:r>
                        <m:sSub>
                          <m:sSubPr>
                            <m:ctrlPr>
                              <a:rPr lang="en-US" sz="1600" b="1" i="1" smtClean="0">
                                <a:solidFill>
                                  <a:srgbClr val="FFC000"/>
                                </a:solidFill>
                                <a:latin typeface="Cambria Math" panose="02040503050406030204" pitchFamily="18" charset="0"/>
                                <a:cs typeface="Microsoft Sans Serif" panose="020B0604020202020204" pitchFamily="34" charset="0"/>
                              </a:rPr>
                            </m:ctrlPr>
                          </m:sSubPr>
                          <m:e>
                            <m:r>
                              <a:rPr lang="en-US" sz="1600" b="1" i="1" smtClean="0">
                                <a:solidFill>
                                  <a:srgbClr val="FFC000"/>
                                </a:solidFill>
                                <a:latin typeface="Cambria Math" panose="02040503050406030204" pitchFamily="18" charset="0"/>
                                <a:cs typeface="Microsoft Sans Serif" panose="020B0604020202020204" pitchFamily="34" charset="0"/>
                              </a:rPr>
                              <m:t>𝑽</m:t>
                            </m:r>
                          </m:e>
                          <m:sub>
                            <m:r>
                              <a:rPr lang="en-US" sz="1600" b="1" i="1" smtClean="0">
                                <a:solidFill>
                                  <a:srgbClr val="FFC000"/>
                                </a:solidFill>
                                <a:latin typeface="Cambria Math" panose="02040503050406030204" pitchFamily="18" charset="0"/>
                                <a:cs typeface="Microsoft Sans Serif" panose="020B0604020202020204" pitchFamily="34" charset="0"/>
                              </a:rPr>
                              <m:t>𝟒</m:t>
                            </m:r>
                            <m:r>
                              <a:rPr lang="en-US" sz="1600" b="1" i="1" smtClean="0">
                                <a:solidFill>
                                  <a:srgbClr val="FFC000"/>
                                </a:solidFill>
                                <a:latin typeface="Cambria Math" panose="02040503050406030204" pitchFamily="18" charset="0"/>
                                <a:cs typeface="Microsoft Sans Serif" panose="020B0604020202020204" pitchFamily="34" charset="0"/>
                              </a:rPr>
                              <m:t>,</m:t>
                            </m:r>
                            <m:r>
                              <a:rPr lang="en-US" sz="1600" b="1" i="1" smtClean="0">
                                <a:solidFill>
                                  <a:srgbClr val="FFC000"/>
                                </a:solidFill>
                                <a:latin typeface="Cambria Math" panose="02040503050406030204" pitchFamily="18" charset="0"/>
                                <a:cs typeface="Microsoft Sans Serif" panose="020B0604020202020204" pitchFamily="34" charset="0"/>
                              </a:rPr>
                              <m:t>𝑴𝒐𝒅𝒊𝒇𝒊</m:t>
                            </m:r>
                            <m:r>
                              <a:rPr lang="en-US" sz="1600" b="1" i="1" smtClean="0">
                                <a:solidFill>
                                  <a:srgbClr val="FFC000"/>
                                </a:solidFill>
                                <a:latin typeface="Cambria Math" panose="02040503050406030204" pitchFamily="18" charset="0"/>
                                <a:cs typeface="Microsoft Sans Serif" panose="020B0604020202020204" pitchFamily="34" charset="0"/>
                              </a:rPr>
                              <m:t>𝒆𝒅</m:t>
                            </m:r>
                          </m:sub>
                        </m:sSub>
                      </m:oMath>
                    </m:oMathPara>
                  </a14:m>
                  <a:endParaRPr lang="en-US" sz="1600" b="1" dirty="0">
                    <a:solidFill>
                      <a:srgbClr val="FFC000"/>
                    </a:solidFill>
                    <a:latin typeface="Microsoft Sans Serif"/>
                    <a:cs typeface="Microsoft Sans Serif" panose="020B0604020202020204" pitchFamily="34" charset="0"/>
                  </a:endParaRPr>
                </a:p>
              </p:txBody>
            </p:sp>
          </mc:Choice>
          <mc:Fallback>
            <p:sp>
              <p:nvSpPr>
                <p:cNvPr id="139" name="TextBox 138">
                  <a:extLst>
                    <a:ext uri="{FF2B5EF4-FFF2-40B4-BE49-F238E27FC236}">
                      <a16:creationId xmlns:a16="http://schemas.microsoft.com/office/drawing/2014/main" id="{67414DEB-8D69-9496-4AFD-19B85F7A924D}"/>
                    </a:ext>
                  </a:extLst>
                </p:cNvPr>
                <p:cNvSpPr txBox="1">
                  <a:spLocks noRot="1" noChangeAspect="1" noMove="1" noResize="1" noEditPoints="1" noAdjustHandles="1" noChangeArrowheads="1" noChangeShapeType="1" noTextEdit="1"/>
                </p:cNvSpPr>
                <p:nvPr/>
              </p:nvSpPr>
              <p:spPr>
                <a:xfrm>
                  <a:off x="1802230" y="4892878"/>
                  <a:ext cx="1044929" cy="413317"/>
                </a:xfrm>
                <a:prstGeom prst="rect">
                  <a:avLst/>
                </a:prstGeom>
                <a:blipFill>
                  <a:blip r:embed="rId15"/>
                  <a:stretch>
                    <a:fillRect l="-10280" r="-73832" b="-27907"/>
                  </a:stretch>
                </a:blipFill>
              </p:spPr>
              <p:txBody>
                <a:bodyPr/>
                <a:lstStyle/>
                <a:p>
                  <a:r>
                    <a:rPr lang="en-US">
                      <a:noFill/>
                    </a:rPr>
                    <a:t> </a:t>
                  </a:r>
                </a:p>
              </p:txBody>
            </p:sp>
          </mc:Fallback>
        </mc:AlternateContent>
        <p:sp>
          <p:nvSpPr>
            <p:cNvPr id="140" name="Block Arc 139">
              <a:extLst>
                <a:ext uri="{FF2B5EF4-FFF2-40B4-BE49-F238E27FC236}">
                  <a16:creationId xmlns:a16="http://schemas.microsoft.com/office/drawing/2014/main" id="{44B2A6C6-46AC-A8CA-9400-97898DF48FC9}"/>
                </a:ext>
              </a:extLst>
            </p:cNvPr>
            <p:cNvSpPr/>
            <p:nvPr/>
          </p:nvSpPr>
          <p:spPr>
            <a:xfrm rot="2813002">
              <a:off x="1537867" y="2094005"/>
              <a:ext cx="2826124" cy="2514600"/>
            </a:xfrm>
            <a:prstGeom prst="blockArc">
              <a:avLst>
                <a:gd name="adj1" fmla="val 16246204"/>
                <a:gd name="adj2" fmla="val 18962868"/>
                <a:gd name="adj3" fmla="val 345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grpSp>
      <p:cxnSp>
        <p:nvCxnSpPr>
          <p:cNvPr id="119" name="Straight Connector 118">
            <a:extLst>
              <a:ext uri="{FF2B5EF4-FFF2-40B4-BE49-F238E27FC236}">
                <a16:creationId xmlns:a16="http://schemas.microsoft.com/office/drawing/2014/main" id="{57E5DAAD-CD02-D55F-D882-4482563C6232}"/>
              </a:ext>
            </a:extLst>
          </p:cNvPr>
          <p:cNvCxnSpPr>
            <a:cxnSpLocks/>
          </p:cNvCxnSpPr>
          <p:nvPr/>
        </p:nvCxnSpPr>
        <p:spPr>
          <a:xfrm flipV="1">
            <a:off x="10704113" y="3823093"/>
            <a:ext cx="273583" cy="275270"/>
          </a:xfrm>
          <a:prstGeom prst="line">
            <a:avLst/>
          </a:prstGeom>
          <a:ln w="25400" cap="rnd">
            <a:solidFill>
              <a:srgbClr val="FF0000"/>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20" name="TextBox 119">
                <a:extLst>
                  <a:ext uri="{FF2B5EF4-FFF2-40B4-BE49-F238E27FC236}">
                    <a16:creationId xmlns:a16="http://schemas.microsoft.com/office/drawing/2014/main" id="{C4F49A97-1829-ADA6-4AE5-10A62E975614}"/>
                  </a:ext>
                </a:extLst>
              </p:cNvPr>
              <p:cNvSpPr txBox="1"/>
              <p:nvPr/>
            </p:nvSpPr>
            <p:spPr>
              <a:xfrm rot="18767064">
                <a:off x="10719025" y="3728086"/>
                <a:ext cx="654259" cy="258789"/>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600" b="1" i="1" smtClean="0">
                          <a:solidFill>
                            <a:srgbClr val="FF0000"/>
                          </a:solidFill>
                          <a:latin typeface="Cambria Math" panose="02040503050406030204" pitchFamily="18" charset="0"/>
                          <a:cs typeface="Microsoft Sans Serif" panose="020B0604020202020204" pitchFamily="34" charset="0"/>
                        </a:rPr>
                        <m:t>𝑹</m:t>
                      </m:r>
                      <m:sSub>
                        <m:sSubPr>
                          <m:ctrlPr>
                            <a:rPr lang="en-US" sz="1600" b="1" i="1" smtClean="0">
                              <a:solidFill>
                                <a:srgbClr val="FF0000"/>
                              </a:solidFill>
                              <a:latin typeface="Cambria Math" panose="02040503050406030204" pitchFamily="18" charset="0"/>
                              <a:cs typeface="Microsoft Sans Serif" panose="020B0604020202020204" pitchFamily="34" charset="0"/>
                            </a:rPr>
                          </m:ctrlPr>
                        </m:sSubPr>
                        <m:e>
                          <m:r>
                            <a:rPr lang="en-US" sz="1600" b="1" i="1" smtClean="0">
                              <a:solidFill>
                                <a:srgbClr val="FF0000"/>
                              </a:solidFill>
                              <a:latin typeface="Cambria Math" panose="02040503050406030204" pitchFamily="18" charset="0"/>
                              <a:cs typeface="Microsoft Sans Serif" panose="020B0604020202020204" pitchFamily="34" charset="0"/>
                            </a:rPr>
                            <m:t>𝑽</m:t>
                          </m:r>
                        </m:e>
                        <m:sub>
                          <m:r>
                            <a:rPr lang="en-US" sz="1600" b="1" i="1" smtClean="0">
                              <a:solidFill>
                                <a:srgbClr val="FF0000"/>
                              </a:solidFill>
                              <a:latin typeface="Cambria Math" panose="02040503050406030204" pitchFamily="18" charset="0"/>
                              <a:cs typeface="Microsoft Sans Serif" panose="020B0604020202020204" pitchFamily="34" charset="0"/>
                            </a:rPr>
                            <m:t>𝟏</m:t>
                          </m:r>
                          <m:r>
                            <a:rPr lang="en-US" sz="1600" b="1" i="1" smtClean="0">
                              <a:solidFill>
                                <a:srgbClr val="FF0000"/>
                              </a:solidFill>
                              <a:latin typeface="Cambria Math" panose="02040503050406030204" pitchFamily="18" charset="0"/>
                              <a:cs typeface="Microsoft Sans Serif" panose="020B0604020202020204" pitchFamily="34" charset="0"/>
                            </a:rPr>
                            <m:t>,</m:t>
                          </m:r>
                          <m:r>
                            <a:rPr lang="en-US" sz="1600" b="1" i="1" smtClean="0">
                              <a:solidFill>
                                <a:srgbClr val="FF0000"/>
                              </a:solidFill>
                              <a:latin typeface="Cambria Math" panose="02040503050406030204" pitchFamily="18" charset="0"/>
                              <a:cs typeface="Microsoft Sans Serif" panose="020B0604020202020204" pitchFamily="34" charset="0"/>
                            </a:rPr>
                            <m:t>𝑴𝒐𝒅𝒊𝒇</m:t>
                          </m:r>
                          <m:r>
                            <a:rPr lang="en-US" sz="1600" b="1" i="1" smtClean="0">
                              <a:solidFill>
                                <a:srgbClr val="FF0000"/>
                              </a:solidFill>
                              <a:latin typeface="Cambria Math" panose="02040503050406030204" pitchFamily="18" charset="0"/>
                              <a:cs typeface="Microsoft Sans Serif" panose="020B0604020202020204" pitchFamily="34" charset="0"/>
                            </a:rPr>
                            <m:t>𝒊𝒆𝒅</m:t>
                          </m:r>
                        </m:sub>
                      </m:sSub>
                    </m:oMath>
                  </m:oMathPara>
                </a14:m>
                <a:endParaRPr lang="en-US" sz="1600" b="1" dirty="0">
                  <a:solidFill>
                    <a:srgbClr val="FF0000"/>
                  </a:solidFill>
                  <a:latin typeface="Microsoft Sans Serif"/>
                  <a:cs typeface="Microsoft Sans Serif" panose="020B0604020202020204" pitchFamily="34" charset="0"/>
                </a:endParaRPr>
              </a:p>
            </p:txBody>
          </p:sp>
        </mc:Choice>
        <mc:Fallback>
          <p:sp>
            <p:nvSpPr>
              <p:cNvPr id="120" name="TextBox 119">
                <a:extLst>
                  <a:ext uri="{FF2B5EF4-FFF2-40B4-BE49-F238E27FC236}">
                    <a16:creationId xmlns:a16="http://schemas.microsoft.com/office/drawing/2014/main" id="{C4F49A97-1829-ADA6-4AE5-10A62E975614}"/>
                  </a:ext>
                </a:extLst>
              </p:cNvPr>
              <p:cNvSpPr txBox="1">
                <a:spLocks noRot="1" noChangeAspect="1" noMove="1" noResize="1" noEditPoints="1" noAdjustHandles="1" noChangeArrowheads="1" noChangeShapeType="1" noTextEdit="1"/>
              </p:cNvSpPr>
              <p:nvPr/>
            </p:nvSpPr>
            <p:spPr>
              <a:xfrm rot="18767064">
                <a:off x="10719025" y="3728086"/>
                <a:ext cx="654259" cy="258789"/>
              </a:xfrm>
              <a:prstGeom prst="rect">
                <a:avLst/>
              </a:prstGeom>
              <a:blipFill>
                <a:blip r:embed="rId16"/>
                <a:stretch>
                  <a:fillRect l="-4762" t="-42202" r="-53333" b="-7339"/>
                </a:stretch>
              </a:blipFill>
            </p:spPr>
            <p:txBody>
              <a:bodyPr/>
              <a:lstStyle/>
              <a:p>
                <a:r>
                  <a:rPr lang="en-US">
                    <a:noFill/>
                  </a:rPr>
                  <a:t> </a:t>
                </a:r>
              </a:p>
            </p:txBody>
          </p:sp>
        </mc:Fallback>
      </mc:AlternateContent>
      <p:cxnSp>
        <p:nvCxnSpPr>
          <p:cNvPr id="121" name="Straight Connector 120">
            <a:extLst>
              <a:ext uri="{FF2B5EF4-FFF2-40B4-BE49-F238E27FC236}">
                <a16:creationId xmlns:a16="http://schemas.microsoft.com/office/drawing/2014/main" id="{3AA72C30-D317-C469-726F-A8ABC9C66BB1}"/>
              </a:ext>
            </a:extLst>
          </p:cNvPr>
          <p:cNvCxnSpPr>
            <a:cxnSpLocks/>
          </p:cNvCxnSpPr>
          <p:nvPr/>
        </p:nvCxnSpPr>
        <p:spPr>
          <a:xfrm flipH="1" flipV="1">
            <a:off x="10730986" y="5253203"/>
            <a:ext cx="332213" cy="341814"/>
          </a:xfrm>
          <a:prstGeom prst="line">
            <a:avLst/>
          </a:prstGeom>
          <a:ln w="25400" cap="rnd">
            <a:solidFill>
              <a:srgbClr val="00B050"/>
            </a:solidFill>
            <a:prstDash val="dash"/>
            <a:round/>
            <a:headEnd type="none" w="sm" len="sm"/>
            <a:tailEnd type="none"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22" name="TextBox 121">
                <a:extLst>
                  <a:ext uri="{FF2B5EF4-FFF2-40B4-BE49-F238E27FC236}">
                    <a16:creationId xmlns:a16="http://schemas.microsoft.com/office/drawing/2014/main" id="{AB2A6961-22B5-9D97-8BBC-62597B74A9ED}"/>
                  </a:ext>
                </a:extLst>
              </p:cNvPr>
              <p:cNvSpPr txBox="1"/>
              <p:nvPr/>
            </p:nvSpPr>
            <p:spPr>
              <a:xfrm rot="2672159">
                <a:off x="10642001" y="5490715"/>
                <a:ext cx="650666" cy="258789"/>
              </a:xfrm>
              <a:prstGeom prst="rect">
                <a:avLst/>
              </a:prstGeom>
            </p:spPr>
            <p:txBody>
              <a:bodyPr wrap="square" lIns="0" tIns="0" rIns="0" bIns="0" rtlCol="0">
                <a:spAutoFit/>
              </a:bodyPr>
              <a:lstStyle/>
              <a:p>
                <a:pPr>
                  <a:lnSpc>
                    <a:spcPct val="96000"/>
                  </a:lnSpc>
                </a:pPr>
                <a14:m>
                  <m:oMathPara xmlns:m="http://schemas.openxmlformats.org/officeDocument/2006/math">
                    <m:oMathParaPr>
                      <m:jc m:val="centerGroup"/>
                    </m:oMathParaPr>
                    <m:oMath xmlns:m="http://schemas.openxmlformats.org/officeDocument/2006/math">
                      <m:r>
                        <a:rPr lang="en-US" sz="1600" b="1" i="1" smtClean="0">
                          <a:solidFill>
                            <a:srgbClr val="00B050"/>
                          </a:solidFill>
                          <a:latin typeface="Cambria Math" panose="02040503050406030204" pitchFamily="18" charset="0"/>
                          <a:cs typeface="Microsoft Sans Serif" panose="020B0604020202020204" pitchFamily="34" charset="0"/>
                        </a:rPr>
                        <m:t>𝑹</m:t>
                      </m:r>
                      <m:sSub>
                        <m:sSubPr>
                          <m:ctrlPr>
                            <a:rPr lang="en-US" sz="1600" b="1" i="1" smtClean="0">
                              <a:solidFill>
                                <a:srgbClr val="00B050"/>
                              </a:solidFill>
                              <a:latin typeface="Cambria Math" panose="02040503050406030204" pitchFamily="18" charset="0"/>
                              <a:cs typeface="Microsoft Sans Serif" panose="020B0604020202020204" pitchFamily="34" charset="0"/>
                            </a:rPr>
                          </m:ctrlPr>
                        </m:sSubPr>
                        <m:e>
                          <m:r>
                            <a:rPr lang="en-US" sz="1600" b="1" i="1" smtClean="0">
                              <a:solidFill>
                                <a:srgbClr val="00B050"/>
                              </a:solidFill>
                              <a:latin typeface="Cambria Math" panose="02040503050406030204" pitchFamily="18" charset="0"/>
                              <a:cs typeface="Microsoft Sans Serif" panose="020B0604020202020204" pitchFamily="34" charset="0"/>
                            </a:rPr>
                            <m:t>𝑽</m:t>
                          </m:r>
                        </m:e>
                        <m:sub>
                          <m:r>
                            <a:rPr lang="en-US" sz="1600" b="1" i="1" smtClean="0">
                              <a:solidFill>
                                <a:srgbClr val="00B050"/>
                              </a:solidFill>
                              <a:latin typeface="Cambria Math" panose="02040503050406030204" pitchFamily="18" charset="0"/>
                              <a:cs typeface="Microsoft Sans Serif" panose="020B0604020202020204" pitchFamily="34" charset="0"/>
                            </a:rPr>
                            <m:t>𝟑</m:t>
                          </m:r>
                          <m:r>
                            <a:rPr lang="en-US" sz="1600" b="1" i="1" smtClean="0">
                              <a:solidFill>
                                <a:srgbClr val="00B050"/>
                              </a:solidFill>
                              <a:latin typeface="Cambria Math" panose="02040503050406030204" pitchFamily="18" charset="0"/>
                              <a:cs typeface="Microsoft Sans Serif" panose="020B0604020202020204" pitchFamily="34" charset="0"/>
                            </a:rPr>
                            <m:t>,</m:t>
                          </m:r>
                          <m:r>
                            <a:rPr lang="en-US" sz="1600" b="1" i="1" smtClean="0">
                              <a:solidFill>
                                <a:srgbClr val="00B050"/>
                              </a:solidFill>
                              <a:latin typeface="Cambria Math" panose="02040503050406030204" pitchFamily="18" charset="0"/>
                              <a:cs typeface="Microsoft Sans Serif" panose="020B0604020202020204" pitchFamily="34" charset="0"/>
                            </a:rPr>
                            <m:t>𝑴𝒐𝒅𝒊𝒇𝒊𝒊𝒆𝒅</m:t>
                          </m:r>
                        </m:sub>
                      </m:sSub>
                    </m:oMath>
                  </m:oMathPara>
                </a14:m>
                <a:endParaRPr lang="en-US" sz="1600" b="1" dirty="0">
                  <a:solidFill>
                    <a:srgbClr val="00B050"/>
                  </a:solidFill>
                  <a:latin typeface="Microsoft Sans Serif"/>
                  <a:cs typeface="Microsoft Sans Serif" panose="020B0604020202020204" pitchFamily="34" charset="0"/>
                </a:endParaRPr>
              </a:p>
            </p:txBody>
          </p:sp>
        </mc:Choice>
        <mc:Fallback>
          <p:sp>
            <p:nvSpPr>
              <p:cNvPr id="122" name="TextBox 121">
                <a:extLst>
                  <a:ext uri="{FF2B5EF4-FFF2-40B4-BE49-F238E27FC236}">
                    <a16:creationId xmlns:a16="http://schemas.microsoft.com/office/drawing/2014/main" id="{AB2A6961-22B5-9D97-8BBC-62597B74A9ED}"/>
                  </a:ext>
                </a:extLst>
              </p:cNvPr>
              <p:cNvSpPr txBox="1">
                <a:spLocks noRot="1" noChangeAspect="1" noMove="1" noResize="1" noEditPoints="1" noAdjustHandles="1" noChangeArrowheads="1" noChangeShapeType="1" noTextEdit="1"/>
              </p:cNvSpPr>
              <p:nvPr/>
            </p:nvSpPr>
            <p:spPr>
              <a:xfrm rot="2672159">
                <a:off x="10642001" y="5490715"/>
                <a:ext cx="650666" cy="258789"/>
              </a:xfrm>
              <a:prstGeom prst="rect">
                <a:avLst/>
              </a:prstGeom>
              <a:blipFill>
                <a:blip r:embed="rId17"/>
                <a:stretch>
                  <a:fillRect l="-7477" t="-4717" r="-50467" b="-67925"/>
                </a:stretch>
              </a:blipFill>
            </p:spPr>
            <p:txBody>
              <a:bodyPr/>
              <a:lstStyle/>
              <a:p>
                <a:r>
                  <a:rPr lang="en-US">
                    <a:noFill/>
                  </a:rPr>
                  <a:t> </a:t>
                </a:r>
              </a:p>
            </p:txBody>
          </p:sp>
        </mc:Fallback>
      </mc:AlternateContent>
      <p:sp>
        <p:nvSpPr>
          <p:cNvPr id="123" name="TextBox 122">
            <a:extLst>
              <a:ext uri="{FF2B5EF4-FFF2-40B4-BE49-F238E27FC236}">
                <a16:creationId xmlns:a16="http://schemas.microsoft.com/office/drawing/2014/main" id="{3C53EA90-F03A-A741-9CDF-577B9D9F64A1}"/>
              </a:ext>
            </a:extLst>
          </p:cNvPr>
          <p:cNvSpPr txBox="1"/>
          <p:nvPr/>
        </p:nvSpPr>
        <p:spPr>
          <a:xfrm>
            <a:off x="8803862" y="5959857"/>
            <a:ext cx="2965189" cy="222015"/>
          </a:xfrm>
          <a:prstGeom prst="rect">
            <a:avLst/>
          </a:prstGeom>
        </p:spPr>
        <p:txBody>
          <a:bodyPr wrap="square" lIns="0" tIns="0" rIns="0" bIns="0" rtlCol="0">
            <a:spAutoFit/>
          </a:bodyPr>
          <a:lstStyle/>
          <a:p>
            <a:pPr algn="ctr">
              <a:lnSpc>
                <a:spcPct val="96000"/>
              </a:lnSpc>
            </a:pPr>
            <a:r>
              <a:rPr lang="en-US" sz="1200" dirty="0">
                <a:solidFill>
                  <a:schemeClr val="tx2"/>
                </a:solidFill>
                <a:latin typeface="Microsoft Sans Serif"/>
                <a:cs typeface="Microsoft Sans Serif" panose="020B0604020202020204" pitchFamily="34" charset="0"/>
              </a:rPr>
              <a:t>Example circular buffer </a:t>
            </a:r>
            <a:r>
              <a:rPr lang="en-US" sz="1200" dirty="0">
                <a:solidFill>
                  <a:schemeClr val="tx2"/>
                </a:solidFill>
                <a:cs typeface="Microsoft Sans Serif" panose="020B0604020202020204" pitchFamily="34" charset="0"/>
              </a:rPr>
              <a:t>(for a </a:t>
            </a:r>
            <a:r>
              <a:rPr lang="en-US" sz="1200" dirty="0" err="1">
                <a:solidFill>
                  <a:schemeClr val="tx2"/>
                </a:solidFill>
                <a:cs typeface="Microsoft Sans Serif" panose="020B0604020202020204" pitchFamily="34" charset="0"/>
              </a:rPr>
              <a:t>codeblock</a:t>
            </a:r>
            <a:r>
              <a:rPr lang="en-US" sz="1200" dirty="0">
                <a:solidFill>
                  <a:schemeClr val="tx2"/>
                </a:solidFill>
                <a:cs typeface="Microsoft Sans Serif" panose="020B0604020202020204" pitchFamily="34" charset="0"/>
              </a:rPr>
              <a:t> of a scaled TB) for </a:t>
            </a:r>
            <a:r>
              <a:rPr lang="en-US" sz="1200" dirty="0">
                <a:solidFill>
                  <a:schemeClr val="tx2"/>
                </a:solidFill>
                <a:latin typeface="Microsoft Sans Serif"/>
                <a:cs typeface="Microsoft Sans Serif" panose="020B0604020202020204" pitchFamily="34" charset="0"/>
              </a:rPr>
              <a:t>incremental redundancy using </a:t>
            </a:r>
            <a:r>
              <a:rPr lang="en-US" sz="1200" b="1" u="sng" dirty="0">
                <a:solidFill>
                  <a:srgbClr val="FF0000"/>
                </a:solidFill>
                <a:latin typeface="Microsoft Sans Serif"/>
                <a:cs typeface="Microsoft Sans Serif" panose="020B0604020202020204" pitchFamily="34" charset="0"/>
              </a:rPr>
              <a:t>“modified” RV starting pointers</a:t>
            </a:r>
          </a:p>
        </p:txBody>
      </p:sp>
      <mc:AlternateContent xmlns:mc="http://schemas.openxmlformats.org/markup-compatibility/2006">
        <mc:Choice xmlns:a14="http://schemas.microsoft.com/office/drawing/2010/main" Requires="a14">
          <p:sp>
            <p:nvSpPr>
              <p:cNvPr id="124" name="TextBox 123">
                <a:extLst>
                  <a:ext uri="{FF2B5EF4-FFF2-40B4-BE49-F238E27FC236}">
                    <a16:creationId xmlns:a16="http://schemas.microsoft.com/office/drawing/2014/main" id="{13BEAA6D-97E1-0698-BBE5-CE6EC100CCEE}"/>
                  </a:ext>
                </a:extLst>
              </p:cNvPr>
              <p:cNvSpPr txBox="1"/>
              <p:nvPr/>
            </p:nvSpPr>
            <p:spPr>
              <a:xfrm>
                <a:off x="9362690" y="4997797"/>
                <a:ext cx="220535" cy="296007"/>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3200" b="0" i="1" smtClean="0">
                          <a:solidFill>
                            <a:schemeClr val="tx2"/>
                          </a:solidFill>
                          <a:latin typeface="Cambria Math" panose="02040503050406030204" pitchFamily="18" charset="0"/>
                          <a:cs typeface="Microsoft Sans Serif" panose="020B0604020202020204" pitchFamily="34" charset="0"/>
                        </a:rPr>
                        <m:t>.</m:t>
                      </m:r>
                    </m:oMath>
                  </m:oMathPara>
                </a14:m>
                <a:endParaRPr lang="en-US" sz="3200" dirty="0">
                  <a:solidFill>
                    <a:schemeClr val="tx2"/>
                  </a:solidFill>
                  <a:latin typeface="Microsoft Sans Serif"/>
                  <a:cs typeface="Microsoft Sans Serif" panose="020B0604020202020204" pitchFamily="34" charset="0"/>
                </a:endParaRPr>
              </a:p>
            </p:txBody>
          </p:sp>
        </mc:Choice>
        <mc:Fallback>
          <p:sp>
            <p:nvSpPr>
              <p:cNvPr id="124" name="TextBox 123">
                <a:extLst>
                  <a:ext uri="{FF2B5EF4-FFF2-40B4-BE49-F238E27FC236}">
                    <a16:creationId xmlns:a16="http://schemas.microsoft.com/office/drawing/2014/main" id="{13BEAA6D-97E1-0698-BBE5-CE6EC100CCEE}"/>
                  </a:ext>
                </a:extLst>
              </p:cNvPr>
              <p:cNvSpPr txBox="1">
                <a:spLocks noRot="1" noChangeAspect="1" noMove="1" noResize="1" noEditPoints="1" noAdjustHandles="1" noChangeArrowheads="1" noChangeShapeType="1" noTextEdit="1"/>
              </p:cNvSpPr>
              <p:nvPr/>
            </p:nvSpPr>
            <p:spPr>
              <a:xfrm>
                <a:off x="9362690" y="4997797"/>
                <a:ext cx="220535" cy="296007"/>
              </a:xfrm>
              <a:prstGeom prst="rect">
                <a:avLst/>
              </a:prstGeom>
              <a:blipFill>
                <a:blip r:embed="rId18"/>
                <a:stretch>
                  <a:fillRect b="-291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5" name="TextBox 124">
                <a:extLst>
                  <a:ext uri="{FF2B5EF4-FFF2-40B4-BE49-F238E27FC236}">
                    <a16:creationId xmlns:a16="http://schemas.microsoft.com/office/drawing/2014/main" id="{98C3CD05-3F4B-A89B-CE2D-DBBEF50C3AE5}"/>
                  </a:ext>
                </a:extLst>
              </p:cNvPr>
              <p:cNvSpPr txBox="1"/>
              <p:nvPr/>
            </p:nvSpPr>
            <p:spPr>
              <a:xfrm>
                <a:off x="9294454" y="4893458"/>
                <a:ext cx="220535" cy="296007"/>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3200" b="0" i="1" smtClean="0">
                          <a:solidFill>
                            <a:schemeClr val="tx2"/>
                          </a:solidFill>
                          <a:latin typeface="Cambria Math" panose="02040503050406030204" pitchFamily="18" charset="0"/>
                          <a:cs typeface="Microsoft Sans Serif" panose="020B0604020202020204" pitchFamily="34" charset="0"/>
                        </a:rPr>
                        <m:t>.</m:t>
                      </m:r>
                    </m:oMath>
                  </m:oMathPara>
                </a14:m>
                <a:endParaRPr lang="en-US" sz="3200" dirty="0">
                  <a:solidFill>
                    <a:schemeClr val="tx2"/>
                  </a:solidFill>
                  <a:latin typeface="Microsoft Sans Serif"/>
                  <a:cs typeface="Microsoft Sans Serif" panose="020B0604020202020204" pitchFamily="34" charset="0"/>
                </a:endParaRPr>
              </a:p>
            </p:txBody>
          </p:sp>
        </mc:Choice>
        <mc:Fallback>
          <p:sp>
            <p:nvSpPr>
              <p:cNvPr id="125" name="TextBox 124">
                <a:extLst>
                  <a:ext uri="{FF2B5EF4-FFF2-40B4-BE49-F238E27FC236}">
                    <a16:creationId xmlns:a16="http://schemas.microsoft.com/office/drawing/2014/main" id="{98C3CD05-3F4B-A89B-CE2D-DBBEF50C3AE5}"/>
                  </a:ext>
                </a:extLst>
              </p:cNvPr>
              <p:cNvSpPr txBox="1">
                <a:spLocks noRot="1" noChangeAspect="1" noMove="1" noResize="1" noEditPoints="1" noAdjustHandles="1" noChangeArrowheads="1" noChangeShapeType="1" noTextEdit="1"/>
              </p:cNvSpPr>
              <p:nvPr/>
            </p:nvSpPr>
            <p:spPr>
              <a:xfrm>
                <a:off x="9294454" y="4893458"/>
                <a:ext cx="220535" cy="296007"/>
              </a:xfrm>
              <a:prstGeom prst="rect">
                <a:avLst/>
              </a:prstGeom>
              <a:blipFill>
                <a:blip r:embed="rId19"/>
                <a:stretch>
                  <a:fillRect b="-291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6" name="TextBox 125">
                <a:extLst>
                  <a:ext uri="{FF2B5EF4-FFF2-40B4-BE49-F238E27FC236}">
                    <a16:creationId xmlns:a16="http://schemas.microsoft.com/office/drawing/2014/main" id="{C5FC454F-F446-CF08-45B5-07A1EE93DEF3}"/>
                  </a:ext>
                </a:extLst>
              </p:cNvPr>
              <p:cNvSpPr txBox="1"/>
              <p:nvPr/>
            </p:nvSpPr>
            <p:spPr>
              <a:xfrm>
                <a:off x="9227364" y="4767877"/>
                <a:ext cx="220535" cy="296007"/>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3200" b="0" i="1" smtClean="0">
                          <a:solidFill>
                            <a:schemeClr val="tx2"/>
                          </a:solidFill>
                          <a:latin typeface="Cambria Math" panose="02040503050406030204" pitchFamily="18" charset="0"/>
                          <a:cs typeface="Microsoft Sans Serif" panose="020B0604020202020204" pitchFamily="34" charset="0"/>
                        </a:rPr>
                        <m:t>.</m:t>
                      </m:r>
                    </m:oMath>
                  </m:oMathPara>
                </a14:m>
                <a:endParaRPr lang="en-US" sz="3200" dirty="0">
                  <a:solidFill>
                    <a:schemeClr val="tx2"/>
                  </a:solidFill>
                  <a:latin typeface="Microsoft Sans Serif"/>
                  <a:cs typeface="Microsoft Sans Serif" panose="020B0604020202020204" pitchFamily="34" charset="0"/>
                </a:endParaRPr>
              </a:p>
            </p:txBody>
          </p:sp>
        </mc:Choice>
        <mc:Fallback>
          <p:sp>
            <p:nvSpPr>
              <p:cNvPr id="126" name="TextBox 125">
                <a:extLst>
                  <a:ext uri="{FF2B5EF4-FFF2-40B4-BE49-F238E27FC236}">
                    <a16:creationId xmlns:a16="http://schemas.microsoft.com/office/drawing/2014/main" id="{C5FC454F-F446-CF08-45B5-07A1EE93DEF3}"/>
                  </a:ext>
                </a:extLst>
              </p:cNvPr>
              <p:cNvSpPr txBox="1">
                <a:spLocks noRot="1" noChangeAspect="1" noMove="1" noResize="1" noEditPoints="1" noAdjustHandles="1" noChangeArrowheads="1" noChangeShapeType="1" noTextEdit="1"/>
              </p:cNvSpPr>
              <p:nvPr/>
            </p:nvSpPr>
            <p:spPr>
              <a:xfrm>
                <a:off x="9227364" y="4767877"/>
                <a:ext cx="220535" cy="296007"/>
              </a:xfrm>
              <a:prstGeom prst="rect">
                <a:avLst/>
              </a:prstGeom>
              <a:blipFill>
                <a:blip r:embed="rId20"/>
                <a:stretch>
                  <a:fillRect b="-2857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7" name="TextBox 126">
                <a:extLst>
                  <a:ext uri="{FF2B5EF4-FFF2-40B4-BE49-F238E27FC236}">
                    <a16:creationId xmlns:a16="http://schemas.microsoft.com/office/drawing/2014/main" id="{9CB13204-4B25-1039-0D5A-F5356B63AC19}"/>
                  </a:ext>
                </a:extLst>
              </p:cNvPr>
              <p:cNvSpPr txBox="1"/>
              <p:nvPr/>
            </p:nvSpPr>
            <p:spPr>
              <a:xfrm>
                <a:off x="9175864" y="4629759"/>
                <a:ext cx="220535" cy="296007"/>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3200" b="0" i="1" smtClean="0">
                          <a:solidFill>
                            <a:schemeClr val="tx2"/>
                          </a:solidFill>
                          <a:latin typeface="Cambria Math" panose="02040503050406030204" pitchFamily="18" charset="0"/>
                          <a:cs typeface="Microsoft Sans Serif" panose="020B0604020202020204" pitchFamily="34" charset="0"/>
                        </a:rPr>
                        <m:t>.</m:t>
                      </m:r>
                    </m:oMath>
                  </m:oMathPara>
                </a14:m>
                <a:endParaRPr lang="en-US" sz="3200" dirty="0">
                  <a:solidFill>
                    <a:schemeClr val="tx2"/>
                  </a:solidFill>
                  <a:latin typeface="Microsoft Sans Serif"/>
                  <a:cs typeface="Microsoft Sans Serif" panose="020B0604020202020204" pitchFamily="34" charset="0"/>
                </a:endParaRPr>
              </a:p>
            </p:txBody>
          </p:sp>
        </mc:Choice>
        <mc:Fallback>
          <p:sp>
            <p:nvSpPr>
              <p:cNvPr id="127" name="TextBox 126">
                <a:extLst>
                  <a:ext uri="{FF2B5EF4-FFF2-40B4-BE49-F238E27FC236}">
                    <a16:creationId xmlns:a16="http://schemas.microsoft.com/office/drawing/2014/main" id="{9CB13204-4B25-1039-0D5A-F5356B63AC19}"/>
                  </a:ext>
                </a:extLst>
              </p:cNvPr>
              <p:cNvSpPr txBox="1">
                <a:spLocks noRot="1" noChangeAspect="1" noMove="1" noResize="1" noEditPoints="1" noAdjustHandles="1" noChangeArrowheads="1" noChangeShapeType="1" noTextEdit="1"/>
              </p:cNvSpPr>
              <p:nvPr/>
            </p:nvSpPr>
            <p:spPr>
              <a:xfrm>
                <a:off x="9175864" y="4629759"/>
                <a:ext cx="220535" cy="296007"/>
              </a:xfrm>
              <a:prstGeom prst="rect">
                <a:avLst/>
              </a:prstGeom>
              <a:blipFill>
                <a:blip r:embed="rId21"/>
                <a:stretch>
                  <a:fillRect b="-2857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8" name="TextBox 127">
                <a:extLst>
                  <a:ext uri="{FF2B5EF4-FFF2-40B4-BE49-F238E27FC236}">
                    <a16:creationId xmlns:a16="http://schemas.microsoft.com/office/drawing/2014/main" id="{AD7D242F-834C-DDA3-0AF3-1B5E8AD5E0FC}"/>
                  </a:ext>
                </a:extLst>
              </p:cNvPr>
              <p:cNvSpPr txBox="1"/>
              <p:nvPr/>
            </p:nvSpPr>
            <p:spPr>
              <a:xfrm>
                <a:off x="9440327" y="4618069"/>
                <a:ext cx="1452416" cy="494238"/>
              </a:xfrm>
              <a:prstGeom prst="rect">
                <a:avLst/>
              </a:prstGeom>
            </p:spPr>
            <p:txBody>
              <a:bodyPr wrap="square" lIns="0" tIns="0" rIns="0" bIns="0" rtlCol="0">
                <a:spAutoFit/>
              </a:bodyPr>
              <a:lstStyle/>
              <a:p>
                <a:pPr algn="l">
                  <a:lnSpc>
                    <a:spcPct val="96000"/>
                  </a:lnSpc>
                </a:pPr>
                <a14:m>
                  <m:oMathPara xmlns:m="http://schemas.openxmlformats.org/officeDocument/2006/math">
                    <m:oMathParaPr>
                      <m:jc m:val="centerGroup"/>
                    </m:oMathParaPr>
                    <m:oMath xmlns:m="http://schemas.openxmlformats.org/officeDocument/2006/math">
                      <m:r>
                        <a:rPr lang="en-US" sz="1400" b="1" i="1" smtClean="0">
                          <a:solidFill>
                            <a:schemeClr val="accent3"/>
                          </a:solidFill>
                          <a:latin typeface="Cambria Math" panose="02040503050406030204" pitchFamily="18" charset="0"/>
                          <a:cs typeface="Microsoft Sans Serif" panose="020B0604020202020204" pitchFamily="34" charset="0"/>
                        </a:rPr>
                        <m:t>𝑺𝒕𝒂𝒓</m:t>
                      </m:r>
                      <m:sSub>
                        <m:sSubPr>
                          <m:ctrlPr>
                            <a:rPr lang="en-US" sz="1400" b="1" i="1" smtClean="0">
                              <a:solidFill>
                                <a:schemeClr val="accent3"/>
                              </a:solidFill>
                              <a:latin typeface="Cambria Math" panose="02040503050406030204" pitchFamily="18" charset="0"/>
                              <a:cs typeface="Microsoft Sans Serif" panose="020B0604020202020204" pitchFamily="34" charset="0"/>
                            </a:rPr>
                          </m:ctrlPr>
                        </m:sSubPr>
                        <m:e>
                          <m:r>
                            <a:rPr lang="en-US" sz="1400" b="1" i="1" smtClean="0">
                              <a:solidFill>
                                <a:schemeClr val="accent3"/>
                              </a:solidFill>
                              <a:latin typeface="Cambria Math" panose="02040503050406030204" pitchFamily="18" charset="0"/>
                              <a:cs typeface="Microsoft Sans Serif" panose="020B0604020202020204" pitchFamily="34" charset="0"/>
                            </a:rPr>
                            <m:t>𝒕</m:t>
                          </m:r>
                        </m:e>
                        <m:sub>
                          <m:r>
                            <a:rPr lang="en-US" sz="1400" b="1" i="1" smtClean="0">
                              <a:solidFill>
                                <a:schemeClr val="accent3"/>
                              </a:solidFill>
                              <a:latin typeface="Cambria Math" panose="02040503050406030204" pitchFamily="18" charset="0"/>
                              <a:cs typeface="Microsoft Sans Serif" panose="020B0604020202020204" pitchFamily="34" charset="0"/>
                            </a:rPr>
                            <m:t>𝑹</m:t>
                          </m:r>
                          <m:sSub>
                            <m:sSubPr>
                              <m:ctrlPr>
                                <a:rPr lang="en-US" sz="1400" b="1" i="1" smtClean="0">
                                  <a:solidFill>
                                    <a:schemeClr val="accent3"/>
                                  </a:solidFill>
                                  <a:latin typeface="Cambria Math" panose="02040503050406030204" pitchFamily="18" charset="0"/>
                                  <a:cs typeface="Microsoft Sans Serif" panose="020B0604020202020204" pitchFamily="34" charset="0"/>
                                </a:rPr>
                              </m:ctrlPr>
                            </m:sSubPr>
                            <m:e>
                              <m:r>
                                <a:rPr lang="en-US" sz="1400" b="1" i="1" smtClean="0">
                                  <a:solidFill>
                                    <a:schemeClr val="accent3"/>
                                  </a:solidFill>
                                  <a:latin typeface="Cambria Math" panose="02040503050406030204" pitchFamily="18" charset="0"/>
                                  <a:cs typeface="Microsoft Sans Serif" panose="020B0604020202020204" pitchFamily="34" charset="0"/>
                                </a:rPr>
                                <m:t>𝑽</m:t>
                              </m:r>
                            </m:e>
                            <m:sub>
                              <m:r>
                                <a:rPr lang="en-US" sz="1400" b="1" i="1" smtClean="0">
                                  <a:solidFill>
                                    <a:schemeClr val="accent3"/>
                                  </a:solidFill>
                                  <a:latin typeface="Cambria Math" panose="02040503050406030204" pitchFamily="18" charset="0"/>
                                  <a:cs typeface="Microsoft Sans Serif" panose="020B0604020202020204" pitchFamily="34" charset="0"/>
                                </a:rPr>
                                <m:t>𝒋</m:t>
                              </m:r>
                            </m:sub>
                          </m:sSub>
                        </m:sub>
                      </m:sSub>
                      <m:r>
                        <a:rPr lang="en-US" sz="1400" b="1" i="1" smtClean="0">
                          <a:solidFill>
                            <a:schemeClr val="accent3"/>
                          </a:solidFill>
                          <a:latin typeface="Cambria Math" panose="02040503050406030204" pitchFamily="18" charset="0"/>
                          <a:cs typeface="Microsoft Sans Serif" panose="020B0604020202020204" pitchFamily="34" charset="0"/>
                        </a:rPr>
                        <m:t>=</m:t>
                      </m:r>
                      <m:r>
                        <a:rPr lang="en-US" sz="1400" b="1" i="1" smtClean="0">
                          <a:solidFill>
                            <a:schemeClr val="accent3"/>
                          </a:solidFill>
                          <a:latin typeface="Cambria Math" panose="02040503050406030204" pitchFamily="18" charset="0"/>
                          <a:cs typeface="Microsoft Sans Serif" panose="020B0604020202020204" pitchFamily="34" charset="0"/>
                        </a:rPr>
                        <m:t>𝑬𝒏</m:t>
                      </m:r>
                      <m:sSub>
                        <m:sSubPr>
                          <m:ctrlPr>
                            <a:rPr lang="en-US" sz="1400" b="1" i="1" smtClean="0">
                              <a:solidFill>
                                <a:schemeClr val="accent3"/>
                              </a:solidFill>
                              <a:latin typeface="Cambria Math" panose="02040503050406030204" pitchFamily="18" charset="0"/>
                              <a:cs typeface="Microsoft Sans Serif" panose="020B0604020202020204" pitchFamily="34" charset="0"/>
                            </a:rPr>
                          </m:ctrlPr>
                        </m:sSubPr>
                        <m:e>
                          <m:r>
                            <a:rPr lang="en-US" sz="1400" b="1" i="1" smtClean="0">
                              <a:solidFill>
                                <a:schemeClr val="accent3"/>
                              </a:solidFill>
                              <a:latin typeface="Cambria Math" panose="02040503050406030204" pitchFamily="18" charset="0"/>
                              <a:cs typeface="Microsoft Sans Serif" panose="020B0604020202020204" pitchFamily="34" charset="0"/>
                            </a:rPr>
                            <m:t>𝒅</m:t>
                          </m:r>
                        </m:e>
                        <m:sub>
                          <m:r>
                            <a:rPr lang="en-US" sz="1400" b="1" i="1" smtClean="0">
                              <a:solidFill>
                                <a:schemeClr val="accent3"/>
                              </a:solidFill>
                              <a:latin typeface="Cambria Math" panose="02040503050406030204" pitchFamily="18" charset="0"/>
                              <a:cs typeface="Microsoft Sans Serif" panose="020B0604020202020204" pitchFamily="34" charset="0"/>
                            </a:rPr>
                            <m:t>𝑹</m:t>
                          </m:r>
                          <m:sSub>
                            <m:sSubPr>
                              <m:ctrlPr>
                                <a:rPr lang="en-US" sz="1400" b="1" i="1" smtClean="0">
                                  <a:solidFill>
                                    <a:schemeClr val="accent3"/>
                                  </a:solidFill>
                                  <a:latin typeface="Cambria Math" panose="02040503050406030204" pitchFamily="18" charset="0"/>
                                  <a:cs typeface="Microsoft Sans Serif" panose="020B0604020202020204" pitchFamily="34" charset="0"/>
                                </a:rPr>
                              </m:ctrlPr>
                            </m:sSubPr>
                            <m:e>
                              <m:r>
                                <a:rPr lang="en-US" sz="1400" b="1" i="1" smtClean="0">
                                  <a:solidFill>
                                    <a:schemeClr val="accent3"/>
                                  </a:solidFill>
                                  <a:latin typeface="Cambria Math" panose="02040503050406030204" pitchFamily="18" charset="0"/>
                                  <a:cs typeface="Microsoft Sans Serif" panose="020B0604020202020204" pitchFamily="34" charset="0"/>
                                </a:rPr>
                                <m:t>𝑽</m:t>
                              </m:r>
                            </m:e>
                            <m:sub>
                              <m:r>
                                <a:rPr lang="en-US" sz="1400" b="1" i="1" smtClean="0">
                                  <a:solidFill>
                                    <a:schemeClr val="accent3"/>
                                  </a:solidFill>
                                  <a:latin typeface="Cambria Math" panose="02040503050406030204" pitchFamily="18" charset="0"/>
                                  <a:cs typeface="Microsoft Sans Serif" panose="020B0604020202020204" pitchFamily="34" charset="0"/>
                                </a:rPr>
                                <m:t>𝒋</m:t>
                              </m:r>
                              <m:r>
                                <a:rPr lang="en-US" sz="1400" b="1" i="1" smtClean="0">
                                  <a:solidFill>
                                    <a:schemeClr val="accent3"/>
                                  </a:solidFill>
                                  <a:latin typeface="Cambria Math" panose="02040503050406030204" pitchFamily="18" charset="0"/>
                                  <a:cs typeface="Microsoft Sans Serif" panose="020B0604020202020204" pitchFamily="34" charset="0"/>
                                </a:rPr>
                                <m:t>−</m:t>
                              </m:r>
                              <m:r>
                                <a:rPr lang="en-US" sz="1400" b="1" i="1" smtClean="0">
                                  <a:solidFill>
                                    <a:schemeClr val="accent3"/>
                                  </a:solidFill>
                                  <a:latin typeface="Cambria Math" panose="02040503050406030204" pitchFamily="18" charset="0"/>
                                  <a:cs typeface="Microsoft Sans Serif" panose="020B0604020202020204" pitchFamily="34" charset="0"/>
                                </a:rPr>
                                <m:t>𝟏</m:t>
                              </m:r>
                            </m:sub>
                          </m:sSub>
                        </m:sub>
                      </m:sSub>
                      <m:r>
                        <a:rPr lang="en-US" sz="1400" b="1" i="1" smtClean="0">
                          <a:solidFill>
                            <a:schemeClr val="accent3"/>
                          </a:solidFill>
                          <a:latin typeface="Cambria Math" panose="02040503050406030204" pitchFamily="18" charset="0"/>
                          <a:cs typeface="Microsoft Sans Serif" panose="020B0604020202020204" pitchFamily="34" charset="0"/>
                        </a:rPr>
                        <m:t>+</m:t>
                      </m:r>
                      <m:r>
                        <a:rPr lang="en-US" sz="1400" b="1" i="1" smtClean="0">
                          <a:solidFill>
                            <a:schemeClr val="accent3"/>
                          </a:solidFill>
                          <a:latin typeface="Cambria Math" panose="02040503050406030204" pitchFamily="18" charset="0"/>
                          <a:cs typeface="Microsoft Sans Serif" panose="020B0604020202020204" pitchFamily="34" charset="0"/>
                        </a:rPr>
                        <m:t>𝟏</m:t>
                      </m:r>
                      <m:r>
                        <a:rPr lang="en-US" sz="1400" b="1" i="1" smtClean="0">
                          <a:solidFill>
                            <a:schemeClr val="accent3"/>
                          </a:solidFill>
                          <a:latin typeface="Cambria Math" panose="02040503050406030204" pitchFamily="18" charset="0"/>
                          <a:cs typeface="Microsoft Sans Serif" panose="020B0604020202020204" pitchFamily="34" charset="0"/>
                        </a:rPr>
                        <m:t> </m:t>
                      </m:r>
                    </m:oMath>
                  </m:oMathPara>
                </a14:m>
                <a:endParaRPr lang="en-US" sz="1400" b="1" dirty="0">
                  <a:solidFill>
                    <a:schemeClr val="accent3"/>
                  </a:solidFill>
                  <a:latin typeface="Microsoft Sans Serif"/>
                  <a:cs typeface="Microsoft Sans Serif" panose="020B0604020202020204" pitchFamily="34" charset="0"/>
                </a:endParaRPr>
              </a:p>
            </p:txBody>
          </p:sp>
        </mc:Choice>
        <mc:Fallback>
          <p:sp>
            <p:nvSpPr>
              <p:cNvPr id="128" name="TextBox 127">
                <a:extLst>
                  <a:ext uri="{FF2B5EF4-FFF2-40B4-BE49-F238E27FC236}">
                    <a16:creationId xmlns:a16="http://schemas.microsoft.com/office/drawing/2014/main" id="{AD7D242F-834C-DDA3-0AF3-1B5E8AD5E0FC}"/>
                  </a:ext>
                </a:extLst>
              </p:cNvPr>
              <p:cNvSpPr txBox="1">
                <a:spLocks noRot="1" noChangeAspect="1" noMove="1" noResize="1" noEditPoints="1" noAdjustHandles="1" noChangeArrowheads="1" noChangeShapeType="1" noTextEdit="1"/>
              </p:cNvSpPr>
              <p:nvPr/>
            </p:nvSpPr>
            <p:spPr>
              <a:xfrm>
                <a:off x="9440327" y="4618069"/>
                <a:ext cx="1452416" cy="494238"/>
              </a:xfrm>
              <a:prstGeom prst="rect">
                <a:avLst/>
              </a:prstGeom>
              <a:blipFill>
                <a:blip r:embed="rId22"/>
                <a:stretch>
                  <a:fillRect b="-987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1645EDC8-50D8-4730-F94E-68158540D16B}"/>
                  </a:ext>
                </a:extLst>
              </p:cNvPr>
              <p:cNvSpPr txBox="1"/>
              <p:nvPr/>
            </p:nvSpPr>
            <p:spPr>
              <a:xfrm>
                <a:off x="6952384" y="1317037"/>
                <a:ext cx="4664113" cy="1483419"/>
              </a:xfrm>
              <a:prstGeom prst="rect">
                <a:avLst/>
              </a:prstGeom>
              <a:solidFill>
                <a:schemeClr val="accent1">
                  <a:lumMod val="20000"/>
                  <a:lumOff val="80000"/>
                </a:schemeClr>
              </a:solidFill>
              <a:scene3d>
                <a:camera prst="obliqueBottomLeft"/>
                <a:lightRig rig="threePt" dir="t"/>
              </a:scene3d>
            </p:spPr>
            <p:txBody>
              <a:bodyPr wrap="square" lIns="0" tIns="0" rIns="0" bIns="0" rtlCol="0">
                <a:spAutoFit/>
              </a:bodyPr>
              <a:lstStyle/>
              <a:p>
                <a:pPr algn="l">
                  <a:lnSpc>
                    <a:spcPct val="96000"/>
                  </a:lnSpc>
                  <a:spcAft>
                    <a:spcPts val="600"/>
                  </a:spcAft>
                </a:pPr>
                <a:r>
                  <a:rPr lang="en-GB" dirty="0">
                    <a:solidFill>
                      <a:schemeClr val="tx2"/>
                    </a:solidFill>
                    <a:latin typeface="Microsoft Sans Serif"/>
                    <a:cs typeface="Microsoft Sans Serif" panose="020B0604020202020204" pitchFamily="34" charset="0"/>
                  </a:rPr>
                  <a:t>Updated design</a:t>
                </a:r>
              </a:p>
              <a:p>
                <a:pPr marL="285750" indent="-285750" algn="l">
                  <a:lnSpc>
                    <a:spcPct val="96000"/>
                  </a:lnSpc>
                  <a:spcAft>
                    <a:spcPts val="600"/>
                  </a:spcAft>
                  <a:buFont typeface="Arial" panose="020B0604020202020204" pitchFamily="34" charset="0"/>
                  <a:buChar char="•"/>
                </a:pPr>
                <a:r>
                  <a:rPr lang="de-DE" dirty="0">
                    <a:solidFill>
                      <a:schemeClr val="tx2"/>
                    </a:solidFill>
                    <a:latin typeface="Microsoft Sans Serif"/>
                    <a:cs typeface="Microsoft Sans Serif" panose="020B0604020202020204" pitchFamily="34" charset="0"/>
                  </a:rPr>
                  <a:t>Rate &gt; 1 for "initial" transmission permitted </a:t>
                </a:r>
              </a:p>
              <a:p>
                <a:pPr marL="285750" indent="-285750">
                  <a:lnSpc>
                    <a:spcPct val="96000"/>
                  </a:lnSpc>
                  <a:spcAft>
                    <a:spcPts val="600"/>
                  </a:spcAft>
                  <a:buFont typeface="Arial" panose="020B0604020202020204" pitchFamily="34" charset="0"/>
                  <a:buChar char="•"/>
                </a:pPr>
                <a:r>
                  <a:rPr lang="en-GB" dirty="0">
                    <a:solidFill>
                      <a:schemeClr val="tx2"/>
                    </a:solidFill>
                    <a:latin typeface="Microsoft Sans Serif"/>
                    <a:cs typeface="Microsoft Sans Serif" panose="020B0604020202020204" pitchFamily="34" charset="0"/>
                  </a:rPr>
                  <a:t>“modified” RVs ensure that the coded bits for </a:t>
                </a:r>
                <a14:m>
                  <m:oMath xmlns:m="http://schemas.openxmlformats.org/officeDocument/2006/math">
                    <m:r>
                      <a:rPr lang="en-GB">
                        <a:solidFill>
                          <a:schemeClr val="tx2"/>
                        </a:solidFill>
                        <a:latin typeface="Microsoft Sans Serif"/>
                        <a:cs typeface="Microsoft Sans Serif" panose="020B0604020202020204" pitchFamily="34" charset="0"/>
                      </a:rPr>
                      <m:t>𝑅</m:t>
                    </m:r>
                    <m:sSub>
                      <m:sSubPr>
                        <m:ctrlPr>
                          <a:rPr lang="en-US">
                            <a:solidFill>
                              <a:schemeClr val="tx2"/>
                            </a:solidFill>
                            <a:latin typeface="Microsoft Sans Serif"/>
                            <a:cs typeface="Microsoft Sans Serif" panose="020B0604020202020204" pitchFamily="34" charset="0"/>
                          </a:rPr>
                        </m:ctrlPr>
                      </m:sSubPr>
                      <m:e>
                        <m:r>
                          <a:rPr lang="en-GB">
                            <a:solidFill>
                              <a:schemeClr val="tx2"/>
                            </a:solidFill>
                            <a:latin typeface="Microsoft Sans Serif"/>
                            <a:cs typeface="Microsoft Sans Serif" panose="020B0604020202020204" pitchFamily="34" charset="0"/>
                          </a:rPr>
                          <m:t>𝑉</m:t>
                        </m:r>
                      </m:e>
                      <m:sub>
                        <m:r>
                          <a:rPr lang="en-GB">
                            <a:solidFill>
                              <a:schemeClr val="tx2"/>
                            </a:solidFill>
                            <a:latin typeface="Microsoft Sans Serif"/>
                            <a:cs typeface="Microsoft Sans Serif" panose="020B0604020202020204" pitchFamily="34" charset="0"/>
                          </a:rPr>
                          <m:t>𝑖</m:t>
                        </m:r>
                      </m:sub>
                    </m:sSub>
                  </m:oMath>
                </a14:m>
                <a:r>
                  <a:rPr lang="en-GB" dirty="0">
                    <a:solidFill>
                      <a:schemeClr val="tx2"/>
                    </a:solidFill>
                    <a:latin typeface="Microsoft Sans Serif"/>
                    <a:cs typeface="Microsoft Sans Serif" panose="020B0604020202020204" pitchFamily="34" charset="0"/>
                  </a:rPr>
                  <a:t> start right after those for </a:t>
                </a:r>
                <a14:m>
                  <m:oMath xmlns:m="http://schemas.openxmlformats.org/officeDocument/2006/math">
                    <m:r>
                      <a:rPr lang="en-GB">
                        <a:solidFill>
                          <a:schemeClr val="tx2"/>
                        </a:solidFill>
                        <a:latin typeface="Microsoft Sans Serif"/>
                        <a:cs typeface="Microsoft Sans Serif" panose="020B0604020202020204" pitchFamily="34" charset="0"/>
                      </a:rPr>
                      <m:t>𝑅</m:t>
                    </m:r>
                    <m:sSub>
                      <m:sSubPr>
                        <m:ctrlPr>
                          <a:rPr lang="en-US">
                            <a:solidFill>
                              <a:schemeClr val="tx2"/>
                            </a:solidFill>
                            <a:latin typeface="Microsoft Sans Serif"/>
                            <a:cs typeface="Microsoft Sans Serif" panose="020B0604020202020204" pitchFamily="34" charset="0"/>
                          </a:rPr>
                        </m:ctrlPr>
                      </m:sSubPr>
                      <m:e>
                        <m:r>
                          <a:rPr lang="en-GB">
                            <a:solidFill>
                              <a:schemeClr val="tx2"/>
                            </a:solidFill>
                            <a:latin typeface="Microsoft Sans Serif"/>
                            <a:cs typeface="Microsoft Sans Serif" panose="020B0604020202020204" pitchFamily="34" charset="0"/>
                          </a:rPr>
                          <m:t>𝑉</m:t>
                        </m:r>
                      </m:e>
                      <m:sub>
                        <m:r>
                          <a:rPr lang="en-GB">
                            <a:solidFill>
                              <a:schemeClr val="tx2"/>
                            </a:solidFill>
                            <a:latin typeface="Microsoft Sans Serif"/>
                            <a:cs typeface="Microsoft Sans Serif" panose="020B0604020202020204" pitchFamily="34" charset="0"/>
                          </a:rPr>
                          <m:t>𝑖</m:t>
                        </m:r>
                        <m:r>
                          <a:rPr lang="en-GB">
                            <a:solidFill>
                              <a:schemeClr val="tx2"/>
                            </a:solidFill>
                            <a:latin typeface="Microsoft Sans Serif"/>
                            <a:cs typeface="Microsoft Sans Serif" panose="020B0604020202020204" pitchFamily="34" charset="0"/>
                          </a:rPr>
                          <m:t>−1</m:t>
                        </m:r>
                      </m:sub>
                    </m:sSub>
                  </m:oMath>
                </a14:m>
                <a:r>
                  <a:rPr lang="en-GB" dirty="0">
                    <a:solidFill>
                      <a:schemeClr val="tx2"/>
                    </a:solidFill>
                    <a:latin typeface="Microsoft Sans Serif"/>
                    <a:cs typeface="Microsoft Sans Serif" panose="020B0604020202020204" pitchFamily="34" charset="0"/>
                  </a:rPr>
                  <a:t>, and we are not restricted to 4 RVs</a:t>
                </a:r>
                <a:endParaRPr lang="de-DE" dirty="0">
                  <a:solidFill>
                    <a:schemeClr val="tx2"/>
                  </a:solidFill>
                  <a:latin typeface="Microsoft Sans Serif"/>
                  <a:cs typeface="Microsoft Sans Serif" panose="020B0604020202020204" pitchFamily="34" charset="0"/>
                </a:endParaRPr>
              </a:p>
            </p:txBody>
          </p:sp>
        </mc:Choice>
        <mc:Fallback>
          <p:sp>
            <p:nvSpPr>
              <p:cNvPr id="2" name="TextBox 1">
                <a:extLst>
                  <a:ext uri="{FF2B5EF4-FFF2-40B4-BE49-F238E27FC236}">
                    <a16:creationId xmlns:a16="http://schemas.microsoft.com/office/drawing/2014/main" id="{1645EDC8-50D8-4730-F94E-68158540D16B}"/>
                  </a:ext>
                </a:extLst>
              </p:cNvPr>
              <p:cNvSpPr txBox="1">
                <a:spLocks noRot="1" noChangeAspect="1" noMove="1" noResize="1" noEditPoints="1" noAdjustHandles="1" noChangeArrowheads="1" noChangeShapeType="1" noTextEdit="1"/>
              </p:cNvSpPr>
              <p:nvPr/>
            </p:nvSpPr>
            <p:spPr>
              <a:xfrm>
                <a:off x="6952384" y="1317037"/>
                <a:ext cx="4664113" cy="1483419"/>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EB8FED73-3A3D-55BD-8331-49062B2F7D14}"/>
                  </a:ext>
                </a:extLst>
              </p:cNvPr>
              <p:cNvSpPr txBox="1"/>
              <p:nvPr/>
            </p:nvSpPr>
            <p:spPr>
              <a:xfrm>
                <a:off x="134229" y="4910248"/>
                <a:ext cx="5509074" cy="1538883"/>
              </a:xfrm>
              <a:prstGeom prst="rect">
                <a:avLst/>
              </a:prstGeom>
              <a:solidFill>
                <a:schemeClr val="accent1">
                  <a:lumMod val="20000"/>
                  <a:lumOff val="80000"/>
                </a:schemeClr>
              </a:solidFill>
            </p:spPr>
            <p:txBody>
              <a:bodyPr wrap="square" lIns="0" tIns="0" rIns="0" bIns="0" rtlCol="0">
                <a:spAutoFit/>
              </a:bodyPr>
              <a:lstStyle/>
              <a:p>
                <a:pPr marR="0">
                  <a:spcBef>
                    <a:spcPts val="0"/>
                  </a:spcBef>
                  <a:spcAft>
                    <a:spcPts val="600"/>
                  </a:spcAft>
                </a:pPr>
                <a:r>
                  <a:rPr lang="en-GB" sz="1800" dirty="0">
                    <a:effectLst/>
                    <a:latin typeface="Arial" panose="020B0604020202020204" pitchFamily="34" charset="0"/>
                    <a:ea typeface="SimSun" panose="02010600030101010101" pitchFamily="2" charset="-122"/>
                    <a:cs typeface="Arial" panose="020B0604020202020204" pitchFamily="34" charset="0"/>
                  </a:rPr>
                  <a:t>To spread out the systematic bits of </a:t>
                </a:r>
                <a:r>
                  <a:rPr lang="en-GB" dirty="0">
                    <a:solidFill>
                      <a:schemeClr val="tx2"/>
                    </a:solidFill>
                    <a:latin typeface="Microsoft Sans Serif"/>
                    <a:cs typeface="Microsoft Sans Serif" panose="020B0604020202020204" pitchFamily="34" charset="0"/>
                  </a:rPr>
                  <a:t>each</a:t>
                </a:r>
                <a:r>
                  <a:rPr lang="en-GB" sz="1800" dirty="0">
                    <a:effectLst/>
                    <a:latin typeface="Arial" panose="020B0604020202020204" pitchFamily="34" charset="0"/>
                    <a:ea typeface="SimSun" panose="02010600030101010101" pitchFamily="2" charset="-122"/>
                    <a:cs typeface="Arial" panose="020B0604020202020204" pitchFamily="34" charset="0"/>
                  </a:rPr>
                  <a:t> </a:t>
                </a:r>
                <a:r>
                  <a:rPr lang="en-GB" sz="1800" dirty="0" err="1">
                    <a:effectLst/>
                    <a:latin typeface="Arial" panose="020B0604020202020204" pitchFamily="34" charset="0"/>
                    <a:ea typeface="SimSun" panose="02010600030101010101" pitchFamily="2" charset="-122"/>
                    <a:cs typeface="Arial" panose="020B0604020202020204" pitchFamily="34" charset="0"/>
                  </a:rPr>
                  <a:t>codeblock</a:t>
                </a:r>
                <a:r>
                  <a:rPr lang="en-GB" sz="1800" dirty="0">
                    <a:effectLst/>
                    <a:latin typeface="Arial" panose="020B0604020202020204" pitchFamily="34" charset="0"/>
                    <a:ea typeface="SimSun" panose="02010600030101010101" pitchFamily="2" charset="-122"/>
                    <a:cs typeface="Arial" panose="020B0604020202020204" pitchFamily="34" charset="0"/>
                  </a:rPr>
                  <a:t> (carried by the lower-indexed RVs) within the TB as far apart in time as possible, </a:t>
                </a:r>
              </a:p>
              <a:p>
                <a:pPr marL="285750" marR="0" indent="-285750">
                  <a:spcBef>
                    <a:spcPts val="0"/>
                  </a:spcBef>
                  <a:spcAft>
                    <a:spcPts val="600"/>
                  </a:spcAft>
                  <a:buFont typeface="Arial" panose="020B0604020202020204" pitchFamily="34" charset="0"/>
                  <a:buChar char="•"/>
                </a:pPr>
                <a:r>
                  <a:rPr lang="en-GB" sz="1800" dirty="0">
                    <a:effectLst/>
                    <a:latin typeface="Arial" panose="020B0604020202020204" pitchFamily="34" charset="0"/>
                    <a:ea typeface="SimSun" panose="02010600030101010101" pitchFamily="2" charset="-122"/>
                    <a:cs typeface="Arial" panose="020B0604020202020204" pitchFamily="34" charset="0"/>
                  </a:rPr>
                  <a:t>for</a:t>
                </a:r>
                <a:r>
                  <a:rPr lang="en-GB" sz="1800" b="1" dirty="0">
                    <a:effectLst/>
                    <a:latin typeface="Arial" panose="020B0604020202020204" pitchFamily="34" charset="0"/>
                    <a:ea typeface="SimSun" panose="02010600030101010101" pitchFamily="2" charset="-122"/>
                    <a:cs typeface="Arial" panose="020B0604020202020204" pitchFamily="34" charset="0"/>
                  </a:rPr>
                  <a:t> </a:t>
                </a:r>
                <a14:m>
                  <m:oMath xmlns:m="http://schemas.openxmlformats.org/officeDocument/2006/math">
                    <m:r>
                      <a:rPr lang="en-GB" sz="1800" i="1">
                        <a:effectLst/>
                        <a:latin typeface="Cambria Math" panose="02040503050406030204" pitchFamily="18" charset="0"/>
                        <a:ea typeface="SimSun" panose="02010600030101010101" pitchFamily="2" charset="-122"/>
                        <a:cs typeface="Arial" panose="020B0604020202020204" pitchFamily="34" charset="0"/>
                      </a:rPr>
                      <m:t>𝑛</m:t>
                    </m:r>
                    <m:r>
                      <a:rPr lang="en-GB" sz="1800" i="1">
                        <a:effectLst/>
                        <a:latin typeface="Cambria Math" panose="02040503050406030204" pitchFamily="18" charset="0"/>
                        <a:ea typeface="SimSun" panose="02010600030101010101" pitchFamily="2" charset="-122"/>
                        <a:cs typeface="Arial" panose="020B0604020202020204" pitchFamily="34" charset="0"/>
                      </a:rPr>
                      <m:t>=4</m:t>
                    </m:r>
                  </m:oMath>
                </a14:m>
                <a:r>
                  <a:rPr lang="en-GB" sz="1800" dirty="0">
                    <a:effectLst/>
                    <a:latin typeface="Arial" panose="020B0604020202020204" pitchFamily="34" charset="0"/>
                    <a:ea typeface="SimSun" panose="02010600030101010101" pitchFamily="2" charset="-122"/>
                    <a:cs typeface="Arial" panose="020B0604020202020204" pitchFamily="34" charset="0"/>
                  </a:rPr>
                  <a:t>, we use </a:t>
                </a:r>
                <a14:m>
                  <m:oMath xmlns:m="http://schemas.openxmlformats.org/officeDocument/2006/math">
                    <m:d>
                      <m:dPr>
                        <m:begChr m:val="{"/>
                        <m:endChr m:val="}"/>
                        <m:ctrlPr>
                          <a:rPr lang="en-US" sz="1800" i="1">
                            <a:effectLst/>
                            <a:latin typeface="Cambria Math" panose="02040503050406030204" pitchFamily="18" charset="0"/>
                            <a:ea typeface="SimSun" panose="02010600030101010101" pitchFamily="2" charset="-122"/>
                            <a:cs typeface="Arial" panose="020B0604020202020204" pitchFamily="34" charset="0"/>
                          </a:rPr>
                        </m:ctrlPr>
                      </m:dPr>
                      <m:e>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0</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2</m:t>
                            </m:r>
                          </m:sub>
                        </m:sSub>
                        <m:r>
                          <a:rPr lang="en-GB" sz="1800" i="1">
                            <a:effectLst/>
                            <a:latin typeface="Cambria Math" panose="02040503050406030204" pitchFamily="18" charset="0"/>
                            <a:ea typeface="SimSun" panose="02010600030101010101" pitchFamily="2" charset="-122"/>
                            <a:cs typeface="Arial" panose="020B0604020202020204" pitchFamily="34" charset="0"/>
                          </a:rPr>
                          <m:t>, </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3</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1</m:t>
                            </m:r>
                          </m:sub>
                        </m:sSub>
                      </m:e>
                    </m:d>
                  </m:oMath>
                </a14:m>
                <a:endParaRPr lang="en-GB" dirty="0">
                  <a:latin typeface="Arial" panose="020B0604020202020204" pitchFamily="34" charset="0"/>
                  <a:ea typeface="SimSun" panose="02010600030101010101" pitchFamily="2" charset="-122"/>
                  <a:cs typeface="Arial" panose="020B0604020202020204" pitchFamily="34" charset="0"/>
                </a:endParaRPr>
              </a:p>
              <a:p>
                <a:pPr marL="285750" marR="0" indent="-285750">
                  <a:spcBef>
                    <a:spcPts val="0"/>
                  </a:spcBef>
                  <a:spcAft>
                    <a:spcPts val="600"/>
                  </a:spcAft>
                  <a:buFont typeface="Arial" panose="020B0604020202020204" pitchFamily="34" charset="0"/>
                  <a:buChar char="•"/>
                </a:pPr>
                <a:r>
                  <a:rPr lang="en-GB" sz="1800" dirty="0">
                    <a:effectLst/>
                    <a:latin typeface="Arial" panose="020B0604020202020204" pitchFamily="34" charset="0"/>
                    <a:ea typeface="SimSun" panose="02010600030101010101" pitchFamily="2" charset="-122"/>
                    <a:cs typeface="Arial" panose="020B0604020202020204" pitchFamily="34" charset="0"/>
                  </a:rPr>
                  <a:t>for </a:t>
                </a:r>
                <a14:m>
                  <m:oMath xmlns:m="http://schemas.openxmlformats.org/officeDocument/2006/math">
                    <m:r>
                      <a:rPr lang="en-GB" sz="1800" i="1">
                        <a:effectLst/>
                        <a:latin typeface="Cambria Math" panose="02040503050406030204" pitchFamily="18" charset="0"/>
                        <a:ea typeface="SimSun" panose="02010600030101010101" pitchFamily="2" charset="-122"/>
                        <a:cs typeface="Arial" panose="020B0604020202020204" pitchFamily="34" charset="0"/>
                      </a:rPr>
                      <m:t>𝑛</m:t>
                    </m:r>
                    <m:r>
                      <a:rPr lang="en-GB" sz="1800" i="1">
                        <a:effectLst/>
                        <a:latin typeface="Cambria Math" panose="02040503050406030204" pitchFamily="18" charset="0"/>
                        <a:ea typeface="SimSun" panose="02010600030101010101" pitchFamily="2" charset="-122"/>
                        <a:cs typeface="Arial" panose="020B0604020202020204" pitchFamily="34" charset="0"/>
                      </a:rPr>
                      <m:t>=8, {</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0</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4</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6</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2</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7</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3</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5</m:t>
                        </m:r>
                      </m:sub>
                    </m:sSub>
                    <m:r>
                      <a:rPr lang="en-GB" sz="1800" i="1">
                        <a:effectLst/>
                        <a:latin typeface="Cambria Math" panose="02040503050406030204" pitchFamily="18" charset="0"/>
                        <a:ea typeface="SimSun" panose="02010600030101010101" pitchFamily="2" charset="-122"/>
                        <a:cs typeface="Arial" panose="020B0604020202020204" pitchFamily="34" charset="0"/>
                      </a:rPr>
                      <m:t>,</m:t>
                    </m:r>
                    <m:r>
                      <a:rPr lang="en-GB" sz="1800" i="1">
                        <a:effectLst/>
                        <a:latin typeface="Cambria Math" panose="02040503050406030204" pitchFamily="18" charset="0"/>
                        <a:ea typeface="SimSun" panose="02010600030101010101" pitchFamily="2" charset="-122"/>
                        <a:cs typeface="Arial" panose="020B0604020202020204" pitchFamily="34" charset="0"/>
                      </a:rPr>
                      <m:t>𝑅</m:t>
                    </m:r>
                    <m:sSub>
                      <m:sSubPr>
                        <m:ctrlPr>
                          <a:rPr lang="en-US" sz="1800" i="1">
                            <a:effectLst/>
                            <a:latin typeface="Cambria Math" panose="02040503050406030204" pitchFamily="18" charset="0"/>
                            <a:ea typeface="SimSun" panose="02010600030101010101" pitchFamily="2" charset="-122"/>
                            <a:cs typeface="Arial" panose="020B0604020202020204" pitchFamily="34" charset="0"/>
                          </a:rPr>
                        </m:ctrlPr>
                      </m:sSubPr>
                      <m:e>
                        <m:r>
                          <a:rPr lang="en-GB" sz="1800" i="1">
                            <a:effectLst/>
                            <a:latin typeface="Cambria Math" panose="02040503050406030204" pitchFamily="18" charset="0"/>
                            <a:ea typeface="SimSun" panose="02010600030101010101" pitchFamily="2" charset="-122"/>
                            <a:cs typeface="Arial" panose="020B0604020202020204" pitchFamily="34" charset="0"/>
                          </a:rPr>
                          <m:t>𝑉</m:t>
                        </m:r>
                      </m:e>
                      <m:sub>
                        <m:r>
                          <a:rPr lang="en-GB" sz="1800" i="1">
                            <a:effectLst/>
                            <a:latin typeface="Cambria Math" panose="02040503050406030204" pitchFamily="18" charset="0"/>
                            <a:ea typeface="SimSun" panose="02010600030101010101" pitchFamily="2" charset="-122"/>
                            <a:cs typeface="Arial" panose="020B0604020202020204" pitchFamily="34" charset="0"/>
                          </a:rPr>
                          <m:t>1</m:t>
                        </m:r>
                      </m:sub>
                    </m:sSub>
                    <m:r>
                      <a:rPr lang="en-GB" sz="1800" i="1">
                        <a:effectLst/>
                        <a:latin typeface="Cambria Math" panose="02040503050406030204" pitchFamily="18" charset="0"/>
                        <a:ea typeface="SimSun" panose="02010600030101010101" pitchFamily="2" charset="-122"/>
                        <a:cs typeface="Arial" panose="020B0604020202020204" pitchFamily="34" charset="0"/>
                      </a:rPr>
                      <m:t> }</m:t>
                    </m:r>
                  </m:oMath>
                </a14:m>
                <a:endParaRPr lang="en-US" sz="1800"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p:sp>
            <p:nvSpPr>
              <p:cNvPr id="4" name="TextBox 3">
                <a:extLst>
                  <a:ext uri="{FF2B5EF4-FFF2-40B4-BE49-F238E27FC236}">
                    <a16:creationId xmlns:a16="http://schemas.microsoft.com/office/drawing/2014/main" id="{EB8FED73-3A3D-55BD-8331-49062B2F7D14}"/>
                  </a:ext>
                </a:extLst>
              </p:cNvPr>
              <p:cNvSpPr txBox="1">
                <a:spLocks noRot="1" noChangeAspect="1" noMove="1" noResize="1" noEditPoints="1" noAdjustHandles="1" noChangeArrowheads="1" noChangeShapeType="1" noTextEdit="1"/>
              </p:cNvSpPr>
              <p:nvPr/>
            </p:nvSpPr>
            <p:spPr>
              <a:xfrm>
                <a:off x="134229" y="4910248"/>
                <a:ext cx="5509074" cy="1538883"/>
              </a:xfrm>
              <a:prstGeom prst="rect">
                <a:avLst/>
              </a:prstGeom>
              <a:blipFill>
                <a:blip r:embed="rId24"/>
                <a:stretch>
                  <a:fillRect l="-2544" t="-4743" b="-8300"/>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25B59FFE-CC99-C75D-1CF7-369D9F1F43A9}"/>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3130592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D77DDB6E-315E-7A84-95EC-FF336B746D54}"/>
              </a:ext>
            </a:extLst>
          </p:cNvPr>
          <p:cNvSpPr>
            <a:spLocks noGrp="1"/>
          </p:cNvSpPr>
          <p:nvPr>
            <p:ph type="ftr" sz="quarter" idx="10"/>
          </p:nvPr>
        </p:nvSpPr>
        <p:spPr>
          <a:xfrm>
            <a:off x="495299" y="6534114"/>
            <a:ext cx="10489691" cy="116955"/>
          </a:xfrm>
        </p:spPr>
        <p:txBody>
          <a:bodyPr wrap="square" anchor="b">
            <a:normAutofit/>
          </a:bodyPr>
          <a:lstStyle/>
          <a:p>
            <a:r>
              <a:rPr lang="en-US" sz="700"/>
              <a:t>IBC 2023</a:t>
            </a:r>
          </a:p>
        </p:txBody>
      </p:sp>
      <p:sp>
        <p:nvSpPr>
          <p:cNvPr id="7" name="Title 6">
            <a:extLst>
              <a:ext uri="{FF2B5EF4-FFF2-40B4-BE49-F238E27FC236}">
                <a16:creationId xmlns:a16="http://schemas.microsoft.com/office/drawing/2014/main" id="{25D76246-F729-4B90-FB8D-AB1DBD693EA5}"/>
              </a:ext>
            </a:extLst>
          </p:cNvPr>
          <p:cNvSpPr>
            <a:spLocks noGrp="1"/>
          </p:cNvSpPr>
          <p:nvPr>
            <p:ph type="title"/>
          </p:nvPr>
        </p:nvSpPr>
        <p:spPr>
          <a:xfrm>
            <a:off x="495300" y="575576"/>
            <a:ext cx="11187112" cy="429028"/>
          </a:xfrm>
        </p:spPr>
        <p:txBody>
          <a:bodyPr wrap="square" anchor="b">
            <a:normAutofit/>
          </a:bodyPr>
          <a:lstStyle/>
          <a:p>
            <a:r>
              <a:rPr lang="en-US" sz="3100"/>
              <a:t>Frequency interleaving</a:t>
            </a:r>
          </a:p>
        </p:txBody>
      </p:sp>
      <p:sp>
        <p:nvSpPr>
          <p:cNvPr id="9" name="Content Placeholder 8">
            <a:extLst>
              <a:ext uri="{FF2B5EF4-FFF2-40B4-BE49-F238E27FC236}">
                <a16:creationId xmlns:a16="http://schemas.microsoft.com/office/drawing/2014/main" id="{0219C2EF-F078-FCDC-CA10-6811873C6F68}"/>
              </a:ext>
            </a:extLst>
          </p:cNvPr>
          <p:cNvSpPr>
            <a:spLocks noGrp="1"/>
          </p:cNvSpPr>
          <p:nvPr>
            <p:ph sz="quarter" idx="14"/>
          </p:nvPr>
        </p:nvSpPr>
        <p:spPr>
          <a:xfrm>
            <a:off x="495300" y="1719072"/>
            <a:ext cx="11187112" cy="4681727"/>
          </a:xfrm>
        </p:spPr>
        <p:txBody>
          <a:bodyPr>
            <a:normAutofit/>
          </a:bodyPr>
          <a:lstStyle/>
          <a:p>
            <a:pPr marR="0">
              <a:spcAft>
                <a:spcPts val="600"/>
              </a:spcAft>
            </a:pPr>
            <a:r>
              <a:rPr lang="en-GB"/>
              <a:t>With the scaled TB sizes, the number of codeblocks in a TB increases, thereby requiring frequency interleaving of the OFDM symbols. </a:t>
            </a:r>
            <a:endParaRPr lang="en-US"/>
          </a:p>
          <a:p>
            <a:pPr marR="0">
              <a:spcAft>
                <a:spcPts val="600"/>
              </a:spcAft>
            </a:pPr>
            <a:r>
              <a:rPr lang="en-GB"/>
              <a:t>The main principles behind the proposed frequency interleaver are:</a:t>
            </a:r>
            <a:endParaRPr lang="en-US"/>
          </a:p>
          <a:p>
            <a:pPr marL="731520" lvl="3" indent="-457200">
              <a:spcBef>
                <a:spcPts val="1200"/>
              </a:spcBef>
              <a:buClr>
                <a:schemeClr val="accent1"/>
              </a:buClr>
              <a:buFont typeface="+mj-lt"/>
              <a:buAutoNum type="arabicPeriod"/>
            </a:pPr>
            <a:r>
              <a:rPr lang="en-US" sz="2400"/>
              <a:t>The tones corresponding to the codeblocks are written row-wise.</a:t>
            </a:r>
          </a:p>
          <a:p>
            <a:pPr marL="731520" lvl="3" indent="-457200">
              <a:spcBef>
                <a:spcPts val="1200"/>
              </a:spcBef>
              <a:buClr>
                <a:schemeClr val="accent1"/>
              </a:buClr>
              <a:buFont typeface="+mj-lt"/>
              <a:buAutoNum type="arabicPeriod"/>
            </a:pPr>
            <a:r>
              <a:rPr lang="en-US" sz="2400"/>
              <a:t>Pseudo-random shifts are applied to the columns.</a:t>
            </a:r>
          </a:p>
          <a:p>
            <a:pPr marL="731520" lvl="3" indent="-457200">
              <a:spcBef>
                <a:spcPts val="1200"/>
              </a:spcBef>
              <a:buClr>
                <a:schemeClr val="accent1"/>
              </a:buClr>
              <a:buFont typeface="+mj-lt"/>
              <a:buAutoNum type="arabicPeriod"/>
            </a:pPr>
            <a:r>
              <a:rPr lang="en-US" sz="2400"/>
              <a:t>Elements are read column-wise.</a:t>
            </a:r>
          </a:p>
          <a:p>
            <a:pPr marR="0">
              <a:spcAft>
                <a:spcPts val="600"/>
              </a:spcAft>
            </a:pPr>
            <a:r>
              <a:rPr lang="en-GB"/>
              <a:t>For a detailed standards’ focused description on these aspects, see R1-1912692</a:t>
            </a:r>
            <a:endParaRPr lang="en-US" dirty="0"/>
          </a:p>
        </p:txBody>
      </p:sp>
      <p:sp>
        <p:nvSpPr>
          <p:cNvPr id="26" name="Subtitle 4">
            <a:extLst>
              <a:ext uri="{FF2B5EF4-FFF2-40B4-BE49-F238E27FC236}">
                <a16:creationId xmlns:a16="http://schemas.microsoft.com/office/drawing/2014/main" id="{379A9344-C7BB-F262-EEB6-26EF22AD0EA8}"/>
              </a:ext>
            </a:extLst>
          </p:cNvPr>
          <p:cNvSpPr>
            <a:spLocks noGrp="1"/>
          </p:cNvSpPr>
          <p:nvPr>
            <p:ph type="subTitle" idx="1"/>
          </p:nvPr>
        </p:nvSpPr>
        <p:spPr>
          <a:xfrm>
            <a:off x="494189" y="1088135"/>
            <a:ext cx="11188223" cy="274320"/>
          </a:xfrm>
        </p:spPr>
        <p:txBody>
          <a:bodyPr/>
          <a:lstStyle/>
          <a:p>
            <a:endParaRPr lang="en-US"/>
          </a:p>
        </p:txBody>
      </p:sp>
    </p:spTree>
    <p:extLst>
      <p:ext uri="{BB962C8B-B14F-4D97-AF65-F5344CB8AC3E}">
        <p14:creationId xmlns:p14="http://schemas.microsoft.com/office/powerpoint/2010/main" val="75814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8E1B49-9AF3-DFF7-F1B1-0504F887276C}"/>
              </a:ext>
            </a:extLst>
          </p:cNvPr>
          <p:cNvSpPr>
            <a:spLocks noGrp="1"/>
          </p:cNvSpPr>
          <p:nvPr>
            <p:ph type="ftr" sz="quarter" idx="10"/>
          </p:nvPr>
        </p:nvSpPr>
        <p:spPr/>
        <p:txBody>
          <a:bodyPr/>
          <a:lstStyle/>
          <a:p>
            <a:r>
              <a:rPr lang="en-US"/>
              <a:t>IBC 2023</a:t>
            </a:r>
          </a:p>
        </p:txBody>
      </p:sp>
      <p:sp>
        <p:nvSpPr>
          <p:cNvPr id="8" name="Title 7">
            <a:extLst>
              <a:ext uri="{FF2B5EF4-FFF2-40B4-BE49-F238E27FC236}">
                <a16:creationId xmlns:a16="http://schemas.microsoft.com/office/drawing/2014/main" id="{EDB24785-5154-E241-81EE-6A496E749A05}"/>
              </a:ext>
            </a:extLst>
          </p:cNvPr>
          <p:cNvSpPr>
            <a:spLocks noGrp="1"/>
          </p:cNvSpPr>
          <p:nvPr>
            <p:ph type="title"/>
          </p:nvPr>
        </p:nvSpPr>
        <p:spPr>
          <a:xfrm>
            <a:off x="495300" y="565125"/>
            <a:ext cx="11187112" cy="439479"/>
          </a:xfrm>
        </p:spPr>
        <p:txBody>
          <a:bodyPr/>
          <a:lstStyle/>
          <a:p>
            <a:r>
              <a:rPr lang="en-US">
                <a:ea typeface="Microsoft Sans Serif"/>
                <a:cs typeface="Microsoft Sans Serif"/>
              </a:rPr>
              <a:t>Evolution of SNR requirements with interleaving</a:t>
            </a:r>
            <a:endParaRPr lang="en-US"/>
          </a:p>
        </p:txBody>
      </p:sp>
      <p:graphicFrame>
        <p:nvGraphicFramePr>
          <p:cNvPr id="4" name="Content Placeholder 5">
            <a:extLst>
              <a:ext uri="{FF2B5EF4-FFF2-40B4-BE49-F238E27FC236}">
                <a16:creationId xmlns:a16="http://schemas.microsoft.com/office/drawing/2014/main" id="{273B060D-4341-0FB2-32F0-F48497AB38D7}"/>
              </a:ext>
            </a:extLst>
          </p:cNvPr>
          <p:cNvGraphicFramePr>
            <a:graphicFrameLocks/>
          </p:cNvGraphicFramePr>
          <p:nvPr>
            <p:extLst>
              <p:ext uri="{D42A27DB-BD31-4B8C-83A1-F6EECF244321}">
                <p14:modId xmlns:p14="http://schemas.microsoft.com/office/powerpoint/2010/main" val="2618421176"/>
              </p:ext>
            </p:extLst>
          </p:nvPr>
        </p:nvGraphicFramePr>
        <p:xfrm>
          <a:off x="323009" y="4183650"/>
          <a:ext cx="11545982" cy="1586912"/>
        </p:xfrm>
        <a:graphic>
          <a:graphicData uri="http://schemas.openxmlformats.org/drawingml/2006/table">
            <a:tbl>
              <a:tblPr firstRow="1" firstCol="1" bandRow="1"/>
              <a:tblGrid>
                <a:gridCol w="2290780">
                  <a:extLst>
                    <a:ext uri="{9D8B030D-6E8A-4147-A177-3AD203B41FA5}">
                      <a16:colId xmlns:a16="http://schemas.microsoft.com/office/drawing/2014/main" val="2767087079"/>
                    </a:ext>
                  </a:extLst>
                </a:gridCol>
                <a:gridCol w="2076120">
                  <a:extLst>
                    <a:ext uri="{9D8B030D-6E8A-4147-A177-3AD203B41FA5}">
                      <a16:colId xmlns:a16="http://schemas.microsoft.com/office/drawing/2014/main" val="870054748"/>
                    </a:ext>
                  </a:extLst>
                </a:gridCol>
                <a:gridCol w="2652827">
                  <a:extLst>
                    <a:ext uri="{9D8B030D-6E8A-4147-A177-3AD203B41FA5}">
                      <a16:colId xmlns:a16="http://schemas.microsoft.com/office/drawing/2014/main" val="3099798387"/>
                    </a:ext>
                  </a:extLst>
                </a:gridCol>
                <a:gridCol w="2445488">
                  <a:extLst>
                    <a:ext uri="{9D8B030D-6E8A-4147-A177-3AD203B41FA5}">
                      <a16:colId xmlns:a16="http://schemas.microsoft.com/office/drawing/2014/main" val="651771003"/>
                    </a:ext>
                  </a:extLst>
                </a:gridCol>
                <a:gridCol w="2080767">
                  <a:extLst>
                    <a:ext uri="{9D8B030D-6E8A-4147-A177-3AD203B41FA5}">
                      <a16:colId xmlns:a16="http://schemas.microsoft.com/office/drawing/2014/main" val="3283352239"/>
                    </a:ext>
                  </a:extLst>
                </a:gridCol>
              </a:tblGrid>
              <a:tr h="396728">
                <a:tc>
                  <a:txBody>
                    <a:bodyPr/>
                    <a:lstStyle/>
                    <a:p>
                      <a:pPr marL="0" marR="0" algn="ctr" fontAlgn="t">
                        <a:lnSpc>
                          <a:spcPts val="1400"/>
                        </a:lnSpc>
                        <a:spcBef>
                          <a:spcPts val="600"/>
                        </a:spcBef>
                        <a:spcAft>
                          <a:spcPts val="600"/>
                        </a:spcAft>
                      </a:pP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lvl="0" algn="ctr">
                        <a:lnSpc>
                          <a:spcPts val="1400"/>
                        </a:lnSpc>
                        <a:spcBef>
                          <a:spcPts val="600"/>
                        </a:spcBef>
                        <a:spcAft>
                          <a:spcPts val="600"/>
                        </a:spcAft>
                        <a:buNone/>
                      </a:pPr>
                      <a:r>
                        <a:rPr lang="en-US" sz="1800" b="1" i="0" u="none" strike="noStrike">
                          <a:solidFill>
                            <a:srgbClr val="000000"/>
                          </a:solidFill>
                          <a:effectLst/>
                          <a:latin typeface="Arial"/>
                          <a:ea typeface="SimSun"/>
                          <a:cs typeface="Times New Roman"/>
                        </a:rPr>
                        <a:t>Baseline 5GB</a:t>
                      </a: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de-DE" sz="1800" b="1" i="0" u="none" strike="noStrike">
                          <a:solidFill>
                            <a:srgbClr val="000000"/>
                          </a:solidFill>
                          <a:effectLst/>
                          <a:latin typeface="Arial"/>
                          <a:ea typeface="SimSun"/>
                          <a:cs typeface="Times New Roman"/>
                        </a:rPr>
                        <a:t>4 RV Time </a:t>
                      </a:r>
                      <a:r>
                        <a:rPr lang="de-DE" sz="1800" b="1" i="0" u="none" strike="noStrike" err="1">
                          <a:solidFill>
                            <a:srgbClr val="000000"/>
                          </a:solidFill>
                          <a:effectLst/>
                          <a:latin typeface="Arial"/>
                          <a:ea typeface="SimSun"/>
                          <a:cs typeface="Times New Roman"/>
                        </a:rPr>
                        <a:t>Intlv</a:t>
                      </a:r>
                      <a:r>
                        <a:rPr lang="de-DE" sz="1800" b="1" i="0" u="none" strike="noStrike">
                          <a:solidFill>
                            <a:srgbClr val="000000"/>
                          </a:solidFill>
                          <a:effectLst/>
                          <a:latin typeface="Arial"/>
                          <a:ea typeface="SimSun"/>
                          <a:cs typeface="Times New Roman"/>
                        </a:rPr>
                        <a:t>. </a:t>
                      </a:r>
                      <a:r>
                        <a:rPr lang="de-DE" sz="1800" b="1" i="0" u="none" strike="noStrike" err="1">
                          <a:solidFill>
                            <a:srgbClr val="000000"/>
                          </a:solidFill>
                          <a:effectLst/>
                          <a:latin typeface="Arial"/>
                          <a:ea typeface="SimSun"/>
                          <a:cs typeface="Times New Roman"/>
                        </a:rPr>
                        <a:t>only</a:t>
                      </a:r>
                      <a:endParaRPr lang="de-DE" sz="3200" b="0" i="0" u="none" strike="noStrike" err="1">
                        <a:effectLst/>
                        <a:latin typeface="Arial" panose="020B0604020202020204" pitchFamily="34" charset="0"/>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en-US" sz="1800" b="1" i="0" u="none" strike="noStrike">
                          <a:solidFill>
                            <a:srgbClr val="000000"/>
                          </a:solidFill>
                          <a:effectLst/>
                          <a:latin typeface="Arial"/>
                          <a:ea typeface="SimSun"/>
                          <a:cs typeface="Times New Roman"/>
                        </a:rPr>
                        <a:t>4 RV T/F </a:t>
                      </a:r>
                      <a:r>
                        <a:rPr lang="en-US" sz="1800" b="1" i="0" u="none" strike="noStrike" err="1">
                          <a:solidFill>
                            <a:srgbClr val="000000"/>
                          </a:solidFill>
                          <a:effectLst/>
                          <a:latin typeface="Arial"/>
                          <a:ea typeface="SimSun"/>
                          <a:cs typeface="Times New Roman"/>
                        </a:rPr>
                        <a:t>Intlv</a:t>
                      </a:r>
                      <a:r>
                        <a:rPr lang="en-US" sz="1800" b="1" i="0" u="none" strike="noStrike">
                          <a:solidFill>
                            <a:srgbClr val="000000"/>
                          </a:solidFill>
                          <a:effectLst/>
                          <a:latin typeface="Arial"/>
                          <a:ea typeface="SimSun"/>
                          <a:cs typeface="Times New Roman"/>
                        </a:rPr>
                        <a:t>.</a:t>
                      </a:r>
                      <a:endParaRPr lang="en-US" sz="3200" b="0" i="0" u="none" strike="noStrike">
                        <a:effectLst/>
                        <a:latin typeface="Arial" panose="020B0604020202020204" pitchFamily="34" charset="0"/>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de-DE" sz="1800" b="1" i="0" u="none" strike="noStrike">
                          <a:solidFill>
                            <a:srgbClr val="000000"/>
                          </a:solidFill>
                          <a:effectLst/>
                          <a:latin typeface="Arial"/>
                          <a:ea typeface="SimSun"/>
                          <a:cs typeface="Times New Roman"/>
                        </a:rPr>
                        <a:t>8 RV T/F </a:t>
                      </a:r>
                      <a:r>
                        <a:rPr lang="de-DE" sz="1800" b="1" i="0" u="none" strike="noStrike" err="1">
                          <a:solidFill>
                            <a:srgbClr val="000000"/>
                          </a:solidFill>
                          <a:effectLst/>
                          <a:latin typeface="Arial"/>
                          <a:ea typeface="SimSun"/>
                          <a:cs typeface="Times New Roman"/>
                        </a:rPr>
                        <a:t>Intlv</a:t>
                      </a:r>
                      <a:r>
                        <a:rPr lang="de-DE" sz="1800" b="1" i="0" u="none" strike="noStrike">
                          <a:solidFill>
                            <a:srgbClr val="000000"/>
                          </a:solidFill>
                          <a:effectLst/>
                          <a:latin typeface="Arial"/>
                          <a:ea typeface="SimSun"/>
                          <a:cs typeface="Times New Roman"/>
                        </a:rPr>
                        <a:t>.</a:t>
                      </a:r>
                      <a:endParaRPr lang="de-DE"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709631034"/>
                  </a:ext>
                </a:extLst>
              </a:tr>
              <a:tr h="396728">
                <a:tc>
                  <a:txBody>
                    <a:bodyPr/>
                    <a:lstStyle/>
                    <a:p>
                      <a:pPr marL="0" marR="0" algn="ctr" fontAlgn="t">
                        <a:lnSpc>
                          <a:spcPts val="1400"/>
                        </a:lnSpc>
                        <a:spcBef>
                          <a:spcPts val="600"/>
                        </a:spcBef>
                        <a:spcAft>
                          <a:spcPts val="600"/>
                        </a:spcAft>
                      </a:pPr>
                      <a:r>
                        <a:rPr lang="en-US" sz="1800" b="1" i="0" u="none" strike="noStrike">
                          <a:solidFill>
                            <a:srgbClr val="000000"/>
                          </a:solidFill>
                          <a:effectLst/>
                          <a:latin typeface="Arial"/>
                          <a:ea typeface="SimSun"/>
                          <a:cs typeface="Times New Roman"/>
                        </a:rPr>
                        <a:t>SNR for 3 kmph</a:t>
                      </a: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7.7 dB</a:t>
                      </a: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7.5 dB </a:t>
                      </a:r>
                      <a:r>
                        <a:rPr lang="en-US" sz="1800" b="0" i="0" u="none" strike="noStrike">
                          <a:solidFill>
                            <a:srgbClr val="00B050"/>
                          </a:solidFill>
                          <a:effectLst/>
                          <a:latin typeface="Arial"/>
                          <a:ea typeface="SimSun"/>
                          <a:cs typeface="Times New Roman"/>
                        </a:rPr>
                        <a:t>(0.2 dB)</a:t>
                      </a:r>
                      <a:endParaRPr lang="en-US" sz="3200" b="0"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6.3 dB </a:t>
                      </a:r>
                      <a:r>
                        <a:rPr lang="en-US" sz="1800" b="1" i="0" u="none" strike="noStrike">
                          <a:solidFill>
                            <a:srgbClr val="00B050"/>
                          </a:solidFill>
                          <a:effectLst/>
                          <a:latin typeface="Arial"/>
                          <a:ea typeface="SimSun"/>
                          <a:cs typeface="Times New Roman"/>
                        </a:rPr>
                        <a:t>(1.4 dB)</a:t>
                      </a:r>
                      <a:endParaRPr lang="en-US" sz="3200" b="1"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5.6 dB </a:t>
                      </a:r>
                      <a:r>
                        <a:rPr lang="en-US" sz="1800" b="1" i="0" u="none" strike="noStrike">
                          <a:solidFill>
                            <a:srgbClr val="00B050"/>
                          </a:solidFill>
                          <a:effectLst/>
                          <a:latin typeface="Arial"/>
                          <a:ea typeface="SimSun"/>
                          <a:cs typeface="Times New Roman"/>
                        </a:rPr>
                        <a:t>(2.1 dB)</a:t>
                      </a:r>
                      <a:endParaRPr lang="en-US" sz="3200" b="1"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3050124702"/>
                  </a:ext>
                </a:extLst>
              </a:tr>
              <a:tr h="396728">
                <a:tc>
                  <a:txBody>
                    <a:bodyPr/>
                    <a:lstStyle/>
                    <a:p>
                      <a:pPr marL="0" marR="0" algn="ctr" fontAlgn="t">
                        <a:lnSpc>
                          <a:spcPts val="1400"/>
                        </a:lnSpc>
                        <a:spcBef>
                          <a:spcPts val="600"/>
                        </a:spcBef>
                        <a:spcAft>
                          <a:spcPts val="600"/>
                        </a:spcAft>
                      </a:pPr>
                      <a:r>
                        <a:rPr lang="en-US" sz="1800" b="1" i="0" u="none" strike="noStrike">
                          <a:solidFill>
                            <a:srgbClr val="000000"/>
                          </a:solidFill>
                          <a:effectLst/>
                          <a:latin typeface="Arial"/>
                          <a:ea typeface="SimSun"/>
                          <a:cs typeface="Times New Roman"/>
                        </a:rPr>
                        <a:t>SNR for 40 kmph</a:t>
                      </a: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7.7 dB</a:t>
                      </a: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4.6 dB </a:t>
                      </a:r>
                      <a:r>
                        <a:rPr lang="en-US" sz="1800" b="0" i="0" u="none" strike="noStrike">
                          <a:solidFill>
                            <a:srgbClr val="00B050"/>
                          </a:solidFill>
                          <a:effectLst/>
                          <a:latin typeface="Arial"/>
                          <a:ea typeface="SimSun"/>
                          <a:cs typeface="Times New Roman"/>
                        </a:rPr>
                        <a:t>(3.1 dB)</a:t>
                      </a:r>
                      <a:endParaRPr lang="en-US" sz="3200" b="0"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3.8 dB </a:t>
                      </a:r>
                      <a:r>
                        <a:rPr lang="en-US" sz="1800" b="1" i="0" u="none" strike="noStrike">
                          <a:solidFill>
                            <a:srgbClr val="00B050"/>
                          </a:solidFill>
                          <a:effectLst/>
                          <a:latin typeface="Arial"/>
                          <a:ea typeface="SimSun"/>
                          <a:cs typeface="Times New Roman"/>
                        </a:rPr>
                        <a:t>(3.9 dB)</a:t>
                      </a:r>
                      <a:endParaRPr lang="en-US" sz="3200" b="1"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2.7 dB </a:t>
                      </a:r>
                      <a:r>
                        <a:rPr lang="en-US" sz="1800" b="1" i="0" u="none" strike="noStrike">
                          <a:solidFill>
                            <a:srgbClr val="00B050"/>
                          </a:solidFill>
                          <a:effectLst/>
                          <a:latin typeface="Arial"/>
                          <a:ea typeface="SimSun"/>
                          <a:cs typeface="Times New Roman"/>
                        </a:rPr>
                        <a:t>(5 dB)</a:t>
                      </a:r>
                      <a:endParaRPr lang="en-US" sz="3200" b="1"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2036883196"/>
                  </a:ext>
                </a:extLst>
              </a:tr>
              <a:tr h="396728">
                <a:tc>
                  <a:txBody>
                    <a:bodyPr/>
                    <a:lstStyle/>
                    <a:p>
                      <a:pPr marL="0" marR="0" algn="ctr" fontAlgn="t">
                        <a:lnSpc>
                          <a:spcPts val="1400"/>
                        </a:lnSpc>
                        <a:spcBef>
                          <a:spcPts val="600"/>
                        </a:spcBef>
                        <a:spcAft>
                          <a:spcPts val="600"/>
                        </a:spcAft>
                      </a:pPr>
                      <a:r>
                        <a:rPr lang="en-US" sz="1800" b="1" i="0" u="none" strike="noStrike">
                          <a:solidFill>
                            <a:srgbClr val="000000"/>
                          </a:solidFill>
                          <a:effectLst/>
                          <a:latin typeface="Arial"/>
                          <a:ea typeface="SimSun"/>
                          <a:cs typeface="Times New Roman"/>
                        </a:rPr>
                        <a:t>SNR for 120 kmph</a:t>
                      </a:r>
                      <a:endParaRPr lang="en-US" sz="3200" b="0" i="0" u="none" strike="noStrike">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fontAlgn="t">
                        <a:lnSpc>
                          <a:spcPts val="1400"/>
                        </a:lnSpc>
                        <a:spcBef>
                          <a:spcPts val="600"/>
                        </a:spcBef>
                        <a:spcAft>
                          <a:spcPts val="600"/>
                        </a:spcAft>
                      </a:pPr>
                      <a:r>
                        <a:rPr lang="en-US" sz="1800" b="0" i="0" u="none" strike="noStrike" dirty="0">
                          <a:solidFill>
                            <a:srgbClr val="000000"/>
                          </a:solidFill>
                          <a:effectLst/>
                          <a:latin typeface="Arial"/>
                          <a:ea typeface="SimSun"/>
                          <a:cs typeface="Times New Roman"/>
                        </a:rPr>
                        <a:t>18.3 dB</a:t>
                      </a:r>
                      <a:endParaRPr lang="en-US" sz="3200" b="0" i="0" u="none" strike="noStrike" dirty="0">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4.7 dB </a:t>
                      </a:r>
                      <a:r>
                        <a:rPr lang="en-US" sz="1800" b="0" i="0" u="none" strike="noStrike">
                          <a:solidFill>
                            <a:srgbClr val="00B050"/>
                          </a:solidFill>
                          <a:effectLst/>
                          <a:latin typeface="Arial"/>
                          <a:ea typeface="SimSun"/>
                          <a:cs typeface="Times New Roman"/>
                        </a:rPr>
                        <a:t>(3.6 dB)</a:t>
                      </a:r>
                      <a:endParaRPr lang="en-US" sz="3200" b="0"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tc>
                  <a:txBody>
                    <a:bodyPr/>
                    <a:lstStyle/>
                    <a:p>
                      <a:pPr marL="0" marR="0" algn="ctr" fontAlgn="t">
                        <a:lnSpc>
                          <a:spcPts val="1400"/>
                        </a:lnSpc>
                        <a:spcBef>
                          <a:spcPts val="600"/>
                        </a:spcBef>
                        <a:spcAft>
                          <a:spcPts val="600"/>
                        </a:spcAft>
                      </a:pPr>
                      <a:r>
                        <a:rPr lang="en-US" sz="1800" b="0" i="0" u="none" strike="noStrike">
                          <a:solidFill>
                            <a:srgbClr val="000000"/>
                          </a:solidFill>
                          <a:effectLst/>
                          <a:latin typeface="Arial"/>
                          <a:ea typeface="SimSun"/>
                          <a:cs typeface="Times New Roman"/>
                        </a:rPr>
                        <a:t>14.2 dB </a:t>
                      </a:r>
                      <a:r>
                        <a:rPr lang="en-US" sz="1800" b="1" i="0" u="none" strike="noStrike">
                          <a:solidFill>
                            <a:srgbClr val="00B050"/>
                          </a:solidFill>
                          <a:effectLst/>
                          <a:latin typeface="Arial"/>
                          <a:ea typeface="SimSun"/>
                          <a:cs typeface="Times New Roman"/>
                        </a:rPr>
                        <a:t>(4.1 dB)</a:t>
                      </a:r>
                      <a:endParaRPr lang="en-US" sz="3200" b="1" i="0" u="none" strike="noStrike">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fontAlgn="t">
                        <a:lnSpc>
                          <a:spcPts val="1400"/>
                        </a:lnSpc>
                        <a:spcBef>
                          <a:spcPts val="600"/>
                        </a:spcBef>
                        <a:spcAft>
                          <a:spcPts val="600"/>
                        </a:spcAft>
                      </a:pPr>
                      <a:r>
                        <a:rPr lang="en-US" sz="1800" b="0" i="0" u="none" strike="noStrike" dirty="0">
                          <a:solidFill>
                            <a:srgbClr val="000000"/>
                          </a:solidFill>
                          <a:effectLst/>
                          <a:latin typeface="Arial"/>
                          <a:ea typeface="SimSun"/>
                          <a:cs typeface="Times New Roman"/>
                        </a:rPr>
                        <a:t>12.9 dB </a:t>
                      </a:r>
                      <a:r>
                        <a:rPr lang="en-US" sz="1800" b="1" i="0" u="none" strike="noStrike" dirty="0">
                          <a:solidFill>
                            <a:srgbClr val="00B050"/>
                          </a:solidFill>
                          <a:effectLst/>
                          <a:latin typeface="Arial"/>
                          <a:ea typeface="SimSun"/>
                          <a:cs typeface="Times New Roman"/>
                        </a:rPr>
                        <a:t>(5.4 dB)</a:t>
                      </a:r>
                      <a:endParaRPr lang="en-US" sz="3200" b="1" i="0" u="none" strike="noStrike" dirty="0">
                        <a:solidFill>
                          <a:srgbClr val="00B050"/>
                        </a:solidFill>
                        <a:effectLst/>
                        <a:latin typeface="Arial"/>
                        <a:ea typeface="SimSun"/>
                        <a:cs typeface="Times New Roman"/>
                      </a:endParaRPr>
                    </a:p>
                  </a:txBody>
                  <a:tcPr marL="121516" marR="121516" marT="1687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extLst>
                  <a:ext uri="{0D108BD9-81ED-4DB2-BD59-A6C34878D82A}">
                    <a16:rowId xmlns:a16="http://schemas.microsoft.com/office/drawing/2014/main" val="1646921299"/>
                  </a:ext>
                </a:extLst>
              </a:tr>
            </a:tbl>
          </a:graphicData>
        </a:graphic>
      </p:graphicFrame>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0B04EC71-7886-AEE2-FEC6-C2B0EC59B694}"/>
                  </a:ext>
                </a:extLst>
              </p:cNvPr>
              <p:cNvSpPr>
                <a:spLocks noGrp="1"/>
              </p:cNvSpPr>
              <p:nvPr>
                <p:ph sz="quarter" idx="14"/>
              </p:nvPr>
            </p:nvSpPr>
            <p:spPr/>
            <p:txBody>
              <a:bodyPr/>
              <a:lstStyle/>
              <a:p>
                <a:pPr marL="0" marR="0" indent="0">
                  <a:spcBef>
                    <a:spcPts val="0"/>
                  </a:spcBef>
                  <a:spcAft>
                    <a:spcPts val="600"/>
                  </a:spcAft>
                  <a:buNone/>
                </a:pPr>
                <a:r>
                  <a:rPr lang="en-GB" sz="1800" dirty="0">
                    <a:effectLst/>
                    <a:latin typeface="Arial" panose="020B0604020202020204" pitchFamily="34" charset="0"/>
                    <a:ea typeface="SimSun" panose="02010600030101010101" pitchFamily="2" charset="-122"/>
                    <a:cs typeface="Times New Roman" panose="02020603050405020304" pitchFamily="18" charset="0"/>
                  </a:rPr>
                  <a:t>Performance comparison between </a:t>
                </a:r>
              </a:p>
              <a:p>
                <a:pPr marL="0" marR="0">
                  <a:spcBef>
                    <a:spcPts val="0"/>
                  </a:spcBef>
                  <a:spcAft>
                    <a:spcPts val="600"/>
                  </a:spcAft>
                </a:pPr>
                <a:r>
                  <a:rPr lang="en-GB" sz="1800" i="1" dirty="0">
                    <a:effectLst/>
                    <a:latin typeface="Arial" panose="020B0604020202020204" pitchFamily="34" charset="0"/>
                    <a:ea typeface="SimSun" panose="02010600030101010101" pitchFamily="2" charset="-122"/>
                    <a:cs typeface="Times New Roman" panose="02020603050405020304" pitchFamily="18" charset="0"/>
                  </a:rPr>
                  <a:t>baseline</a:t>
                </a:r>
                <a:r>
                  <a:rPr lang="en-GB" sz="1800" dirty="0">
                    <a:effectLst/>
                    <a:latin typeface="Arial" panose="020B0604020202020204" pitchFamily="34" charset="0"/>
                    <a:ea typeface="SimSun" panose="02010600030101010101" pitchFamily="2" charset="-122"/>
                    <a:cs typeface="Times New Roman" panose="02020603050405020304" pitchFamily="18" charset="0"/>
                  </a:rPr>
                  <a:t> 5G Broadcast </a:t>
                </a:r>
              </a:p>
              <a:p>
                <a:pPr marL="0" marR="0">
                  <a:spcBef>
                    <a:spcPts val="0"/>
                  </a:spcBef>
                  <a:spcAft>
                    <a:spcPts val="600"/>
                  </a:spcAft>
                </a:pPr>
                <a:r>
                  <a:rPr lang="en-GB" sz="1800" dirty="0">
                    <a:effectLst/>
                    <a:latin typeface="Arial" panose="020B0604020202020204" pitchFamily="34" charset="0"/>
                    <a:ea typeface="SimSun" panose="02010600030101010101" pitchFamily="2" charset="-122"/>
                    <a:cs typeface="Times New Roman" panose="02020603050405020304" pitchFamily="18" charset="0"/>
                  </a:rPr>
                  <a:t>4 RV-based time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interleaver</a:t>
                </a:r>
                <a:r>
                  <a:rPr lang="en-GB" sz="1800" dirty="0">
                    <a:effectLst/>
                    <a:latin typeface="Arial" panose="020B0604020202020204" pitchFamily="34" charset="0"/>
                    <a:ea typeface="SimSun" panose="02010600030101010101" pitchFamily="2" charset="-122"/>
                    <a:cs typeface="Times New Roman" panose="02020603050405020304" pitchFamily="18" charset="0"/>
                  </a:rPr>
                  <a:t> with a depth of 128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ms</a:t>
                </a:r>
                <a:r>
                  <a:rPr lang="en-GB" sz="1800" dirty="0">
                    <a:latin typeface="Arial" panose="020B0604020202020204" pitchFamily="34" charset="0"/>
                    <a:ea typeface="SimSun" panose="02010600030101010101" pitchFamily="2" charset="-122"/>
                    <a:cs typeface="Times New Roman" panose="02020603050405020304" pitchFamily="18" charset="0"/>
                  </a:rPr>
                  <a:t>: </a:t>
                </a:r>
                <a:r>
                  <a:rPr lang="en-GB" sz="1800" dirty="0">
                    <a:effectLst/>
                    <a:latin typeface="Arial" panose="020B0604020202020204" pitchFamily="34" charset="0"/>
                    <a:ea typeface="SimSun" panose="02010600030101010101" pitchFamily="2" charset="-122"/>
                    <a:cs typeface="Times New Roman" panose="02020603050405020304" pitchFamily="18" charset="0"/>
                  </a:rPr>
                  <a:t>each TB samples the channel uniformly, every 32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ms</a:t>
                </a:r>
                <a:r>
                  <a:rPr lang="en-GB" sz="1800" dirty="0">
                    <a:effectLst/>
                    <a:latin typeface="Arial" panose="020B0604020202020204" pitchFamily="34" charset="0"/>
                    <a:ea typeface="SimSun" panose="02010600030101010101" pitchFamily="2" charset="-122"/>
                    <a:cs typeface="Times New Roman" panose="02020603050405020304" pitchFamily="18" charset="0"/>
                  </a:rPr>
                  <a:t>. </a:t>
                </a:r>
              </a:p>
              <a:p>
                <a:pPr marL="0" marR="0">
                  <a:spcBef>
                    <a:spcPts val="0"/>
                  </a:spcBef>
                  <a:spcAft>
                    <a:spcPts val="600"/>
                  </a:spcAft>
                </a:pPr>
                <a:r>
                  <a:rPr lang="en-GB" sz="1800" dirty="0">
                    <a:latin typeface="Arial" panose="020B0604020202020204" pitchFamily="34" charset="0"/>
                    <a:ea typeface="SimSun" panose="02010600030101010101" pitchFamily="2" charset="-122"/>
                    <a:cs typeface="Times New Roman" panose="02020603050405020304" pitchFamily="18" charset="0"/>
                  </a:rPr>
                  <a:t>4 RV-based time and </a:t>
                </a:r>
                <a:r>
                  <a:rPr lang="en-GB" sz="1800" dirty="0">
                    <a:effectLst/>
                    <a:latin typeface="Arial" panose="020B0604020202020204" pitchFamily="34" charset="0"/>
                    <a:ea typeface="SimSun" panose="02010600030101010101" pitchFamily="2" charset="-122"/>
                    <a:cs typeface="Times New Roman" panose="02020603050405020304" pitchFamily="18" charset="0"/>
                  </a:rPr>
                  <a:t>Frequency interleaving with depth of 686 tones for maximal frequency spreading</a:t>
                </a:r>
              </a:p>
              <a:p>
                <a:pPr marL="0" marR="0">
                  <a:spcBef>
                    <a:spcPts val="0"/>
                  </a:spcBef>
                  <a:spcAft>
                    <a:spcPts val="600"/>
                  </a:spcAft>
                </a:pPr>
                <a:r>
                  <a:rPr lang="en-GB" sz="1800" dirty="0">
                    <a:effectLst/>
                    <a:latin typeface="Arial" panose="020B0604020202020204" pitchFamily="34" charset="0"/>
                    <a:ea typeface="SimSun" panose="02010600030101010101" pitchFamily="2" charset="-122"/>
                    <a:cs typeface="Times New Roman" panose="02020603050405020304" pitchFamily="18" charset="0"/>
                  </a:rPr>
                  <a:t>8 RV-based time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interleaver</a:t>
                </a:r>
                <a:r>
                  <a:rPr lang="en-GB" sz="1800" dirty="0">
                    <a:effectLst/>
                    <a:latin typeface="Arial" panose="020B0604020202020204" pitchFamily="34" charset="0"/>
                    <a:ea typeface="SimSun" panose="02010600030101010101" pitchFamily="2" charset="-122"/>
                    <a:cs typeface="Times New Roman" panose="02020603050405020304" pitchFamily="18" charset="0"/>
                  </a:rPr>
                  <a:t>, with depth of 256 </a:t>
                </a:r>
                <a:r>
                  <a:rPr lang="en-GB" sz="1800" dirty="0" err="1">
                    <a:effectLst/>
                    <a:latin typeface="Arial" panose="020B0604020202020204" pitchFamily="34" charset="0"/>
                    <a:ea typeface="SimSun" panose="02010600030101010101" pitchFamily="2" charset="-122"/>
                    <a:cs typeface="Times New Roman" panose="02020603050405020304" pitchFamily="18" charset="0"/>
                  </a:rPr>
                  <a:t>ms</a:t>
                </a:r>
                <a:r>
                  <a:rPr lang="en-GB" sz="1800" dirty="0">
                    <a:effectLst/>
                    <a:latin typeface="Arial" panose="020B0604020202020204" pitchFamily="34" charset="0"/>
                    <a:ea typeface="SimSun" panose="02010600030101010101" pitchFamily="2" charset="-122"/>
                    <a:cs typeface="Times New Roman" panose="02020603050405020304" pitchFamily="18" charset="0"/>
                  </a:rPr>
                  <a:t> and frequency interleaving depth set to 383 tones.</a:t>
                </a:r>
                <a:endParaRPr lang="en-GB" sz="1800" b="1" dirty="0">
                  <a:effectLst/>
                  <a:latin typeface="Arial" panose="020B0604020202020204" pitchFamily="34" charset="0"/>
                  <a:ea typeface="SimSun" panose="02010600030101010101" pitchFamily="2" charset="-122"/>
                  <a:cs typeface="Times New Roman" panose="02020603050405020304" pitchFamily="18" charset="0"/>
                </a:endParaRPr>
              </a:p>
              <a:p>
                <a:r>
                  <a:rPr lang="en-GB" sz="1800" b="1" dirty="0">
                    <a:effectLst/>
                    <a:latin typeface="Arial" panose="020B0604020202020204" pitchFamily="34" charset="0"/>
                    <a:ea typeface="SimSun" panose="02010600030101010101" pitchFamily="2" charset="-122"/>
                    <a:cs typeface="Times New Roman" panose="02020603050405020304" pitchFamily="18" charset="0"/>
                  </a:rPr>
                  <a:t>Required SNRs for </a:t>
                </a:r>
                <a14:m>
                  <m:oMath xmlns:m="http://schemas.openxmlformats.org/officeDocument/2006/math">
                    <m:sSup>
                      <m:sSupPr>
                        <m:ctrlPr>
                          <a:rPr lang="en-US" sz="1800" b="1" i="1">
                            <a:effectLst/>
                            <a:latin typeface="Cambria Math" panose="02040503050406030204" pitchFamily="18" charset="0"/>
                          </a:rPr>
                        </m:ctrlPr>
                      </m:sSupPr>
                      <m:e>
                        <m:r>
                          <a:rPr lang="en-GB" sz="1800" b="1" i="1">
                            <a:effectLst/>
                            <a:latin typeface="Cambria Math" panose="02040503050406030204" pitchFamily="18" charset="0"/>
                            <a:ea typeface="SimSun" panose="02010600030101010101" pitchFamily="2" charset="-122"/>
                            <a:cs typeface="Times New Roman" panose="02020603050405020304" pitchFamily="18" charset="0"/>
                          </a:rPr>
                          <m:t>𝟏𝟎</m:t>
                        </m:r>
                      </m:e>
                      <m:sup>
                        <m:r>
                          <a:rPr lang="en-GB" sz="1800" b="1" i="1">
                            <a:effectLst/>
                            <a:latin typeface="Cambria Math" panose="02040503050406030204" pitchFamily="18" charset="0"/>
                            <a:ea typeface="SimSun" panose="02010600030101010101" pitchFamily="2" charset="-122"/>
                            <a:cs typeface="Times New Roman" panose="02020603050405020304" pitchFamily="18" charset="0"/>
                          </a:rPr>
                          <m:t>−</m:t>
                        </m:r>
                        <m:r>
                          <a:rPr lang="en-GB" sz="1800" b="1" i="1">
                            <a:effectLst/>
                            <a:latin typeface="Cambria Math" panose="02040503050406030204" pitchFamily="18" charset="0"/>
                            <a:ea typeface="SimSun" panose="02010600030101010101" pitchFamily="2" charset="-122"/>
                            <a:cs typeface="Times New Roman" panose="02020603050405020304" pitchFamily="18" charset="0"/>
                          </a:rPr>
                          <m:t>𝟑</m:t>
                        </m:r>
                      </m:sup>
                    </m:sSup>
                  </m:oMath>
                </a14:m>
                <a:r>
                  <a:rPr lang="en-GB" sz="1800" b="1" dirty="0">
                    <a:effectLst/>
                    <a:latin typeface="Arial" panose="020B0604020202020204" pitchFamily="34" charset="0"/>
                    <a:ea typeface="SimSun" panose="02010600030101010101" pitchFamily="2" charset="-122"/>
                    <a:cs typeface="Times New Roman" panose="02020603050405020304" pitchFamily="18" charset="0"/>
                  </a:rPr>
                  <a:t> BLER, and gains (</a:t>
                </a:r>
                <a:r>
                  <a:rPr lang="en-GB" sz="1800" b="1" i="1" dirty="0">
                    <a:effectLst/>
                    <a:latin typeface="Arial" panose="020B0604020202020204" pitchFamily="34" charset="0"/>
                    <a:ea typeface="SimSun" panose="02010600030101010101" pitchFamily="2" charset="-122"/>
                    <a:cs typeface="Times New Roman" panose="02020603050405020304" pitchFamily="18" charset="0"/>
                  </a:rPr>
                  <a:t>in parentheses</a:t>
                </a:r>
                <a:r>
                  <a:rPr lang="en-GB" sz="1800" b="1" dirty="0">
                    <a:effectLst/>
                    <a:latin typeface="Arial" panose="020B0604020202020204" pitchFamily="34" charset="0"/>
                    <a:ea typeface="SimSun" panose="02010600030101010101" pitchFamily="2" charset="-122"/>
                    <a:cs typeface="Times New Roman" panose="02020603050405020304" pitchFamily="18" charset="0"/>
                  </a:rPr>
                  <a:t>) with </a:t>
                </a:r>
                <a:r>
                  <a:rPr lang="en-GB" sz="1800" b="1" dirty="0" err="1">
                    <a:effectLst/>
                    <a:latin typeface="Arial" panose="020B0604020202020204" pitchFamily="34" charset="0"/>
                    <a:ea typeface="SimSun" panose="02010600030101010101" pitchFamily="2" charset="-122"/>
                    <a:cs typeface="Times New Roman" panose="02020603050405020304" pitchFamily="18" charset="0"/>
                  </a:rPr>
                  <a:t>interleavers</a:t>
                </a:r>
                <a:endParaRPr lang="en-US" sz="1800" dirty="0"/>
              </a:p>
              <a:p>
                <a:pPr marL="0" indent="0">
                  <a:buNone/>
                </a:pPr>
                <a:endParaRPr lang="en-GB" sz="1800" b="1" dirty="0">
                  <a:latin typeface="Arial" panose="020B0604020202020204" pitchFamily="34" charset="0"/>
                  <a:ea typeface="SimSun" panose="02010600030101010101" pitchFamily="2" charset="-122"/>
                  <a:cs typeface="Times New Roman" panose="02020603050405020304" pitchFamily="18" charset="0"/>
                </a:endParaRPr>
              </a:p>
              <a:p>
                <a:endParaRPr lang="en-GB" sz="1800" b="1" dirty="0">
                  <a:effectLst/>
                  <a:latin typeface="Arial" panose="020B0604020202020204" pitchFamily="34" charset="0"/>
                  <a:ea typeface="SimSun" panose="02010600030101010101" pitchFamily="2" charset="-122"/>
                  <a:cs typeface="Times New Roman" panose="02020603050405020304" pitchFamily="18" charset="0"/>
                </a:endParaRPr>
              </a:p>
              <a:p>
                <a:endParaRPr lang="en-GB" sz="1800" b="1" dirty="0">
                  <a:latin typeface="Arial" panose="020B0604020202020204" pitchFamily="34" charset="0"/>
                  <a:ea typeface="SimSun" panose="02010600030101010101" pitchFamily="2" charset="-122"/>
                  <a:cs typeface="Times New Roman" panose="02020603050405020304" pitchFamily="18" charset="0"/>
                </a:endParaRPr>
              </a:p>
              <a:p>
                <a:endParaRPr lang="en-GB" sz="1800" b="1" dirty="0">
                  <a:effectLst/>
                  <a:latin typeface="Arial" panose="020B0604020202020204" pitchFamily="34" charset="0"/>
                  <a:ea typeface="SimSun" panose="02010600030101010101" pitchFamily="2" charset="-122"/>
                  <a:cs typeface="Times New Roman" panose="02020603050405020304" pitchFamily="18" charset="0"/>
                </a:endParaRPr>
              </a:p>
              <a:p>
                <a:endParaRPr lang="en-GB" sz="1800" b="1" dirty="0">
                  <a:latin typeface="Arial" panose="020B0604020202020204" pitchFamily="34" charset="0"/>
                  <a:ea typeface="SimSun" panose="02010600030101010101" pitchFamily="2" charset="-122"/>
                  <a:cs typeface="Times New Roman" panose="02020603050405020304" pitchFamily="18" charset="0"/>
                </a:endParaRPr>
              </a:p>
              <a:p>
                <a:endParaRPr lang="en-GB" sz="1800" b="1"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p:sp>
            <p:nvSpPr>
              <p:cNvPr id="6" name="Content Placeholder 5">
                <a:extLst>
                  <a:ext uri="{FF2B5EF4-FFF2-40B4-BE49-F238E27FC236}">
                    <a16:creationId xmlns:a16="http://schemas.microsoft.com/office/drawing/2014/main" id="{0B04EC71-7886-AEE2-FEC6-C2B0EC59B694}"/>
                  </a:ext>
                </a:extLst>
              </p:cNvPr>
              <p:cNvSpPr>
                <a:spLocks noGrp="1" noRot="1" noChangeAspect="1" noMove="1" noResize="1" noEditPoints="1" noAdjustHandles="1" noChangeArrowheads="1" noChangeShapeType="1" noTextEdit="1"/>
              </p:cNvSpPr>
              <p:nvPr>
                <p:ph sz="quarter" idx="14"/>
              </p:nvPr>
            </p:nvSpPr>
            <p:spPr>
              <a:blipFill>
                <a:blip r:embed="rId2"/>
                <a:stretch>
                  <a:fillRect l="-1253" t="-1693"/>
                </a:stretch>
              </a:blipFill>
            </p:spPr>
            <p:txBody>
              <a:bodyPr/>
              <a:lstStyle/>
              <a:p>
                <a:r>
                  <a:rPr lang="en-US">
                    <a:noFill/>
                  </a:rPr>
                  <a:t> </a:t>
                </a:r>
              </a:p>
            </p:txBody>
          </p:sp>
        </mc:Fallback>
      </mc:AlternateContent>
      <p:sp>
        <p:nvSpPr>
          <p:cNvPr id="3" name="Subtitle 4">
            <a:extLst>
              <a:ext uri="{FF2B5EF4-FFF2-40B4-BE49-F238E27FC236}">
                <a16:creationId xmlns:a16="http://schemas.microsoft.com/office/drawing/2014/main" id="{C6420A40-753C-BEDD-2BCF-5F51BB2AB573}"/>
              </a:ext>
            </a:extLst>
          </p:cNvPr>
          <p:cNvSpPr>
            <a:spLocks noGrp="1"/>
          </p:cNvSpPr>
          <p:nvPr>
            <p:ph type="subTitle" idx="1"/>
          </p:nvPr>
        </p:nvSpPr>
        <p:spPr>
          <a:xfrm>
            <a:off x="493713" y="1087438"/>
            <a:ext cx="11188700" cy="274637"/>
          </a:xfrm>
        </p:spPr>
        <p:txBody>
          <a:bodyPr/>
          <a:lstStyle/>
          <a:p>
            <a:r>
              <a:rPr lang="en-US" dirty="0">
                <a:solidFill>
                  <a:srgbClr val="FF0000"/>
                </a:solidFill>
              </a:rPr>
              <a:t>1 Receive Antennas</a:t>
            </a:r>
            <a:r>
              <a:rPr lang="en-US" dirty="0"/>
              <a:t>, </a:t>
            </a:r>
            <a:r>
              <a:rPr lang="en-US" dirty="0" err="1"/>
              <a:t>NLoS</a:t>
            </a:r>
            <a:r>
              <a:rPr lang="en-US" dirty="0"/>
              <a:t> India-Urban channel [1]</a:t>
            </a:r>
          </a:p>
        </p:txBody>
      </p:sp>
    </p:spTree>
    <p:extLst>
      <p:ext uri="{BB962C8B-B14F-4D97-AF65-F5344CB8AC3E}">
        <p14:creationId xmlns:p14="http://schemas.microsoft.com/office/powerpoint/2010/main" val="287676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line, screenshot, font&#10;&#10;Description automatically generated">
            <a:extLst>
              <a:ext uri="{FF2B5EF4-FFF2-40B4-BE49-F238E27FC236}">
                <a16:creationId xmlns:a16="http://schemas.microsoft.com/office/drawing/2014/main" id="{34542A18-80EC-7B29-8123-9A7C44CC9FB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311390" y="2177459"/>
            <a:ext cx="4937760" cy="3764952"/>
          </a:xfrm>
          <a:prstGeom prst="rect">
            <a:avLst/>
          </a:prstGeom>
        </p:spPr>
      </p:pic>
      <p:sp>
        <p:nvSpPr>
          <p:cNvPr id="3" name="Title 2">
            <a:extLst>
              <a:ext uri="{FF2B5EF4-FFF2-40B4-BE49-F238E27FC236}">
                <a16:creationId xmlns:a16="http://schemas.microsoft.com/office/drawing/2014/main" id="{317B6515-A07D-F0E4-E38A-DB1954B47B0F}"/>
              </a:ext>
            </a:extLst>
          </p:cNvPr>
          <p:cNvSpPr>
            <a:spLocks noGrp="1"/>
          </p:cNvSpPr>
          <p:nvPr>
            <p:ph type="title"/>
          </p:nvPr>
        </p:nvSpPr>
        <p:spPr>
          <a:xfrm>
            <a:off x="495300" y="642644"/>
            <a:ext cx="11187112" cy="361959"/>
          </a:xfrm>
        </p:spPr>
        <p:txBody>
          <a:bodyPr/>
          <a:lstStyle/>
          <a:p>
            <a:r>
              <a:rPr lang="de-DE" dirty="0"/>
              <a:t>I</a:t>
            </a:r>
            <a:r>
              <a:rPr lang="en-US" dirty="0" err="1"/>
              <a:t>mpact</a:t>
            </a:r>
            <a:r>
              <a:rPr lang="en-US" dirty="0"/>
              <a:t> of Modem-Friendly Time and Frequency Interleaving</a:t>
            </a:r>
          </a:p>
        </p:txBody>
      </p:sp>
      <p:sp>
        <p:nvSpPr>
          <p:cNvPr id="5" name="Subtitle 4">
            <a:extLst>
              <a:ext uri="{FF2B5EF4-FFF2-40B4-BE49-F238E27FC236}">
                <a16:creationId xmlns:a16="http://schemas.microsoft.com/office/drawing/2014/main" id="{7758A195-8ADF-E242-4D1C-52A575547FBF}"/>
              </a:ext>
            </a:extLst>
          </p:cNvPr>
          <p:cNvSpPr>
            <a:spLocks noGrp="1"/>
          </p:cNvSpPr>
          <p:nvPr>
            <p:ph type="subTitle" idx="1"/>
          </p:nvPr>
        </p:nvSpPr>
        <p:spPr>
          <a:xfrm>
            <a:off x="494189" y="1088135"/>
            <a:ext cx="11188223" cy="236347"/>
          </a:xfrm>
        </p:spPr>
        <p:txBody>
          <a:bodyPr/>
          <a:lstStyle/>
          <a:p>
            <a:r>
              <a:rPr lang="en-US" dirty="0">
                <a:solidFill>
                  <a:srgbClr val="FF0000"/>
                </a:solidFill>
              </a:rPr>
              <a:t>2 Receive Antennas</a:t>
            </a:r>
            <a:r>
              <a:rPr lang="en-US" dirty="0"/>
              <a:t>, </a:t>
            </a:r>
            <a:r>
              <a:rPr lang="en-US" dirty="0" err="1"/>
              <a:t>NLoS</a:t>
            </a:r>
            <a:r>
              <a:rPr lang="en-US" dirty="0"/>
              <a:t> India-Urban channel</a:t>
            </a:r>
          </a:p>
        </p:txBody>
      </p:sp>
      <mc:AlternateContent xmlns:mc="http://schemas.openxmlformats.org/markup-compatibility/2006">
        <mc:Choice xmlns:a14="http://schemas.microsoft.com/office/drawing/2010/main" Requires="a14">
          <p:sp>
            <p:nvSpPr>
              <p:cNvPr id="22" name="Content Placeholder 3">
                <a:extLst>
                  <a:ext uri="{FF2B5EF4-FFF2-40B4-BE49-F238E27FC236}">
                    <a16:creationId xmlns:a16="http://schemas.microsoft.com/office/drawing/2014/main" id="{C346CB2C-9979-6758-01C4-054E5AE93977}"/>
                  </a:ext>
                </a:extLst>
              </p:cNvPr>
              <p:cNvSpPr txBox="1">
                <a:spLocks/>
              </p:cNvSpPr>
              <p:nvPr/>
            </p:nvSpPr>
            <p:spPr>
              <a:xfrm>
                <a:off x="495300" y="1719072"/>
                <a:ext cx="11187112" cy="4681727"/>
              </a:xfrm>
              <a:prstGeom prst="rect">
                <a:avLst/>
              </a:prstGeom>
            </p:spPr>
            <p:txBody>
              <a:bodyPr vert="horz" lIns="0" tIns="0" rIns="0" bIns="0" rtlCol="0">
                <a:no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171450" marR="0" lvl="0" indent="-171450" algn="l" defTabSz="914400" rtl="0" eaLnBrk="1" fontAlgn="auto" latinLnBrk="0" hangingPunct="1">
                  <a:lnSpc>
                    <a:spcPct val="95000"/>
                  </a:lnSpc>
                  <a:spcBef>
                    <a:spcPts val="9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B2742"/>
                    </a:solidFill>
                    <a:effectLst/>
                    <a:uLnTx/>
                    <a:uFillTx/>
                    <a:latin typeface="Microsoft Sans Serif"/>
                    <a:ea typeface="+mn-ea"/>
                    <a:cs typeface="+mn-cs"/>
                  </a:rPr>
                  <a:t>SNR required for 0.1% BLER using </a:t>
                </a:r>
                <a:r>
                  <a:rPr kumimoji="0" lang="en-US" sz="2000" b="0" i="0" u="none" strike="noStrike" kern="1200" cap="none" spc="0" normalizeH="0" baseline="0" noProof="0" dirty="0">
                    <a:ln>
                      <a:noFill/>
                    </a:ln>
                    <a:solidFill>
                      <a:srgbClr val="2853DC"/>
                    </a:solidFill>
                    <a:effectLst/>
                    <a:uLnTx/>
                    <a:uFillTx/>
                    <a:latin typeface="Microsoft Sans Serif"/>
                    <a:ea typeface="+mn-ea"/>
                    <a:cs typeface="+mn-cs"/>
                  </a:rPr>
                  <a:t>8RV-based </a:t>
                </a:r>
                <a:r>
                  <a:rPr kumimoji="0" lang="en-US" sz="2000" b="0" i="0" u="none" strike="noStrike" kern="1200" cap="none" spc="0" normalizeH="0" baseline="0" noProof="0" dirty="0" err="1">
                    <a:ln>
                      <a:noFill/>
                    </a:ln>
                    <a:solidFill>
                      <a:srgbClr val="2853DC"/>
                    </a:solidFill>
                    <a:effectLst/>
                    <a:uLnTx/>
                    <a:uFillTx/>
                    <a:latin typeface="Microsoft Sans Serif"/>
                    <a:ea typeface="+mn-ea"/>
                    <a:cs typeface="+mn-cs"/>
                  </a:rPr>
                  <a:t>intlv</a:t>
                </a:r>
                <a:r>
                  <a:rPr kumimoji="0" lang="en-US" sz="2000" b="0" i="0" u="none" strike="noStrike" kern="1200" cap="none" spc="0" normalizeH="0" baseline="0" noProof="0" dirty="0">
                    <a:ln>
                      <a:noFill/>
                    </a:ln>
                    <a:solidFill>
                      <a:srgbClr val="2853DC"/>
                    </a:solidFill>
                    <a:effectLst/>
                    <a:uLnTx/>
                    <a:uFillTx/>
                    <a:latin typeface="Microsoft Sans Serif"/>
                    <a:ea typeface="+mn-ea"/>
                    <a:cs typeface="+mn-cs"/>
                  </a:rPr>
                  <a:t>. +  2Rx</a:t>
                </a:r>
              </a:p>
              <a:p>
                <a:pPr marL="342900" marR="0" lvl="1" indent="-152400" algn="l" defTabSz="914400" rtl="0" eaLnBrk="1" fontAlgn="auto" latinLnBrk="0" hangingPunct="1">
                  <a:lnSpc>
                    <a:spcPct val="100000"/>
                  </a:lnSpc>
                  <a:spcBef>
                    <a:spcPts val="225"/>
                  </a:spcBef>
                  <a:spcAft>
                    <a:spcPts val="225"/>
                  </a:spcAft>
                  <a:buClrTx/>
                  <a:buSzTx/>
                  <a:buFont typeface="Arial" panose="020B0604020202020204" pitchFamily="34" charset="0"/>
                  <a:buChar char="•"/>
                  <a:tabLst>
                    <a:tab pos="2003425" algn="l"/>
                  </a:tabLst>
                  <a:defRPr/>
                </a:pPr>
                <a:r>
                  <a:rPr kumimoji="0" lang="en-US" sz="1600" b="0" i="0" u="none" strike="noStrike" kern="1200" cap="none" spc="0" normalizeH="0" baseline="0" noProof="0" dirty="0">
                    <a:ln>
                      <a:noFill/>
                    </a:ln>
                    <a:solidFill>
                      <a:srgbClr val="2853DC"/>
                    </a:solidFill>
                    <a:effectLst/>
                    <a:uLnTx/>
                    <a:uFillTx/>
                    <a:latin typeface="Microsoft Sans Serif"/>
                    <a:ea typeface="+mn-ea"/>
                    <a:cs typeface="+mn-cs"/>
                  </a:rPr>
                  <a:t>2Rx + RV-based</a:t>
                </a:r>
                <a:r>
                  <a:rPr kumimoji="0" lang="en-US" sz="1600" b="0" i="0" u="none" strike="noStrike" kern="1200" cap="none" spc="0" normalizeH="0" baseline="0" noProof="0" dirty="0">
                    <a:ln>
                      <a:noFill/>
                    </a:ln>
                    <a:solidFill>
                      <a:srgbClr val="0B2742"/>
                    </a:solidFill>
                    <a:effectLst/>
                    <a:uLnTx/>
                    <a:uFillTx/>
                    <a:latin typeface="Microsoft Sans Serif"/>
                    <a:ea typeface="+mn-ea"/>
                    <a:cs typeface="+mn-cs"/>
                  </a:rPr>
                  <a:t> </a:t>
                </a:r>
                <a:r>
                  <a:rPr kumimoji="0" lang="en-US" sz="1600" b="0" i="0" u="none" strike="noStrike" kern="1200" cap="none" spc="0" normalizeH="0" baseline="0" noProof="0" dirty="0">
                    <a:ln>
                      <a:noFill/>
                    </a:ln>
                    <a:solidFill>
                      <a:srgbClr val="2853DC"/>
                    </a:solidFill>
                    <a:effectLst/>
                    <a:uLnTx/>
                    <a:uFillTx/>
                    <a:latin typeface="Microsoft Sans Serif"/>
                    <a:ea typeface="+mn-ea"/>
                    <a:cs typeface="+mn-cs"/>
                  </a:rPr>
                  <a:t>T/F </a:t>
                </a:r>
                <a:r>
                  <a:rPr kumimoji="0" lang="en-US" sz="1600" b="0" i="0" u="none" strike="noStrike" kern="1200" cap="none" spc="0" normalizeH="0" baseline="0" noProof="0" dirty="0" err="1">
                    <a:ln>
                      <a:noFill/>
                    </a:ln>
                    <a:solidFill>
                      <a:srgbClr val="2853DC"/>
                    </a:solidFill>
                    <a:effectLst/>
                    <a:uLnTx/>
                    <a:uFillTx/>
                    <a:latin typeface="Microsoft Sans Serif"/>
                    <a:ea typeface="+mn-ea"/>
                    <a:cs typeface="+mn-cs"/>
                  </a:rPr>
                  <a:t>intlv</a:t>
                </a:r>
                <a:r>
                  <a:rPr kumimoji="0" lang="en-US" sz="1600" b="0" i="0" u="none" strike="noStrike" kern="1200" cap="none" spc="0" normalizeH="0" baseline="0" noProof="0" dirty="0">
                    <a:ln>
                      <a:noFill/>
                    </a:ln>
                    <a:solidFill>
                      <a:srgbClr val="2853DC"/>
                    </a:solidFill>
                    <a:effectLst/>
                    <a:uLnTx/>
                    <a:uFillTx/>
                    <a:latin typeface="Microsoft Sans Serif"/>
                    <a:ea typeface="+mn-ea"/>
                    <a:cs typeface="+mn-cs"/>
                  </a:rPr>
                  <a:t> at 256ms time interleaving</a:t>
                </a:r>
                <a:br>
                  <a:rPr kumimoji="0" lang="en-US" sz="1600" b="0" i="0" u="none" strike="noStrike" kern="1200" cap="none" spc="0" normalizeH="0" baseline="0" noProof="0" dirty="0">
                    <a:ln>
                      <a:noFill/>
                    </a:ln>
                    <a:solidFill>
                      <a:srgbClr val="2853DC"/>
                    </a:solidFill>
                    <a:effectLst/>
                    <a:uLnTx/>
                    <a:uFillTx/>
                    <a:latin typeface="Microsoft Sans Serif"/>
                    <a:ea typeface="+mn-ea"/>
                    <a:cs typeface="+mn-cs"/>
                  </a:rPr>
                </a:br>
                <a:r>
                  <a:rPr kumimoji="0" lang="en-US" sz="1600" b="0" i="0" u="none" strike="noStrike" kern="1200" cap="none" spc="0" normalizeH="0" baseline="0" noProof="0" dirty="0">
                    <a:ln>
                      <a:noFill/>
                    </a:ln>
                    <a:solidFill>
                      <a:srgbClr val="008A3E"/>
                    </a:solidFill>
                    <a:effectLst/>
                    <a:uLnTx/>
                    <a:uFillTx/>
                    <a:latin typeface="Microsoft Sans Serif"/>
                    <a:ea typeface="+mn-ea"/>
                    <a:cs typeface="+mn-cs"/>
                  </a:rPr>
                  <a:t>yields </a:t>
                </a:r>
                <a14:m>
                  <m:oMath xmlns:m="http://schemas.openxmlformats.org/officeDocument/2006/math">
                    <m:r>
                      <a:rPr kumimoji="0" lang="en-US" sz="1600" b="1" i="1" u="none" strike="noStrike" kern="1200" cap="none" spc="0" normalizeH="0" baseline="0" noProof="0" smtClean="0">
                        <a:ln>
                          <a:noFill/>
                        </a:ln>
                        <a:solidFill>
                          <a:srgbClr val="008A3E"/>
                        </a:solidFill>
                        <a:effectLst/>
                        <a:uLnTx/>
                        <a:uFillTx/>
                        <a:latin typeface="Cambria Math" panose="02040503050406030204" pitchFamily="18" charset="0"/>
                        <a:ea typeface="+mn-ea"/>
                        <a:cs typeface="+mn-cs"/>
                      </a:rPr>
                      <m:t>&lt;</m:t>
                    </m:r>
                    <m:r>
                      <a:rPr kumimoji="0" lang="en-US" sz="1600" b="1" i="1" u="none" strike="noStrike" kern="1200" cap="none" spc="0" normalizeH="0" baseline="0" noProof="0" smtClean="0">
                        <a:ln>
                          <a:noFill/>
                        </a:ln>
                        <a:solidFill>
                          <a:srgbClr val="008A3E"/>
                        </a:solidFill>
                        <a:effectLst/>
                        <a:uLnTx/>
                        <a:uFillTx/>
                        <a:latin typeface="Cambria Math" panose="02040503050406030204" pitchFamily="18" charset="0"/>
                        <a:ea typeface="+mn-ea"/>
                        <a:cs typeface="+mn-cs"/>
                      </a:rPr>
                      <m:t>𝟏</m:t>
                    </m:r>
                  </m:oMath>
                </a14:m>
                <a:r>
                  <a:rPr kumimoji="0" lang="en-US" sz="1600" b="1" i="1" u="none" strike="noStrike" kern="1200" cap="none" spc="0" normalizeH="0" baseline="0" noProof="0" dirty="0">
                    <a:ln>
                      <a:noFill/>
                    </a:ln>
                    <a:solidFill>
                      <a:srgbClr val="008A3E"/>
                    </a:solidFill>
                    <a:effectLst/>
                    <a:uLnTx/>
                    <a:uFillTx/>
                    <a:latin typeface="Microsoft Sans Serif"/>
                    <a:ea typeface="+mn-ea"/>
                    <a:cs typeface="+mn-cs"/>
                  </a:rPr>
                  <a:t> dB loss </a:t>
                </a:r>
                <a:r>
                  <a:rPr kumimoji="0" lang="en-US" sz="1600" b="1" i="1" u="none" strike="noStrike" kern="1200" cap="none" spc="0" normalizeH="0" baseline="0" noProof="0" dirty="0" err="1">
                    <a:ln>
                      <a:noFill/>
                    </a:ln>
                    <a:solidFill>
                      <a:srgbClr val="008A3E"/>
                    </a:solidFill>
                    <a:effectLst/>
                    <a:uLnTx/>
                    <a:uFillTx/>
                    <a:latin typeface="Microsoft Sans Serif"/>
                    <a:ea typeface="+mn-ea"/>
                    <a:cs typeface="+mn-cs"/>
                  </a:rPr>
                  <a:t>w.r.t.</a:t>
                </a:r>
                <a:r>
                  <a:rPr kumimoji="0" lang="en-US" sz="1600" b="1" i="1" u="none" strike="noStrike" kern="1200" cap="none" spc="0" normalizeH="0" baseline="0" noProof="0" dirty="0">
                    <a:ln>
                      <a:noFill/>
                    </a:ln>
                    <a:solidFill>
                      <a:srgbClr val="008A3E"/>
                    </a:solidFill>
                    <a:effectLst/>
                    <a:uLnTx/>
                    <a:uFillTx/>
                    <a:latin typeface="Microsoft Sans Serif"/>
                    <a:ea typeface="+mn-ea"/>
                    <a:cs typeface="+mn-cs"/>
                  </a:rPr>
                  <a:t> 2Rx-based ATSC 3.0 at 400ms time interleaving</a:t>
                </a:r>
                <a:endParaRPr kumimoji="0" lang="en-US" sz="1600" b="1" i="1" u="none" strike="noStrike" kern="1200" cap="none" spc="0" normalizeH="0" baseline="0" noProof="0" dirty="0">
                  <a:ln>
                    <a:noFill/>
                  </a:ln>
                  <a:solidFill>
                    <a:srgbClr val="0B2742"/>
                  </a:solidFill>
                  <a:effectLst/>
                  <a:uLnTx/>
                  <a:uFillTx/>
                  <a:latin typeface="Microsoft Sans Serif"/>
                  <a:ea typeface="+mn-ea"/>
                  <a:cs typeface="+mn-cs"/>
                </a:endParaRPr>
              </a:p>
            </p:txBody>
          </p:sp>
        </mc:Choice>
        <mc:Fallback>
          <p:sp>
            <p:nvSpPr>
              <p:cNvPr id="22" name="Content Placeholder 3">
                <a:extLst>
                  <a:ext uri="{FF2B5EF4-FFF2-40B4-BE49-F238E27FC236}">
                    <a16:creationId xmlns:a16="http://schemas.microsoft.com/office/drawing/2014/main" id="{C346CB2C-9979-6758-01C4-054E5AE93977}"/>
                  </a:ext>
                </a:extLst>
              </p:cNvPr>
              <p:cNvSpPr txBox="1">
                <a:spLocks noRot="1" noChangeAspect="1" noMove="1" noResize="1" noEditPoints="1" noAdjustHandles="1" noChangeArrowheads="1" noChangeShapeType="1" noTextEdit="1"/>
              </p:cNvSpPr>
              <p:nvPr/>
            </p:nvSpPr>
            <p:spPr>
              <a:xfrm>
                <a:off x="495300" y="1719072"/>
                <a:ext cx="11187112" cy="4681727"/>
              </a:xfrm>
              <a:prstGeom prst="rect">
                <a:avLst/>
              </a:prstGeom>
              <a:blipFill>
                <a:blip r:embed="rId3"/>
                <a:stretch>
                  <a:fillRect l="-1308" t="-2083"/>
                </a:stretch>
              </a:blipFill>
            </p:spPr>
            <p:txBody>
              <a:bodyPr/>
              <a:lstStyle/>
              <a:p>
                <a:r>
                  <a:rPr lang="en-US">
                    <a:noFill/>
                  </a:rPr>
                  <a:t> </a:t>
                </a:r>
              </a:p>
            </p:txBody>
          </p:sp>
        </mc:Fallback>
      </mc:AlternateContent>
      <p:graphicFrame>
        <p:nvGraphicFramePr>
          <p:cNvPr id="23" name="Table 23">
            <a:extLst>
              <a:ext uri="{FF2B5EF4-FFF2-40B4-BE49-F238E27FC236}">
                <a16:creationId xmlns:a16="http://schemas.microsoft.com/office/drawing/2014/main" id="{829702BA-2A00-50C3-1FEB-430329F21013}"/>
              </a:ext>
            </a:extLst>
          </p:cNvPr>
          <p:cNvGraphicFramePr>
            <a:graphicFrameLocks noGrp="1"/>
          </p:cNvGraphicFramePr>
          <p:nvPr>
            <p:extLst>
              <p:ext uri="{D42A27DB-BD31-4B8C-83A1-F6EECF244321}">
                <p14:modId xmlns:p14="http://schemas.microsoft.com/office/powerpoint/2010/main" val="4058795052"/>
              </p:ext>
            </p:extLst>
          </p:nvPr>
        </p:nvGraphicFramePr>
        <p:xfrm>
          <a:off x="368621" y="2884741"/>
          <a:ext cx="6885619" cy="1691640"/>
        </p:xfrm>
        <a:graphic>
          <a:graphicData uri="http://schemas.openxmlformats.org/drawingml/2006/table">
            <a:tbl>
              <a:tblPr firstRow="1" bandRow="1">
                <a:tableStyleId>{5C22544A-7EE6-4342-B048-85BDC9FD1C3A}</a:tableStyleId>
              </a:tblPr>
              <a:tblGrid>
                <a:gridCol w="1694716">
                  <a:extLst>
                    <a:ext uri="{9D8B030D-6E8A-4147-A177-3AD203B41FA5}">
                      <a16:colId xmlns:a16="http://schemas.microsoft.com/office/drawing/2014/main" val="880813785"/>
                    </a:ext>
                  </a:extLst>
                </a:gridCol>
                <a:gridCol w="1481208">
                  <a:extLst>
                    <a:ext uri="{9D8B030D-6E8A-4147-A177-3AD203B41FA5}">
                      <a16:colId xmlns:a16="http://schemas.microsoft.com/office/drawing/2014/main" val="2638591340"/>
                    </a:ext>
                  </a:extLst>
                </a:gridCol>
                <a:gridCol w="2014979">
                  <a:extLst>
                    <a:ext uri="{9D8B030D-6E8A-4147-A177-3AD203B41FA5}">
                      <a16:colId xmlns:a16="http://schemas.microsoft.com/office/drawing/2014/main" val="3997225758"/>
                    </a:ext>
                  </a:extLst>
                </a:gridCol>
                <a:gridCol w="1694716">
                  <a:extLst>
                    <a:ext uri="{9D8B030D-6E8A-4147-A177-3AD203B41FA5}">
                      <a16:colId xmlns:a16="http://schemas.microsoft.com/office/drawing/2014/main" val="947824475"/>
                    </a:ext>
                  </a:extLst>
                </a:gridCol>
              </a:tblGrid>
              <a:tr h="370840">
                <a:tc>
                  <a:txBody>
                    <a:bodyPr/>
                    <a:lstStyle/>
                    <a:p>
                      <a:pPr algn="ctr"/>
                      <a:r>
                        <a:rPr lang="en-US" sz="1600" b="0" dirty="0"/>
                        <a:t>Speed</a:t>
                      </a:r>
                    </a:p>
                  </a:txBody>
                  <a:tcPr>
                    <a:solidFill>
                      <a:srgbClr val="7BA0FF"/>
                    </a:solidFill>
                  </a:tcPr>
                </a:tc>
                <a:tc>
                  <a:txBody>
                    <a:bodyPr/>
                    <a:lstStyle/>
                    <a:p>
                      <a:pPr algn="ctr"/>
                      <a:r>
                        <a:rPr lang="en-US" sz="1600" b="1" dirty="0"/>
                        <a:t>ATSC 3.0 + 2Rx</a:t>
                      </a:r>
                    </a:p>
                  </a:txBody>
                  <a:tcPr>
                    <a:solidFill>
                      <a:schemeClr val="bg1">
                        <a:lumMod val="50000"/>
                      </a:schemeClr>
                    </a:solidFill>
                  </a:tcPr>
                </a:tc>
                <a:tc>
                  <a:txBody>
                    <a:bodyPr/>
                    <a:lstStyle/>
                    <a:p>
                      <a:pPr algn="ctr"/>
                      <a:r>
                        <a:rPr lang="en-US" sz="1600" b="0" dirty="0"/>
                        <a:t>Baseline 5G Broadcast + 2Rx</a:t>
                      </a:r>
                    </a:p>
                  </a:txBody>
                  <a:tcPr>
                    <a:solidFill>
                      <a:schemeClr val="bg1">
                        <a:lumMod val="50000"/>
                      </a:schemeClr>
                    </a:solidFill>
                  </a:tcPr>
                </a:tc>
                <a:tc>
                  <a:txBody>
                    <a:bodyPr/>
                    <a:lstStyle/>
                    <a:p>
                      <a:pPr algn="ctr"/>
                      <a:r>
                        <a:rPr lang="en-US" sz="1600" b="1" dirty="0"/>
                        <a:t>5G Broadcast 8RV + 2Rx</a:t>
                      </a:r>
                    </a:p>
                  </a:txBody>
                  <a:tcPr>
                    <a:solidFill>
                      <a:schemeClr val="bg1">
                        <a:lumMod val="50000"/>
                      </a:schemeClr>
                    </a:solidFill>
                  </a:tcPr>
                </a:tc>
                <a:extLst>
                  <a:ext uri="{0D108BD9-81ED-4DB2-BD59-A6C34878D82A}">
                    <a16:rowId xmlns:a16="http://schemas.microsoft.com/office/drawing/2014/main" val="342213611"/>
                  </a:ext>
                </a:extLst>
              </a:tr>
              <a:tr h="370840">
                <a:tc>
                  <a:txBody>
                    <a:bodyPr/>
                    <a:lstStyle/>
                    <a:p>
                      <a:r>
                        <a:rPr lang="en-US" sz="1600" dirty="0"/>
                        <a:t>3 km/h</a:t>
                      </a:r>
                    </a:p>
                  </a:txBody>
                  <a:tcPr>
                    <a:solidFill>
                      <a:schemeClr val="tx2">
                        <a:lumMod val="25000"/>
                        <a:lumOff val="75000"/>
                      </a:schemeClr>
                    </a:solidFill>
                  </a:tcPr>
                </a:tc>
                <a:tc>
                  <a:txBody>
                    <a:bodyPr/>
                    <a:lstStyle/>
                    <a:p>
                      <a:r>
                        <a:rPr lang="en-US" sz="1600" b="1" dirty="0"/>
                        <a:t>8.7 dB</a:t>
                      </a:r>
                    </a:p>
                  </a:txBody>
                  <a:tcPr>
                    <a:solidFill>
                      <a:schemeClr val="bg1">
                        <a:lumMod val="90000"/>
                      </a:schemeClr>
                    </a:solidFill>
                  </a:tcPr>
                </a:tc>
                <a:tc>
                  <a:txBody>
                    <a:bodyPr/>
                    <a:lstStyle/>
                    <a:p>
                      <a:r>
                        <a:rPr lang="en-US" sz="1600" dirty="0"/>
                        <a:t>10.7 </a:t>
                      </a:r>
                      <a:r>
                        <a:rPr lang="en-US" sz="1600" dirty="0">
                          <a:solidFill>
                            <a:srgbClr val="FF0000"/>
                          </a:solidFill>
                        </a:rPr>
                        <a:t>(-2 dB)</a:t>
                      </a:r>
                    </a:p>
                  </a:txBody>
                  <a:tcPr>
                    <a:solidFill>
                      <a:schemeClr val="bg1">
                        <a:lumMod val="90000"/>
                      </a:schemeClr>
                    </a:solidFill>
                  </a:tcPr>
                </a:tc>
                <a:tc>
                  <a:txBody>
                    <a:bodyPr/>
                    <a:lstStyle/>
                    <a:p>
                      <a:r>
                        <a:rPr lang="en-US" sz="1600" b="1" dirty="0"/>
                        <a:t>8.9 dB </a:t>
                      </a:r>
                      <a:r>
                        <a:rPr lang="en-US" sz="1600" b="1" dirty="0">
                          <a:solidFill>
                            <a:srgbClr val="008A3E"/>
                          </a:solidFill>
                        </a:rPr>
                        <a:t>(-0.2 dB)</a:t>
                      </a:r>
                    </a:p>
                  </a:txBody>
                  <a:tcPr>
                    <a:solidFill>
                      <a:schemeClr val="bg1">
                        <a:lumMod val="90000"/>
                      </a:schemeClr>
                    </a:solidFill>
                  </a:tcPr>
                </a:tc>
                <a:extLst>
                  <a:ext uri="{0D108BD9-81ED-4DB2-BD59-A6C34878D82A}">
                    <a16:rowId xmlns:a16="http://schemas.microsoft.com/office/drawing/2014/main" val="668885802"/>
                  </a:ext>
                </a:extLst>
              </a:tr>
              <a:tr h="370840">
                <a:tc>
                  <a:txBody>
                    <a:bodyPr/>
                    <a:lstStyle/>
                    <a:p>
                      <a:r>
                        <a:rPr lang="en-US" sz="1600" dirty="0"/>
                        <a:t>40 km/h</a:t>
                      </a:r>
                    </a:p>
                  </a:txBody>
                  <a:tcPr>
                    <a:solidFill>
                      <a:schemeClr val="tx2">
                        <a:lumMod val="25000"/>
                        <a:lumOff val="75000"/>
                      </a:schemeClr>
                    </a:solidFill>
                  </a:tcPr>
                </a:tc>
                <a:tc>
                  <a:txBody>
                    <a:bodyPr/>
                    <a:lstStyle/>
                    <a:p>
                      <a:r>
                        <a:rPr lang="en-US" sz="1600" b="1" dirty="0"/>
                        <a:t>6.6 dB</a:t>
                      </a:r>
                    </a:p>
                  </a:txBody>
                  <a:tcPr>
                    <a:solidFill>
                      <a:schemeClr val="bg1">
                        <a:lumMod val="90000"/>
                      </a:schemeClr>
                    </a:solidFill>
                  </a:tcPr>
                </a:tc>
                <a:tc>
                  <a:txBody>
                    <a:bodyPr/>
                    <a:lstStyle/>
                    <a:p>
                      <a:r>
                        <a:rPr lang="en-US" sz="1600" dirty="0"/>
                        <a:t>11 </a:t>
                      </a:r>
                      <a:r>
                        <a:rPr lang="en-US" sz="1600" dirty="0">
                          <a:solidFill>
                            <a:srgbClr val="FF0000"/>
                          </a:solidFill>
                        </a:rPr>
                        <a:t>(-4.4 dB)</a:t>
                      </a:r>
                    </a:p>
                  </a:txBody>
                  <a:tcPr>
                    <a:solidFill>
                      <a:schemeClr val="bg1">
                        <a:lumMod val="90000"/>
                      </a:schemeClr>
                    </a:solidFill>
                  </a:tcPr>
                </a:tc>
                <a:tc>
                  <a:txBody>
                    <a:bodyPr/>
                    <a:lstStyle/>
                    <a:p>
                      <a:r>
                        <a:rPr lang="en-US" sz="1600" b="1" dirty="0"/>
                        <a:t>7.1 dB </a:t>
                      </a:r>
                      <a:r>
                        <a:rPr lang="en-US" sz="1600" b="1" dirty="0">
                          <a:solidFill>
                            <a:srgbClr val="008A3E"/>
                          </a:solidFill>
                        </a:rPr>
                        <a:t>(-0.5 dB)</a:t>
                      </a:r>
                    </a:p>
                  </a:txBody>
                  <a:tcPr>
                    <a:solidFill>
                      <a:schemeClr val="bg1">
                        <a:lumMod val="90000"/>
                      </a:schemeClr>
                    </a:solidFill>
                  </a:tcPr>
                </a:tc>
                <a:extLst>
                  <a:ext uri="{0D108BD9-81ED-4DB2-BD59-A6C34878D82A}">
                    <a16:rowId xmlns:a16="http://schemas.microsoft.com/office/drawing/2014/main" val="3411736326"/>
                  </a:ext>
                </a:extLst>
              </a:tr>
              <a:tr h="370840">
                <a:tc>
                  <a:txBody>
                    <a:bodyPr/>
                    <a:lstStyle/>
                    <a:p>
                      <a:r>
                        <a:rPr lang="en-US" sz="1600" dirty="0"/>
                        <a:t>120 km/h</a:t>
                      </a:r>
                    </a:p>
                  </a:txBody>
                  <a:tcPr>
                    <a:solidFill>
                      <a:schemeClr val="tx2">
                        <a:lumMod val="25000"/>
                        <a:lumOff val="75000"/>
                      </a:schemeClr>
                    </a:solidFill>
                  </a:tcPr>
                </a:tc>
                <a:tc>
                  <a:txBody>
                    <a:bodyPr/>
                    <a:lstStyle/>
                    <a:p>
                      <a:r>
                        <a:rPr lang="en-US" sz="1600" b="1" dirty="0"/>
                        <a:t>6.2 dB</a:t>
                      </a:r>
                    </a:p>
                  </a:txBody>
                  <a:tcPr>
                    <a:solidFill>
                      <a:schemeClr val="bg1">
                        <a:lumMod val="90000"/>
                      </a:schemeClr>
                    </a:solidFill>
                  </a:tcPr>
                </a:tc>
                <a:tc>
                  <a:txBody>
                    <a:bodyPr/>
                    <a:lstStyle/>
                    <a:p>
                      <a:r>
                        <a:rPr lang="en-US" sz="1600" dirty="0"/>
                        <a:t>11.4 </a:t>
                      </a:r>
                      <a:r>
                        <a:rPr lang="en-US" sz="1600" dirty="0">
                          <a:solidFill>
                            <a:srgbClr val="FF0000"/>
                          </a:solidFill>
                        </a:rPr>
                        <a:t>(-5.2 dB)</a:t>
                      </a:r>
                    </a:p>
                  </a:txBody>
                  <a:tcPr>
                    <a:solidFill>
                      <a:schemeClr val="bg1">
                        <a:lumMod val="90000"/>
                      </a:schemeClr>
                    </a:solidFill>
                  </a:tcPr>
                </a:tc>
                <a:tc>
                  <a:txBody>
                    <a:bodyPr/>
                    <a:lstStyle/>
                    <a:p>
                      <a:r>
                        <a:rPr lang="en-US" sz="1600" b="1" dirty="0"/>
                        <a:t>7 dB </a:t>
                      </a:r>
                      <a:r>
                        <a:rPr lang="en-US" sz="1600" b="1" dirty="0">
                          <a:solidFill>
                            <a:srgbClr val="008A3E"/>
                          </a:solidFill>
                        </a:rPr>
                        <a:t>(-0.8 dB)</a:t>
                      </a:r>
                    </a:p>
                  </a:txBody>
                  <a:tcPr>
                    <a:solidFill>
                      <a:schemeClr val="bg1">
                        <a:lumMod val="90000"/>
                      </a:schemeClr>
                    </a:solidFill>
                  </a:tcPr>
                </a:tc>
                <a:extLst>
                  <a:ext uri="{0D108BD9-81ED-4DB2-BD59-A6C34878D82A}">
                    <a16:rowId xmlns:a16="http://schemas.microsoft.com/office/drawing/2014/main" val="41547995"/>
                  </a:ext>
                </a:extLst>
              </a:tr>
            </a:tbl>
          </a:graphicData>
        </a:graphic>
      </p:graphicFrame>
      <p:cxnSp>
        <p:nvCxnSpPr>
          <p:cNvPr id="34" name="Straight Arrow Connector 33">
            <a:extLst>
              <a:ext uri="{FF2B5EF4-FFF2-40B4-BE49-F238E27FC236}">
                <a16:creationId xmlns:a16="http://schemas.microsoft.com/office/drawing/2014/main" id="{C379D00B-293B-F496-C51A-297E0FE6A568}"/>
              </a:ext>
            </a:extLst>
          </p:cNvPr>
          <p:cNvCxnSpPr>
            <a:cxnSpLocks/>
          </p:cNvCxnSpPr>
          <p:nvPr/>
        </p:nvCxnSpPr>
        <p:spPr>
          <a:xfrm>
            <a:off x="9012551" y="5440297"/>
            <a:ext cx="797738" cy="13169"/>
          </a:xfrm>
          <a:prstGeom prst="straightConnector1">
            <a:avLst/>
          </a:prstGeom>
          <a:ln w="25400" cap="rnd">
            <a:solidFill>
              <a:srgbClr val="FF0000"/>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643D2CC-404F-0B76-6F73-D7DECD5E5DFE}"/>
              </a:ext>
            </a:extLst>
          </p:cNvPr>
          <p:cNvCxnSpPr>
            <a:cxnSpLocks/>
          </p:cNvCxnSpPr>
          <p:nvPr/>
        </p:nvCxnSpPr>
        <p:spPr>
          <a:xfrm flipV="1">
            <a:off x="9012551" y="5150418"/>
            <a:ext cx="0" cy="451281"/>
          </a:xfrm>
          <a:prstGeom prst="line">
            <a:avLst/>
          </a:prstGeom>
          <a:ln w="25400" cap="rnd">
            <a:solidFill>
              <a:srgbClr val="FF0000"/>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869AF1F-5ACF-856E-D173-51FD2604D8A9}"/>
              </a:ext>
            </a:extLst>
          </p:cNvPr>
          <p:cNvCxnSpPr>
            <a:cxnSpLocks/>
          </p:cNvCxnSpPr>
          <p:nvPr/>
        </p:nvCxnSpPr>
        <p:spPr>
          <a:xfrm flipV="1">
            <a:off x="9799009" y="5164702"/>
            <a:ext cx="0" cy="451281"/>
          </a:xfrm>
          <a:prstGeom prst="line">
            <a:avLst/>
          </a:prstGeom>
          <a:ln w="25400" cap="rnd">
            <a:solidFill>
              <a:srgbClr val="FF0000"/>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F70111A-5437-C61C-6D1B-E0B5E9DB7B88}"/>
              </a:ext>
            </a:extLst>
          </p:cNvPr>
          <p:cNvSpPr txBox="1"/>
          <p:nvPr/>
        </p:nvSpPr>
        <p:spPr>
          <a:xfrm>
            <a:off x="8909835" y="5184326"/>
            <a:ext cx="938427" cy="236347"/>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Microsoft Sans Serif"/>
                <a:ea typeface="+mn-ea"/>
                <a:cs typeface="Microsoft Sans Serif" panose="020B0604020202020204" pitchFamily="34" charset="0"/>
              </a:rPr>
              <a:t>0.8 dB</a:t>
            </a:r>
          </a:p>
        </p:txBody>
      </p:sp>
      <p:cxnSp>
        <p:nvCxnSpPr>
          <p:cNvPr id="38" name="Straight Arrow Connector 37">
            <a:extLst>
              <a:ext uri="{FF2B5EF4-FFF2-40B4-BE49-F238E27FC236}">
                <a16:creationId xmlns:a16="http://schemas.microsoft.com/office/drawing/2014/main" id="{4B6BC067-75F3-383F-113B-CE6C79FFBCCD}"/>
              </a:ext>
            </a:extLst>
          </p:cNvPr>
          <p:cNvCxnSpPr>
            <a:cxnSpLocks/>
          </p:cNvCxnSpPr>
          <p:nvPr/>
        </p:nvCxnSpPr>
        <p:spPr>
          <a:xfrm>
            <a:off x="9383427" y="5132380"/>
            <a:ext cx="583198" cy="15829"/>
          </a:xfrm>
          <a:prstGeom prst="straightConnector1">
            <a:avLst/>
          </a:prstGeom>
          <a:ln w="25400" cap="rnd">
            <a:solidFill>
              <a:schemeClr val="tx1"/>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090F70A-80E1-A9ED-D21D-63E945D21DA3}"/>
              </a:ext>
            </a:extLst>
          </p:cNvPr>
          <p:cNvCxnSpPr>
            <a:cxnSpLocks/>
          </p:cNvCxnSpPr>
          <p:nvPr/>
        </p:nvCxnSpPr>
        <p:spPr>
          <a:xfrm flipV="1">
            <a:off x="9402824" y="5064751"/>
            <a:ext cx="0" cy="451281"/>
          </a:xfrm>
          <a:prstGeom prst="line">
            <a:avLst/>
          </a:prstGeom>
          <a:ln w="25400" cap="rnd">
            <a:solidFill>
              <a:schemeClr val="tx1"/>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FCF7BD-7966-C4B4-1804-708422F8BE2D}"/>
              </a:ext>
            </a:extLst>
          </p:cNvPr>
          <p:cNvCxnSpPr>
            <a:cxnSpLocks/>
          </p:cNvCxnSpPr>
          <p:nvPr/>
        </p:nvCxnSpPr>
        <p:spPr>
          <a:xfrm flipV="1">
            <a:off x="9965005" y="5064751"/>
            <a:ext cx="0" cy="451281"/>
          </a:xfrm>
          <a:prstGeom prst="line">
            <a:avLst/>
          </a:prstGeom>
          <a:ln w="25400" cap="rnd">
            <a:solidFill>
              <a:schemeClr val="tx1"/>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1AD2261-5DF7-E41E-8366-D895CD41BA8B}"/>
              </a:ext>
            </a:extLst>
          </p:cNvPr>
          <p:cNvSpPr txBox="1"/>
          <p:nvPr/>
        </p:nvSpPr>
        <p:spPr>
          <a:xfrm>
            <a:off x="9165932" y="4901483"/>
            <a:ext cx="938427" cy="236347"/>
          </a:xfrm>
          <a:prstGeom prst="rect">
            <a:avLst/>
          </a:prstGeom>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3161E"/>
                </a:solidFill>
                <a:effectLst/>
                <a:uLnTx/>
                <a:uFillTx/>
                <a:latin typeface="Microsoft Sans Serif"/>
                <a:ea typeface="+mn-ea"/>
                <a:cs typeface="Microsoft Sans Serif" panose="020B0604020202020204" pitchFamily="34" charset="0"/>
              </a:rPr>
              <a:t>0.5 dB</a:t>
            </a:r>
          </a:p>
        </p:txBody>
      </p:sp>
      <p:cxnSp>
        <p:nvCxnSpPr>
          <p:cNvPr id="42" name="Straight Arrow Connector 41">
            <a:extLst>
              <a:ext uri="{FF2B5EF4-FFF2-40B4-BE49-F238E27FC236}">
                <a16:creationId xmlns:a16="http://schemas.microsoft.com/office/drawing/2014/main" id="{FDBD5DFA-9143-4AC7-A8DE-A1863F811412}"/>
              </a:ext>
            </a:extLst>
          </p:cNvPr>
          <p:cNvCxnSpPr>
            <a:cxnSpLocks/>
          </p:cNvCxnSpPr>
          <p:nvPr/>
        </p:nvCxnSpPr>
        <p:spPr>
          <a:xfrm>
            <a:off x="11329713" y="5368727"/>
            <a:ext cx="312998" cy="6785"/>
          </a:xfrm>
          <a:prstGeom prst="straightConnector1">
            <a:avLst/>
          </a:prstGeom>
          <a:ln w="25400" cap="rnd">
            <a:solidFill>
              <a:schemeClr val="accent1"/>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0E758AE-CE8B-8ED1-3D87-E1AA22DE8E38}"/>
              </a:ext>
            </a:extLst>
          </p:cNvPr>
          <p:cNvCxnSpPr>
            <a:cxnSpLocks/>
          </p:cNvCxnSpPr>
          <p:nvPr/>
        </p:nvCxnSpPr>
        <p:spPr>
          <a:xfrm flipV="1">
            <a:off x="11387286" y="5099840"/>
            <a:ext cx="0" cy="451281"/>
          </a:xfrm>
          <a:prstGeom prst="line">
            <a:avLst/>
          </a:prstGeom>
          <a:ln w="25400" cap="rnd">
            <a:solidFill>
              <a:schemeClr val="accent1"/>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A61161-72EC-DD38-082E-7526680D1078}"/>
              </a:ext>
            </a:extLst>
          </p:cNvPr>
          <p:cNvCxnSpPr>
            <a:cxnSpLocks/>
          </p:cNvCxnSpPr>
          <p:nvPr/>
        </p:nvCxnSpPr>
        <p:spPr>
          <a:xfrm flipV="1">
            <a:off x="11626355" y="5101632"/>
            <a:ext cx="0" cy="451281"/>
          </a:xfrm>
          <a:prstGeom prst="line">
            <a:avLst/>
          </a:prstGeom>
          <a:ln w="25400" cap="rnd">
            <a:solidFill>
              <a:schemeClr val="accent1"/>
            </a:solidFill>
            <a:prstDash val="sysDot"/>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9FDB2CE-1949-8B25-0608-617D5A8E3EDF}"/>
              </a:ext>
            </a:extLst>
          </p:cNvPr>
          <p:cNvSpPr txBox="1"/>
          <p:nvPr/>
        </p:nvSpPr>
        <p:spPr>
          <a:xfrm>
            <a:off x="10939397" y="5066152"/>
            <a:ext cx="938427" cy="236347"/>
          </a:xfrm>
          <a:prstGeom prst="rect">
            <a:avLst/>
          </a:prstGeom>
          <a:ln>
            <a:noFill/>
          </a:ln>
        </p:spPr>
        <p:txBody>
          <a:bodyPr wrap="square" lIns="0" tIns="0" rIns="0" bIns="0"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0.2 dB</a:t>
            </a:r>
          </a:p>
        </p:txBody>
      </p:sp>
      <p:sp>
        <p:nvSpPr>
          <p:cNvPr id="7" name="Footer Placeholder 6">
            <a:extLst>
              <a:ext uri="{FF2B5EF4-FFF2-40B4-BE49-F238E27FC236}">
                <a16:creationId xmlns:a16="http://schemas.microsoft.com/office/drawing/2014/main" id="{3E8E92D4-47CC-1631-3ABC-D5771C780075}"/>
              </a:ext>
            </a:extLst>
          </p:cNvPr>
          <p:cNvSpPr>
            <a:spLocks noGrp="1"/>
          </p:cNvSpPr>
          <p:nvPr>
            <p:ph type="ftr" sz="quarter" idx="10"/>
          </p:nvPr>
        </p:nvSpPr>
        <p:spPr/>
        <p:txBody>
          <a:bodyPr/>
          <a:lstStyle/>
          <a:p>
            <a:r>
              <a:rPr lang="en-US"/>
              <a:t>IBC 2023</a:t>
            </a:r>
            <a:endParaRPr lang="en-US" dirty="0"/>
          </a:p>
        </p:txBody>
      </p:sp>
    </p:spTree>
    <p:extLst>
      <p:ext uri="{BB962C8B-B14F-4D97-AF65-F5344CB8AC3E}">
        <p14:creationId xmlns:p14="http://schemas.microsoft.com/office/powerpoint/2010/main" val="86868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F0F725-6173-4AED-80E6-AD7A9BC86CDC}"/>
              </a:ext>
            </a:extLst>
          </p:cNvPr>
          <p:cNvSpPr>
            <a:spLocks noGrp="1"/>
          </p:cNvSpPr>
          <p:nvPr>
            <p:ph type="title"/>
          </p:nvPr>
        </p:nvSpPr>
        <p:spPr>
          <a:xfrm>
            <a:off x="495300" y="642644"/>
            <a:ext cx="11187112" cy="361959"/>
          </a:xfrm>
        </p:spPr>
        <p:txBody>
          <a:bodyPr/>
          <a:lstStyle/>
          <a:p>
            <a:r>
              <a:rPr lang="en-US" dirty="0"/>
              <a:t>Time-frequency </a:t>
            </a:r>
            <a:r>
              <a:rPr lang="en-US" dirty="0" err="1"/>
              <a:t>interleaver</a:t>
            </a:r>
            <a:r>
              <a:rPr lang="en-US" dirty="0"/>
              <a:t> status in 3GPP</a:t>
            </a:r>
          </a:p>
        </p:txBody>
      </p:sp>
      <p:sp>
        <p:nvSpPr>
          <p:cNvPr id="11" name="Content Placeholder 10">
            <a:extLst>
              <a:ext uri="{FF2B5EF4-FFF2-40B4-BE49-F238E27FC236}">
                <a16:creationId xmlns:a16="http://schemas.microsoft.com/office/drawing/2014/main" id="{5ECF620F-E60C-41DB-ACD4-D31BB4B376A1}"/>
              </a:ext>
            </a:extLst>
          </p:cNvPr>
          <p:cNvSpPr>
            <a:spLocks noGrp="1"/>
          </p:cNvSpPr>
          <p:nvPr>
            <p:ph sz="quarter" idx="14"/>
          </p:nvPr>
        </p:nvSpPr>
        <p:spPr>
          <a:xfrm>
            <a:off x="495300" y="1510392"/>
            <a:ext cx="11187112" cy="5041328"/>
          </a:xfrm>
        </p:spPr>
        <p:txBody>
          <a:bodyPr/>
          <a:lstStyle/>
          <a:p>
            <a:r>
              <a:rPr lang="en-US" dirty="0"/>
              <a:t>Time-frequency interleaving for 5G Broadcast was discussed in Rel-16 and was shown to provide large gains in time-varying channels. </a:t>
            </a:r>
          </a:p>
          <a:p>
            <a:r>
              <a:rPr lang="en-US" dirty="0"/>
              <a:t>The following was captured in the RAN1#99 </a:t>
            </a:r>
          </a:p>
          <a:p>
            <a:pPr marL="0" indent="0">
              <a:buNone/>
            </a:pPr>
            <a:r>
              <a:rPr lang="en-US" dirty="0"/>
              <a:t>   Chairman’s notes:</a:t>
            </a:r>
          </a:p>
          <a:p>
            <a:endParaRPr lang="en-US" dirty="0"/>
          </a:p>
          <a:p>
            <a:endParaRPr lang="en-US" dirty="0"/>
          </a:p>
          <a:p>
            <a:endParaRPr lang="en-US" sz="1200" dirty="0"/>
          </a:p>
          <a:p>
            <a:endParaRPr lang="en-US" dirty="0"/>
          </a:p>
          <a:p>
            <a:endParaRPr lang="en-US" dirty="0"/>
          </a:p>
          <a:p>
            <a:endParaRPr lang="en-US" dirty="0"/>
          </a:p>
          <a:p>
            <a:pPr marL="0" indent="0">
              <a:buNone/>
            </a:pPr>
            <a:endParaRPr lang="en-US" sz="1600" dirty="0"/>
          </a:p>
        </p:txBody>
      </p:sp>
      <p:pic>
        <p:nvPicPr>
          <p:cNvPr id="6" name="Picture 5">
            <a:extLst>
              <a:ext uri="{FF2B5EF4-FFF2-40B4-BE49-F238E27FC236}">
                <a16:creationId xmlns:a16="http://schemas.microsoft.com/office/drawing/2014/main" id="{516D7F9B-78BF-ED76-62E8-18F924AF126D}"/>
              </a:ext>
            </a:extLst>
          </p:cNvPr>
          <p:cNvPicPr>
            <a:picLocks noChangeAspect="1"/>
          </p:cNvPicPr>
          <p:nvPr/>
        </p:nvPicPr>
        <p:blipFill>
          <a:blip r:embed="rId2">
            <a:extLst>
              <a:ext uri="{28A0092B-C50C-407E-A947-70E740481C1C}">
                <a14:useLocalDpi xmlns:a14="http://schemas.microsoft.com/office/drawing/2010/main" val="0"/>
              </a:ext>
            </a:extLst>
          </a:blip>
          <a:srcRect l="6386" r="29439"/>
          <a:stretch>
            <a:fillRect/>
          </a:stretch>
        </p:blipFill>
        <p:spPr bwMode="auto">
          <a:xfrm>
            <a:off x="7319282" y="2187404"/>
            <a:ext cx="4421853" cy="2621713"/>
          </a:xfrm>
          <a:prstGeom prst="rect">
            <a:avLst/>
          </a:prstGeom>
          <a:noFill/>
          <a:ln>
            <a:noFill/>
          </a:ln>
        </p:spPr>
      </p:pic>
      <p:sp>
        <p:nvSpPr>
          <p:cNvPr id="7" name="TextBox 6">
            <a:extLst>
              <a:ext uri="{FF2B5EF4-FFF2-40B4-BE49-F238E27FC236}">
                <a16:creationId xmlns:a16="http://schemas.microsoft.com/office/drawing/2014/main" id="{76489FBB-6A7D-3120-B8A9-83FAC805AC66}"/>
              </a:ext>
            </a:extLst>
          </p:cNvPr>
          <p:cNvSpPr txBox="1"/>
          <p:nvPr/>
        </p:nvSpPr>
        <p:spPr>
          <a:xfrm>
            <a:off x="7712801" y="4993024"/>
            <a:ext cx="3969611" cy="35458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Figure (from R1-1913439) showing a 3+dB gain or a ~30% throughput gain from interleaving (at 0.1% BLER target)</a:t>
            </a:r>
          </a:p>
        </p:txBody>
      </p:sp>
      <p:sp>
        <p:nvSpPr>
          <p:cNvPr id="10" name="TextBox 9">
            <a:extLst>
              <a:ext uri="{FF2B5EF4-FFF2-40B4-BE49-F238E27FC236}">
                <a16:creationId xmlns:a16="http://schemas.microsoft.com/office/drawing/2014/main" id="{0E16ADA8-2085-C754-C51C-9D130B2D521D}"/>
              </a:ext>
            </a:extLst>
          </p:cNvPr>
          <p:cNvSpPr txBox="1"/>
          <p:nvPr/>
        </p:nvSpPr>
        <p:spPr>
          <a:xfrm>
            <a:off x="450865" y="3108213"/>
            <a:ext cx="6420544" cy="2062103"/>
          </a:xfrm>
          <a:prstGeom prst="rect">
            <a:avLst/>
          </a:prstGeom>
          <a:noFill/>
          <a:ln>
            <a:solidFill>
              <a:schemeClr val="tx1"/>
            </a:solidFill>
          </a:ln>
        </p:spPr>
        <p:txBody>
          <a:bodyPr wrap="square">
            <a:spAutoFit/>
          </a:bodyPr>
          <a:lstStyle/>
          <a:p>
            <a:pPr marL="914400" marR="0" lvl="0" indent="-914400" algn="l" defTabSz="91440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0000FF"/>
                </a:solidFill>
                <a:effectLst/>
                <a:uLnTx/>
                <a:uFillTx/>
                <a:latin typeface="Times" panose="02020603050405020304" pitchFamily="18" charset="0"/>
                <a:ea typeface="Batang" panose="02030600000101010101" pitchFamily="18" charset="-127"/>
                <a:cs typeface="Times New Roman" panose="02020603050405020304" pitchFamily="18" charset="0"/>
              </a:rPr>
              <a:t>R1-1913439</a:t>
            </a:r>
            <a:r>
              <a:rPr kumimoji="0" lang="en-GB" sz="1600" b="1"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	On time and frequency interleaving for terrestrial broadcast	EBU, BBC, IRT, NHK, ABS, DISH, Eutelsat, Shanghai Jiao Tong University, Fraunhofer HHI, Fraunhofer IIS, </a:t>
            </a:r>
            <a:r>
              <a:rPr kumimoji="0" lang="en-GB" sz="1600" b="1" i="0" u="none" strike="noStrike" kern="1200" cap="none" spc="0" normalizeH="0" baseline="0" noProof="0" dirty="0" err="1">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Enensys</a:t>
            </a:r>
            <a:r>
              <a:rPr kumimoji="0" lang="en-GB" sz="1600" b="1"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 Qualcomm, </a:t>
            </a:r>
            <a:r>
              <a:rPr kumimoji="0" lang="en-GB" sz="1600" b="1" i="0" u="none" strike="noStrike" kern="1200" cap="none" spc="0" normalizeH="0" baseline="0" noProof="0" dirty="0" err="1">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Rohde&amp;Schwarz</a:t>
            </a:r>
            <a:r>
              <a:rPr kumimoji="0" lang="en-GB" sz="1600" b="1"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 Nokia, Nokia Shanghai Bell, ATEME, </a:t>
            </a:r>
            <a:r>
              <a:rPr kumimoji="0" lang="en-GB" sz="1600" b="1" i="0" u="none" strike="noStrike" kern="1200" cap="none" spc="0" normalizeH="0" baseline="0" noProof="0" dirty="0" err="1">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Nomor</a:t>
            </a:r>
            <a:r>
              <a:rPr kumimoji="0" lang="en-GB" sz="1600" b="1"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 Research, Sony</a:t>
            </a:r>
            <a:endParaRPr kumimoji="0" lang="en-US" sz="1600" b="0"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13161E"/>
                </a:solidFill>
                <a:effectLst/>
                <a:uLnTx/>
                <a:uFillTx/>
                <a:latin typeface="Times" panose="02020603050405020304" pitchFamily="18" charset="0"/>
                <a:ea typeface="Batang" panose="02030600000101010101" pitchFamily="18" charset="-127"/>
                <a:cs typeface="Times New Roman" panose="02020603050405020304" pitchFamily="18" charset="0"/>
              </a:rPr>
              <a:t>Time and frequency interleaving for terrestrial broadcast was discussed even though it was not explicitly in the scope of the WID. However, consensus was not reached. </a:t>
            </a:r>
            <a:r>
              <a:rPr kumimoji="0" lang="en-GB" sz="1600" b="0" i="0" u="none" strike="noStrike" kern="1200" cap="none" spc="0" normalizeH="0" baseline="0" noProof="0" dirty="0">
                <a:ln>
                  <a:noFill/>
                </a:ln>
                <a:solidFill>
                  <a:srgbClr val="13161E"/>
                </a:solidFill>
                <a:effectLst/>
                <a:highlight>
                  <a:srgbClr val="FFFF00"/>
                </a:highlight>
                <a:uLnTx/>
                <a:uFillTx/>
                <a:latin typeface="Times" panose="02020603050405020304" pitchFamily="18" charset="0"/>
                <a:ea typeface="Batang" panose="02030600000101010101" pitchFamily="18" charset="-127"/>
                <a:cs typeface="Times New Roman" panose="02020603050405020304" pitchFamily="18" charset="0"/>
              </a:rPr>
              <a:t>It can be considered for a later release.</a:t>
            </a:r>
            <a:endParaRPr kumimoji="0" lang="en-US" sz="1600" b="0" i="0" u="none" strike="noStrike" kern="1200" cap="none" spc="0" normalizeH="0" baseline="0" noProof="0" dirty="0">
              <a:ln>
                <a:noFill/>
              </a:ln>
              <a:solidFill>
                <a:srgbClr val="13161E"/>
              </a:solidFill>
              <a:effectLst/>
              <a:highlight>
                <a:srgbClr val="FFFF00"/>
              </a:highlight>
              <a:uLnTx/>
              <a:uFillTx/>
              <a:latin typeface="Times" panose="02020603050405020304" pitchFamily="18" charset="0"/>
              <a:ea typeface="Batang" panose="02030600000101010101" pitchFamily="18" charset="-127"/>
              <a:cs typeface="Times New Roman" panose="02020603050405020304" pitchFamily="18" charset="0"/>
            </a:endParaRPr>
          </a:p>
        </p:txBody>
      </p:sp>
      <p:cxnSp>
        <p:nvCxnSpPr>
          <p:cNvPr id="15" name="Straight Connector 14">
            <a:extLst>
              <a:ext uri="{FF2B5EF4-FFF2-40B4-BE49-F238E27FC236}">
                <a16:creationId xmlns:a16="http://schemas.microsoft.com/office/drawing/2014/main" id="{D367D13D-3662-4993-6E8F-BCF312DE9A5E}"/>
              </a:ext>
            </a:extLst>
          </p:cNvPr>
          <p:cNvCxnSpPr>
            <a:cxnSpLocks/>
          </p:cNvCxnSpPr>
          <p:nvPr/>
        </p:nvCxnSpPr>
        <p:spPr>
          <a:xfrm>
            <a:off x="7114145" y="2296613"/>
            <a:ext cx="0" cy="3222444"/>
          </a:xfrm>
          <a:prstGeom prst="line">
            <a:avLst/>
          </a:prstGeom>
          <a:ln w="1270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08C9A25-359E-F138-895F-96AE8078937C}"/>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38948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B54C43F-F56B-5DAE-8CB6-238C753D21E5}"/>
              </a:ext>
            </a:extLst>
          </p:cNvPr>
          <p:cNvSpPr>
            <a:spLocks noGrp="1"/>
          </p:cNvSpPr>
          <p:nvPr>
            <p:ph type="ftr" sz="quarter" idx="10"/>
          </p:nvPr>
        </p:nvSpPr>
        <p:spPr/>
        <p:txBody>
          <a:bodyPr/>
          <a:lstStyle/>
          <a:p>
            <a:r>
              <a:rPr lang="en-US"/>
              <a:t>IBC 2023</a:t>
            </a:r>
            <a:endParaRPr lang="en-US" dirty="0"/>
          </a:p>
        </p:txBody>
      </p:sp>
      <p:sp>
        <p:nvSpPr>
          <p:cNvPr id="3" name="Title 2">
            <a:extLst>
              <a:ext uri="{FF2B5EF4-FFF2-40B4-BE49-F238E27FC236}">
                <a16:creationId xmlns:a16="http://schemas.microsoft.com/office/drawing/2014/main" id="{051E66CD-F849-87EF-41D7-A418A47A044C}"/>
              </a:ext>
            </a:extLst>
          </p:cNvPr>
          <p:cNvSpPr>
            <a:spLocks noGrp="1"/>
          </p:cNvSpPr>
          <p:nvPr>
            <p:ph type="title"/>
          </p:nvPr>
        </p:nvSpPr>
        <p:spPr/>
        <p:txBody>
          <a:bodyPr/>
          <a:lstStyle/>
          <a:p>
            <a:r>
              <a:rPr lang="de-DE" dirty="0"/>
              <a:t>Summary and Conclusions</a:t>
            </a:r>
            <a:endParaRPr lang="en-US" dirty="0"/>
          </a:p>
        </p:txBody>
      </p:sp>
      <p:sp>
        <p:nvSpPr>
          <p:cNvPr id="9" name="Subtitle 8">
            <a:extLst>
              <a:ext uri="{FF2B5EF4-FFF2-40B4-BE49-F238E27FC236}">
                <a16:creationId xmlns:a16="http://schemas.microsoft.com/office/drawing/2014/main" id="{3F1C0EF8-2171-4698-D775-42274CC059AC}"/>
              </a:ext>
            </a:extLst>
          </p:cNvPr>
          <p:cNvSpPr>
            <a:spLocks noGrp="1"/>
          </p:cNvSpPr>
          <p:nvPr>
            <p:ph type="subTitle" idx="1"/>
          </p:nvPr>
        </p:nvSpPr>
        <p:spPr/>
        <p:txBody>
          <a:bodyPr/>
          <a:lstStyle/>
          <a:p>
            <a:r>
              <a:rPr lang="en-US" dirty="0"/>
              <a:t>5G BROADCAST RECEIVERS: OPTIMIZING PERFORMANCE UNDER IMPLEMENTATION CONSTRAINTS</a:t>
            </a:r>
          </a:p>
        </p:txBody>
      </p:sp>
      <p:sp>
        <p:nvSpPr>
          <p:cNvPr id="12" name="Content Placeholder 11">
            <a:extLst>
              <a:ext uri="{FF2B5EF4-FFF2-40B4-BE49-F238E27FC236}">
                <a16:creationId xmlns:a16="http://schemas.microsoft.com/office/drawing/2014/main" id="{A13416DD-C42C-514F-06E2-C2DA34012FDB}"/>
              </a:ext>
            </a:extLst>
          </p:cNvPr>
          <p:cNvSpPr>
            <a:spLocks noGrp="1"/>
          </p:cNvSpPr>
          <p:nvPr>
            <p:ph sz="quarter" idx="16"/>
          </p:nvPr>
        </p:nvSpPr>
        <p:spPr/>
        <p:txBody>
          <a:bodyPr/>
          <a:lstStyle/>
          <a:p>
            <a:r>
              <a:rPr lang="en-GB" sz="1800" dirty="0">
                <a:effectLst/>
                <a:latin typeface="Arial" panose="020B0604020202020204" pitchFamily="34" charset="0"/>
                <a:ea typeface="SimSun" panose="02010600030101010101" pitchFamily="2" charset="-122"/>
                <a:cs typeface="Times New Roman" panose="02020603050405020304" pitchFamily="18" charset="0"/>
              </a:rPr>
              <a:t>Broadcast networks and usage of configurations needs to be done for worst-case scenario. </a:t>
            </a:r>
          </a:p>
          <a:p>
            <a:r>
              <a:rPr lang="en-GB" sz="1800" dirty="0">
                <a:effectLst/>
                <a:latin typeface="Arial" panose="020B0604020202020204" pitchFamily="34" charset="0"/>
                <a:ea typeface="SimSun" panose="02010600030101010101" pitchFamily="2" charset="-122"/>
                <a:cs typeface="Times New Roman" panose="02020603050405020304" pitchFamily="18" charset="0"/>
              </a:rPr>
              <a:t>For example, gains achieved in the 120 kmph scenario may not relevant, if such a planning would fail to serve a large number of receivers moving at lower speeds. </a:t>
            </a:r>
          </a:p>
          <a:p>
            <a:r>
              <a:rPr lang="en-GB" sz="1800" dirty="0">
                <a:latin typeface="Arial" panose="020B0604020202020204" pitchFamily="34" charset="0"/>
                <a:ea typeface="SimSun" panose="02010600030101010101" pitchFamily="2" charset="-122"/>
                <a:cs typeface="Times New Roman" panose="02020603050405020304" pitchFamily="18" charset="0"/>
              </a:rPr>
              <a:t>In this case, comparison between 5G broadcast and ATSC3.0 is provided for NLOS for different speeds and configurations</a:t>
            </a:r>
            <a:endParaRPr lang="en-US" dirty="0"/>
          </a:p>
        </p:txBody>
      </p:sp>
      <p:sp>
        <p:nvSpPr>
          <p:cNvPr id="19" name="Content Placeholder 18">
            <a:extLst>
              <a:ext uri="{FF2B5EF4-FFF2-40B4-BE49-F238E27FC236}">
                <a16:creationId xmlns:a16="http://schemas.microsoft.com/office/drawing/2014/main" id="{BE5EDC00-C011-B383-3B40-B00B316CFEA1}"/>
              </a:ext>
            </a:extLst>
          </p:cNvPr>
          <p:cNvSpPr>
            <a:spLocks noGrp="1"/>
          </p:cNvSpPr>
          <p:nvPr>
            <p:ph sz="quarter" idx="17"/>
          </p:nvPr>
        </p:nvSpPr>
        <p:spPr/>
        <p:txBody>
          <a:bodyPr>
            <a:normAutofit fontScale="92500" lnSpcReduction="20000"/>
          </a:bodyPr>
          <a:lstStyle/>
          <a:p>
            <a:r>
              <a:rPr lang="en-US" sz="2000" dirty="0"/>
              <a:t>The main design target &amp; “reason for being” of 5G broadcast is to enable operation of a broadcast network where the receivers are </a:t>
            </a:r>
            <a:r>
              <a:rPr lang="en-US" sz="2000" dirty="0">
                <a:solidFill>
                  <a:schemeClr val="bg2"/>
                </a:solidFill>
              </a:rPr>
              <a:t>hardware-compatible</a:t>
            </a:r>
            <a:r>
              <a:rPr lang="en-US" sz="2000" dirty="0">
                <a:solidFill>
                  <a:srgbClr val="FF0000"/>
                </a:solidFill>
              </a:rPr>
              <a:t> </a:t>
            </a:r>
            <a:r>
              <a:rPr lang="en-US" sz="2000" dirty="0"/>
              <a:t>with cellular modems</a:t>
            </a:r>
          </a:p>
          <a:p>
            <a:pPr lvl="1"/>
            <a:r>
              <a:rPr lang="en-US" dirty="0"/>
              <a:t>“Hardware compatible” means lower barrier to adoption in mobile devices compared to other broadcasting technologies</a:t>
            </a:r>
          </a:p>
          <a:p>
            <a:pPr lvl="2"/>
            <a:r>
              <a:rPr lang="en-US" sz="1400" dirty="0"/>
              <a:t>Several 5G Broadcast building blocks are already there in a 4G/5G modem, hence the additions are marginal. </a:t>
            </a:r>
          </a:p>
          <a:p>
            <a:pPr lvl="2"/>
            <a:r>
              <a:rPr lang="en-US" sz="1400" dirty="0"/>
              <a:t>For other technologies, a separate piece of silicon / die area would be required</a:t>
            </a:r>
          </a:p>
          <a:p>
            <a:r>
              <a:rPr lang="en-US" dirty="0"/>
              <a:t>In comparison with unconstrained broadcast designs, 5G Broadcast Rel-18 is only marginally worse and there are expectations to address remaining gaps in Rel-19 without compromising the design goals</a:t>
            </a:r>
          </a:p>
          <a:p>
            <a:r>
              <a:rPr lang="en-US" dirty="0"/>
              <a:t>5G Broadcast is a transport and is successfully combined with unicast service layers – seamless unicast fallback has been successfully demonstrated</a:t>
            </a:r>
          </a:p>
        </p:txBody>
      </p:sp>
      <p:graphicFrame>
        <p:nvGraphicFramePr>
          <p:cNvPr id="20" name="Content Placeholder 5">
            <a:extLst>
              <a:ext uri="{FF2B5EF4-FFF2-40B4-BE49-F238E27FC236}">
                <a16:creationId xmlns:a16="http://schemas.microsoft.com/office/drawing/2014/main" id="{D3180204-E078-547B-3B70-B25512E6DA8F}"/>
              </a:ext>
            </a:extLst>
          </p:cNvPr>
          <p:cNvGraphicFramePr>
            <a:graphicFrameLocks/>
          </p:cNvGraphicFramePr>
          <p:nvPr>
            <p:extLst>
              <p:ext uri="{D42A27DB-BD31-4B8C-83A1-F6EECF244321}">
                <p14:modId xmlns:p14="http://schemas.microsoft.com/office/powerpoint/2010/main" val="1658333772"/>
              </p:ext>
            </p:extLst>
          </p:nvPr>
        </p:nvGraphicFramePr>
        <p:xfrm>
          <a:off x="399286" y="4714479"/>
          <a:ext cx="5576890" cy="1498537"/>
        </p:xfrm>
        <a:graphic>
          <a:graphicData uri="http://schemas.openxmlformats.org/drawingml/2006/table">
            <a:tbl>
              <a:tblPr firstRow="1" firstCol="1" lastRow="1" bandRow="1">
                <a:tableStyleId>{5C22544A-7EE6-4342-B048-85BDC9FD1C3A}</a:tableStyleId>
              </a:tblPr>
              <a:tblGrid>
                <a:gridCol w="1162050">
                  <a:extLst>
                    <a:ext uri="{9D8B030D-6E8A-4147-A177-3AD203B41FA5}">
                      <a16:colId xmlns:a16="http://schemas.microsoft.com/office/drawing/2014/main" val="3036771167"/>
                    </a:ext>
                  </a:extLst>
                </a:gridCol>
                <a:gridCol w="1068706">
                  <a:extLst>
                    <a:ext uri="{9D8B030D-6E8A-4147-A177-3AD203B41FA5}">
                      <a16:colId xmlns:a16="http://schemas.microsoft.com/office/drawing/2014/main" val="2760916208"/>
                    </a:ext>
                  </a:extLst>
                </a:gridCol>
                <a:gridCol w="1115378">
                  <a:extLst>
                    <a:ext uri="{9D8B030D-6E8A-4147-A177-3AD203B41FA5}">
                      <a16:colId xmlns:a16="http://schemas.microsoft.com/office/drawing/2014/main" val="999946938"/>
                    </a:ext>
                  </a:extLst>
                </a:gridCol>
                <a:gridCol w="1115378">
                  <a:extLst>
                    <a:ext uri="{9D8B030D-6E8A-4147-A177-3AD203B41FA5}">
                      <a16:colId xmlns:a16="http://schemas.microsoft.com/office/drawing/2014/main" val="2782295726"/>
                    </a:ext>
                  </a:extLst>
                </a:gridCol>
                <a:gridCol w="1115378">
                  <a:extLst>
                    <a:ext uri="{9D8B030D-6E8A-4147-A177-3AD203B41FA5}">
                      <a16:colId xmlns:a16="http://schemas.microsoft.com/office/drawing/2014/main" val="896708219"/>
                    </a:ext>
                  </a:extLst>
                </a:gridCol>
              </a:tblGrid>
              <a:tr h="190500">
                <a:tc>
                  <a:txBody>
                    <a:bodyPr/>
                    <a:lstStyle/>
                    <a:p>
                      <a:r>
                        <a:rPr lang="en-US" sz="1600" dirty="0">
                          <a:effectLst/>
                        </a:rPr>
                        <a:t>SNR for</a:t>
                      </a:r>
                      <a:endParaRPr lang="en-US" sz="1600" dirty="0">
                        <a:effectLst/>
                        <a:latin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ATSC 3.0 + 1Rx</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ATSC 3.0 + 2Rx</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5G + 2Rx</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de-DE" sz="1600" dirty="0">
                          <a:effectLst/>
                        </a:rPr>
                        <a:t>5G + 2Rx + TFI</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97403677"/>
                  </a:ext>
                </a:extLst>
              </a:tr>
              <a:tr h="190500">
                <a:tc>
                  <a:txBody>
                    <a:bodyPr/>
                    <a:lstStyle/>
                    <a:p>
                      <a:pPr marL="0" marR="0" algn="ctr">
                        <a:lnSpc>
                          <a:spcPct val="107000"/>
                        </a:lnSpc>
                        <a:spcBef>
                          <a:spcPts val="0"/>
                        </a:spcBef>
                        <a:spcAft>
                          <a:spcPts val="0"/>
                        </a:spcAft>
                      </a:pPr>
                      <a:r>
                        <a:rPr lang="en-US" sz="1600" dirty="0">
                          <a:effectLst/>
                        </a:rPr>
                        <a:t>3 kmp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4.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8.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8.9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586272"/>
                  </a:ext>
                </a:extLst>
              </a:tr>
              <a:tr h="190500">
                <a:tc>
                  <a:txBody>
                    <a:bodyPr/>
                    <a:lstStyle/>
                    <a:p>
                      <a:pPr marL="0" marR="0" algn="ctr">
                        <a:lnSpc>
                          <a:spcPct val="107000"/>
                        </a:lnSpc>
                        <a:spcBef>
                          <a:spcPts val="0"/>
                        </a:spcBef>
                        <a:spcAft>
                          <a:spcPts val="0"/>
                        </a:spcAft>
                      </a:pPr>
                      <a:r>
                        <a:rPr lang="en-US" sz="1600" dirty="0">
                          <a:effectLst/>
                        </a:rPr>
                        <a:t>40 kmp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1.2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6.6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9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7.3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97555604"/>
                  </a:ext>
                </a:extLst>
              </a:tr>
              <a:tr h="190500">
                <a:tc>
                  <a:txBody>
                    <a:bodyPr/>
                    <a:lstStyle/>
                    <a:p>
                      <a:pPr marL="0" marR="0" algn="ctr">
                        <a:lnSpc>
                          <a:spcPct val="107000"/>
                        </a:lnSpc>
                        <a:spcBef>
                          <a:spcPts val="0"/>
                        </a:spcBef>
                        <a:spcAft>
                          <a:spcPts val="0"/>
                        </a:spcAft>
                      </a:pPr>
                      <a:r>
                        <a:rPr lang="en-US" sz="1600" dirty="0">
                          <a:effectLst/>
                        </a:rPr>
                        <a:t>120 kmp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0.8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6.2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1.4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7 dB</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89883500"/>
                  </a:ext>
                </a:extLst>
              </a:tr>
              <a:tr h="190500">
                <a:tc>
                  <a:txBody>
                    <a:bodyPr/>
                    <a:lstStyle/>
                    <a:p>
                      <a:pPr marL="0" marR="0" algn="ctr">
                        <a:lnSpc>
                          <a:spcPct val="107000"/>
                        </a:lnSpc>
                        <a:spcBef>
                          <a:spcPts val="0"/>
                        </a:spcBef>
                        <a:spcAft>
                          <a:spcPts val="0"/>
                        </a:spcAft>
                      </a:pPr>
                      <a:r>
                        <a:rPr lang="en-US" sz="1600" dirty="0">
                          <a:effectLst/>
                        </a:rPr>
                        <a:t>Worst cas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14.4 d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8.7 d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11.4 d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8.9 d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29949285"/>
                  </a:ext>
                </a:extLst>
              </a:tr>
            </a:tbl>
          </a:graphicData>
        </a:graphic>
      </p:graphicFrame>
    </p:spTree>
    <p:extLst>
      <p:ext uri="{BB962C8B-B14F-4D97-AF65-F5344CB8AC3E}">
        <p14:creationId xmlns:p14="http://schemas.microsoft.com/office/powerpoint/2010/main" val="3667235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DF21613-28E6-FE51-359E-EC84769781A0}"/>
              </a:ext>
            </a:extLst>
          </p:cNvPr>
          <p:cNvSpPr>
            <a:spLocks noGrp="1"/>
          </p:cNvSpPr>
          <p:nvPr>
            <p:ph type="title"/>
          </p:nvPr>
        </p:nvSpPr>
        <p:spPr/>
        <p:txBody>
          <a:bodyPr/>
          <a:lstStyle/>
          <a:p>
            <a:r>
              <a:rPr lang="de-DE" dirty="0"/>
              <a:t>Support the 5G Broadcast Community in 3GPP RAN Rel-19 Planning</a:t>
            </a:r>
            <a:endParaRPr lang="en-US" dirty="0"/>
          </a:p>
        </p:txBody>
      </p:sp>
      <p:pic>
        <p:nvPicPr>
          <p:cNvPr id="5" name="Content Placeholder 4">
            <a:extLst>
              <a:ext uri="{FF2B5EF4-FFF2-40B4-BE49-F238E27FC236}">
                <a16:creationId xmlns:a16="http://schemas.microsoft.com/office/drawing/2014/main" id="{C9FC72B9-984D-3CF7-DFC7-4A2819748F6A}"/>
              </a:ext>
            </a:extLst>
          </p:cNvPr>
          <p:cNvPicPr>
            <a:picLocks noGrp="1" noChangeAspect="1"/>
          </p:cNvPicPr>
          <p:nvPr>
            <p:ph sz="quarter" idx="16"/>
          </p:nvPr>
        </p:nvPicPr>
        <p:blipFill>
          <a:blip r:embed="rId2"/>
          <a:stretch>
            <a:fillRect/>
          </a:stretch>
        </p:blipFill>
        <p:spPr>
          <a:xfrm>
            <a:off x="495300" y="1866971"/>
            <a:ext cx="5467350" cy="4386120"/>
          </a:xfrm>
        </p:spPr>
      </p:pic>
      <p:sp>
        <p:nvSpPr>
          <p:cNvPr id="3" name="Content Placeholder 2">
            <a:extLst>
              <a:ext uri="{FF2B5EF4-FFF2-40B4-BE49-F238E27FC236}">
                <a16:creationId xmlns:a16="http://schemas.microsoft.com/office/drawing/2014/main" id="{E6FFFFE3-F346-6ED1-3D2A-C75598E6D6E4}"/>
              </a:ext>
            </a:extLst>
          </p:cNvPr>
          <p:cNvSpPr>
            <a:spLocks noGrp="1"/>
          </p:cNvSpPr>
          <p:nvPr>
            <p:ph sz="quarter" idx="17"/>
          </p:nvPr>
        </p:nvSpPr>
        <p:spPr/>
        <p:txBody>
          <a:bodyPr>
            <a:normAutofit fontScale="92500" lnSpcReduction="10000"/>
          </a:bodyPr>
          <a:lstStyle/>
          <a:p>
            <a:r>
              <a:rPr lang="en-US" dirty="0"/>
              <a:t>For Rel-19, we propose to have a small work item on necessary enhancements for 5G Broadcast (5GB) that are essential for its deployment.</a:t>
            </a:r>
          </a:p>
          <a:p>
            <a:r>
              <a:rPr lang="en-US" dirty="0"/>
              <a:t>The scope of the proposed enhancements is limited to coexistence with other broadcast systems (mainly ATSC 3.0) due to regulatory constraints, and standardizing one mechanism already discussed in Rel-16 (time-frequency </a:t>
            </a:r>
            <a:r>
              <a:rPr lang="en-US" dirty="0" err="1"/>
              <a:t>interleavers</a:t>
            </a:r>
            <a:r>
              <a:rPr lang="en-US" dirty="0"/>
              <a:t>).</a:t>
            </a:r>
          </a:p>
          <a:p>
            <a:r>
              <a:rPr lang="en-US" dirty="0"/>
              <a:t>The main proposals are:</a:t>
            </a:r>
            <a:endParaRPr lang="en-US" sz="900" dirty="0"/>
          </a:p>
          <a:p>
            <a:pPr lvl="1"/>
            <a:r>
              <a:rPr lang="en-US" sz="1800" b="1" u="sng" dirty="0"/>
              <a:t>Proposal 1:</a:t>
            </a:r>
            <a:r>
              <a:rPr lang="en-US" sz="1800" b="1" dirty="0"/>
              <a:t> </a:t>
            </a:r>
            <a:r>
              <a:rPr lang="en-US" sz="1800" dirty="0"/>
              <a:t>Standardize “</a:t>
            </a:r>
            <a:r>
              <a:rPr lang="en-US" sz="1800" b="1" dirty="0">
                <a:solidFill>
                  <a:schemeClr val="accent1"/>
                </a:solidFill>
              </a:rPr>
              <a:t>CAS muting</a:t>
            </a:r>
            <a:r>
              <a:rPr lang="en-US" sz="1800" dirty="0"/>
              <a:t>” for 5G Broadcast, i.e., the CAS can be dropped with some pattern that is known to the UE.</a:t>
            </a:r>
          </a:p>
          <a:p>
            <a:pPr lvl="1"/>
            <a:r>
              <a:rPr lang="en-US" sz="1800" b="1" u="sng" dirty="0"/>
              <a:t>Proposal 2:</a:t>
            </a:r>
            <a:r>
              <a:rPr lang="en-US" sz="1800" b="1" dirty="0"/>
              <a:t> </a:t>
            </a:r>
            <a:r>
              <a:rPr lang="en-US" sz="1800" dirty="0"/>
              <a:t>Standardize </a:t>
            </a:r>
            <a:r>
              <a:rPr lang="en-US" sz="1800" b="1" dirty="0">
                <a:solidFill>
                  <a:schemeClr val="accent1"/>
                </a:solidFill>
              </a:rPr>
              <a:t>time-frequency </a:t>
            </a:r>
            <a:r>
              <a:rPr lang="en-US" sz="1800" b="1" dirty="0" err="1">
                <a:solidFill>
                  <a:schemeClr val="accent1"/>
                </a:solidFill>
              </a:rPr>
              <a:t>interleavers</a:t>
            </a:r>
            <a:r>
              <a:rPr lang="en-US" sz="1800" b="1" dirty="0">
                <a:solidFill>
                  <a:schemeClr val="accent1"/>
                </a:solidFill>
              </a:rPr>
              <a:t> </a:t>
            </a:r>
            <a:r>
              <a:rPr lang="en-US" sz="1800" dirty="0"/>
              <a:t>for 5G Broadcast, taking as baseline the mechanism in </a:t>
            </a:r>
            <a:r>
              <a:rPr lang="en-US" sz="1800" dirty="0">
                <a:hlinkClick r:id="rId3"/>
              </a:rPr>
              <a:t>R1-1913439</a:t>
            </a:r>
            <a:r>
              <a:rPr lang="en-US" sz="1800" dirty="0"/>
              <a:t>.</a:t>
            </a:r>
          </a:p>
          <a:p>
            <a:endParaRPr lang="en-US" dirty="0"/>
          </a:p>
        </p:txBody>
      </p:sp>
      <p:sp>
        <p:nvSpPr>
          <p:cNvPr id="2" name="Subtitle 1">
            <a:extLst>
              <a:ext uri="{FF2B5EF4-FFF2-40B4-BE49-F238E27FC236}">
                <a16:creationId xmlns:a16="http://schemas.microsoft.com/office/drawing/2014/main" id="{AF899813-0A09-2785-D70B-76CAEE7672EC}"/>
              </a:ext>
            </a:extLst>
          </p:cNvPr>
          <p:cNvSpPr>
            <a:spLocks noGrp="1"/>
          </p:cNvSpPr>
          <p:nvPr>
            <p:ph type="subTitle" idx="1"/>
          </p:nvPr>
        </p:nvSpPr>
        <p:spPr/>
        <p:txBody>
          <a:bodyPr/>
          <a:lstStyle/>
          <a:p>
            <a:r>
              <a:rPr lang="de-DE" dirty="0"/>
              <a:t>Come to RAN#102 to Edinburgh and co-sign the initial proposal from Qualcomm and 5G-MAG input </a:t>
            </a:r>
            <a:endParaRPr lang="en-US" dirty="0"/>
          </a:p>
        </p:txBody>
      </p:sp>
      <p:sp>
        <p:nvSpPr>
          <p:cNvPr id="6" name="Footer Placeholder 5">
            <a:extLst>
              <a:ext uri="{FF2B5EF4-FFF2-40B4-BE49-F238E27FC236}">
                <a16:creationId xmlns:a16="http://schemas.microsoft.com/office/drawing/2014/main" id="{69A36311-1B9C-89CD-CD0E-4B2C988EB5D0}"/>
              </a:ext>
            </a:extLst>
          </p:cNvPr>
          <p:cNvSpPr>
            <a:spLocks noGrp="1"/>
          </p:cNvSpPr>
          <p:nvPr>
            <p:ph type="ftr" sz="quarter" idx="10"/>
          </p:nvPr>
        </p:nvSpPr>
        <p:spPr/>
        <p:txBody>
          <a:bodyPr/>
          <a:lstStyle/>
          <a:p>
            <a:r>
              <a:rPr lang="en-US"/>
              <a:t>IBC 2023</a:t>
            </a:r>
            <a:endParaRPr lang="en-US" dirty="0"/>
          </a:p>
        </p:txBody>
      </p:sp>
    </p:spTree>
    <p:extLst>
      <p:ext uri="{BB962C8B-B14F-4D97-AF65-F5344CB8AC3E}">
        <p14:creationId xmlns:p14="http://schemas.microsoft.com/office/powerpoint/2010/main" val="400283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2457921"/>
            <a:ext cx="8829675" cy="1472711"/>
          </a:xfrm>
        </p:spPr>
        <p:txBody>
          <a:bodyPr/>
          <a:lstStyle/>
          <a:p>
            <a:r>
              <a:rPr lang="en-US" dirty="0"/>
              <a:t>Opportunities and Selected Use Cases</a:t>
            </a:r>
          </a:p>
        </p:txBody>
      </p:sp>
    </p:spTree>
    <p:extLst>
      <p:ext uri="{BB962C8B-B14F-4D97-AF65-F5344CB8AC3E}">
        <p14:creationId xmlns:p14="http://schemas.microsoft.com/office/powerpoint/2010/main" val="15468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D2963307-1BCF-4D69-8CA0-43B9A00FD269}"/>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ACAF26A8-EFBC-433B-AC81-0398AA8FA1DE}"/>
              </a:ext>
            </a:extLst>
          </p:cNvPr>
          <p:cNvSpPr/>
          <p:nvPr/>
        </p:nvSpPr>
        <p:spPr bwMode="gray">
          <a:xfrm flipH="1">
            <a:off x="7525676" y="0"/>
            <a:ext cx="493776" cy="6858000"/>
          </a:xfrm>
          <a:prstGeom prst="rect">
            <a:avLst/>
          </a:prstGeom>
          <a:gradFill flip="none" rotWithShape="1">
            <a:gsLst>
              <a:gs pos="0">
                <a:schemeClr val="accent1"/>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ysClr val="windowText" lastClr="000000"/>
              </a:solidFill>
              <a:effectLst/>
              <a:uLnTx/>
              <a:uFillTx/>
              <a:latin typeface="Microsoft Sans Serif"/>
              <a:ea typeface="+mn-ea"/>
              <a:cs typeface="+mn-cs"/>
            </a:endParaRPr>
          </a:p>
        </p:txBody>
      </p:sp>
      <p:sp>
        <p:nvSpPr>
          <p:cNvPr id="42" name="TextBox 41">
            <a:extLst>
              <a:ext uri="{FF2B5EF4-FFF2-40B4-BE49-F238E27FC236}">
                <a16:creationId xmlns:a16="http://schemas.microsoft.com/office/drawing/2014/main" id="{ED27EFD0-5F46-4CEF-A102-F827D77DB9CA}"/>
              </a:ext>
            </a:extLst>
          </p:cNvPr>
          <p:cNvSpPr txBox="1"/>
          <p:nvPr/>
        </p:nvSpPr>
        <p:spPr>
          <a:xfrm>
            <a:off x="8073181" y="3109354"/>
            <a:ext cx="3438434" cy="531812"/>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Presenter</a:t>
            </a:r>
          </a:p>
        </p:txBody>
      </p:sp>
      <p:sp>
        <p:nvSpPr>
          <p:cNvPr id="48" name="TextBox 47">
            <a:extLst>
              <a:ext uri="{FF2B5EF4-FFF2-40B4-BE49-F238E27FC236}">
                <a16:creationId xmlns:a16="http://schemas.microsoft.com/office/drawing/2014/main" id="{27A0DB6D-4A7F-4797-8BD9-68CAFC38A097}"/>
              </a:ext>
            </a:extLst>
          </p:cNvPr>
          <p:cNvSpPr txBox="1"/>
          <p:nvPr/>
        </p:nvSpPr>
        <p:spPr>
          <a:xfrm>
            <a:off x="8073179" y="3830864"/>
            <a:ext cx="3893534" cy="2723823"/>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r. Thomas Stockhammer</a:t>
            </a:r>
            <a:endParaRPr kumimoji="0" lang="de-DE"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Senior Director, Technical Stand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Qualcomm Europe, Inc., </a:t>
            </a:r>
            <a:r>
              <a:rPr lang="en-US" sz="1600" dirty="0">
                <a:solidFill>
                  <a:srgbClr val="82CBD7">
                    <a:lumMod val="40000"/>
                    <a:lumOff val="60000"/>
                  </a:srgbClr>
                </a:solidFill>
                <a:latin typeface="Microsoft Sans Serif"/>
                <a:cs typeface="Microsoft Sans Serif" panose="020B0604020202020204" pitchFamily="34" charset="0"/>
              </a:rPr>
              <a:t>IEEE Fellow</a:t>
            </a:r>
            <a:endPar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Leading and driving among others</a:t>
            </a:r>
            <a:endParaRPr kumimoji="0" lang="de-DE" sz="11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VB: 5G TF, DV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MPEG: MPEG-I, CMAF and DAS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3GPP: XR over 5G, 5G Video, 5G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ASH-IF: Interop WG, T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ETSI &amp; 5G-MAG: 5G Broadcast and 5G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CTA WAVE: CMAF Device PB, T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Metaverse Standards Forum: Chair, Board</a:t>
            </a:r>
          </a:p>
        </p:txBody>
      </p:sp>
      <p:sp>
        <p:nvSpPr>
          <p:cNvPr id="61" name="Title 6">
            <a:extLst>
              <a:ext uri="{FF2B5EF4-FFF2-40B4-BE49-F238E27FC236}">
                <a16:creationId xmlns:a16="http://schemas.microsoft.com/office/drawing/2014/main" id="{2B9D7490-5ACB-4816-B0C0-D93A823B2342}"/>
              </a:ext>
            </a:extLst>
          </p:cNvPr>
          <p:cNvSpPr txBox="1">
            <a:spLocks/>
          </p:cNvSpPr>
          <p:nvPr/>
        </p:nvSpPr>
        <p:spPr>
          <a:xfrm>
            <a:off x="403058" y="1365838"/>
            <a:ext cx="4730669" cy="455189"/>
          </a:xfrm>
          <a:prstGeom prst="rect">
            <a:avLst/>
          </a:prstGeom>
        </p:spPr>
        <p:txBody>
          <a:bodyPr/>
          <a:lst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a:lstStyle>
          <a:p>
            <a:pPr marL="0" marR="0" lvl="0" indent="0" algn="l" defTabSz="914400" rtl="0" eaLnBrk="1" fontAlgn="auto" latinLnBrk="0" hangingPunct="1">
              <a:lnSpc>
                <a:spcPct val="84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2853DC"/>
                </a:solidFill>
                <a:effectLst/>
                <a:uLnTx/>
                <a:uFillTx/>
                <a:latin typeface="Microsoft Sans Serif"/>
                <a:ea typeface="+mj-ea"/>
                <a:cs typeface="+mj-cs"/>
              </a:rPr>
              <a:t>Today’s agenda</a:t>
            </a:r>
          </a:p>
        </p:txBody>
      </p:sp>
      <p:cxnSp>
        <p:nvCxnSpPr>
          <p:cNvPr id="107" name="Straight Connector 106">
            <a:extLst>
              <a:ext uri="{FF2B5EF4-FFF2-40B4-BE49-F238E27FC236}">
                <a16:creationId xmlns:a16="http://schemas.microsoft.com/office/drawing/2014/main" id="{74313051-D0BF-CC4B-BAF6-7549392DE7A1}"/>
              </a:ext>
            </a:extLst>
          </p:cNvPr>
          <p:cNvCxnSpPr>
            <a:cxnSpLocks/>
          </p:cNvCxnSpPr>
          <p:nvPr/>
        </p:nvCxnSpPr>
        <p:spPr>
          <a:xfrm flipH="1">
            <a:off x="8073182" y="3712525"/>
            <a:ext cx="2930209" cy="0"/>
          </a:xfrm>
          <a:prstGeom prst="line">
            <a:avLst/>
          </a:prstGeom>
          <a:ln w="19050" cap="rnd">
            <a:solidFill>
              <a:srgbClr val="FFFFFF">
                <a:alpha val="35000"/>
              </a:srgb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40" name="Content Placeholder 7">
            <a:extLst>
              <a:ext uri="{FF2B5EF4-FFF2-40B4-BE49-F238E27FC236}">
                <a16:creationId xmlns:a16="http://schemas.microsoft.com/office/drawing/2014/main" id="{6CF0EC1A-D9C5-824C-AA3E-D7CF3BD48243}"/>
              </a:ext>
            </a:extLst>
          </p:cNvPr>
          <p:cNvSpPr txBox="1">
            <a:spLocks/>
          </p:cNvSpPr>
          <p:nvPr/>
        </p:nvSpPr>
        <p:spPr>
          <a:xfrm>
            <a:off x="432013" y="2633103"/>
            <a:ext cx="6357995" cy="2996172"/>
          </a:xfrm>
          <a:prstGeom prst="rect">
            <a:avLst/>
          </a:prstGeom>
        </p:spPr>
        <p:txBody>
          <a:bodyPr/>
          <a:lst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What is 5G Broadcast</a:t>
            </a:r>
          </a:p>
          <a:p>
            <a:pPr marL="0" indent="0" eaLnBrk="0" fontAlgn="base" hangingPunct="0">
              <a:lnSpc>
                <a:spcPct val="150000"/>
              </a:lnSpc>
              <a:spcBef>
                <a:spcPct val="0"/>
              </a:spcBef>
              <a:spcAft>
                <a:spcPct val="0"/>
              </a:spcAft>
              <a:buClrTx/>
              <a:buNone/>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Standards</a:t>
            </a:r>
          </a:p>
          <a:p>
            <a:pPr marL="0" indent="0" eaLnBrk="0" fontAlgn="base" hangingPunct="0">
              <a:lnSpc>
                <a:spcPct val="150000"/>
              </a:lnSpc>
              <a:spcBef>
                <a:spcPct val="0"/>
              </a:spcBef>
              <a:spcAft>
                <a:spcPct val="0"/>
              </a:spcAft>
              <a:buClrTx/>
              <a:buNone/>
            </a:pPr>
            <a:r>
              <a:rPr lang="en-US" altLang="en-US" sz="2400" dirty="0">
                <a:latin typeface="Arial" panose="020B0604020202020204" pitchFamily="34" charset="0"/>
                <a:ea typeface="Calibri" panose="020F0502020204030204" pitchFamily="34" charset="0"/>
              </a:rPr>
              <a:t># Technologies and Trials</a:t>
            </a:r>
            <a:endPar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marL="0" indent="0" eaLnBrk="0" fontAlgn="base" hangingPunct="0">
              <a:lnSpc>
                <a:spcPct val="150000"/>
              </a:lnSpc>
              <a:spcBef>
                <a:spcPct val="0"/>
              </a:spcBef>
              <a:spcAft>
                <a:spcPct val="0"/>
              </a:spcAft>
              <a:buClrTx/>
              <a:buNone/>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Status of trials and deployments</a:t>
            </a:r>
          </a:p>
          <a:p>
            <a:pPr marL="0" marR="0" lvl="0" indent="0" algn="l" defTabSz="914400" rtl="0" eaLnBrk="0" fontAlgn="base" latinLnBrk="0" hangingPunct="0">
              <a:lnSpc>
                <a:spcPct val="150000"/>
              </a:lnSpc>
              <a:spcBef>
                <a:spcPct val="0"/>
              </a:spcBef>
              <a:spcAft>
                <a:spcPct val="0"/>
              </a:spcAft>
              <a:buClrTx/>
              <a:buSzTx/>
              <a:buFontTx/>
              <a:buNone/>
              <a:tabLst/>
            </a:pPr>
            <a:r>
              <a:rPr lang="en-US" sz="2400" kern="1200" spc="0" noProof="0" dirty="0">
                <a:uLnTx/>
                <a:uFillTx/>
                <a:latin typeface="Arial" panose="020B0604020202020204" pitchFamily="34" charset="0"/>
                <a:cs typeface="+mn-cs"/>
              </a:rPr>
              <a:t># Opportunities and Selected Use Cases</a:t>
            </a:r>
          </a:p>
          <a:p>
            <a:pPr marL="0" indent="0" eaLnBrk="0" fontAlgn="base" hangingPunct="0">
              <a:lnSpc>
                <a:spcPct val="150000"/>
              </a:lnSpc>
              <a:spcBef>
                <a:spcPct val="0"/>
              </a:spcBef>
              <a:spcAft>
                <a:spcPct val="0"/>
              </a:spcAft>
              <a:buClrTx/>
              <a:buNone/>
            </a:pPr>
            <a:r>
              <a:rPr lang="en-US" sz="2400" kern="1200" spc="0" noProof="0" dirty="0">
                <a:uLnTx/>
                <a:uFillTx/>
                <a:latin typeface="Arial" panose="020B0604020202020204" pitchFamily="34" charset="0"/>
                <a:cs typeface="+mn-cs"/>
              </a:rPr>
              <a:t># Next Steps</a:t>
            </a:r>
            <a:endParaRPr lang="en-US" sz="2400" dirty="0">
              <a:solidFill>
                <a:srgbClr val="445776"/>
              </a:solidFill>
              <a:latin typeface="Microsoft Sans Serif"/>
            </a:endParaRPr>
          </a:p>
        </p:txBody>
      </p:sp>
      <p:sp>
        <p:nvSpPr>
          <p:cNvPr id="12" name="Freeform 5">
            <a:extLst>
              <a:ext uri="{FF2B5EF4-FFF2-40B4-BE49-F238E27FC236}">
                <a16:creationId xmlns:a16="http://schemas.microsoft.com/office/drawing/2014/main" id="{3E50D58B-321D-490E-A668-F9988AECA720}"/>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 name="Footer Placeholder 1">
            <a:extLst>
              <a:ext uri="{FF2B5EF4-FFF2-40B4-BE49-F238E27FC236}">
                <a16:creationId xmlns:a16="http://schemas.microsoft.com/office/drawing/2014/main" id="{372D6CE3-BB5D-49B3-A042-C5667F23D5AC}"/>
              </a:ext>
            </a:extLst>
          </p:cNvPr>
          <p:cNvSpPr>
            <a:spLocks noGrp="1"/>
          </p:cNvSpPr>
          <p:nvPr>
            <p:ph type="ftr" sz="quarter" idx="3"/>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dirty="0">
              <a:ln>
                <a:noFill/>
              </a:ln>
              <a:solidFill>
                <a:srgbClr val="445776">
                  <a:lumMod val="60000"/>
                  <a:lumOff val="40000"/>
                </a:srgbClr>
              </a:solidFill>
              <a:effectLst/>
              <a:uLnTx/>
              <a:uFillTx/>
              <a:latin typeface="Microsoft Sans Serif"/>
              <a:ea typeface="+mn-ea"/>
              <a:cs typeface="+mn-cs"/>
            </a:endParaRPr>
          </a:p>
        </p:txBody>
      </p:sp>
      <p:pic>
        <p:nvPicPr>
          <p:cNvPr id="5" name="Picture 4" descr="A person wearing glasses&#10;&#10;Description automatically generated with medium confidence">
            <a:extLst>
              <a:ext uri="{FF2B5EF4-FFF2-40B4-BE49-F238E27FC236}">
                <a16:creationId xmlns:a16="http://schemas.microsoft.com/office/drawing/2014/main" id="{98E1CD87-94CD-8BFD-2E76-25EEC8ECE789}"/>
              </a:ext>
            </a:extLst>
          </p:cNvPr>
          <p:cNvPicPr>
            <a:picLocks noChangeAspect="1"/>
          </p:cNvPicPr>
          <p:nvPr/>
        </p:nvPicPr>
        <p:blipFill>
          <a:blip r:embed="rId3"/>
          <a:stretch>
            <a:fillRect/>
          </a:stretch>
        </p:blipFill>
        <p:spPr>
          <a:xfrm>
            <a:off x="8969006" y="206931"/>
            <a:ext cx="1787614" cy="27473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2" name="Cloud 21">
            <a:extLst>
              <a:ext uri="{FF2B5EF4-FFF2-40B4-BE49-F238E27FC236}">
                <a16:creationId xmlns:a16="http://schemas.microsoft.com/office/drawing/2014/main" id="{1E94A568-D0DD-05CD-08B3-D973A38CD782}"/>
              </a:ext>
            </a:extLst>
          </p:cNvPr>
          <p:cNvSpPr/>
          <p:nvPr/>
        </p:nvSpPr>
        <p:spPr>
          <a:xfrm>
            <a:off x="10159913" y="3120611"/>
            <a:ext cx="1840131" cy="516314"/>
          </a:xfrm>
          <a:prstGeom prst="cloud">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pic>
        <p:nvPicPr>
          <p:cNvPr id="21" name="Picture 20" descr="Title: LinkedIn - Description: LinkedIn icon">
            <a:hlinkClick r:id="rId4"/>
            <a:extLst>
              <a:ext uri="{FF2B5EF4-FFF2-40B4-BE49-F238E27FC236}">
                <a16:creationId xmlns:a16="http://schemas.microsoft.com/office/drawing/2014/main" id="{D241B311-2C32-C465-56A8-8E1F05253F2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673404" y="3252906"/>
            <a:ext cx="228161" cy="228161"/>
          </a:xfrm>
          <a:prstGeom prst="rect">
            <a:avLst/>
          </a:prstGeom>
          <a:noFill/>
          <a:ln>
            <a:noFill/>
          </a:ln>
        </p:spPr>
      </p:pic>
      <p:pic>
        <p:nvPicPr>
          <p:cNvPr id="23" name="Picture 22" descr="Title: Facebook - Description: Facebook icon">
            <a:hlinkClick r:id="rId6"/>
            <a:extLst>
              <a:ext uri="{FF2B5EF4-FFF2-40B4-BE49-F238E27FC236}">
                <a16:creationId xmlns:a16="http://schemas.microsoft.com/office/drawing/2014/main" id="{6CC6DF67-DFB0-32BC-C1A7-D2595BEEBB0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927863" y="3252906"/>
            <a:ext cx="228160" cy="228160"/>
          </a:xfrm>
          <a:prstGeom prst="rect">
            <a:avLst/>
          </a:prstGeom>
          <a:noFill/>
          <a:ln>
            <a:noFill/>
          </a:ln>
        </p:spPr>
      </p:pic>
      <p:pic>
        <p:nvPicPr>
          <p:cNvPr id="24" name="Picture 23" descr="Github symbol (png logo icon) blue">
            <a:hlinkClick r:id="rId8"/>
            <a:extLst>
              <a:ext uri="{FF2B5EF4-FFF2-40B4-BE49-F238E27FC236}">
                <a16:creationId xmlns:a16="http://schemas.microsoft.com/office/drawing/2014/main" id="{7005EE58-D485-282B-AE0D-AEC12A76958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1182321" y="3240077"/>
            <a:ext cx="253818" cy="253818"/>
          </a:xfrm>
          <a:prstGeom prst="rect">
            <a:avLst/>
          </a:prstGeom>
          <a:noFill/>
          <a:ln>
            <a:noFill/>
          </a:ln>
        </p:spPr>
      </p:pic>
      <p:pic>
        <p:nvPicPr>
          <p:cNvPr id="25" name="Picture 24" descr="Discord Logo - Logo, zeichen, emblem, symbol. Geschichte und Bedeutung">
            <a:hlinkClick r:id="rId10"/>
            <a:extLst>
              <a:ext uri="{FF2B5EF4-FFF2-40B4-BE49-F238E27FC236}">
                <a16:creationId xmlns:a16="http://schemas.microsoft.com/office/drawing/2014/main" id="{F7ECCB96-EF04-D6AC-50DF-9606C4FE3864}"/>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1405287" y="3240077"/>
            <a:ext cx="401879" cy="253818"/>
          </a:xfrm>
          <a:prstGeom prst="rect">
            <a:avLst/>
          </a:prstGeom>
          <a:noFill/>
          <a:ln>
            <a:noFill/>
          </a:ln>
        </p:spPr>
      </p:pic>
      <p:pic>
        <p:nvPicPr>
          <p:cNvPr id="3" name="Picture 2">
            <a:hlinkClick r:id="rId12"/>
            <a:extLst>
              <a:ext uri="{FF2B5EF4-FFF2-40B4-BE49-F238E27FC236}">
                <a16:creationId xmlns:a16="http://schemas.microsoft.com/office/drawing/2014/main" id="{CB1AF58B-2084-209A-4D76-A3AC152A7EAB}"/>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0396238" y="3243670"/>
            <a:ext cx="275664" cy="275664"/>
          </a:xfrm>
          <a:prstGeom prst="rect">
            <a:avLst/>
          </a:prstGeom>
          <a:noFill/>
          <a:ln>
            <a:noFill/>
          </a:ln>
        </p:spPr>
      </p:pic>
    </p:spTree>
    <p:extLst>
      <p:ext uri="{BB962C8B-B14F-4D97-AF65-F5344CB8AC3E}">
        <p14:creationId xmlns:p14="http://schemas.microsoft.com/office/powerpoint/2010/main" val="286793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47A607F-00A6-459F-BE57-65C56B6C1AFE}"/>
              </a:ext>
            </a:extLst>
          </p:cNvPr>
          <p:cNvPicPr>
            <a:picLocks noChangeAspect="1"/>
          </p:cNvPicPr>
          <p:nvPr/>
        </p:nvPicPr>
        <p:blipFill>
          <a:blip r:embed="rId2"/>
          <a:stretch>
            <a:fillRect/>
          </a:stretch>
        </p:blipFill>
        <p:spPr>
          <a:xfrm>
            <a:off x="4191346" y="3944673"/>
            <a:ext cx="2524439" cy="1233489"/>
          </a:xfrm>
          <a:prstGeom prst="rect">
            <a:avLst/>
          </a:prstGeom>
        </p:spPr>
      </p:pic>
      <p:sp>
        <p:nvSpPr>
          <p:cNvPr id="3" name="Title 2">
            <a:extLst>
              <a:ext uri="{FF2B5EF4-FFF2-40B4-BE49-F238E27FC236}">
                <a16:creationId xmlns:a16="http://schemas.microsoft.com/office/drawing/2014/main" id="{7D578F91-5395-485C-B6D8-9A8638CACF1E}"/>
              </a:ext>
            </a:extLst>
          </p:cNvPr>
          <p:cNvSpPr>
            <a:spLocks noGrp="1"/>
          </p:cNvSpPr>
          <p:nvPr>
            <p:ph type="title"/>
          </p:nvPr>
        </p:nvSpPr>
        <p:spPr>
          <a:xfrm>
            <a:off x="321647" y="289502"/>
            <a:ext cx="11187112" cy="455189"/>
          </a:xfrm>
        </p:spPr>
        <p:txBody>
          <a:bodyPr/>
          <a:lstStyle/>
          <a:p>
            <a:r>
              <a:rPr lang="en-US" dirty="0"/>
              <a:t>Selected use cases</a:t>
            </a:r>
          </a:p>
        </p:txBody>
      </p:sp>
      <p:sp>
        <p:nvSpPr>
          <p:cNvPr id="5" name="Text Placeholder 4">
            <a:extLst>
              <a:ext uri="{FF2B5EF4-FFF2-40B4-BE49-F238E27FC236}">
                <a16:creationId xmlns:a16="http://schemas.microsoft.com/office/drawing/2014/main" id="{0F8A5AB2-84B7-48FE-82C1-B2DEF9B4F625}"/>
              </a:ext>
            </a:extLst>
          </p:cNvPr>
          <p:cNvSpPr>
            <a:spLocks noGrp="1"/>
          </p:cNvSpPr>
          <p:nvPr>
            <p:ph type="body" sz="quarter" idx="15"/>
          </p:nvPr>
        </p:nvSpPr>
        <p:spPr/>
        <p:txBody>
          <a:bodyPr/>
          <a:lstStyle/>
          <a:p>
            <a:r>
              <a:rPr lang="en-US" dirty="0"/>
              <a:t>Enhanced broadcast use cases with 5G broadcast</a:t>
            </a:r>
          </a:p>
        </p:txBody>
      </p:sp>
      <p:sp>
        <p:nvSpPr>
          <p:cNvPr id="9" name="Rectangle: Rounded Corners 8">
            <a:extLst>
              <a:ext uri="{FF2B5EF4-FFF2-40B4-BE49-F238E27FC236}">
                <a16:creationId xmlns:a16="http://schemas.microsoft.com/office/drawing/2014/main" id="{7DE42E9B-8BAC-488A-8C0F-470F22F3F714}"/>
              </a:ext>
            </a:extLst>
          </p:cNvPr>
          <p:cNvSpPr/>
          <p:nvPr/>
        </p:nvSpPr>
        <p:spPr>
          <a:xfrm>
            <a:off x="302986" y="962648"/>
            <a:ext cx="4920342" cy="149911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One-way communication directly to handsets</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More cost efficient than unicast (RAN and CDN)</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Live sports, special events, general programming</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Key for massive events (e.g. World Cup)</a:t>
            </a:r>
          </a:p>
        </p:txBody>
      </p:sp>
      <p:sp>
        <p:nvSpPr>
          <p:cNvPr id="10" name="Rectangle: Rounded Corners 9">
            <a:extLst>
              <a:ext uri="{FF2B5EF4-FFF2-40B4-BE49-F238E27FC236}">
                <a16:creationId xmlns:a16="http://schemas.microsoft.com/office/drawing/2014/main" id="{00FC3BD4-9F71-4599-87BA-5C9371A3D6E6}"/>
              </a:ext>
            </a:extLst>
          </p:cNvPr>
          <p:cNvSpPr/>
          <p:nvPr/>
        </p:nvSpPr>
        <p:spPr>
          <a:xfrm>
            <a:off x="321647" y="971231"/>
            <a:ext cx="4904918"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Linear TV and Radio</a:t>
            </a:r>
          </a:p>
        </p:txBody>
      </p:sp>
      <p:sp>
        <p:nvSpPr>
          <p:cNvPr id="11" name="Rectangle: Rounded Corners 10">
            <a:extLst>
              <a:ext uri="{FF2B5EF4-FFF2-40B4-BE49-F238E27FC236}">
                <a16:creationId xmlns:a16="http://schemas.microsoft.com/office/drawing/2014/main" id="{6A6DBE9C-1019-4AC0-8506-77B7C5967D44}"/>
              </a:ext>
            </a:extLst>
          </p:cNvPr>
          <p:cNvSpPr/>
          <p:nvPr/>
        </p:nvSpPr>
        <p:spPr>
          <a:xfrm>
            <a:off x="321646" y="2834819"/>
            <a:ext cx="4901681" cy="149911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Combine linear video with interactivity.</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Linear content from broadcaster, unicast using mobile network.</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Comments, ratings, e-commerce, advertising</a:t>
            </a:r>
          </a:p>
        </p:txBody>
      </p:sp>
      <p:sp>
        <p:nvSpPr>
          <p:cNvPr id="12" name="Rectangle: Rounded Corners 11">
            <a:extLst>
              <a:ext uri="{FF2B5EF4-FFF2-40B4-BE49-F238E27FC236}">
                <a16:creationId xmlns:a16="http://schemas.microsoft.com/office/drawing/2014/main" id="{53395F49-394F-4200-8FA6-D3FED4EB4048}"/>
              </a:ext>
            </a:extLst>
          </p:cNvPr>
          <p:cNvSpPr/>
          <p:nvPr/>
        </p:nvSpPr>
        <p:spPr>
          <a:xfrm>
            <a:off x="340308" y="2843402"/>
            <a:ext cx="4886315"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Interactive media</a:t>
            </a:r>
          </a:p>
        </p:txBody>
      </p:sp>
      <p:sp>
        <p:nvSpPr>
          <p:cNvPr id="15" name="Rectangle: Rounded Corners 14">
            <a:extLst>
              <a:ext uri="{FF2B5EF4-FFF2-40B4-BE49-F238E27FC236}">
                <a16:creationId xmlns:a16="http://schemas.microsoft.com/office/drawing/2014/main" id="{BFE2A067-5F7B-4441-92F2-B1632B178BE6}"/>
              </a:ext>
            </a:extLst>
          </p:cNvPr>
          <p:cNvSpPr/>
          <p:nvPr/>
        </p:nvSpPr>
        <p:spPr>
          <a:xfrm>
            <a:off x="6849318" y="961563"/>
            <a:ext cx="4920342" cy="149911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Emergency notifications to smartphones from broadcast infrastructure.</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Possibility of sending text-only notifications and multimedia content</a:t>
            </a:r>
          </a:p>
        </p:txBody>
      </p:sp>
      <p:sp>
        <p:nvSpPr>
          <p:cNvPr id="16" name="Rectangle: Rounded Corners 15">
            <a:extLst>
              <a:ext uri="{FF2B5EF4-FFF2-40B4-BE49-F238E27FC236}">
                <a16:creationId xmlns:a16="http://schemas.microsoft.com/office/drawing/2014/main" id="{798E1065-2831-44BD-B4D1-95226B624ABE}"/>
              </a:ext>
            </a:extLst>
          </p:cNvPr>
          <p:cNvSpPr/>
          <p:nvPr/>
        </p:nvSpPr>
        <p:spPr>
          <a:xfrm>
            <a:off x="6867979" y="970146"/>
            <a:ext cx="4904918"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Emergency messages</a:t>
            </a:r>
          </a:p>
        </p:txBody>
      </p:sp>
      <p:sp>
        <p:nvSpPr>
          <p:cNvPr id="17" name="Rectangle: Rounded Corners 16">
            <a:extLst>
              <a:ext uri="{FF2B5EF4-FFF2-40B4-BE49-F238E27FC236}">
                <a16:creationId xmlns:a16="http://schemas.microsoft.com/office/drawing/2014/main" id="{A010C85B-A533-4DD3-A3FE-7FC05F2D565B}"/>
              </a:ext>
            </a:extLst>
          </p:cNvPr>
          <p:cNvSpPr/>
          <p:nvPr/>
        </p:nvSpPr>
        <p:spPr>
          <a:xfrm>
            <a:off x="6846081" y="2895355"/>
            <a:ext cx="4920342" cy="149911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Software / firmware upgrades.</a:t>
            </a:r>
          </a:p>
          <a:p>
            <a:pPr marL="285750" marR="0" lvl="0"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Download and storage of popular content:</a:t>
            </a:r>
          </a:p>
          <a:p>
            <a:pPr marL="742950" marR="0" lvl="1"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TV shows</a:t>
            </a:r>
          </a:p>
          <a:p>
            <a:pPr marL="742950" marR="0" lvl="1" indent="-285750" algn="l" defTabSz="914400" rtl="0" eaLnBrk="1" fontAlgn="auto" latinLnBrk="0" hangingPunct="1">
              <a:lnSpc>
                <a:spcPct val="9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Viral” videos in social media.</a:t>
            </a:r>
          </a:p>
        </p:txBody>
      </p:sp>
      <p:sp>
        <p:nvSpPr>
          <p:cNvPr id="18" name="Rectangle: Rounded Corners 17">
            <a:extLst>
              <a:ext uri="{FF2B5EF4-FFF2-40B4-BE49-F238E27FC236}">
                <a16:creationId xmlns:a16="http://schemas.microsoft.com/office/drawing/2014/main" id="{F2DDC56B-78EE-49AD-A96B-5702B4B913DF}"/>
              </a:ext>
            </a:extLst>
          </p:cNvPr>
          <p:cNvSpPr/>
          <p:nvPr/>
        </p:nvSpPr>
        <p:spPr>
          <a:xfrm>
            <a:off x="6864742" y="2903938"/>
            <a:ext cx="4904918" cy="29080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General file download</a:t>
            </a:r>
          </a:p>
        </p:txBody>
      </p:sp>
      <p:sp>
        <p:nvSpPr>
          <p:cNvPr id="2" name="Footer Placeholder 1">
            <a:extLst>
              <a:ext uri="{FF2B5EF4-FFF2-40B4-BE49-F238E27FC236}">
                <a16:creationId xmlns:a16="http://schemas.microsoft.com/office/drawing/2014/main" id="{9D0863F4-7E14-CC61-2F91-311649B28C67}"/>
              </a:ext>
            </a:extLst>
          </p:cNvPr>
          <p:cNvSpPr>
            <a:spLocks noGrp="1"/>
          </p:cNvSpPr>
          <p:nvPr>
            <p:ph type="ftr" sz="quarter" idx="3"/>
          </p:nvPr>
        </p:nvSpPr>
        <p:spPr/>
        <p:txBody>
          <a:bodyPr/>
          <a:lstStyle/>
          <a:p>
            <a:pPr marL="0" marR="0" lvl="0" indent="0" algn="l" defTabSz="685800" rtl="0" eaLnBrk="1" fontAlgn="auto" latinLnBrk="0" hangingPunct="1">
              <a:lnSpc>
                <a:spcPct val="107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13171F">
                    <a:lumMod val="50000"/>
                    <a:lumOff val="50000"/>
                  </a:srgbClr>
                </a:solidFill>
                <a:effectLst/>
                <a:uLnTx/>
                <a:uFillTx/>
                <a:latin typeface="Microsoft Sans Serif"/>
                <a:ea typeface="+mn-ea"/>
                <a:cs typeface="+mn-cs"/>
              </a:rPr>
              <a:t>IBC 2023</a:t>
            </a:r>
          </a:p>
        </p:txBody>
      </p:sp>
    </p:spTree>
    <p:extLst>
      <p:ext uri="{BB962C8B-B14F-4D97-AF65-F5344CB8AC3E}">
        <p14:creationId xmlns:p14="http://schemas.microsoft.com/office/powerpoint/2010/main" val="132958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EA7E4EF-CCDE-4F3D-9534-50531D94C9DF}"/>
              </a:ext>
            </a:extLst>
          </p:cNvPr>
          <p:cNvSpPr>
            <a:spLocks noGrp="1"/>
          </p:cNvSpPr>
          <p:nvPr>
            <p:ph type="ftr" sz="quarter" idx="10"/>
          </p:nvPr>
        </p:nvSpPr>
        <p:spPr/>
        <p:txBody>
          <a:bodyPr/>
          <a:lstStyle/>
          <a:p>
            <a:pPr>
              <a:spcAft>
                <a:spcPts val="0"/>
              </a:spcAft>
              <a:defRPr/>
            </a:pPr>
            <a:r>
              <a:rPr lang="en-US">
                <a:solidFill>
                  <a:schemeClr val="accent2">
                    <a:lumMod val="60000"/>
                    <a:lumOff val="40000"/>
                  </a:schemeClr>
                </a:solidFill>
              </a:rPr>
              <a:t>IBC 2023</a:t>
            </a:r>
          </a:p>
        </p:txBody>
      </p:sp>
      <p:sp>
        <p:nvSpPr>
          <p:cNvPr id="3" name="Title 2">
            <a:extLst>
              <a:ext uri="{FF2B5EF4-FFF2-40B4-BE49-F238E27FC236}">
                <a16:creationId xmlns:a16="http://schemas.microsoft.com/office/drawing/2014/main" id="{2D929457-4BB9-4B45-A014-D383EC6981B4}"/>
              </a:ext>
            </a:extLst>
          </p:cNvPr>
          <p:cNvSpPr>
            <a:spLocks noGrp="1"/>
          </p:cNvSpPr>
          <p:nvPr>
            <p:ph type="title"/>
          </p:nvPr>
        </p:nvSpPr>
        <p:spPr>
          <a:xfrm>
            <a:off x="495300" y="565125"/>
            <a:ext cx="11187112" cy="439479"/>
          </a:xfrm>
        </p:spPr>
        <p:txBody>
          <a:bodyPr/>
          <a:lstStyle/>
          <a:p>
            <a:r>
              <a:rPr lang="en-US" dirty="0"/>
              <a:t>Emergency alerts</a:t>
            </a:r>
          </a:p>
        </p:txBody>
      </p:sp>
      <p:sp>
        <p:nvSpPr>
          <p:cNvPr id="5" name="Content Placeholder 4">
            <a:extLst>
              <a:ext uri="{FF2B5EF4-FFF2-40B4-BE49-F238E27FC236}">
                <a16:creationId xmlns:a16="http://schemas.microsoft.com/office/drawing/2014/main" id="{CC5CC241-58EF-4485-8A31-F745E66FEDFE}"/>
              </a:ext>
            </a:extLst>
          </p:cNvPr>
          <p:cNvSpPr>
            <a:spLocks noGrp="1"/>
          </p:cNvSpPr>
          <p:nvPr>
            <p:ph sz="quarter" idx="14"/>
          </p:nvPr>
        </p:nvSpPr>
        <p:spPr>
          <a:xfrm>
            <a:off x="495300" y="1719072"/>
            <a:ext cx="8231450" cy="4681727"/>
          </a:xfrm>
        </p:spPr>
        <p:txBody>
          <a:bodyPr/>
          <a:lstStyle/>
          <a:p>
            <a:r>
              <a:rPr lang="en-US" dirty="0"/>
              <a:t>5G broadcast inherits from 5G the public warning system capabilities.</a:t>
            </a:r>
          </a:p>
          <a:p>
            <a:r>
              <a:rPr lang="en-US" dirty="0"/>
              <a:t>The Cell Broadcast Service (CBS) does not require authentication with a PLMN. Hence, a ROM network is inherently compatible with CBS (see 3GPP TS 23 041). </a:t>
            </a:r>
          </a:p>
          <a:p>
            <a:r>
              <a:rPr lang="en-US" dirty="0"/>
              <a:t>CMAS (commercial mobile alert system) is available in current commercial devices.</a:t>
            </a:r>
          </a:p>
          <a:p>
            <a:pPr lvl="1"/>
            <a:r>
              <a:rPr lang="en-US" dirty="0"/>
              <a:t>Devices monitor periodically a low-duty cycle paging channel (low power)</a:t>
            </a:r>
          </a:p>
          <a:p>
            <a:pPr lvl="1"/>
            <a:r>
              <a:rPr lang="en-US" dirty="0"/>
              <a:t>CMAS over 5G broadcast has been demonstrated with R&amp;S infrastructure</a:t>
            </a:r>
          </a:p>
          <a:p>
            <a:r>
              <a:rPr lang="en-US" dirty="0"/>
              <a:t>Additional capabilities of CMAS:</a:t>
            </a:r>
          </a:p>
          <a:p>
            <a:pPr lvl="1"/>
            <a:r>
              <a:rPr lang="en-US" b="1" dirty="0">
                <a:solidFill>
                  <a:schemeClr val="bg2"/>
                </a:solidFill>
              </a:rPr>
              <a:t>Geofencing</a:t>
            </a:r>
            <a:r>
              <a:rPr lang="en-US" dirty="0"/>
              <a:t> (send notification to users within a given area)</a:t>
            </a:r>
          </a:p>
          <a:p>
            <a:pPr lvl="1"/>
            <a:r>
              <a:rPr lang="en-US" dirty="0"/>
              <a:t>Possibility of sending URL linking to </a:t>
            </a:r>
            <a:r>
              <a:rPr lang="en-US" b="1" dirty="0">
                <a:solidFill>
                  <a:schemeClr val="bg2"/>
                </a:solidFill>
              </a:rPr>
              <a:t>emergency media</a:t>
            </a:r>
          </a:p>
          <a:p>
            <a:endParaRPr lang="en-US" b="1" dirty="0">
              <a:solidFill>
                <a:schemeClr val="bg2"/>
              </a:solidFill>
            </a:endParaRPr>
          </a:p>
        </p:txBody>
      </p:sp>
      <p:pic>
        <p:nvPicPr>
          <p:cNvPr id="1026" name="Grafik 1">
            <a:extLst>
              <a:ext uri="{FF2B5EF4-FFF2-40B4-BE49-F238E27FC236}">
                <a16:creationId xmlns:a16="http://schemas.microsoft.com/office/drawing/2014/main" id="{4E661422-CAA2-40E1-880F-A13A5B1C15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7217" y="0"/>
            <a:ext cx="31847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6705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EA7E4EF-CCDE-4F3D-9534-50531D94C9DF}"/>
              </a:ext>
            </a:extLst>
          </p:cNvPr>
          <p:cNvSpPr>
            <a:spLocks noGrp="1"/>
          </p:cNvSpPr>
          <p:nvPr>
            <p:ph type="ftr" sz="quarter" idx="10"/>
          </p:nvPr>
        </p:nvSpPr>
        <p:spPr/>
        <p:txBody>
          <a:bodyPr/>
          <a:lstStyle/>
          <a:p>
            <a:pPr>
              <a:spcAft>
                <a:spcPts val="0"/>
              </a:spcAft>
              <a:defRPr/>
            </a:pPr>
            <a:r>
              <a:rPr lang="en-US">
                <a:solidFill>
                  <a:schemeClr val="accent2">
                    <a:lumMod val="60000"/>
                    <a:lumOff val="40000"/>
                  </a:schemeClr>
                </a:solidFill>
              </a:rPr>
              <a:t>IBC 2023</a:t>
            </a:r>
          </a:p>
        </p:txBody>
      </p:sp>
      <p:sp>
        <p:nvSpPr>
          <p:cNvPr id="3" name="Title 2">
            <a:extLst>
              <a:ext uri="{FF2B5EF4-FFF2-40B4-BE49-F238E27FC236}">
                <a16:creationId xmlns:a16="http://schemas.microsoft.com/office/drawing/2014/main" id="{2D929457-4BB9-4B45-A014-D383EC6981B4}"/>
              </a:ext>
            </a:extLst>
          </p:cNvPr>
          <p:cNvSpPr>
            <a:spLocks noGrp="1"/>
          </p:cNvSpPr>
          <p:nvPr>
            <p:ph type="title"/>
          </p:nvPr>
        </p:nvSpPr>
        <p:spPr>
          <a:xfrm>
            <a:off x="495300" y="565125"/>
            <a:ext cx="11187112" cy="439479"/>
          </a:xfrm>
        </p:spPr>
        <p:txBody>
          <a:bodyPr/>
          <a:lstStyle/>
          <a:p>
            <a:r>
              <a:rPr lang="en-US"/>
              <a:t>Use cases for emergency notifications</a:t>
            </a:r>
          </a:p>
        </p:txBody>
      </p:sp>
      <p:grpSp>
        <p:nvGrpSpPr>
          <p:cNvPr id="7" name="Group 6">
            <a:extLst>
              <a:ext uri="{FF2B5EF4-FFF2-40B4-BE49-F238E27FC236}">
                <a16:creationId xmlns:a16="http://schemas.microsoft.com/office/drawing/2014/main" id="{8B8B8DC1-A58F-40E9-8EA1-9EC53141FCF4}"/>
              </a:ext>
            </a:extLst>
          </p:cNvPr>
          <p:cNvGrpSpPr/>
          <p:nvPr/>
        </p:nvGrpSpPr>
        <p:grpSpPr>
          <a:xfrm>
            <a:off x="4803915" y="1800462"/>
            <a:ext cx="1809915" cy="1532173"/>
            <a:chOff x="5484982" y="2647863"/>
            <a:chExt cx="1222039" cy="1037544"/>
          </a:xfrm>
        </p:grpSpPr>
        <p:grpSp>
          <p:nvGrpSpPr>
            <p:cNvPr id="8" name="Group 7">
              <a:extLst>
                <a:ext uri="{FF2B5EF4-FFF2-40B4-BE49-F238E27FC236}">
                  <a16:creationId xmlns:a16="http://schemas.microsoft.com/office/drawing/2014/main" id="{8394BAF3-7300-41F5-AB64-52F8DE1D108F}"/>
                </a:ext>
              </a:extLst>
            </p:cNvPr>
            <p:cNvGrpSpPr/>
            <p:nvPr/>
          </p:nvGrpSpPr>
          <p:grpSpPr>
            <a:xfrm>
              <a:off x="5644949" y="2647863"/>
              <a:ext cx="902105" cy="1037544"/>
              <a:chOff x="1156464" y="2287783"/>
              <a:chExt cx="803098" cy="923672"/>
            </a:xfrm>
          </p:grpSpPr>
          <p:grpSp>
            <p:nvGrpSpPr>
              <p:cNvPr id="11" name="Group 10">
                <a:extLst>
                  <a:ext uri="{FF2B5EF4-FFF2-40B4-BE49-F238E27FC236}">
                    <a16:creationId xmlns:a16="http://schemas.microsoft.com/office/drawing/2014/main" id="{2C971BB5-CA41-40EA-A8EF-0D71E009A867}"/>
                  </a:ext>
                </a:extLst>
              </p:cNvPr>
              <p:cNvGrpSpPr/>
              <p:nvPr/>
            </p:nvGrpSpPr>
            <p:grpSpPr>
              <a:xfrm>
                <a:off x="1266649" y="2287783"/>
                <a:ext cx="578218" cy="576574"/>
                <a:chOff x="2744787" y="87313"/>
                <a:chExt cx="6702426" cy="6683376"/>
              </a:xfrm>
            </p:grpSpPr>
            <p:sp>
              <p:nvSpPr>
                <p:cNvPr id="13" name="Oval 12">
                  <a:extLst>
                    <a:ext uri="{FF2B5EF4-FFF2-40B4-BE49-F238E27FC236}">
                      <a16:creationId xmlns:a16="http://schemas.microsoft.com/office/drawing/2014/main" id="{483F9FE2-DD37-4F24-BEE4-03C7D024EED9}"/>
                    </a:ext>
                  </a:extLst>
                </p:cNvPr>
                <p:cNvSpPr>
                  <a:spLocks noChangeArrowheads="1"/>
                </p:cNvSpPr>
                <p:nvPr/>
              </p:nvSpPr>
              <p:spPr bwMode="auto">
                <a:xfrm>
                  <a:off x="4408488" y="1746250"/>
                  <a:ext cx="3375025" cy="33655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 name="Freeform: Shape 13">
                  <a:extLst>
                    <a:ext uri="{FF2B5EF4-FFF2-40B4-BE49-F238E27FC236}">
                      <a16:creationId xmlns:a16="http://schemas.microsoft.com/office/drawing/2014/main" id="{D771EF0F-2F6E-4B25-A197-BC32B2B8CF74}"/>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2" name="Freeform: Shape 38">
                <a:extLst>
                  <a:ext uri="{FF2B5EF4-FFF2-40B4-BE49-F238E27FC236}">
                    <a16:creationId xmlns:a16="http://schemas.microsoft.com/office/drawing/2014/main" id="{A5A6BB4B-8557-4598-9A3B-CC81A0C27406}"/>
                  </a:ext>
                </a:extLst>
              </p:cNvPr>
              <p:cNvSpPr>
                <a:spLocks/>
              </p:cNvSpPr>
              <p:nvPr/>
            </p:nvSpPr>
            <p:spPr bwMode="auto">
              <a:xfrm>
                <a:off x="1156464" y="2496416"/>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9" name="Freeform 97">
              <a:extLst>
                <a:ext uri="{FF2B5EF4-FFF2-40B4-BE49-F238E27FC236}">
                  <a16:creationId xmlns:a16="http://schemas.microsoft.com/office/drawing/2014/main" id="{CE93EA7D-125E-4ADD-A838-96126782E10B}"/>
                </a:ext>
              </a:extLst>
            </p:cNvPr>
            <p:cNvSpPr>
              <a:spLocks noChangeAspect="1"/>
            </p:cNvSpPr>
            <p:nvPr/>
          </p:nvSpPr>
          <p:spPr bwMode="auto">
            <a:xfrm rot="16200000">
              <a:off x="5396722" y="2834479"/>
              <a:ext cx="450049" cy="273530"/>
            </a:xfrm>
            <a:custGeom>
              <a:avLst/>
              <a:gdLst>
                <a:gd name="connsiteX0" fmla="*/ 934552 w 1867224"/>
                <a:gd name="connsiteY0" fmla="*/ 833541 h 1134862"/>
                <a:gd name="connsiteX1" fmla="*/ 1405004 w 1867224"/>
                <a:gd name="connsiteY1" fmla="*/ 955953 h 1134862"/>
                <a:gd name="connsiteX2" fmla="*/ 1442641 w 1867224"/>
                <a:gd name="connsiteY2" fmla="*/ 1087780 h 1134862"/>
                <a:gd name="connsiteX3" fmla="*/ 1357959 w 1867224"/>
                <a:gd name="connsiteY3" fmla="*/ 1134862 h 1134862"/>
                <a:gd name="connsiteX4" fmla="*/ 1315619 w 1867224"/>
                <a:gd name="connsiteY4" fmla="*/ 1120737 h 1134862"/>
                <a:gd name="connsiteX5" fmla="*/ 934552 w 1867224"/>
                <a:gd name="connsiteY5" fmla="*/ 1021867 h 1134862"/>
                <a:gd name="connsiteX6" fmla="*/ 553485 w 1867224"/>
                <a:gd name="connsiteY6" fmla="*/ 1120737 h 1134862"/>
                <a:gd name="connsiteX7" fmla="*/ 426463 w 1867224"/>
                <a:gd name="connsiteY7" fmla="*/ 1087780 h 1134862"/>
                <a:gd name="connsiteX8" fmla="*/ 459395 w 1867224"/>
                <a:gd name="connsiteY8" fmla="*/ 955953 h 1134862"/>
                <a:gd name="connsiteX9" fmla="*/ 934552 w 1867224"/>
                <a:gd name="connsiteY9" fmla="*/ 833541 h 1134862"/>
                <a:gd name="connsiteX10" fmla="*/ 933957 w 1867224"/>
                <a:gd name="connsiteY10" fmla="*/ 400030 h 1134862"/>
                <a:gd name="connsiteX11" fmla="*/ 1621680 w 1867224"/>
                <a:gd name="connsiteY11" fmla="*/ 583594 h 1134862"/>
                <a:gd name="connsiteX12" fmla="*/ 1654653 w 1867224"/>
                <a:gd name="connsiteY12" fmla="*/ 710677 h 1134862"/>
                <a:gd name="connsiteX13" fmla="*/ 1574576 w 1867224"/>
                <a:gd name="connsiteY13" fmla="*/ 757744 h 1134862"/>
                <a:gd name="connsiteX14" fmla="*/ 1527472 w 1867224"/>
                <a:gd name="connsiteY14" fmla="*/ 743624 h 1134862"/>
                <a:gd name="connsiteX15" fmla="*/ 933957 w 1867224"/>
                <a:gd name="connsiteY15" fmla="*/ 588301 h 1134862"/>
                <a:gd name="connsiteX16" fmla="*/ 340443 w 1867224"/>
                <a:gd name="connsiteY16" fmla="*/ 743624 h 1134862"/>
                <a:gd name="connsiteX17" fmla="*/ 208551 w 1867224"/>
                <a:gd name="connsiteY17" fmla="*/ 710677 h 1134862"/>
                <a:gd name="connsiteX18" fmla="*/ 246234 w 1867224"/>
                <a:gd name="connsiteY18" fmla="*/ 583594 h 1134862"/>
                <a:gd name="connsiteX19" fmla="*/ 933957 w 1867224"/>
                <a:gd name="connsiteY19" fmla="*/ 400030 h 1134862"/>
                <a:gd name="connsiteX20" fmla="*/ 934842 w 1867224"/>
                <a:gd name="connsiteY20" fmla="*/ 0 h 1134862"/>
                <a:gd name="connsiteX21" fmla="*/ 1820793 w 1867224"/>
                <a:gd name="connsiteY21" fmla="*/ 234966 h 1134862"/>
                <a:gd name="connsiteX22" fmla="*/ 1853780 w 1867224"/>
                <a:gd name="connsiteY22" fmla="*/ 361848 h 1134862"/>
                <a:gd name="connsiteX23" fmla="*/ 1773668 w 1867224"/>
                <a:gd name="connsiteY23" fmla="*/ 408841 h 1134862"/>
                <a:gd name="connsiteX24" fmla="*/ 1726542 w 1867224"/>
                <a:gd name="connsiteY24" fmla="*/ 399442 h 1134862"/>
                <a:gd name="connsiteX25" fmla="*/ 934842 w 1867224"/>
                <a:gd name="connsiteY25" fmla="*/ 187973 h 1134862"/>
                <a:gd name="connsiteX26" fmla="*/ 143142 w 1867224"/>
                <a:gd name="connsiteY26" fmla="*/ 399442 h 1134862"/>
                <a:gd name="connsiteX27" fmla="*/ 11192 w 1867224"/>
                <a:gd name="connsiteY27" fmla="*/ 361848 h 1134862"/>
                <a:gd name="connsiteX28" fmla="*/ 48892 w 1867224"/>
                <a:gd name="connsiteY28" fmla="*/ 234966 h 1134862"/>
                <a:gd name="connsiteX29" fmla="*/ 934842 w 1867224"/>
                <a:gd name="connsiteY29" fmla="*/ 0 h 113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67224" h="1134862">
                  <a:moveTo>
                    <a:pt x="934552" y="833541"/>
                  </a:moveTo>
                  <a:cubicBezTo>
                    <a:pt x="1099211" y="833541"/>
                    <a:pt x="1263869" y="875914"/>
                    <a:pt x="1405004" y="955953"/>
                  </a:cubicBezTo>
                  <a:cubicBezTo>
                    <a:pt x="1452050" y="984201"/>
                    <a:pt x="1466163" y="1040699"/>
                    <a:pt x="1442641" y="1087780"/>
                  </a:cubicBezTo>
                  <a:cubicBezTo>
                    <a:pt x="1423823" y="1116029"/>
                    <a:pt x="1390891" y="1134862"/>
                    <a:pt x="1357959" y="1134862"/>
                  </a:cubicBezTo>
                  <a:cubicBezTo>
                    <a:pt x="1343846" y="1134862"/>
                    <a:pt x="1329732" y="1130154"/>
                    <a:pt x="1315619" y="1120737"/>
                  </a:cubicBezTo>
                  <a:cubicBezTo>
                    <a:pt x="1198005" y="1054823"/>
                    <a:pt x="1066279" y="1021867"/>
                    <a:pt x="934552" y="1021867"/>
                  </a:cubicBezTo>
                  <a:cubicBezTo>
                    <a:pt x="798121" y="1021867"/>
                    <a:pt x="671099" y="1054823"/>
                    <a:pt x="553485" y="1120737"/>
                  </a:cubicBezTo>
                  <a:cubicBezTo>
                    <a:pt x="506440" y="1148986"/>
                    <a:pt x="449986" y="1130154"/>
                    <a:pt x="426463" y="1087780"/>
                  </a:cubicBezTo>
                  <a:cubicBezTo>
                    <a:pt x="398236" y="1040699"/>
                    <a:pt x="417054" y="984201"/>
                    <a:pt x="459395" y="955953"/>
                  </a:cubicBezTo>
                  <a:cubicBezTo>
                    <a:pt x="605235" y="875914"/>
                    <a:pt x="769894" y="833541"/>
                    <a:pt x="934552" y="833541"/>
                  </a:cubicBezTo>
                  <a:close/>
                  <a:moveTo>
                    <a:pt x="933957" y="400030"/>
                  </a:moveTo>
                  <a:cubicBezTo>
                    <a:pt x="1174189" y="400030"/>
                    <a:pt x="1414421" y="461218"/>
                    <a:pt x="1621680" y="583594"/>
                  </a:cubicBezTo>
                  <a:cubicBezTo>
                    <a:pt x="1664074" y="607128"/>
                    <a:pt x="1682915" y="663609"/>
                    <a:pt x="1654653" y="710677"/>
                  </a:cubicBezTo>
                  <a:cubicBezTo>
                    <a:pt x="1640521" y="738917"/>
                    <a:pt x="1607549" y="757744"/>
                    <a:pt x="1574576" y="757744"/>
                  </a:cubicBezTo>
                  <a:cubicBezTo>
                    <a:pt x="1555734" y="757744"/>
                    <a:pt x="1541603" y="753037"/>
                    <a:pt x="1527472" y="743624"/>
                  </a:cubicBezTo>
                  <a:cubicBezTo>
                    <a:pt x="1348475" y="644782"/>
                    <a:pt x="1141216" y="588301"/>
                    <a:pt x="933957" y="588301"/>
                  </a:cubicBezTo>
                  <a:cubicBezTo>
                    <a:pt x="726699" y="588301"/>
                    <a:pt x="519439" y="644782"/>
                    <a:pt x="340443" y="743624"/>
                  </a:cubicBezTo>
                  <a:cubicBezTo>
                    <a:pt x="293338" y="771864"/>
                    <a:pt x="236814" y="757744"/>
                    <a:pt x="208551" y="710677"/>
                  </a:cubicBezTo>
                  <a:cubicBezTo>
                    <a:pt x="184999" y="663609"/>
                    <a:pt x="199130" y="607128"/>
                    <a:pt x="246234" y="583594"/>
                  </a:cubicBezTo>
                  <a:cubicBezTo>
                    <a:pt x="453494" y="461218"/>
                    <a:pt x="693725" y="400030"/>
                    <a:pt x="933957" y="400030"/>
                  </a:cubicBezTo>
                  <a:close/>
                  <a:moveTo>
                    <a:pt x="934842" y="0"/>
                  </a:moveTo>
                  <a:cubicBezTo>
                    <a:pt x="1245868" y="0"/>
                    <a:pt x="1552180" y="79889"/>
                    <a:pt x="1820793" y="234966"/>
                  </a:cubicBezTo>
                  <a:cubicBezTo>
                    <a:pt x="1863205" y="258462"/>
                    <a:pt x="1882055" y="314855"/>
                    <a:pt x="1853780" y="361848"/>
                  </a:cubicBezTo>
                  <a:cubicBezTo>
                    <a:pt x="1839643" y="394743"/>
                    <a:pt x="1806655" y="408841"/>
                    <a:pt x="1773668" y="408841"/>
                  </a:cubicBezTo>
                  <a:cubicBezTo>
                    <a:pt x="1759530" y="408841"/>
                    <a:pt x="1740680" y="404141"/>
                    <a:pt x="1726542" y="399442"/>
                  </a:cubicBezTo>
                  <a:cubicBezTo>
                    <a:pt x="1486205" y="258462"/>
                    <a:pt x="1212880" y="187973"/>
                    <a:pt x="934842" y="187973"/>
                  </a:cubicBezTo>
                  <a:cubicBezTo>
                    <a:pt x="656805" y="187973"/>
                    <a:pt x="383480" y="258462"/>
                    <a:pt x="143142" y="399442"/>
                  </a:cubicBezTo>
                  <a:cubicBezTo>
                    <a:pt x="96018" y="422938"/>
                    <a:pt x="39467" y="408841"/>
                    <a:pt x="11192" y="361848"/>
                  </a:cubicBezTo>
                  <a:cubicBezTo>
                    <a:pt x="-12370" y="314855"/>
                    <a:pt x="1767" y="258462"/>
                    <a:pt x="48892" y="234966"/>
                  </a:cubicBezTo>
                  <a:cubicBezTo>
                    <a:pt x="317505" y="79889"/>
                    <a:pt x="623817" y="0"/>
                    <a:pt x="934842" y="0"/>
                  </a:cubicBezTo>
                  <a:close/>
                </a:path>
              </a:pathLst>
            </a:custGeom>
            <a:solidFill>
              <a:schemeClr val="accent2">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reeform 97">
              <a:extLst>
                <a:ext uri="{FF2B5EF4-FFF2-40B4-BE49-F238E27FC236}">
                  <a16:creationId xmlns:a16="http://schemas.microsoft.com/office/drawing/2014/main" id="{47EA28DB-029A-4627-B5B5-9F0543D4EE3D}"/>
                </a:ext>
              </a:extLst>
            </p:cNvPr>
            <p:cNvSpPr>
              <a:spLocks noChangeAspect="1"/>
            </p:cNvSpPr>
            <p:nvPr/>
          </p:nvSpPr>
          <p:spPr bwMode="auto">
            <a:xfrm rot="5400000" flipH="1">
              <a:off x="6345231" y="2834481"/>
              <a:ext cx="450049" cy="273530"/>
            </a:xfrm>
            <a:custGeom>
              <a:avLst/>
              <a:gdLst>
                <a:gd name="connsiteX0" fmla="*/ 934552 w 1867224"/>
                <a:gd name="connsiteY0" fmla="*/ 833541 h 1134862"/>
                <a:gd name="connsiteX1" fmla="*/ 1405004 w 1867224"/>
                <a:gd name="connsiteY1" fmla="*/ 955953 h 1134862"/>
                <a:gd name="connsiteX2" fmla="*/ 1442641 w 1867224"/>
                <a:gd name="connsiteY2" fmla="*/ 1087780 h 1134862"/>
                <a:gd name="connsiteX3" fmla="*/ 1357959 w 1867224"/>
                <a:gd name="connsiteY3" fmla="*/ 1134862 h 1134862"/>
                <a:gd name="connsiteX4" fmla="*/ 1315619 w 1867224"/>
                <a:gd name="connsiteY4" fmla="*/ 1120737 h 1134862"/>
                <a:gd name="connsiteX5" fmla="*/ 934552 w 1867224"/>
                <a:gd name="connsiteY5" fmla="*/ 1021867 h 1134862"/>
                <a:gd name="connsiteX6" fmla="*/ 553485 w 1867224"/>
                <a:gd name="connsiteY6" fmla="*/ 1120737 h 1134862"/>
                <a:gd name="connsiteX7" fmla="*/ 426463 w 1867224"/>
                <a:gd name="connsiteY7" fmla="*/ 1087780 h 1134862"/>
                <a:gd name="connsiteX8" fmla="*/ 459395 w 1867224"/>
                <a:gd name="connsiteY8" fmla="*/ 955953 h 1134862"/>
                <a:gd name="connsiteX9" fmla="*/ 934552 w 1867224"/>
                <a:gd name="connsiteY9" fmla="*/ 833541 h 1134862"/>
                <a:gd name="connsiteX10" fmla="*/ 933957 w 1867224"/>
                <a:gd name="connsiteY10" fmla="*/ 400030 h 1134862"/>
                <a:gd name="connsiteX11" fmla="*/ 1621680 w 1867224"/>
                <a:gd name="connsiteY11" fmla="*/ 583594 h 1134862"/>
                <a:gd name="connsiteX12" fmla="*/ 1654653 w 1867224"/>
                <a:gd name="connsiteY12" fmla="*/ 710677 h 1134862"/>
                <a:gd name="connsiteX13" fmla="*/ 1574576 w 1867224"/>
                <a:gd name="connsiteY13" fmla="*/ 757744 h 1134862"/>
                <a:gd name="connsiteX14" fmla="*/ 1527472 w 1867224"/>
                <a:gd name="connsiteY14" fmla="*/ 743624 h 1134862"/>
                <a:gd name="connsiteX15" fmla="*/ 933957 w 1867224"/>
                <a:gd name="connsiteY15" fmla="*/ 588301 h 1134862"/>
                <a:gd name="connsiteX16" fmla="*/ 340443 w 1867224"/>
                <a:gd name="connsiteY16" fmla="*/ 743624 h 1134862"/>
                <a:gd name="connsiteX17" fmla="*/ 208551 w 1867224"/>
                <a:gd name="connsiteY17" fmla="*/ 710677 h 1134862"/>
                <a:gd name="connsiteX18" fmla="*/ 246234 w 1867224"/>
                <a:gd name="connsiteY18" fmla="*/ 583594 h 1134862"/>
                <a:gd name="connsiteX19" fmla="*/ 933957 w 1867224"/>
                <a:gd name="connsiteY19" fmla="*/ 400030 h 1134862"/>
                <a:gd name="connsiteX20" fmla="*/ 934842 w 1867224"/>
                <a:gd name="connsiteY20" fmla="*/ 0 h 1134862"/>
                <a:gd name="connsiteX21" fmla="*/ 1820793 w 1867224"/>
                <a:gd name="connsiteY21" fmla="*/ 234966 h 1134862"/>
                <a:gd name="connsiteX22" fmla="*/ 1853780 w 1867224"/>
                <a:gd name="connsiteY22" fmla="*/ 361848 h 1134862"/>
                <a:gd name="connsiteX23" fmla="*/ 1773668 w 1867224"/>
                <a:gd name="connsiteY23" fmla="*/ 408841 h 1134862"/>
                <a:gd name="connsiteX24" fmla="*/ 1726542 w 1867224"/>
                <a:gd name="connsiteY24" fmla="*/ 399442 h 1134862"/>
                <a:gd name="connsiteX25" fmla="*/ 934842 w 1867224"/>
                <a:gd name="connsiteY25" fmla="*/ 187973 h 1134862"/>
                <a:gd name="connsiteX26" fmla="*/ 143142 w 1867224"/>
                <a:gd name="connsiteY26" fmla="*/ 399442 h 1134862"/>
                <a:gd name="connsiteX27" fmla="*/ 11192 w 1867224"/>
                <a:gd name="connsiteY27" fmla="*/ 361848 h 1134862"/>
                <a:gd name="connsiteX28" fmla="*/ 48892 w 1867224"/>
                <a:gd name="connsiteY28" fmla="*/ 234966 h 1134862"/>
                <a:gd name="connsiteX29" fmla="*/ 934842 w 1867224"/>
                <a:gd name="connsiteY29" fmla="*/ 0 h 113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67224" h="1134862">
                  <a:moveTo>
                    <a:pt x="934552" y="833541"/>
                  </a:moveTo>
                  <a:cubicBezTo>
                    <a:pt x="1099211" y="833541"/>
                    <a:pt x="1263869" y="875914"/>
                    <a:pt x="1405004" y="955953"/>
                  </a:cubicBezTo>
                  <a:cubicBezTo>
                    <a:pt x="1452050" y="984201"/>
                    <a:pt x="1466163" y="1040699"/>
                    <a:pt x="1442641" y="1087780"/>
                  </a:cubicBezTo>
                  <a:cubicBezTo>
                    <a:pt x="1423823" y="1116029"/>
                    <a:pt x="1390891" y="1134862"/>
                    <a:pt x="1357959" y="1134862"/>
                  </a:cubicBezTo>
                  <a:cubicBezTo>
                    <a:pt x="1343846" y="1134862"/>
                    <a:pt x="1329732" y="1130154"/>
                    <a:pt x="1315619" y="1120737"/>
                  </a:cubicBezTo>
                  <a:cubicBezTo>
                    <a:pt x="1198005" y="1054823"/>
                    <a:pt x="1066279" y="1021867"/>
                    <a:pt x="934552" y="1021867"/>
                  </a:cubicBezTo>
                  <a:cubicBezTo>
                    <a:pt x="798121" y="1021867"/>
                    <a:pt x="671099" y="1054823"/>
                    <a:pt x="553485" y="1120737"/>
                  </a:cubicBezTo>
                  <a:cubicBezTo>
                    <a:pt x="506440" y="1148986"/>
                    <a:pt x="449986" y="1130154"/>
                    <a:pt x="426463" y="1087780"/>
                  </a:cubicBezTo>
                  <a:cubicBezTo>
                    <a:pt x="398236" y="1040699"/>
                    <a:pt x="417054" y="984201"/>
                    <a:pt x="459395" y="955953"/>
                  </a:cubicBezTo>
                  <a:cubicBezTo>
                    <a:pt x="605235" y="875914"/>
                    <a:pt x="769894" y="833541"/>
                    <a:pt x="934552" y="833541"/>
                  </a:cubicBezTo>
                  <a:close/>
                  <a:moveTo>
                    <a:pt x="933957" y="400030"/>
                  </a:moveTo>
                  <a:cubicBezTo>
                    <a:pt x="1174189" y="400030"/>
                    <a:pt x="1414421" y="461218"/>
                    <a:pt x="1621680" y="583594"/>
                  </a:cubicBezTo>
                  <a:cubicBezTo>
                    <a:pt x="1664074" y="607128"/>
                    <a:pt x="1682915" y="663609"/>
                    <a:pt x="1654653" y="710677"/>
                  </a:cubicBezTo>
                  <a:cubicBezTo>
                    <a:pt x="1640521" y="738917"/>
                    <a:pt x="1607549" y="757744"/>
                    <a:pt x="1574576" y="757744"/>
                  </a:cubicBezTo>
                  <a:cubicBezTo>
                    <a:pt x="1555734" y="757744"/>
                    <a:pt x="1541603" y="753037"/>
                    <a:pt x="1527472" y="743624"/>
                  </a:cubicBezTo>
                  <a:cubicBezTo>
                    <a:pt x="1348475" y="644782"/>
                    <a:pt x="1141216" y="588301"/>
                    <a:pt x="933957" y="588301"/>
                  </a:cubicBezTo>
                  <a:cubicBezTo>
                    <a:pt x="726699" y="588301"/>
                    <a:pt x="519439" y="644782"/>
                    <a:pt x="340443" y="743624"/>
                  </a:cubicBezTo>
                  <a:cubicBezTo>
                    <a:pt x="293338" y="771864"/>
                    <a:pt x="236814" y="757744"/>
                    <a:pt x="208551" y="710677"/>
                  </a:cubicBezTo>
                  <a:cubicBezTo>
                    <a:pt x="184999" y="663609"/>
                    <a:pt x="199130" y="607128"/>
                    <a:pt x="246234" y="583594"/>
                  </a:cubicBezTo>
                  <a:cubicBezTo>
                    <a:pt x="453494" y="461218"/>
                    <a:pt x="693725" y="400030"/>
                    <a:pt x="933957" y="400030"/>
                  </a:cubicBezTo>
                  <a:close/>
                  <a:moveTo>
                    <a:pt x="934842" y="0"/>
                  </a:moveTo>
                  <a:cubicBezTo>
                    <a:pt x="1245868" y="0"/>
                    <a:pt x="1552180" y="79889"/>
                    <a:pt x="1820793" y="234966"/>
                  </a:cubicBezTo>
                  <a:cubicBezTo>
                    <a:pt x="1863205" y="258462"/>
                    <a:pt x="1882055" y="314855"/>
                    <a:pt x="1853780" y="361848"/>
                  </a:cubicBezTo>
                  <a:cubicBezTo>
                    <a:pt x="1839643" y="394743"/>
                    <a:pt x="1806655" y="408841"/>
                    <a:pt x="1773668" y="408841"/>
                  </a:cubicBezTo>
                  <a:cubicBezTo>
                    <a:pt x="1759530" y="408841"/>
                    <a:pt x="1740680" y="404141"/>
                    <a:pt x="1726542" y="399442"/>
                  </a:cubicBezTo>
                  <a:cubicBezTo>
                    <a:pt x="1486205" y="258462"/>
                    <a:pt x="1212880" y="187973"/>
                    <a:pt x="934842" y="187973"/>
                  </a:cubicBezTo>
                  <a:cubicBezTo>
                    <a:pt x="656805" y="187973"/>
                    <a:pt x="383480" y="258462"/>
                    <a:pt x="143142" y="399442"/>
                  </a:cubicBezTo>
                  <a:cubicBezTo>
                    <a:pt x="96018" y="422938"/>
                    <a:pt x="39467" y="408841"/>
                    <a:pt x="11192" y="361848"/>
                  </a:cubicBezTo>
                  <a:cubicBezTo>
                    <a:pt x="-12370" y="314855"/>
                    <a:pt x="1767" y="258462"/>
                    <a:pt x="48892" y="234966"/>
                  </a:cubicBezTo>
                  <a:cubicBezTo>
                    <a:pt x="317505" y="79889"/>
                    <a:pt x="623817" y="0"/>
                    <a:pt x="934842" y="0"/>
                  </a:cubicBezTo>
                  <a:close/>
                </a:path>
              </a:pathLst>
            </a:custGeom>
            <a:solidFill>
              <a:schemeClr val="accent2">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Microsoft Sans Serif"/>
                <a:ea typeface="+mn-ea"/>
                <a:cs typeface="+mn-cs"/>
              </a:endParaRPr>
            </a:p>
          </p:txBody>
        </p:sp>
      </p:grpSp>
      <p:sp>
        <p:nvSpPr>
          <p:cNvPr id="18" name="Rectangle 17">
            <a:extLst>
              <a:ext uri="{FF2B5EF4-FFF2-40B4-BE49-F238E27FC236}">
                <a16:creationId xmlns:a16="http://schemas.microsoft.com/office/drawing/2014/main" id="{9C79BF79-09A2-4D32-A0B3-F05EB12EE6A8}"/>
              </a:ext>
            </a:extLst>
          </p:cNvPr>
          <p:cNvSpPr/>
          <p:nvPr/>
        </p:nvSpPr>
        <p:spPr>
          <a:xfrm>
            <a:off x="603301" y="2566549"/>
            <a:ext cx="1433758" cy="255039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Emergency Service Provider</a:t>
            </a:r>
            <a:endParaRPr lang="en-US" sz="1400" err="1">
              <a:solidFill>
                <a:schemeClr val="bg1"/>
              </a:solidFill>
              <a:latin typeface="Microsoft Sans Serif"/>
              <a:cs typeface="Microsoft Sans Serif" panose="020B0604020202020204" pitchFamily="34" charset="0"/>
            </a:endParaRPr>
          </a:p>
        </p:txBody>
      </p:sp>
      <p:sp>
        <p:nvSpPr>
          <p:cNvPr id="19" name="Arrow: Right 18">
            <a:extLst>
              <a:ext uri="{FF2B5EF4-FFF2-40B4-BE49-F238E27FC236}">
                <a16:creationId xmlns:a16="http://schemas.microsoft.com/office/drawing/2014/main" id="{FC934750-3D78-4C36-B7AB-E57BACE3C731}"/>
              </a:ext>
            </a:extLst>
          </p:cNvPr>
          <p:cNvSpPr/>
          <p:nvPr/>
        </p:nvSpPr>
        <p:spPr>
          <a:xfrm>
            <a:off x="2109950" y="2199543"/>
            <a:ext cx="2501235" cy="697914"/>
          </a:xfrm>
          <a:prstGeom prs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Emergency Media Service</a:t>
            </a:r>
            <a:endParaRPr lang="en-US" sz="1400" err="1">
              <a:solidFill>
                <a:schemeClr val="bg1"/>
              </a:solidFill>
              <a:latin typeface="Microsoft Sans Serif"/>
              <a:cs typeface="Microsoft Sans Serif" panose="020B0604020202020204" pitchFamily="34" charset="0"/>
            </a:endParaRPr>
          </a:p>
        </p:txBody>
      </p:sp>
      <p:sp>
        <p:nvSpPr>
          <p:cNvPr id="20" name="Arrow: Right 19">
            <a:extLst>
              <a:ext uri="{FF2B5EF4-FFF2-40B4-BE49-F238E27FC236}">
                <a16:creationId xmlns:a16="http://schemas.microsoft.com/office/drawing/2014/main" id="{BFA99AFB-B06B-4338-9E04-01DC7FB37AD5}"/>
              </a:ext>
            </a:extLst>
          </p:cNvPr>
          <p:cNvSpPr/>
          <p:nvPr/>
        </p:nvSpPr>
        <p:spPr>
          <a:xfrm rot="20282595">
            <a:off x="2128707" y="3033617"/>
            <a:ext cx="3095224" cy="68213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Emergency Alerts</a:t>
            </a:r>
            <a:endParaRPr lang="en-US" sz="1400" err="1">
              <a:solidFill>
                <a:schemeClr val="bg1"/>
              </a:solidFill>
              <a:latin typeface="Microsoft Sans Serif"/>
              <a:cs typeface="Microsoft Sans Serif" panose="020B0604020202020204" pitchFamily="34" charset="0"/>
            </a:endParaRPr>
          </a:p>
        </p:txBody>
      </p:sp>
      <p:sp>
        <p:nvSpPr>
          <p:cNvPr id="21" name="Arrow: Right 20">
            <a:extLst>
              <a:ext uri="{FF2B5EF4-FFF2-40B4-BE49-F238E27FC236}">
                <a16:creationId xmlns:a16="http://schemas.microsoft.com/office/drawing/2014/main" id="{ADBECEBC-98F4-4D4E-AA57-7ED7A9EDB717}"/>
              </a:ext>
            </a:extLst>
          </p:cNvPr>
          <p:cNvSpPr/>
          <p:nvPr/>
        </p:nvSpPr>
        <p:spPr>
          <a:xfrm>
            <a:off x="7020315" y="2010813"/>
            <a:ext cx="1943161" cy="697914"/>
          </a:xfrm>
          <a:prstGeom prs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Emergency Media Service</a:t>
            </a:r>
            <a:endParaRPr lang="en-US" sz="1400">
              <a:solidFill>
                <a:schemeClr val="bg1"/>
              </a:solidFill>
              <a:latin typeface="Microsoft Sans Serif"/>
              <a:cs typeface="Microsoft Sans Serif" panose="020B0604020202020204" pitchFamily="34" charset="0"/>
            </a:endParaRPr>
          </a:p>
        </p:txBody>
      </p:sp>
      <p:sp>
        <p:nvSpPr>
          <p:cNvPr id="22" name="Arrow: Right 21">
            <a:extLst>
              <a:ext uri="{FF2B5EF4-FFF2-40B4-BE49-F238E27FC236}">
                <a16:creationId xmlns:a16="http://schemas.microsoft.com/office/drawing/2014/main" id="{7CD79417-403C-4B4A-B0CB-C4ED1B234711}"/>
              </a:ext>
            </a:extLst>
          </p:cNvPr>
          <p:cNvSpPr/>
          <p:nvPr/>
        </p:nvSpPr>
        <p:spPr>
          <a:xfrm>
            <a:off x="7064067" y="2707631"/>
            <a:ext cx="1915751" cy="68213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Emergency Alerts</a:t>
            </a:r>
            <a:endParaRPr lang="en-US" sz="1400" err="1">
              <a:solidFill>
                <a:schemeClr val="bg1"/>
              </a:solidFill>
              <a:latin typeface="Microsoft Sans Serif"/>
              <a:cs typeface="Microsoft Sans Serif" panose="020B0604020202020204" pitchFamily="34" charset="0"/>
            </a:endParaRPr>
          </a:p>
        </p:txBody>
      </p:sp>
      <p:sp>
        <p:nvSpPr>
          <p:cNvPr id="23" name="Rectangle 22">
            <a:extLst>
              <a:ext uri="{FF2B5EF4-FFF2-40B4-BE49-F238E27FC236}">
                <a16:creationId xmlns:a16="http://schemas.microsoft.com/office/drawing/2014/main" id="{30A2DBCF-FB98-4228-BEE9-59E91DB19F87}"/>
              </a:ext>
            </a:extLst>
          </p:cNvPr>
          <p:cNvSpPr/>
          <p:nvPr/>
        </p:nvSpPr>
        <p:spPr>
          <a:xfrm>
            <a:off x="584537" y="1654096"/>
            <a:ext cx="1433758" cy="82049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Broadcast Service Provider</a:t>
            </a:r>
            <a:endParaRPr lang="en-US" sz="1400" err="1">
              <a:solidFill>
                <a:schemeClr val="bg1"/>
              </a:solidFill>
              <a:latin typeface="Microsoft Sans Serif"/>
              <a:cs typeface="Microsoft Sans Serif" panose="020B0604020202020204" pitchFamily="34" charset="0"/>
            </a:endParaRPr>
          </a:p>
        </p:txBody>
      </p:sp>
      <p:sp>
        <p:nvSpPr>
          <p:cNvPr id="24" name="Arrow: Right 23">
            <a:extLst>
              <a:ext uri="{FF2B5EF4-FFF2-40B4-BE49-F238E27FC236}">
                <a16:creationId xmlns:a16="http://schemas.microsoft.com/office/drawing/2014/main" id="{4E812729-4F54-4556-A708-8C67921EF886}"/>
              </a:ext>
            </a:extLst>
          </p:cNvPr>
          <p:cNvSpPr/>
          <p:nvPr/>
        </p:nvSpPr>
        <p:spPr>
          <a:xfrm>
            <a:off x="2109950" y="1503091"/>
            <a:ext cx="2501235" cy="69791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Broadcast Media Service</a:t>
            </a:r>
            <a:endParaRPr lang="en-US" sz="1400" err="1">
              <a:solidFill>
                <a:schemeClr val="bg1"/>
              </a:solidFill>
              <a:latin typeface="Microsoft Sans Serif"/>
              <a:cs typeface="Microsoft Sans Serif" panose="020B0604020202020204" pitchFamily="34" charset="0"/>
            </a:endParaRPr>
          </a:p>
        </p:txBody>
      </p:sp>
      <p:sp>
        <p:nvSpPr>
          <p:cNvPr id="25" name="Arrow: Right 24">
            <a:extLst>
              <a:ext uri="{FF2B5EF4-FFF2-40B4-BE49-F238E27FC236}">
                <a16:creationId xmlns:a16="http://schemas.microsoft.com/office/drawing/2014/main" id="{8F7FE390-4DFB-4818-BD03-916ADB4B5185}"/>
              </a:ext>
            </a:extLst>
          </p:cNvPr>
          <p:cNvSpPr/>
          <p:nvPr/>
        </p:nvSpPr>
        <p:spPr>
          <a:xfrm>
            <a:off x="6973170" y="1290932"/>
            <a:ext cx="1990307" cy="69791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lnSpc>
                <a:spcPct val="96000"/>
              </a:lnSpc>
            </a:pPr>
            <a:r>
              <a:rPr lang="de-DE" sz="1400">
                <a:solidFill>
                  <a:schemeClr val="bg1"/>
                </a:solidFill>
                <a:latin typeface="Microsoft Sans Serif"/>
                <a:cs typeface="Microsoft Sans Serif" panose="020B0604020202020204" pitchFamily="34" charset="0"/>
              </a:rPr>
              <a:t>Broadcast Media Service</a:t>
            </a:r>
            <a:endParaRPr lang="en-US" sz="1400" err="1">
              <a:solidFill>
                <a:schemeClr val="bg1"/>
              </a:solidFill>
              <a:latin typeface="Microsoft Sans Serif"/>
              <a:cs typeface="Microsoft Sans Serif" panose="020B0604020202020204" pitchFamily="34" charset="0"/>
            </a:endParaRPr>
          </a:p>
        </p:txBody>
      </p:sp>
      <p:sp>
        <p:nvSpPr>
          <p:cNvPr id="4" name="TextBox 3">
            <a:extLst>
              <a:ext uri="{FF2B5EF4-FFF2-40B4-BE49-F238E27FC236}">
                <a16:creationId xmlns:a16="http://schemas.microsoft.com/office/drawing/2014/main" id="{08138E87-3CE5-415B-8F93-BC780C6392AE}"/>
              </a:ext>
            </a:extLst>
          </p:cNvPr>
          <p:cNvSpPr txBox="1"/>
          <p:nvPr/>
        </p:nvSpPr>
        <p:spPr>
          <a:xfrm>
            <a:off x="3559344" y="3975276"/>
            <a:ext cx="8123068" cy="1595437"/>
          </a:xfrm>
          <a:prstGeom prst="rect">
            <a:avLst/>
          </a:prstGeom>
        </p:spPr>
        <p:txBody>
          <a:bodyPr wrap="square" lIns="0" tIns="0" rIns="0" bIns="0" rtlCol="0">
            <a:spAutoFit/>
          </a:bodyPr>
          <a:lstStyle/>
          <a:p>
            <a:pPr algn="l">
              <a:lnSpc>
                <a:spcPct val="96000"/>
              </a:lnSpc>
            </a:pPr>
            <a:r>
              <a:rPr lang="en-US" dirty="0">
                <a:solidFill>
                  <a:schemeClr val="tx2"/>
                </a:solidFill>
                <a:latin typeface="Microsoft Sans Serif"/>
                <a:cs typeface="Microsoft Sans Serif" panose="020B0604020202020204" pitchFamily="34" charset="0"/>
              </a:rPr>
              <a:t>Possibility of sending an </a:t>
            </a:r>
            <a:r>
              <a:rPr lang="en-US" b="1" dirty="0">
                <a:solidFill>
                  <a:schemeClr val="bg2"/>
                </a:solidFill>
                <a:latin typeface="Microsoft Sans Serif"/>
                <a:cs typeface="Microsoft Sans Serif" panose="020B0604020202020204" pitchFamily="34" charset="0"/>
              </a:rPr>
              <a:t>emergency message directly to handsets </a:t>
            </a:r>
          </a:p>
          <a:p>
            <a:pPr marL="285750" indent="-285750" algn="l">
              <a:lnSpc>
                <a:spcPct val="96000"/>
              </a:lnSpc>
              <a:buFont typeface="Arial" panose="020B0604020202020204" pitchFamily="34" charset="0"/>
              <a:buChar char="•"/>
            </a:pPr>
            <a:r>
              <a:rPr lang="en-US" dirty="0">
                <a:solidFill>
                  <a:schemeClr val="tx2"/>
                </a:solidFill>
                <a:latin typeface="Microsoft Sans Serif"/>
                <a:cs typeface="Microsoft Sans Serif" panose="020B0604020202020204" pitchFamily="34" charset="0"/>
              </a:rPr>
              <a:t>UE is consuming 5G broadcast media service</a:t>
            </a:r>
          </a:p>
          <a:p>
            <a:pPr marL="285750" indent="-285750" algn="l">
              <a:lnSpc>
                <a:spcPct val="96000"/>
              </a:lnSpc>
              <a:buFont typeface="Arial" panose="020B0604020202020204" pitchFamily="34" charset="0"/>
              <a:buChar char="•"/>
            </a:pPr>
            <a:r>
              <a:rPr lang="en-US" dirty="0">
                <a:solidFill>
                  <a:schemeClr val="tx2"/>
                </a:solidFill>
                <a:latin typeface="Microsoft Sans Serif"/>
                <a:cs typeface="Microsoft Sans Serif" panose="020B0604020202020204" pitchFamily="34" charset="0"/>
              </a:rPr>
              <a:t>cellular network is damaged due to disaster (see Germany 2021).</a:t>
            </a:r>
          </a:p>
          <a:p>
            <a:pPr marL="285750" indent="-285750" algn="l">
              <a:lnSpc>
                <a:spcPct val="96000"/>
              </a:lnSpc>
              <a:buFont typeface="Arial" panose="020B0604020202020204" pitchFamily="34" charset="0"/>
              <a:buChar char="•"/>
            </a:pPr>
            <a:r>
              <a:rPr lang="en-US" dirty="0">
                <a:solidFill>
                  <a:schemeClr val="tx2"/>
                </a:solidFill>
                <a:latin typeface="Microsoft Sans Serif"/>
                <a:cs typeface="Microsoft Sans Serif" panose="020B0604020202020204" pitchFamily="34" charset="0"/>
              </a:rPr>
              <a:t>UE is out of cellular coverage</a:t>
            </a:r>
          </a:p>
          <a:p>
            <a:pPr marL="285750" indent="-285750" algn="l">
              <a:lnSpc>
                <a:spcPct val="96000"/>
              </a:lnSpc>
              <a:buFont typeface="Arial" panose="020B0604020202020204" pitchFamily="34" charset="0"/>
              <a:buChar char="•"/>
            </a:pPr>
            <a:r>
              <a:rPr lang="en-US" dirty="0">
                <a:solidFill>
                  <a:schemeClr val="tx2"/>
                </a:solidFill>
                <a:latin typeface="Microsoft Sans Serif"/>
                <a:cs typeface="Microsoft Sans Serif" panose="020B0604020202020204" pitchFamily="34" charset="0"/>
              </a:rPr>
              <a:t>Device does not support an cellular reception</a:t>
            </a:r>
          </a:p>
          <a:p>
            <a:pPr algn="l">
              <a:lnSpc>
                <a:spcPct val="96000"/>
              </a:lnSpc>
            </a:pPr>
            <a:r>
              <a:rPr lang="en-US" dirty="0">
                <a:solidFill>
                  <a:schemeClr val="tx2"/>
                </a:solidFill>
                <a:latin typeface="Microsoft Sans Serif"/>
                <a:cs typeface="Microsoft Sans Serif" panose="020B0604020202020204" pitchFamily="34" charset="0"/>
              </a:rPr>
              <a:t>5G broadcast viewed as complementary </a:t>
            </a:r>
            <a:r>
              <a:rPr lang="en-US" b="1" dirty="0">
                <a:solidFill>
                  <a:schemeClr val="bg2"/>
                </a:solidFill>
                <a:latin typeface="Microsoft Sans Serif"/>
                <a:cs typeface="Microsoft Sans Serif" panose="020B0604020202020204" pitchFamily="34" charset="0"/>
              </a:rPr>
              <a:t>“resiliency layer” </a:t>
            </a:r>
            <a:r>
              <a:rPr lang="en-US" dirty="0">
                <a:solidFill>
                  <a:schemeClr val="tx2"/>
                </a:solidFill>
                <a:latin typeface="Microsoft Sans Serif"/>
                <a:cs typeface="Microsoft Sans Serif" panose="020B0604020202020204" pitchFamily="34" charset="0"/>
              </a:rPr>
              <a:t>in case of disaster.</a:t>
            </a:r>
          </a:p>
        </p:txBody>
      </p:sp>
      <p:grpSp>
        <p:nvGrpSpPr>
          <p:cNvPr id="30" name="Group 29">
            <a:extLst>
              <a:ext uri="{FF2B5EF4-FFF2-40B4-BE49-F238E27FC236}">
                <a16:creationId xmlns:a16="http://schemas.microsoft.com/office/drawing/2014/main" id="{9BAAC260-D1EC-4D3D-9D02-DC3719DAB9F2}"/>
              </a:ext>
            </a:extLst>
          </p:cNvPr>
          <p:cNvGrpSpPr>
            <a:grpSpLocks noChangeAspect="1"/>
          </p:cNvGrpSpPr>
          <p:nvPr/>
        </p:nvGrpSpPr>
        <p:grpSpPr>
          <a:xfrm>
            <a:off x="9516075" y="1915223"/>
            <a:ext cx="573779" cy="1063625"/>
            <a:chOff x="5434013" y="2201863"/>
            <a:chExt cx="1323975" cy="2454275"/>
          </a:xfrm>
        </p:grpSpPr>
        <p:sp>
          <p:nvSpPr>
            <p:cNvPr id="31" name="Freeform 5">
              <a:extLst>
                <a:ext uri="{FF2B5EF4-FFF2-40B4-BE49-F238E27FC236}">
                  <a16:creationId xmlns:a16="http://schemas.microsoft.com/office/drawing/2014/main" id="{E1E4C609-5DB8-4A6E-92B4-9514740FA297}"/>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32" name="Freeform: Shape 15">
              <a:extLst>
                <a:ext uri="{FF2B5EF4-FFF2-40B4-BE49-F238E27FC236}">
                  <a16:creationId xmlns:a16="http://schemas.microsoft.com/office/drawing/2014/main" id="{4CF8C66D-E323-4726-BBDA-C79D70FF076B}"/>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cxnSp>
        <p:nvCxnSpPr>
          <p:cNvPr id="6" name="Connector: Curved 5">
            <a:extLst>
              <a:ext uri="{FF2B5EF4-FFF2-40B4-BE49-F238E27FC236}">
                <a16:creationId xmlns:a16="http://schemas.microsoft.com/office/drawing/2014/main" id="{24C0A88E-D012-436B-963E-189EA9125199}"/>
              </a:ext>
            </a:extLst>
          </p:cNvPr>
          <p:cNvCxnSpPr>
            <a:cxnSpLocks/>
          </p:cNvCxnSpPr>
          <p:nvPr/>
        </p:nvCxnSpPr>
        <p:spPr>
          <a:xfrm rot="5400000" flipH="1" flipV="1">
            <a:off x="7772367" y="2561985"/>
            <a:ext cx="384332" cy="299313"/>
          </a:xfrm>
          <a:prstGeom prst="curvedConnector3">
            <a:avLst/>
          </a:prstGeom>
          <a:ln w="28575" cap="rnd">
            <a:solidFill>
              <a:schemeClr val="accent1"/>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7978628-039E-4B51-B5FD-9C05FF7080E5}"/>
              </a:ext>
            </a:extLst>
          </p:cNvPr>
          <p:cNvSpPr txBox="1"/>
          <p:nvPr/>
        </p:nvSpPr>
        <p:spPr>
          <a:xfrm>
            <a:off x="7538587" y="2610309"/>
            <a:ext cx="306174" cy="177293"/>
          </a:xfrm>
          <a:prstGeom prst="rect">
            <a:avLst/>
          </a:prstGeom>
        </p:spPr>
        <p:txBody>
          <a:bodyPr wrap="none" lIns="0" tIns="0" rIns="0" bIns="0" rtlCol="0">
            <a:spAutoFit/>
          </a:bodyPr>
          <a:lstStyle/>
          <a:p>
            <a:pPr algn="l">
              <a:lnSpc>
                <a:spcPct val="96000"/>
              </a:lnSpc>
            </a:pPr>
            <a:r>
              <a:rPr lang="en-US" sz="1200" b="1">
                <a:solidFill>
                  <a:schemeClr val="accent1"/>
                </a:solidFill>
                <a:latin typeface="Microsoft Sans Serif"/>
                <a:cs typeface="Microsoft Sans Serif" panose="020B0604020202020204" pitchFamily="34" charset="0"/>
              </a:rPr>
              <a:t>URL</a:t>
            </a:r>
          </a:p>
        </p:txBody>
      </p:sp>
      <p:sp>
        <p:nvSpPr>
          <p:cNvPr id="26" name="TextBox 25">
            <a:extLst>
              <a:ext uri="{FF2B5EF4-FFF2-40B4-BE49-F238E27FC236}">
                <a16:creationId xmlns:a16="http://schemas.microsoft.com/office/drawing/2014/main" id="{9C91D47D-9267-4355-A8F1-F02467D6A876}"/>
              </a:ext>
            </a:extLst>
          </p:cNvPr>
          <p:cNvSpPr txBox="1"/>
          <p:nvPr/>
        </p:nvSpPr>
        <p:spPr>
          <a:xfrm>
            <a:off x="584537" y="5813763"/>
            <a:ext cx="11187112" cy="265907"/>
          </a:xfrm>
          <a:prstGeom prst="rect">
            <a:avLst/>
          </a:prstGeom>
        </p:spPr>
        <p:txBody>
          <a:bodyPr wrap="square" lIns="0" tIns="0" rIns="0" bIns="0" rtlCol="0">
            <a:spAutoFit/>
          </a:bodyPr>
          <a:lstStyle/>
          <a:p>
            <a:pPr algn="l">
              <a:lnSpc>
                <a:spcPct val="96000"/>
              </a:lnSpc>
            </a:pPr>
            <a:r>
              <a:rPr lang="en-US" dirty="0">
                <a:solidFill>
                  <a:schemeClr val="tx2"/>
                </a:solidFill>
                <a:latin typeface="Microsoft Sans Serif"/>
                <a:cs typeface="Microsoft Sans Serif" panose="020B0604020202020204" pitchFamily="34" charset="0"/>
              </a:rPr>
              <a:t>Emergency media can be accessed by means of a URL in the CMAS message (which supports text-only) </a:t>
            </a:r>
          </a:p>
        </p:txBody>
      </p:sp>
      <p:sp>
        <p:nvSpPr>
          <p:cNvPr id="5" name="Cloud 4">
            <a:extLst>
              <a:ext uri="{FF2B5EF4-FFF2-40B4-BE49-F238E27FC236}">
                <a16:creationId xmlns:a16="http://schemas.microsoft.com/office/drawing/2014/main" id="{4E9342C0-40DF-0F20-878D-25D4CF937288}"/>
              </a:ext>
            </a:extLst>
          </p:cNvPr>
          <p:cNvSpPr/>
          <p:nvPr/>
        </p:nvSpPr>
        <p:spPr>
          <a:xfrm>
            <a:off x="9234487" y="37543"/>
            <a:ext cx="2633663" cy="1489314"/>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Details in ETSI TS 103 720</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00302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20220826_ABS_demo">
            <a:hlinkClick r:id="" action="ppaction://media"/>
            <a:extLst>
              <a:ext uri="{FF2B5EF4-FFF2-40B4-BE49-F238E27FC236}">
                <a16:creationId xmlns:a16="http://schemas.microsoft.com/office/drawing/2014/main" id="{4D018374-08A6-4A57-9591-E4ABE007E03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658374" y="1310168"/>
            <a:ext cx="7533626" cy="4237664"/>
          </a:xfrm>
          <a:prstGeom prst="rect">
            <a:avLst/>
          </a:prstGeom>
          <a:noFill/>
        </p:spPr>
      </p:pic>
      <p:sp>
        <p:nvSpPr>
          <p:cNvPr id="6" name="TextBox 5">
            <a:extLst>
              <a:ext uri="{FF2B5EF4-FFF2-40B4-BE49-F238E27FC236}">
                <a16:creationId xmlns:a16="http://schemas.microsoft.com/office/drawing/2014/main" id="{672D005C-93B6-47B5-A633-1183BCDC1A08}"/>
              </a:ext>
            </a:extLst>
          </p:cNvPr>
          <p:cNvSpPr txBox="1"/>
          <p:nvPr/>
        </p:nvSpPr>
        <p:spPr bwMode="gray">
          <a:xfrm>
            <a:off x="495300" y="4743450"/>
            <a:ext cx="3556000" cy="1657341"/>
          </a:xfrm>
          <a:prstGeom prst="rect">
            <a:avLst/>
          </a:prstGeom>
        </p:spPr>
        <p:txBody>
          <a:bodyPr vert="horz" lIns="0" tIns="0" rIns="0" bIns="0" rtlCol="0" anchor="t">
            <a:normAutofit/>
          </a:bodyPr>
          <a:lstStyle/>
          <a:p>
            <a:pPr>
              <a:lnSpc>
                <a:spcPct val="96000"/>
              </a:lnSpc>
              <a:spcBef>
                <a:spcPts val="1200"/>
              </a:spcBef>
              <a:spcAft>
                <a:spcPts val="300"/>
              </a:spcAft>
              <a:buClr>
                <a:schemeClr val="bg1"/>
              </a:buClr>
            </a:pPr>
            <a:r>
              <a:rPr lang="en-US" sz="1500" b="1" kern="1200" baseline="0" dirty="0">
                <a:solidFill>
                  <a:schemeClr val="bg1"/>
                </a:solidFill>
                <a:latin typeface="+mn-lt"/>
                <a:ea typeface="+mn-ea"/>
                <a:cs typeface="+mn-cs"/>
              </a:rPr>
              <a:t>Self-contained emergency system (text + multimedia) without need of unicast.</a:t>
            </a:r>
          </a:p>
        </p:txBody>
      </p:sp>
      <p:sp>
        <p:nvSpPr>
          <p:cNvPr id="4" name="Footer Placeholder 3">
            <a:extLst>
              <a:ext uri="{FF2B5EF4-FFF2-40B4-BE49-F238E27FC236}">
                <a16:creationId xmlns:a16="http://schemas.microsoft.com/office/drawing/2014/main" id="{1567C13A-3C99-D34A-3786-DA45C32EFD0E}"/>
              </a:ext>
            </a:extLst>
          </p:cNvPr>
          <p:cNvSpPr>
            <a:spLocks noGrp="1"/>
          </p:cNvSpPr>
          <p:nvPr>
            <p:ph type="ftr" sz="quarter" idx="16"/>
          </p:nvPr>
        </p:nvSpPr>
        <p:spPr>
          <a:xfrm>
            <a:off x="495300" y="6532895"/>
            <a:ext cx="3557016" cy="118174"/>
          </a:xfrm>
        </p:spPr>
        <p:txBody>
          <a:bodyPr vert="horz" wrap="square" lIns="0" tIns="0" rIns="0" bIns="0" rtlCol="0" anchor="b">
            <a:normAutofit/>
          </a:bodyPr>
          <a:lstStyle/>
          <a:p>
            <a:r>
              <a:rPr lang="en-US" kern="1200" baseline="0">
                <a:latin typeface="+mn-lt"/>
                <a:ea typeface="+mn-ea"/>
                <a:cs typeface="+mn-cs"/>
              </a:rPr>
              <a:t>IBC 2023</a:t>
            </a:r>
          </a:p>
        </p:txBody>
      </p:sp>
      <p:sp>
        <p:nvSpPr>
          <p:cNvPr id="3" name="Title 2">
            <a:extLst>
              <a:ext uri="{FF2B5EF4-FFF2-40B4-BE49-F238E27FC236}">
                <a16:creationId xmlns:a16="http://schemas.microsoft.com/office/drawing/2014/main" id="{B6A49ECD-A486-44C9-B614-FA049BFF4CF3}"/>
              </a:ext>
            </a:extLst>
          </p:cNvPr>
          <p:cNvSpPr>
            <a:spLocks noGrp="1"/>
          </p:cNvSpPr>
          <p:nvPr>
            <p:ph type="title"/>
          </p:nvPr>
        </p:nvSpPr>
        <p:spPr>
          <a:xfrm>
            <a:off x="495300" y="2797094"/>
            <a:ext cx="3574220" cy="1787605"/>
          </a:xfrm>
        </p:spPr>
        <p:txBody>
          <a:bodyPr vert="horz" wrap="square" lIns="0" tIns="0" rIns="0" bIns="0" rtlCol="0" anchor="b">
            <a:normAutofit fontScale="90000"/>
          </a:bodyPr>
          <a:lstStyle/>
          <a:p>
            <a:r>
              <a:rPr lang="en-US" b="0" kern="1200" baseline="0" dirty="0">
                <a:latin typeface="+mj-lt"/>
                <a:ea typeface="+mj-ea"/>
                <a:cs typeface="+mj-cs"/>
              </a:rPr>
              <a:t>Emergency message demo with ABS</a:t>
            </a:r>
          </a:p>
        </p:txBody>
      </p:sp>
      <p:pic>
        <p:nvPicPr>
          <p:cNvPr id="8" name="Picture 2" descr="Volksrepublik China – Wikipedia">
            <a:extLst>
              <a:ext uri="{FF2B5EF4-FFF2-40B4-BE49-F238E27FC236}">
                <a16:creationId xmlns:a16="http://schemas.microsoft.com/office/drawing/2014/main" id="{793C9762-CA1B-F0FD-2C4B-9EDF50E0C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318238" cy="1545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071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36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3542" y="627216"/>
            <a:ext cx="11432977" cy="711397"/>
          </a:xfrm>
        </p:spPr>
        <p:txBody>
          <a:bodyPr/>
          <a:lstStyle/>
          <a:p>
            <a:r>
              <a:rPr lang="en-US"/>
              <a:t>How is the QRD MBMS Layer used?</a:t>
            </a:r>
          </a:p>
        </p:txBody>
      </p:sp>
      <p:sp>
        <p:nvSpPr>
          <p:cNvPr id="47" name="Rectangle 11">
            <a:extLst>
              <a:ext uri="{FF2B5EF4-FFF2-40B4-BE49-F238E27FC236}">
                <a16:creationId xmlns:a16="http://schemas.microsoft.com/office/drawing/2014/main" id="{B13A33B6-F6D2-BE25-EFFF-CEC595CC4A1F}"/>
              </a:ext>
            </a:extLst>
          </p:cNvPr>
          <p:cNvSpPr>
            <a:spLocks noChangeArrowheads="1"/>
          </p:cNvSpPr>
          <p:nvPr/>
        </p:nvSpPr>
        <p:spPr bwMode="auto">
          <a:xfrm>
            <a:off x="929386" y="5437714"/>
            <a:ext cx="11027300" cy="1282608"/>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Modem</a:t>
            </a:r>
          </a:p>
        </p:txBody>
      </p:sp>
      <p:sp>
        <p:nvSpPr>
          <p:cNvPr id="49" name="Rectangle 11">
            <a:extLst>
              <a:ext uri="{FF2B5EF4-FFF2-40B4-BE49-F238E27FC236}">
                <a16:creationId xmlns:a16="http://schemas.microsoft.com/office/drawing/2014/main" id="{CEC9CF02-8BE4-0934-89B5-A50AD2AD9CE6}"/>
              </a:ext>
            </a:extLst>
          </p:cNvPr>
          <p:cNvSpPr>
            <a:spLocks noChangeArrowheads="1"/>
          </p:cNvSpPr>
          <p:nvPr/>
        </p:nvSpPr>
        <p:spPr bwMode="auto">
          <a:xfrm>
            <a:off x="929385" y="1405202"/>
            <a:ext cx="11071025"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Application Processor</a:t>
            </a:r>
          </a:p>
        </p:txBody>
      </p:sp>
      <p:sp>
        <p:nvSpPr>
          <p:cNvPr id="50" name="Rectangle 11">
            <a:extLst>
              <a:ext uri="{FF2B5EF4-FFF2-40B4-BE49-F238E27FC236}">
                <a16:creationId xmlns:a16="http://schemas.microsoft.com/office/drawing/2014/main" id="{A662FDC4-D380-0468-BA0C-128D2824F6F9}"/>
              </a:ext>
            </a:extLst>
          </p:cNvPr>
          <p:cNvSpPr>
            <a:spLocks noChangeArrowheads="1"/>
          </p:cNvSpPr>
          <p:nvPr/>
        </p:nvSpPr>
        <p:spPr bwMode="auto">
          <a:xfrm>
            <a:off x="1010197" y="1904861"/>
            <a:ext cx="7524204" cy="489517"/>
          </a:xfrm>
          <a:prstGeom prst="roundRect">
            <a:avLst/>
          </a:prstGeom>
          <a:solidFill>
            <a:schemeClr val="bg1">
              <a:lumMod val="8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Applications</a:t>
            </a:r>
          </a:p>
        </p:txBody>
      </p:sp>
      <p:sp>
        <p:nvSpPr>
          <p:cNvPr id="51" name="Rectangle 12">
            <a:extLst>
              <a:ext uri="{FF2B5EF4-FFF2-40B4-BE49-F238E27FC236}">
                <a16:creationId xmlns:a16="http://schemas.microsoft.com/office/drawing/2014/main" id="{7F561EC2-8AAE-54C7-2A5E-CC21CEB93CDE}"/>
              </a:ext>
            </a:extLst>
          </p:cNvPr>
          <p:cNvSpPr>
            <a:spLocks noChangeArrowheads="1"/>
          </p:cNvSpPr>
          <p:nvPr/>
        </p:nvSpPr>
        <p:spPr bwMode="auto">
          <a:xfrm>
            <a:off x="1348246" y="1987124"/>
            <a:ext cx="1286514" cy="288925"/>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lumMod val="25000"/>
                  </a:srgbClr>
                </a:solidFill>
                <a:effectLst/>
                <a:uLnTx/>
                <a:uFillTx/>
                <a:latin typeface="Microsoft Sans Serif"/>
                <a:ea typeface="+mn-ea"/>
                <a:cs typeface="+mn-cs"/>
              </a:rPr>
              <a:t>Streaming App</a:t>
            </a:r>
          </a:p>
        </p:txBody>
      </p:sp>
      <p:sp>
        <p:nvSpPr>
          <p:cNvPr id="52" name="Rectangle 12">
            <a:extLst>
              <a:ext uri="{FF2B5EF4-FFF2-40B4-BE49-F238E27FC236}">
                <a16:creationId xmlns:a16="http://schemas.microsoft.com/office/drawing/2014/main" id="{BA443B8C-4185-9637-9A2C-FD242E579E8D}"/>
              </a:ext>
            </a:extLst>
          </p:cNvPr>
          <p:cNvSpPr>
            <a:spLocks noChangeArrowheads="1"/>
          </p:cNvSpPr>
          <p:nvPr/>
        </p:nvSpPr>
        <p:spPr bwMode="auto">
          <a:xfrm>
            <a:off x="2800574" y="1996669"/>
            <a:ext cx="1356106" cy="288925"/>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lumMod val="25000"/>
                  </a:srgbClr>
                </a:solidFill>
                <a:effectLst/>
                <a:uLnTx/>
                <a:uFillTx/>
                <a:latin typeface="Microsoft Sans Serif"/>
                <a:ea typeface="+mn-ea"/>
                <a:cs typeface="+mn-cs"/>
              </a:rPr>
              <a:t>File Download App</a:t>
            </a:r>
          </a:p>
        </p:txBody>
      </p:sp>
      <p:sp>
        <p:nvSpPr>
          <p:cNvPr id="53" name="Rectangle 12">
            <a:extLst>
              <a:ext uri="{FF2B5EF4-FFF2-40B4-BE49-F238E27FC236}">
                <a16:creationId xmlns:a16="http://schemas.microsoft.com/office/drawing/2014/main" id="{D6434600-5253-7278-8B2B-D60C4AAF2570}"/>
              </a:ext>
            </a:extLst>
          </p:cNvPr>
          <p:cNvSpPr>
            <a:spLocks noChangeArrowheads="1"/>
          </p:cNvSpPr>
          <p:nvPr/>
        </p:nvSpPr>
        <p:spPr bwMode="auto">
          <a:xfrm>
            <a:off x="929870" y="2619201"/>
            <a:ext cx="7604530" cy="2664299"/>
          </a:xfrm>
          <a:prstGeom prst="roundRect">
            <a:avLst>
              <a:gd name="adj" fmla="val 10656"/>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vert" wrap="square" lIns="34295" tIns="34295" rIns="34295" bIns="34295" numCol="1" anchor="b"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solidFill>
                <a:effectLst/>
                <a:uLnTx/>
                <a:uFillTx/>
                <a:latin typeface="Microsoft Sans Serif"/>
                <a:ea typeface="+mn-ea"/>
                <a:cs typeface="+mn-cs"/>
              </a:rPr>
              <a:t>HLOS</a:t>
            </a:r>
          </a:p>
        </p:txBody>
      </p:sp>
      <p:sp>
        <p:nvSpPr>
          <p:cNvPr id="54" name="Rectangle 13">
            <a:extLst>
              <a:ext uri="{FF2B5EF4-FFF2-40B4-BE49-F238E27FC236}">
                <a16:creationId xmlns:a16="http://schemas.microsoft.com/office/drawing/2014/main" id="{BDBB355D-5C5F-B090-54F0-C2A9EEC74700}"/>
              </a:ext>
            </a:extLst>
          </p:cNvPr>
          <p:cNvSpPr>
            <a:spLocks noChangeArrowheads="1"/>
          </p:cNvSpPr>
          <p:nvPr/>
        </p:nvSpPr>
        <p:spPr bwMode="auto">
          <a:xfrm>
            <a:off x="2326327" y="2721974"/>
            <a:ext cx="6103569" cy="2513850"/>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MBM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grpSp>
        <p:nvGrpSpPr>
          <p:cNvPr id="55" name="Group 224">
            <a:extLst>
              <a:ext uri="{FF2B5EF4-FFF2-40B4-BE49-F238E27FC236}">
                <a16:creationId xmlns:a16="http://schemas.microsoft.com/office/drawing/2014/main" id="{D738437C-B29C-649D-DCAD-351E7F73941F}"/>
              </a:ext>
            </a:extLst>
          </p:cNvPr>
          <p:cNvGrpSpPr/>
          <p:nvPr/>
        </p:nvGrpSpPr>
        <p:grpSpPr>
          <a:xfrm>
            <a:off x="2437415" y="3013319"/>
            <a:ext cx="2792866" cy="288925"/>
            <a:chOff x="2373084" y="2857585"/>
            <a:chExt cx="3557794" cy="288925"/>
          </a:xfrm>
          <a:solidFill>
            <a:srgbClr val="FFFF00"/>
          </a:solidFill>
        </p:grpSpPr>
        <p:sp>
          <p:nvSpPr>
            <p:cNvPr id="56" name="Rectangle 12">
              <a:extLst>
                <a:ext uri="{FF2B5EF4-FFF2-40B4-BE49-F238E27FC236}">
                  <a16:creationId xmlns:a16="http://schemas.microsoft.com/office/drawing/2014/main" id="{88BCAB80-0AA9-415C-1EFF-F3EFEA956258}"/>
                </a:ext>
              </a:extLst>
            </p:cNvPr>
            <p:cNvSpPr>
              <a:spLocks noChangeArrowheads="1"/>
            </p:cNvSpPr>
            <p:nvPr/>
          </p:nvSpPr>
          <p:spPr bwMode="auto">
            <a:xfrm>
              <a:off x="2373084" y="2857585"/>
              <a:ext cx="1737360" cy="288925"/>
            </a:xfrm>
            <a:prstGeom prst="round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Streaming Service</a:t>
              </a:r>
            </a:p>
          </p:txBody>
        </p:sp>
        <p:sp>
          <p:nvSpPr>
            <p:cNvPr id="57" name="Rectangle 12">
              <a:extLst>
                <a:ext uri="{FF2B5EF4-FFF2-40B4-BE49-F238E27FC236}">
                  <a16:creationId xmlns:a16="http://schemas.microsoft.com/office/drawing/2014/main" id="{B17D7B54-ED36-3310-1654-04D6684FCE39}"/>
                </a:ext>
              </a:extLst>
            </p:cNvPr>
            <p:cNvSpPr>
              <a:spLocks noChangeArrowheads="1"/>
            </p:cNvSpPr>
            <p:nvPr/>
          </p:nvSpPr>
          <p:spPr bwMode="auto">
            <a:xfrm>
              <a:off x="4197927" y="2857585"/>
              <a:ext cx="1732951" cy="288925"/>
            </a:xfrm>
            <a:prstGeom prst="round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ile Download Service</a:t>
              </a:r>
            </a:p>
          </p:txBody>
        </p:sp>
      </p:grpSp>
      <p:sp>
        <p:nvSpPr>
          <p:cNvPr id="58" name="Rectangle 12">
            <a:extLst>
              <a:ext uri="{FF2B5EF4-FFF2-40B4-BE49-F238E27FC236}">
                <a16:creationId xmlns:a16="http://schemas.microsoft.com/office/drawing/2014/main" id="{AD9F91B8-5A59-C2DA-9E03-4F700E929081}"/>
              </a:ext>
            </a:extLst>
          </p:cNvPr>
          <p:cNvSpPr>
            <a:spLocks noChangeArrowheads="1"/>
          </p:cNvSpPr>
          <p:nvPr/>
        </p:nvSpPr>
        <p:spPr bwMode="auto">
          <a:xfrm>
            <a:off x="2439396" y="3429272"/>
            <a:ext cx="646023" cy="462558"/>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Local DASH Server</a:t>
            </a:r>
          </a:p>
        </p:txBody>
      </p:sp>
      <p:sp>
        <p:nvSpPr>
          <p:cNvPr id="59" name="Rectangle 12">
            <a:extLst>
              <a:ext uri="{FF2B5EF4-FFF2-40B4-BE49-F238E27FC236}">
                <a16:creationId xmlns:a16="http://schemas.microsoft.com/office/drawing/2014/main" id="{423E8605-1FAB-2DDD-0BF6-D00AEAEF4071}"/>
              </a:ext>
            </a:extLst>
          </p:cNvPr>
          <p:cNvSpPr>
            <a:spLocks noChangeArrowheads="1"/>
          </p:cNvSpPr>
          <p:nvPr/>
        </p:nvSpPr>
        <p:spPr bwMode="auto">
          <a:xfrm>
            <a:off x="2456718" y="4739755"/>
            <a:ext cx="4396928" cy="336304"/>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Service Discovery</a:t>
            </a:r>
          </a:p>
        </p:txBody>
      </p:sp>
      <p:sp>
        <p:nvSpPr>
          <p:cNvPr id="60" name="Rectangle 12">
            <a:extLst>
              <a:ext uri="{FF2B5EF4-FFF2-40B4-BE49-F238E27FC236}">
                <a16:creationId xmlns:a16="http://schemas.microsoft.com/office/drawing/2014/main" id="{507A71A5-74B5-4FFF-6C09-B19614684760}"/>
              </a:ext>
            </a:extLst>
          </p:cNvPr>
          <p:cNvSpPr>
            <a:spLocks noChangeArrowheads="1"/>
          </p:cNvSpPr>
          <p:nvPr/>
        </p:nvSpPr>
        <p:spPr bwMode="auto">
          <a:xfrm>
            <a:off x="3869304" y="3429272"/>
            <a:ext cx="646023" cy="462558"/>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File </a:t>
            </a:r>
            <a:br>
              <a:rPr kumimoji="0" lang="en-US" sz="900" b="0" i="0" u="none" strike="noStrike" kern="1200" cap="none" spc="0" normalizeH="0" baseline="0" noProof="0">
                <a:ln>
                  <a:noFill/>
                </a:ln>
                <a:solidFill>
                  <a:srgbClr val="000000"/>
                </a:solidFill>
                <a:effectLst/>
                <a:uLnTx/>
                <a:uFillTx/>
                <a:latin typeface="Microsoft Sans Serif"/>
                <a:ea typeface="+mn-ea"/>
                <a:cs typeface="+mn-cs"/>
              </a:rPr>
            </a:br>
            <a:r>
              <a:rPr kumimoji="0" lang="en-US" sz="900" b="0" i="0" u="none" strike="noStrike" kern="1200" cap="none" spc="0" normalizeH="0" baseline="0" noProof="0">
                <a:ln>
                  <a:noFill/>
                </a:ln>
                <a:solidFill>
                  <a:srgbClr val="000000"/>
                </a:solidFill>
                <a:effectLst/>
                <a:uLnTx/>
                <a:uFillTx/>
                <a:latin typeface="Microsoft Sans Serif"/>
                <a:ea typeface="+mn-ea"/>
                <a:cs typeface="+mn-cs"/>
              </a:rPr>
              <a:t>Repair</a:t>
            </a:r>
          </a:p>
        </p:txBody>
      </p:sp>
      <p:sp>
        <p:nvSpPr>
          <p:cNvPr id="61" name="Rectangle 12">
            <a:extLst>
              <a:ext uri="{FF2B5EF4-FFF2-40B4-BE49-F238E27FC236}">
                <a16:creationId xmlns:a16="http://schemas.microsoft.com/office/drawing/2014/main" id="{415CCA19-0ACE-0DFD-9B70-8CC3A5C3D851}"/>
              </a:ext>
            </a:extLst>
          </p:cNvPr>
          <p:cNvSpPr>
            <a:spLocks noChangeArrowheads="1"/>
          </p:cNvSpPr>
          <p:nvPr/>
        </p:nvSpPr>
        <p:spPr bwMode="auto">
          <a:xfrm>
            <a:off x="4550098" y="3429272"/>
            <a:ext cx="680183" cy="462558"/>
          </a:xfrm>
          <a:prstGeom prst="roundRect">
            <a:avLst/>
          </a:prstGeom>
          <a:solidFill>
            <a:srgbClr val="FFFF00"/>
          </a:solidFill>
          <a:ln>
            <a:noFill/>
          </a:ln>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icrosoft Sans Serif"/>
                <a:ea typeface="+mn-ea"/>
                <a:cs typeface="+mn-cs"/>
              </a:rPr>
              <a:t>Reception Reporting</a:t>
            </a:r>
          </a:p>
        </p:txBody>
      </p:sp>
      <p:sp>
        <p:nvSpPr>
          <p:cNvPr id="62" name="Rectangle 12">
            <a:extLst>
              <a:ext uri="{FF2B5EF4-FFF2-40B4-BE49-F238E27FC236}">
                <a16:creationId xmlns:a16="http://schemas.microsoft.com/office/drawing/2014/main" id="{12A921C9-F844-D372-D1B8-E3154AA05FD5}"/>
              </a:ext>
            </a:extLst>
          </p:cNvPr>
          <p:cNvSpPr>
            <a:spLocks noChangeArrowheads="1"/>
          </p:cNvSpPr>
          <p:nvPr/>
        </p:nvSpPr>
        <p:spPr bwMode="auto">
          <a:xfrm>
            <a:off x="2439396" y="4018857"/>
            <a:ext cx="2764401" cy="52251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Object Distribution Function</a:t>
            </a:r>
          </a:p>
        </p:txBody>
      </p:sp>
      <p:sp>
        <p:nvSpPr>
          <p:cNvPr id="63" name="Rectangle 12">
            <a:extLst>
              <a:ext uri="{FF2B5EF4-FFF2-40B4-BE49-F238E27FC236}">
                <a16:creationId xmlns:a16="http://schemas.microsoft.com/office/drawing/2014/main" id="{8D842C90-70C0-CE27-7BF8-3A5E165072EF}"/>
              </a:ext>
            </a:extLst>
          </p:cNvPr>
          <p:cNvSpPr>
            <a:spLocks noChangeArrowheads="1"/>
          </p:cNvSpPr>
          <p:nvPr/>
        </p:nvSpPr>
        <p:spPr bwMode="auto">
          <a:xfrm>
            <a:off x="2570184" y="4280114"/>
            <a:ext cx="1139483" cy="217714"/>
          </a:xfrm>
          <a:prstGeom prst="roundRect">
            <a:avLst/>
          </a:prstGeom>
          <a:solidFill>
            <a:srgbClr val="FFFF00"/>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FLUTE</a:t>
            </a:r>
          </a:p>
        </p:txBody>
      </p:sp>
      <p:grpSp>
        <p:nvGrpSpPr>
          <p:cNvPr id="64" name="Group 56">
            <a:extLst>
              <a:ext uri="{FF2B5EF4-FFF2-40B4-BE49-F238E27FC236}">
                <a16:creationId xmlns:a16="http://schemas.microsoft.com/office/drawing/2014/main" id="{61D109E7-5D27-A768-3161-817B8CE95B11}"/>
              </a:ext>
            </a:extLst>
          </p:cNvPr>
          <p:cNvGrpSpPr/>
          <p:nvPr/>
        </p:nvGrpSpPr>
        <p:grpSpPr>
          <a:xfrm>
            <a:off x="1267110" y="2962552"/>
            <a:ext cx="909806" cy="1792561"/>
            <a:chOff x="819649" y="2978190"/>
            <a:chExt cx="1212759" cy="1792561"/>
          </a:xfrm>
        </p:grpSpPr>
        <p:grpSp>
          <p:nvGrpSpPr>
            <p:cNvPr id="65" name="Group 55">
              <a:extLst>
                <a:ext uri="{FF2B5EF4-FFF2-40B4-BE49-F238E27FC236}">
                  <a16:creationId xmlns:a16="http://schemas.microsoft.com/office/drawing/2014/main" id="{5451B172-B016-3636-B227-C9A3C0F51740}"/>
                </a:ext>
              </a:extLst>
            </p:cNvPr>
            <p:cNvGrpSpPr/>
            <p:nvPr/>
          </p:nvGrpSpPr>
          <p:grpSpPr>
            <a:xfrm>
              <a:off x="819649" y="2978190"/>
              <a:ext cx="1212759" cy="1105786"/>
              <a:chOff x="819649" y="2978190"/>
              <a:chExt cx="1212759" cy="1105786"/>
            </a:xfrm>
          </p:grpSpPr>
          <p:sp>
            <p:nvSpPr>
              <p:cNvPr id="67" name="Rectangle 12">
                <a:extLst>
                  <a:ext uri="{FF2B5EF4-FFF2-40B4-BE49-F238E27FC236}">
                    <a16:creationId xmlns:a16="http://schemas.microsoft.com/office/drawing/2014/main" id="{B343FD66-AFEE-C9DB-C2F9-F51D131DF28F}"/>
                  </a:ext>
                </a:extLst>
              </p:cNvPr>
              <p:cNvSpPr>
                <a:spLocks noChangeArrowheads="1"/>
              </p:cNvSpPr>
              <p:nvPr/>
            </p:nvSpPr>
            <p:spPr bwMode="auto">
              <a:xfrm>
                <a:off x="819649" y="2978190"/>
                <a:ext cx="1212759" cy="1105786"/>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Multimedia System</a:t>
                </a:r>
              </a:p>
            </p:txBody>
          </p:sp>
          <p:sp>
            <p:nvSpPr>
              <p:cNvPr id="68" name="Rectangle 12">
                <a:extLst>
                  <a:ext uri="{FF2B5EF4-FFF2-40B4-BE49-F238E27FC236}">
                    <a16:creationId xmlns:a16="http://schemas.microsoft.com/office/drawing/2014/main" id="{E70D22AF-A115-0850-41BE-12371C5BF3CD}"/>
                  </a:ext>
                </a:extLst>
              </p:cNvPr>
              <p:cNvSpPr>
                <a:spLocks noChangeArrowheads="1"/>
              </p:cNvSpPr>
              <p:nvPr/>
            </p:nvSpPr>
            <p:spPr bwMode="auto">
              <a:xfrm>
                <a:off x="1014548" y="3429231"/>
                <a:ext cx="822960" cy="462558"/>
              </a:xfrm>
              <a:prstGeom prst="round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DASH Client</a:t>
                </a:r>
              </a:p>
            </p:txBody>
          </p:sp>
        </p:grpSp>
        <p:sp>
          <p:nvSpPr>
            <p:cNvPr id="66" name="Rectangle 12">
              <a:extLst>
                <a:ext uri="{FF2B5EF4-FFF2-40B4-BE49-F238E27FC236}">
                  <a16:creationId xmlns:a16="http://schemas.microsoft.com/office/drawing/2014/main" id="{0068E945-EF24-A616-9354-730CE33B3862}"/>
                </a:ext>
              </a:extLst>
            </p:cNvPr>
            <p:cNvSpPr>
              <a:spLocks noChangeArrowheads="1"/>
            </p:cNvSpPr>
            <p:nvPr/>
          </p:nvSpPr>
          <p:spPr bwMode="auto">
            <a:xfrm>
              <a:off x="831108" y="4369981"/>
              <a:ext cx="1189841" cy="40077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DRM Agent</a:t>
              </a:r>
            </a:p>
          </p:txBody>
        </p:sp>
      </p:grpSp>
      <p:sp>
        <p:nvSpPr>
          <p:cNvPr id="69" name="Rectangle 12">
            <a:extLst>
              <a:ext uri="{FF2B5EF4-FFF2-40B4-BE49-F238E27FC236}">
                <a16:creationId xmlns:a16="http://schemas.microsoft.com/office/drawing/2014/main" id="{4837C807-553F-2034-6262-69F08ADE9C4C}"/>
              </a:ext>
            </a:extLst>
          </p:cNvPr>
          <p:cNvSpPr>
            <a:spLocks noChangeArrowheads="1"/>
          </p:cNvSpPr>
          <p:nvPr/>
        </p:nvSpPr>
        <p:spPr bwMode="auto">
          <a:xfrm>
            <a:off x="5227967" y="5503308"/>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P Stack</a:t>
            </a:r>
            <a:br>
              <a:rPr kumimoji="0" lang="en-US" sz="900" b="0" i="0" u="none" strike="noStrike" kern="1200" cap="none" spc="0" normalizeH="0" baseline="0" noProof="0">
                <a:ln>
                  <a:noFill/>
                </a:ln>
                <a:solidFill>
                  <a:srgbClr val="13171F"/>
                </a:solidFill>
                <a:effectLst/>
                <a:uLnTx/>
                <a:uFillTx/>
                <a:latin typeface="Microsoft Sans Serif"/>
                <a:ea typeface="+mn-ea"/>
                <a:cs typeface="+mn-cs"/>
              </a:rPr>
            </a:br>
            <a:r>
              <a:rPr kumimoji="0" lang="en-US" sz="900" b="0" i="0" u="none" strike="noStrike" kern="1200" cap="none" spc="0" normalizeH="0" baseline="0" noProof="0">
                <a:ln>
                  <a:noFill/>
                </a:ln>
                <a:solidFill>
                  <a:srgbClr val="13171F"/>
                </a:solidFill>
                <a:effectLst/>
                <a:uLnTx/>
                <a:uFillTx/>
                <a:latin typeface="Microsoft Sans Serif"/>
                <a:ea typeface="+mn-ea"/>
                <a:cs typeface="+mn-cs"/>
              </a:rPr>
              <a:t>(with multicast)</a:t>
            </a:r>
          </a:p>
        </p:txBody>
      </p:sp>
      <p:sp>
        <p:nvSpPr>
          <p:cNvPr id="70" name="Rectangle 12">
            <a:extLst>
              <a:ext uri="{FF2B5EF4-FFF2-40B4-BE49-F238E27FC236}">
                <a16:creationId xmlns:a16="http://schemas.microsoft.com/office/drawing/2014/main" id="{BAC67A2F-42CA-34AF-055F-99E928532C88}"/>
              </a:ext>
            </a:extLst>
          </p:cNvPr>
          <p:cNvSpPr>
            <a:spLocks noChangeArrowheads="1"/>
          </p:cNvSpPr>
          <p:nvPr/>
        </p:nvSpPr>
        <p:spPr bwMode="auto">
          <a:xfrm>
            <a:off x="2367656" y="5570680"/>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eMBMS Service</a:t>
            </a:r>
          </a:p>
        </p:txBody>
      </p:sp>
      <p:cxnSp>
        <p:nvCxnSpPr>
          <p:cNvPr id="71" name="Straight Arrow Connector 70">
            <a:extLst>
              <a:ext uri="{FF2B5EF4-FFF2-40B4-BE49-F238E27FC236}">
                <a16:creationId xmlns:a16="http://schemas.microsoft.com/office/drawing/2014/main" id="{7A508567-CC09-95D2-E1AB-95D0C3E820C5}"/>
              </a:ext>
            </a:extLst>
          </p:cNvPr>
          <p:cNvCxnSpPr>
            <a:cxnSpLocks/>
            <a:stCxn id="70" idx="0"/>
          </p:cNvCxnSpPr>
          <p:nvPr/>
        </p:nvCxnSpPr>
        <p:spPr>
          <a:xfrm flipV="1">
            <a:off x="2847841" y="5076059"/>
            <a:ext cx="0" cy="494621"/>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36">
            <a:extLst>
              <a:ext uri="{FF2B5EF4-FFF2-40B4-BE49-F238E27FC236}">
                <a16:creationId xmlns:a16="http://schemas.microsoft.com/office/drawing/2014/main" id="{9805E486-DB38-CFF2-C6F3-04A3FB088A2D}"/>
              </a:ext>
            </a:extLst>
          </p:cNvPr>
          <p:cNvCxnSpPr>
            <a:cxnSpLocks/>
            <a:stCxn id="59" idx="3"/>
          </p:cNvCxnSpPr>
          <p:nvPr/>
        </p:nvCxnSpPr>
        <p:spPr>
          <a:xfrm flipV="1">
            <a:off x="6853646" y="2276049"/>
            <a:ext cx="1285138" cy="2631858"/>
          </a:xfrm>
          <a:prstGeom prst="bentConnector2">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230FF7B-355E-660C-E530-040C3DD05337}"/>
              </a:ext>
            </a:extLst>
          </p:cNvPr>
          <p:cNvCxnSpPr>
            <a:cxnSpLocks/>
          </p:cNvCxnSpPr>
          <p:nvPr/>
        </p:nvCxnSpPr>
        <p:spPr>
          <a:xfrm flipH="1" flipV="1">
            <a:off x="1743100" y="2394378"/>
            <a:ext cx="1" cy="440766"/>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33B53D10-DC71-711A-496E-F5BD1FE64262}"/>
              </a:ext>
            </a:extLst>
          </p:cNvPr>
          <p:cNvCxnSpPr>
            <a:cxnSpLocks/>
          </p:cNvCxnSpPr>
          <p:nvPr/>
        </p:nvCxnSpPr>
        <p:spPr>
          <a:xfrm flipH="1">
            <a:off x="2030704" y="3660551"/>
            <a:ext cx="353106" cy="0"/>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9A0E3C2-6231-B395-E67E-34F9D0C5FF9B}"/>
              </a:ext>
            </a:extLst>
          </p:cNvPr>
          <p:cNvCxnSpPr>
            <a:cxnSpLocks/>
          </p:cNvCxnSpPr>
          <p:nvPr/>
        </p:nvCxnSpPr>
        <p:spPr>
          <a:xfrm flipV="1">
            <a:off x="2847841" y="589613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BD39B24-160F-F4CD-D28E-CF8220D76609}"/>
              </a:ext>
            </a:extLst>
          </p:cNvPr>
          <p:cNvCxnSpPr>
            <a:cxnSpLocks/>
            <a:endCxn id="69" idx="2"/>
          </p:cNvCxnSpPr>
          <p:nvPr/>
        </p:nvCxnSpPr>
        <p:spPr>
          <a:xfrm flipV="1">
            <a:off x="5708152" y="5869068"/>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0383DE4-8D85-B253-68E4-B2067DF07382}"/>
              </a:ext>
            </a:extLst>
          </p:cNvPr>
          <p:cNvCxnSpPr>
            <a:cxnSpLocks/>
          </p:cNvCxnSpPr>
          <p:nvPr/>
        </p:nvCxnSpPr>
        <p:spPr>
          <a:xfrm flipH="1" flipV="1">
            <a:off x="1743100" y="3876151"/>
            <a:ext cx="1" cy="478192"/>
          </a:xfrm>
          <a:prstGeom prst="straightConnector1">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Rectangle 12">
            <a:extLst>
              <a:ext uri="{FF2B5EF4-FFF2-40B4-BE49-F238E27FC236}">
                <a16:creationId xmlns:a16="http://schemas.microsoft.com/office/drawing/2014/main" id="{3544C2F3-702A-9B49-8C8B-BE70FE871794}"/>
              </a:ext>
            </a:extLst>
          </p:cNvPr>
          <p:cNvSpPr>
            <a:spLocks noChangeArrowheads="1"/>
          </p:cNvSpPr>
          <p:nvPr/>
        </p:nvSpPr>
        <p:spPr bwMode="auto">
          <a:xfrm>
            <a:off x="3317248" y="2420013"/>
            <a:ext cx="322758" cy="22482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I-1</a:t>
            </a:r>
          </a:p>
        </p:txBody>
      </p:sp>
      <p:sp>
        <p:nvSpPr>
          <p:cNvPr id="79" name="Rectangle 12">
            <a:extLst>
              <a:ext uri="{FF2B5EF4-FFF2-40B4-BE49-F238E27FC236}">
                <a16:creationId xmlns:a16="http://schemas.microsoft.com/office/drawing/2014/main" id="{A65E25DE-48F3-523E-3C84-FDA837B9D04E}"/>
              </a:ext>
            </a:extLst>
          </p:cNvPr>
          <p:cNvSpPr>
            <a:spLocks noChangeArrowheads="1"/>
          </p:cNvSpPr>
          <p:nvPr/>
        </p:nvSpPr>
        <p:spPr bwMode="auto">
          <a:xfrm>
            <a:off x="2902702" y="5097620"/>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2</a:t>
            </a:r>
          </a:p>
        </p:txBody>
      </p:sp>
      <p:sp>
        <p:nvSpPr>
          <p:cNvPr id="80" name="Rectangle 12">
            <a:extLst>
              <a:ext uri="{FF2B5EF4-FFF2-40B4-BE49-F238E27FC236}">
                <a16:creationId xmlns:a16="http://schemas.microsoft.com/office/drawing/2014/main" id="{A401C965-0E31-3DA4-AF7A-FF3B290C1343}"/>
              </a:ext>
            </a:extLst>
          </p:cNvPr>
          <p:cNvSpPr>
            <a:spLocks noChangeArrowheads="1"/>
          </p:cNvSpPr>
          <p:nvPr/>
        </p:nvSpPr>
        <p:spPr bwMode="auto">
          <a:xfrm>
            <a:off x="2138682" y="3429273"/>
            <a:ext cx="228974" cy="1904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4</a:t>
            </a:r>
          </a:p>
        </p:txBody>
      </p:sp>
      <p:sp>
        <p:nvSpPr>
          <p:cNvPr id="81" name="Rectangle 12">
            <a:extLst>
              <a:ext uri="{FF2B5EF4-FFF2-40B4-BE49-F238E27FC236}">
                <a16:creationId xmlns:a16="http://schemas.microsoft.com/office/drawing/2014/main" id="{96A7EB13-9973-5522-5CF3-32376B5B3A82}"/>
              </a:ext>
            </a:extLst>
          </p:cNvPr>
          <p:cNvSpPr>
            <a:spLocks noChangeArrowheads="1"/>
          </p:cNvSpPr>
          <p:nvPr/>
        </p:nvSpPr>
        <p:spPr bwMode="auto">
          <a:xfrm>
            <a:off x="1010196" y="6226933"/>
            <a:ext cx="9231084"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lumMod val="25000"/>
                  </a:srgbClr>
                </a:solidFill>
                <a:effectLst/>
                <a:uLnTx/>
                <a:uFillTx/>
                <a:latin typeface="Microsoft Sans Serif"/>
                <a:ea typeface="+mn-ea"/>
                <a:cs typeface="+mn-cs"/>
              </a:rPr>
              <a:t>LTE Modem</a:t>
            </a:r>
          </a:p>
        </p:txBody>
      </p:sp>
      <p:sp>
        <p:nvSpPr>
          <p:cNvPr id="82" name="Rectangle 12">
            <a:extLst>
              <a:ext uri="{FF2B5EF4-FFF2-40B4-BE49-F238E27FC236}">
                <a16:creationId xmlns:a16="http://schemas.microsoft.com/office/drawing/2014/main" id="{7BCB5626-FAC0-5E17-EB32-FDCF6459D6AE}"/>
              </a:ext>
            </a:extLst>
          </p:cNvPr>
          <p:cNvSpPr>
            <a:spLocks noChangeArrowheads="1"/>
          </p:cNvSpPr>
          <p:nvPr/>
        </p:nvSpPr>
        <p:spPr bwMode="auto">
          <a:xfrm>
            <a:off x="5708152" y="5148292"/>
            <a:ext cx="270517" cy="1987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F7F8FA"/>
                </a:solidFill>
                <a:effectLst/>
                <a:uLnTx/>
                <a:uFillTx/>
                <a:latin typeface="Microsoft Sans Serif"/>
                <a:ea typeface="+mn-ea"/>
                <a:cs typeface="+mn-cs"/>
              </a:rPr>
              <a:t>I-3</a:t>
            </a:r>
          </a:p>
        </p:txBody>
      </p:sp>
      <p:sp>
        <p:nvSpPr>
          <p:cNvPr id="83" name="Rectangle 12">
            <a:extLst>
              <a:ext uri="{FF2B5EF4-FFF2-40B4-BE49-F238E27FC236}">
                <a16:creationId xmlns:a16="http://schemas.microsoft.com/office/drawing/2014/main" id="{432BB81F-634B-0CC9-5F12-8A8500926ABD}"/>
              </a:ext>
            </a:extLst>
          </p:cNvPr>
          <p:cNvSpPr>
            <a:spLocks noChangeArrowheads="1"/>
          </p:cNvSpPr>
          <p:nvPr/>
        </p:nvSpPr>
        <p:spPr bwMode="auto">
          <a:xfrm>
            <a:off x="5298956" y="3013319"/>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 Service</a:t>
            </a:r>
          </a:p>
        </p:txBody>
      </p:sp>
      <p:sp>
        <p:nvSpPr>
          <p:cNvPr id="84" name="Rectangle 12">
            <a:extLst>
              <a:ext uri="{FF2B5EF4-FFF2-40B4-BE49-F238E27FC236}">
                <a16:creationId xmlns:a16="http://schemas.microsoft.com/office/drawing/2014/main" id="{C23BE425-6C5D-D892-1C63-374CF7B02506}"/>
              </a:ext>
            </a:extLst>
          </p:cNvPr>
          <p:cNvSpPr>
            <a:spLocks noChangeArrowheads="1"/>
          </p:cNvSpPr>
          <p:nvPr/>
        </p:nvSpPr>
        <p:spPr bwMode="auto">
          <a:xfrm>
            <a:off x="6727996" y="3009447"/>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Group Communication</a:t>
            </a:r>
          </a:p>
        </p:txBody>
      </p:sp>
      <p:sp>
        <p:nvSpPr>
          <p:cNvPr id="85" name="Rectangle 12">
            <a:extLst>
              <a:ext uri="{FF2B5EF4-FFF2-40B4-BE49-F238E27FC236}">
                <a16:creationId xmlns:a16="http://schemas.microsoft.com/office/drawing/2014/main" id="{AAEB56BB-9455-EDD2-3C94-34DAD2A2C877}"/>
              </a:ext>
            </a:extLst>
          </p:cNvPr>
          <p:cNvSpPr>
            <a:spLocks noChangeArrowheads="1"/>
          </p:cNvSpPr>
          <p:nvPr/>
        </p:nvSpPr>
        <p:spPr bwMode="auto">
          <a:xfrm>
            <a:off x="4615543" y="4011203"/>
            <a:ext cx="2112452" cy="52251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Packet Distribution Function</a:t>
            </a:r>
          </a:p>
        </p:txBody>
      </p:sp>
      <p:sp>
        <p:nvSpPr>
          <p:cNvPr id="86" name="Rectangle 12">
            <a:extLst>
              <a:ext uri="{FF2B5EF4-FFF2-40B4-BE49-F238E27FC236}">
                <a16:creationId xmlns:a16="http://schemas.microsoft.com/office/drawing/2014/main" id="{E336EB36-E68C-D74B-44F0-F28F635A7BE4}"/>
              </a:ext>
            </a:extLst>
          </p:cNvPr>
          <p:cNvSpPr>
            <a:spLocks noChangeArrowheads="1"/>
          </p:cNvSpPr>
          <p:nvPr/>
        </p:nvSpPr>
        <p:spPr bwMode="auto">
          <a:xfrm>
            <a:off x="3960006" y="4280114"/>
            <a:ext cx="1139483" cy="217714"/>
          </a:xfrm>
          <a:prstGeom prst="roundRect">
            <a:avLst/>
          </a:prstGeom>
          <a:solidFill>
            <a:srgbClr val="FFFF00"/>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icrosoft Sans Serif"/>
                <a:ea typeface="+mn-ea"/>
                <a:cs typeface="+mn-cs"/>
              </a:rPr>
              <a:t>FEC</a:t>
            </a:r>
          </a:p>
        </p:txBody>
      </p:sp>
      <p:sp>
        <p:nvSpPr>
          <p:cNvPr id="87" name="Rectangle 12">
            <a:extLst>
              <a:ext uri="{FF2B5EF4-FFF2-40B4-BE49-F238E27FC236}">
                <a16:creationId xmlns:a16="http://schemas.microsoft.com/office/drawing/2014/main" id="{5260A078-DE19-EF6B-6605-2D1C7CA77FFE}"/>
              </a:ext>
            </a:extLst>
          </p:cNvPr>
          <p:cNvSpPr>
            <a:spLocks noChangeArrowheads="1"/>
          </p:cNvSpPr>
          <p:nvPr/>
        </p:nvSpPr>
        <p:spPr bwMode="auto">
          <a:xfrm>
            <a:off x="5333941" y="4279964"/>
            <a:ext cx="1139483" cy="217714"/>
          </a:xfrm>
          <a:prstGeom prst="roundRect">
            <a:avLst/>
          </a:prstGeom>
          <a:solidFill>
            <a:schemeClr val="bg1"/>
          </a:solidFill>
          <a:ln w="9525">
            <a:solidFill>
              <a:schemeClr val="tx1"/>
            </a:solidFill>
            <a:miter lim="800000"/>
            <a:headEnd/>
            <a:tailEnd/>
          </a:ln>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Transparent</a:t>
            </a:r>
          </a:p>
        </p:txBody>
      </p:sp>
      <p:sp>
        <p:nvSpPr>
          <p:cNvPr id="88" name="Rectangle 12">
            <a:extLst>
              <a:ext uri="{FF2B5EF4-FFF2-40B4-BE49-F238E27FC236}">
                <a16:creationId xmlns:a16="http://schemas.microsoft.com/office/drawing/2014/main" id="{180AFA6C-6AE2-650B-A4BD-FC7AC8FC31E0}"/>
              </a:ext>
            </a:extLst>
          </p:cNvPr>
          <p:cNvSpPr>
            <a:spLocks noChangeArrowheads="1"/>
          </p:cNvSpPr>
          <p:nvPr/>
        </p:nvSpPr>
        <p:spPr bwMode="auto">
          <a:xfrm>
            <a:off x="5298956" y="2007613"/>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IPTV app</a:t>
            </a:r>
          </a:p>
        </p:txBody>
      </p:sp>
      <p:cxnSp>
        <p:nvCxnSpPr>
          <p:cNvPr id="89" name="Straight Arrow Connector 88">
            <a:extLst>
              <a:ext uri="{FF2B5EF4-FFF2-40B4-BE49-F238E27FC236}">
                <a16:creationId xmlns:a16="http://schemas.microsoft.com/office/drawing/2014/main" id="{54E77352-8B20-9547-FB16-76478CA31DB1}"/>
              </a:ext>
            </a:extLst>
          </p:cNvPr>
          <p:cNvCxnSpPr>
            <a:cxnSpLocks/>
            <a:stCxn id="69" idx="0"/>
          </p:cNvCxnSpPr>
          <p:nvPr/>
        </p:nvCxnSpPr>
        <p:spPr>
          <a:xfrm flipH="1" flipV="1">
            <a:off x="5707835" y="5076059"/>
            <a:ext cx="317" cy="427249"/>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Rectangle 12">
            <a:extLst>
              <a:ext uri="{FF2B5EF4-FFF2-40B4-BE49-F238E27FC236}">
                <a16:creationId xmlns:a16="http://schemas.microsoft.com/office/drawing/2014/main" id="{D72D7D77-9E8C-8713-4CDA-A709E93BB95E}"/>
              </a:ext>
            </a:extLst>
          </p:cNvPr>
          <p:cNvSpPr>
            <a:spLocks noChangeArrowheads="1"/>
          </p:cNvSpPr>
          <p:nvPr/>
        </p:nvSpPr>
        <p:spPr bwMode="auto">
          <a:xfrm>
            <a:off x="7100970" y="2005156"/>
            <a:ext cx="1356106" cy="288925"/>
          </a:xfrm>
          <a:prstGeom prst="round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solidFill>
                <a:effectLst/>
                <a:uLnTx/>
                <a:uFillTx/>
                <a:latin typeface="Microsoft Sans Serif"/>
                <a:ea typeface="+mn-ea"/>
                <a:cs typeface="+mn-cs"/>
              </a:rPr>
              <a:t>Service Discovery</a:t>
            </a:r>
          </a:p>
        </p:txBody>
      </p:sp>
      <p:sp>
        <p:nvSpPr>
          <p:cNvPr id="91" name="Rectangle 13">
            <a:extLst>
              <a:ext uri="{FF2B5EF4-FFF2-40B4-BE49-F238E27FC236}">
                <a16:creationId xmlns:a16="http://schemas.microsoft.com/office/drawing/2014/main" id="{5C39030D-E8AF-93B5-D027-E235D4991F89}"/>
              </a:ext>
            </a:extLst>
          </p:cNvPr>
          <p:cNvSpPr>
            <a:spLocks noChangeArrowheads="1"/>
          </p:cNvSpPr>
          <p:nvPr/>
        </p:nvSpPr>
        <p:spPr bwMode="auto">
          <a:xfrm>
            <a:off x="8583540" y="2678321"/>
            <a:ext cx="1469721" cy="2513850"/>
          </a:xfrm>
          <a:prstGeom prst="roundRect">
            <a:avLst>
              <a:gd name="adj" fmla="val 9125"/>
            </a:avLst>
          </a:prstGeom>
          <a:solidFill>
            <a:srgbClr val="FFFF00"/>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lumMod val="25000"/>
                  </a:srgbClr>
                </a:solidFill>
                <a:effectLst/>
                <a:uLnTx/>
                <a:uFillTx/>
                <a:latin typeface="Microsoft Sans Serif"/>
                <a:ea typeface="+mn-ea"/>
                <a:cs typeface="+mn-cs"/>
              </a:rPr>
              <a:t>CMAS Client</a:t>
            </a:r>
            <a:endParaRPr kumimoji="0" lang="en-US" sz="1100" b="0" i="0" u="none" strike="noStrike" kern="1200" cap="none" spc="0" normalizeH="0" baseline="0" noProof="0">
              <a:ln>
                <a:noFill/>
              </a:ln>
              <a:solidFill>
                <a:srgbClr val="F7F8FA">
                  <a:lumMod val="25000"/>
                </a:srgbClr>
              </a:solidFill>
              <a:effectLst/>
              <a:uLnTx/>
              <a:uFillTx/>
              <a:latin typeface="Microsoft Sans Serif"/>
              <a:ea typeface="+mn-ea"/>
              <a:cs typeface="+mn-cs"/>
            </a:endParaRPr>
          </a:p>
        </p:txBody>
      </p:sp>
      <p:sp>
        <p:nvSpPr>
          <p:cNvPr id="92" name="Rectangle 12">
            <a:extLst>
              <a:ext uri="{FF2B5EF4-FFF2-40B4-BE49-F238E27FC236}">
                <a16:creationId xmlns:a16="http://schemas.microsoft.com/office/drawing/2014/main" id="{4204A589-EF43-D16D-1C97-6A6DD8F1AE36}"/>
              </a:ext>
            </a:extLst>
          </p:cNvPr>
          <p:cNvSpPr>
            <a:spLocks noChangeArrowheads="1"/>
          </p:cNvSpPr>
          <p:nvPr/>
        </p:nvSpPr>
        <p:spPr bwMode="auto">
          <a:xfrm>
            <a:off x="8778637" y="5697702"/>
            <a:ext cx="960370" cy="30241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SIB12 messages</a:t>
            </a:r>
          </a:p>
        </p:txBody>
      </p:sp>
      <p:cxnSp>
        <p:nvCxnSpPr>
          <p:cNvPr id="93" name="Straight Arrow Connector 36">
            <a:extLst>
              <a:ext uri="{FF2B5EF4-FFF2-40B4-BE49-F238E27FC236}">
                <a16:creationId xmlns:a16="http://schemas.microsoft.com/office/drawing/2014/main" id="{950A7344-C450-0AAC-A9FF-CBF1CDE83612}"/>
              </a:ext>
            </a:extLst>
          </p:cNvPr>
          <p:cNvCxnSpPr>
            <a:cxnSpLocks/>
            <a:stCxn id="94" idx="2"/>
            <a:endCxn id="92" idx="0"/>
          </p:cNvCxnSpPr>
          <p:nvPr/>
        </p:nvCxnSpPr>
        <p:spPr>
          <a:xfrm rot="5400000">
            <a:off x="8958783" y="5397661"/>
            <a:ext cx="600081" cy="1"/>
          </a:xfrm>
          <a:prstGeom prst="bentConnector3">
            <a:avLst>
              <a:gd name="adj1" fmla="val 50000"/>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Rectangle 12">
            <a:extLst>
              <a:ext uri="{FF2B5EF4-FFF2-40B4-BE49-F238E27FC236}">
                <a16:creationId xmlns:a16="http://schemas.microsoft.com/office/drawing/2014/main" id="{008334A0-E064-7257-508F-E8F69A0F0382}"/>
              </a:ext>
            </a:extLst>
          </p:cNvPr>
          <p:cNvSpPr>
            <a:spLocks noChangeArrowheads="1"/>
          </p:cNvSpPr>
          <p:nvPr/>
        </p:nvSpPr>
        <p:spPr bwMode="auto">
          <a:xfrm>
            <a:off x="8691291" y="4217877"/>
            <a:ext cx="1135063" cy="879744"/>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messageIdentifi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serialNumber</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a:t>
            </a:r>
            <a:r>
              <a:rPr kumimoji="0" lang="en-US" sz="900" b="0" i="0" u="none" strike="noStrike" kern="1200" cap="none" spc="0" normalizeH="0" baseline="0" noProof="0" err="1">
                <a:ln>
                  <a:noFill/>
                </a:ln>
                <a:solidFill>
                  <a:srgbClr val="13171F">
                    <a:lumMod val="85000"/>
                    <a:lumOff val="15000"/>
                  </a:srgbClr>
                </a:solidFill>
                <a:effectLst/>
                <a:uLnTx/>
                <a:uFillTx/>
                <a:latin typeface="Microsoft Sans Serif"/>
                <a:ea typeface="+mn-ea"/>
                <a:cs typeface="+mn-cs"/>
              </a:rPr>
              <a:t>dataCodingScheme</a:t>
            </a: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 geographical area coordinates</a:t>
            </a:r>
          </a:p>
        </p:txBody>
      </p:sp>
      <p:sp>
        <p:nvSpPr>
          <p:cNvPr id="97" name="Rectangle 96">
            <a:extLst>
              <a:ext uri="{FF2B5EF4-FFF2-40B4-BE49-F238E27FC236}">
                <a16:creationId xmlns:a16="http://schemas.microsoft.com/office/drawing/2014/main" id="{C1853198-9281-FC1D-C137-499665BD5BB7}"/>
              </a:ext>
            </a:extLst>
          </p:cNvPr>
          <p:cNvSpPr/>
          <p:nvPr/>
        </p:nvSpPr>
        <p:spPr>
          <a:xfrm>
            <a:off x="8642379" y="3020846"/>
            <a:ext cx="1055674"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de-DE" sz="12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rPr>
              <a:t>Depending on alert, action happens </a:t>
            </a:r>
            <a:endParaRPr kumimoji="0" lang="en-US" sz="1200" b="0" i="0" u="none" strike="noStrike" kern="1200" cap="none" spc="0" normalizeH="0" baseline="0" noProof="0">
              <a:ln>
                <a:noFill/>
              </a:ln>
              <a:solidFill>
                <a:srgbClr val="F7F8FA"/>
              </a:solidFill>
              <a:effectLst/>
              <a:uLnTx/>
              <a:uFillTx/>
              <a:latin typeface="Microsoft Sans Serif"/>
              <a:ea typeface="+mn-ea"/>
              <a:cs typeface="Microsoft Sans Serif" panose="020B0604020202020204" pitchFamily="34" charset="0"/>
            </a:endParaRPr>
          </a:p>
        </p:txBody>
      </p:sp>
      <p:sp>
        <p:nvSpPr>
          <p:cNvPr id="7" name="Rectangle 12">
            <a:extLst>
              <a:ext uri="{FF2B5EF4-FFF2-40B4-BE49-F238E27FC236}">
                <a16:creationId xmlns:a16="http://schemas.microsoft.com/office/drawing/2014/main" id="{5778DDEB-4884-C038-33B9-A8C8DA34FCEF}"/>
              </a:ext>
            </a:extLst>
          </p:cNvPr>
          <p:cNvSpPr>
            <a:spLocks noChangeArrowheads="1"/>
          </p:cNvSpPr>
          <p:nvPr/>
        </p:nvSpPr>
        <p:spPr bwMode="auto">
          <a:xfrm>
            <a:off x="10285783" y="6226932"/>
            <a:ext cx="1557874" cy="303349"/>
          </a:xfrm>
          <a:prstGeom prst="roundRect">
            <a:avLst/>
          </a:prstGeom>
          <a:solidFill>
            <a:schemeClr val="accent1"/>
          </a:solidFill>
          <a:ln>
            <a:noFill/>
          </a:ln>
          <a:effectLst/>
          <a:scene3d>
            <a:camera prst="orthographicFront">
              <a:rot lat="0" lon="0" rev="0"/>
            </a:camera>
            <a:lightRig rig="balanced" dir="t">
              <a:rot lat="0" lon="0" rev="0"/>
            </a:lightRig>
          </a:scene3d>
          <a:sp3d>
            <a:contourClr>
              <a:schemeClr val="lt1"/>
            </a:contourClr>
          </a:sp3d>
          <a:extLst>
            <a:ext uri="{91240B29-F687-4F45-9708-019B960494DF}">
              <a14:hiddenLine xmlns:a14="http://schemas.microsoft.com/office/drawing/2010/main" w="9525">
                <a:solidFill>
                  <a:srgbClr val="000000"/>
                </a:solidFill>
                <a:miter lim="800000"/>
                <a:headEnd/>
                <a:tailEnd/>
              </a14:hiddenLine>
            </a:ext>
          </a:extLst>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err="1">
                <a:ln>
                  <a:noFill/>
                </a:ln>
                <a:solidFill>
                  <a:prstClr val="white"/>
                </a:solidFill>
                <a:effectLst/>
                <a:uLnTx/>
                <a:uFillTx/>
                <a:latin typeface="Microsoft Sans Serif"/>
                <a:ea typeface="+mn-ea"/>
                <a:cs typeface="+mn-cs"/>
              </a:rPr>
              <a:t>WiFi</a:t>
            </a:r>
            <a:r>
              <a:rPr kumimoji="0" lang="en-US" sz="1100" b="0" i="0" u="none" strike="noStrike" kern="1200" cap="none" spc="0" normalizeH="0" baseline="0" noProof="0">
                <a:ln>
                  <a:noFill/>
                </a:ln>
                <a:solidFill>
                  <a:prstClr val="white"/>
                </a:solidFill>
                <a:effectLst/>
                <a:uLnTx/>
                <a:uFillTx/>
                <a:latin typeface="Microsoft Sans Serif"/>
                <a:ea typeface="+mn-ea"/>
                <a:cs typeface="+mn-cs"/>
              </a:rPr>
              <a:t> Modem</a:t>
            </a:r>
          </a:p>
        </p:txBody>
      </p:sp>
    </p:spTree>
    <p:extLst>
      <p:ext uri="{BB962C8B-B14F-4D97-AF65-F5344CB8AC3E}">
        <p14:creationId xmlns:p14="http://schemas.microsoft.com/office/powerpoint/2010/main" val="42534451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EA7E4EF-CCDE-4F3D-9534-50531D94C9DF}"/>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0"/>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7BA0FF">
                    <a:lumMod val="60000"/>
                    <a:lumOff val="40000"/>
                  </a:srgbClr>
                </a:solidFill>
                <a:effectLst/>
                <a:uLnTx/>
                <a:uFillTx/>
                <a:latin typeface="Microsoft Sans Serif"/>
                <a:ea typeface="+mn-ea"/>
                <a:cs typeface="+mn-cs"/>
              </a:rPr>
              <a:t>IBC 2023</a:t>
            </a:r>
          </a:p>
        </p:txBody>
      </p:sp>
      <p:sp>
        <p:nvSpPr>
          <p:cNvPr id="3" name="Title 2">
            <a:extLst>
              <a:ext uri="{FF2B5EF4-FFF2-40B4-BE49-F238E27FC236}">
                <a16:creationId xmlns:a16="http://schemas.microsoft.com/office/drawing/2014/main" id="{2D929457-4BB9-4B45-A014-D383EC6981B4}"/>
              </a:ext>
            </a:extLst>
          </p:cNvPr>
          <p:cNvSpPr>
            <a:spLocks noGrp="1"/>
          </p:cNvSpPr>
          <p:nvPr>
            <p:ph type="title"/>
          </p:nvPr>
        </p:nvSpPr>
        <p:spPr/>
        <p:txBody>
          <a:bodyPr/>
          <a:lstStyle/>
          <a:p>
            <a:r>
              <a:rPr lang="en-US"/>
              <a:t>Coexistence of ATSC 3.0 &amp; 5G Broadcast</a:t>
            </a:r>
          </a:p>
        </p:txBody>
      </p:sp>
      <p:sp>
        <p:nvSpPr>
          <p:cNvPr id="5" name="Content Placeholder 4">
            <a:extLst>
              <a:ext uri="{FF2B5EF4-FFF2-40B4-BE49-F238E27FC236}">
                <a16:creationId xmlns:a16="http://schemas.microsoft.com/office/drawing/2014/main" id="{CC5CC241-58EF-4485-8A31-F745E66FEDFE}"/>
              </a:ext>
            </a:extLst>
          </p:cNvPr>
          <p:cNvSpPr>
            <a:spLocks noGrp="1"/>
          </p:cNvSpPr>
          <p:nvPr>
            <p:ph sz="quarter" idx="14"/>
          </p:nvPr>
        </p:nvSpPr>
        <p:spPr>
          <a:xfrm>
            <a:off x="495300" y="1719072"/>
            <a:ext cx="11453486" cy="4681727"/>
          </a:xfrm>
        </p:spPr>
        <p:txBody>
          <a:bodyPr/>
          <a:lstStyle/>
          <a:p>
            <a:r>
              <a:rPr lang="en-US" sz="1800" dirty="0"/>
              <a:t>5G Broadcast can be deployed by broadcasters in the exact same way as ATSC, and it greatly lowers the barrier to adoption in mobile devices since it is “only” an incremental feature to the 4G/5G modem</a:t>
            </a:r>
          </a:p>
          <a:p>
            <a:pPr lvl="1"/>
            <a:r>
              <a:rPr lang="en-US" dirty="0"/>
              <a:t>Native broadcasting technologies like ATSC or DVB were never successfully incorporated in mobile devices at scale because their inclusion requires a separate piece of silicon (similar to, say, </a:t>
            </a:r>
            <a:r>
              <a:rPr lang="en-US" dirty="0" err="1"/>
              <a:t>WiFi</a:t>
            </a:r>
            <a:r>
              <a:rPr lang="en-US" dirty="0"/>
              <a:t> or GPS) and the ecosystem never took off</a:t>
            </a:r>
          </a:p>
          <a:p>
            <a:pPr lvl="1"/>
            <a:endParaRPr lang="en-US" sz="1400" dirty="0"/>
          </a:p>
          <a:p>
            <a:r>
              <a:rPr lang="en-US" sz="1800" dirty="0"/>
              <a:t>We could make use of the “reserved” frames of ATSC 3.0 to “superimpose” 5G Broadcast, thus achieving coexistence on the same channel</a:t>
            </a:r>
          </a:p>
          <a:p>
            <a:pPr lvl="1"/>
            <a:r>
              <a:rPr lang="en-US" dirty="0"/>
              <a:t>An alternative would be for ATSC 3.0 and 5G Broadcast to coexist on two different frequencies, i.e. one MUX for each</a:t>
            </a:r>
          </a:p>
          <a:p>
            <a:pPr lvl="1"/>
            <a:endParaRPr lang="en-US" sz="1200" dirty="0"/>
          </a:p>
          <a:p>
            <a:r>
              <a:rPr lang="en-US" sz="2000" dirty="0">
                <a:solidFill>
                  <a:schemeClr val="bg2"/>
                </a:solidFill>
              </a:rPr>
              <a:t>The same broadcaster could thus deploy &amp; operate both technologies at the same time</a:t>
            </a:r>
          </a:p>
          <a:p>
            <a:pPr lvl="1"/>
            <a:r>
              <a:rPr lang="en-US" dirty="0"/>
              <a:t>ATSC 3.0 for fixed devices</a:t>
            </a:r>
          </a:p>
          <a:p>
            <a:pPr lvl="1"/>
            <a:r>
              <a:rPr lang="en-US" dirty="0"/>
              <a:t>5G Broadcast for mobile devices</a:t>
            </a:r>
          </a:p>
          <a:p>
            <a:pPr lvl="1"/>
            <a:endParaRPr lang="en-US" dirty="0"/>
          </a:p>
          <a:p>
            <a:r>
              <a:rPr lang="en-US" sz="1800" dirty="0"/>
              <a:t>Documented in ATSC TG3-11</a:t>
            </a:r>
          </a:p>
          <a:p>
            <a:r>
              <a:rPr lang="en-US" sz="1800" dirty="0"/>
              <a:t>Rel-19 candidate work for 3GPP</a:t>
            </a:r>
          </a:p>
          <a:p>
            <a:endParaRPr lang="en-US" sz="2000" dirty="0"/>
          </a:p>
          <a:p>
            <a:pPr lvl="1"/>
            <a:endParaRPr lang="en-US" sz="1400" dirty="0"/>
          </a:p>
          <a:p>
            <a:pPr lvl="1"/>
            <a:endParaRPr lang="en-US" sz="1400" dirty="0"/>
          </a:p>
        </p:txBody>
      </p:sp>
      <p:sp>
        <p:nvSpPr>
          <p:cNvPr id="6" name="Subtitle 5">
            <a:extLst>
              <a:ext uri="{FF2B5EF4-FFF2-40B4-BE49-F238E27FC236}">
                <a16:creationId xmlns:a16="http://schemas.microsoft.com/office/drawing/2014/main" id="{3DEE0A2C-7FD3-BDFA-4F6A-40D0FB3F60D6}"/>
              </a:ext>
            </a:extLst>
          </p:cNvPr>
          <p:cNvSpPr>
            <a:spLocks noGrp="1"/>
          </p:cNvSpPr>
          <p:nvPr>
            <p:ph type="subTitle" idx="1"/>
          </p:nvPr>
        </p:nvSpPr>
        <p:spPr>
          <a:xfrm>
            <a:off x="494189" y="1088135"/>
            <a:ext cx="11188223" cy="265907"/>
          </a:xfrm>
        </p:spPr>
        <p:txBody>
          <a:bodyPr/>
          <a:lstStyle/>
          <a:p>
            <a:r>
              <a:rPr lang="en-US"/>
              <a:t>ATSC 3.0 &amp; 5G Broadcast can coexist:  it does not have to be a either/or</a:t>
            </a:r>
          </a:p>
        </p:txBody>
      </p:sp>
      <p:pic>
        <p:nvPicPr>
          <p:cNvPr id="4" name="Picture 3" descr="Timeline&#10;&#10;Description automatically generated">
            <a:extLst>
              <a:ext uri="{FF2B5EF4-FFF2-40B4-BE49-F238E27FC236}">
                <a16:creationId xmlns:a16="http://schemas.microsoft.com/office/drawing/2014/main" id="{0CD980CF-9099-D5D9-B4D5-456E484751D2}"/>
              </a:ext>
            </a:extLst>
          </p:cNvPr>
          <p:cNvPicPr>
            <a:picLocks noChangeAspect="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4417414" y="5160966"/>
            <a:ext cx="7774586" cy="1022491"/>
          </a:xfrm>
          <a:prstGeom prst="rect">
            <a:avLst/>
          </a:prstGeom>
          <a:noFill/>
          <a:ln>
            <a:noFill/>
          </a:ln>
        </p:spPr>
      </p:pic>
      <p:sp>
        <p:nvSpPr>
          <p:cNvPr id="7" name="Cloud 6">
            <a:extLst>
              <a:ext uri="{FF2B5EF4-FFF2-40B4-BE49-F238E27FC236}">
                <a16:creationId xmlns:a16="http://schemas.microsoft.com/office/drawing/2014/main" id="{89D35E7F-9117-8052-5305-BF5D7CBD0F63}"/>
              </a:ext>
            </a:extLst>
          </p:cNvPr>
          <p:cNvSpPr/>
          <p:nvPr/>
        </p:nvSpPr>
        <p:spPr>
          <a:xfrm>
            <a:off x="8886824" y="133350"/>
            <a:ext cx="3061961" cy="1585722"/>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Work Item in ATSC und 3GPP under preparation</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113727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6C406EC-B444-45C6-A604-6DF7C969AAF2}"/>
              </a:ext>
            </a:extLst>
          </p:cNvPr>
          <p:cNvSpPr>
            <a:spLocks noGrp="1"/>
          </p:cNvSpPr>
          <p:nvPr>
            <p:ph type="title"/>
          </p:nvPr>
        </p:nvSpPr>
        <p:spPr>
          <a:xfrm>
            <a:off x="495300" y="565125"/>
            <a:ext cx="11187112" cy="439479"/>
          </a:xfrm>
        </p:spPr>
        <p:txBody>
          <a:bodyPr/>
          <a:lstStyle/>
          <a:p>
            <a:r>
              <a:rPr lang="de-DE" dirty="0"/>
              <a:t>DVB-I via 5G Broadcast</a:t>
            </a:r>
            <a:endParaRPr lang="en-US" dirty="0"/>
          </a:p>
        </p:txBody>
      </p:sp>
      <p:sp>
        <p:nvSpPr>
          <p:cNvPr id="10" name="Content Placeholder 9">
            <a:extLst>
              <a:ext uri="{FF2B5EF4-FFF2-40B4-BE49-F238E27FC236}">
                <a16:creationId xmlns:a16="http://schemas.microsoft.com/office/drawing/2014/main" id="{A54E871A-0475-44E0-919E-F777E665FF3F}"/>
              </a:ext>
            </a:extLst>
          </p:cNvPr>
          <p:cNvSpPr>
            <a:spLocks noGrp="1"/>
          </p:cNvSpPr>
          <p:nvPr>
            <p:ph sz="quarter" idx="14"/>
          </p:nvPr>
        </p:nvSpPr>
        <p:spPr>
          <a:xfrm>
            <a:off x="495300" y="1719072"/>
            <a:ext cx="4473661" cy="4681727"/>
          </a:xfrm>
        </p:spPr>
        <p:txBody>
          <a:bodyPr>
            <a:normAutofit fontScale="92500" lnSpcReduction="10000"/>
          </a:bodyPr>
          <a:lstStyle/>
          <a:p>
            <a:r>
              <a:rPr lang="de-DE" dirty="0"/>
              <a:t>Using MBMS/5G Broadcast Reference Points and APIs</a:t>
            </a:r>
          </a:p>
          <a:p>
            <a:r>
              <a:rPr lang="de-DE" dirty="0"/>
              <a:t>Different options are considered</a:t>
            </a:r>
          </a:p>
          <a:p>
            <a:pPr lvl="1"/>
            <a:r>
              <a:rPr lang="de-DE" dirty="0"/>
              <a:t>Using file download services for carouselling metadata</a:t>
            </a:r>
          </a:p>
          <a:p>
            <a:pPr lvl="1"/>
            <a:r>
              <a:rPr lang="de-DE" dirty="0"/>
              <a:t>Using segment streaming for DVB-DASH</a:t>
            </a:r>
          </a:p>
          <a:p>
            <a:pPr lvl="1"/>
            <a:r>
              <a:rPr lang="de-DE" dirty="0"/>
              <a:t>Using transparent mode for DVB-I multicast distribution</a:t>
            </a:r>
          </a:p>
          <a:p>
            <a:r>
              <a:rPr lang="de-DE" dirty="0"/>
              <a:t>Combinations with unicast, hybrid services also under development</a:t>
            </a:r>
          </a:p>
          <a:p>
            <a:r>
              <a:rPr lang="de-DE" dirty="0"/>
              <a:t>See details in ETSI TR 103 972</a:t>
            </a:r>
          </a:p>
          <a:p>
            <a:r>
              <a:rPr lang="de-DE" dirty="0"/>
              <a:t>Expected to be supported by reference tools</a:t>
            </a:r>
          </a:p>
          <a:p>
            <a:pPr marL="0" indent="0">
              <a:buNone/>
            </a:pPr>
            <a:endParaRPr lang="en-US" dirty="0"/>
          </a:p>
        </p:txBody>
      </p:sp>
      <p:sp>
        <p:nvSpPr>
          <p:cNvPr id="9" name="Subtitle 8">
            <a:extLst>
              <a:ext uri="{FF2B5EF4-FFF2-40B4-BE49-F238E27FC236}">
                <a16:creationId xmlns:a16="http://schemas.microsoft.com/office/drawing/2014/main" id="{A4AABA93-2931-4750-A31A-EB622F6B40DD}"/>
              </a:ext>
            </a:extLst>
          </p:cNvPr>
          <p:cNvSpPr>
            <a:spLocks noGrp="1"/>
          </p:cNvSpPr>
          <p:nvPr>
            <p:ph type="subTitle" idx="1"/>
          </p:nvPr>
        </p:nvSpPr>
        <p:spPr/>
        <p:txBody>
          <a:bodyPr/>
          <a:lstStyle/>
          <a:p>
            <a:r>
              <a:rPr lang="de-DE" dirty="0"/>
              <a:t>Joint DVB/5G-MAG task force</a:t>
            </a:r>
            <a:endParaRPr lang="en-US" dirty="0"/>
          </a:p>
        </p:txBody>
      </p:sp>
      <p:sp>
        <p:nvSpPr>
          <p:cNvPr id="5" name="Footer Placeholder 4">
            <a:extLst>
              <a:ext uri="{FF2B5EF4-FFF2-40B4-BE49-F238E27FC236}">
                <a16:creationId xmlns:a16="http://schemas.microsoft.com/office/drawing/2014/main" id="{1B9D8B69-C19D-4904-89FB-340664514356}"/>
              </a:ext>
            </a:extLst>
          </p:cNvPr>
          <p:cNvSpPr>
            <a:spLocks noGrp="1"/>
          </p:cNvSpPr>
          <p:nvPr>
            <p:ph type="ftr" sz="quarter" idx="3"/>
          </p:nvPr>
        </p:nvSpPr>
        <p:spPr>
          <a:xfrm>
            <a:off x="495299" y="6531676"/>
            <a:ext cx="5954053"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dirty="0">
              <a:ln>
                <a:noFill/>
              </a:ln>
              <a:solidFill>
                <a:srgbClr val="445776">
                  <a:lumMod val="60000"/>
                  <a:lumOff val="40000"/>
                </a:srgbClr>
              </a:solidFill>
              <a:effectLst/>
              <a:uLnTx/>
              <a:uFillTx/>
              <a:latin typeface="Microsoft Sans Serif"/>
              <a:ea typeface="+mn-ea"/>
              <a:cs typeface="+mn-cs"/>
            </a:endParaRPr>
          </a:p>
        </p:txBody>
      </p:sp>
      <p:graphicFrame>
        <p:nvGraphicFramePr>
          <p:cNvPr id="11" name="Object 10">
            <a:extLst>
              <a:ext uri="{FF2B5EF4-FFF2-40B4-BE49-F238E27FC236}">
                <a16:creationId xmlns:a16="http://schemas.microsoft.com/office/drawing/2014/main" id="{2987FA17-AF7C-AD0D-A06D-3FB127A349BB}"/>
              </a:ext>
            </a:extLst>
          </p:cNvPr>
          <p:cNvGraphicFramePr>
            <a:graphicFrameLocks noChangeAspect="1"/>
          </p:cNvGraphicFramePr>
          <p:nvPr/>
        </p:nvGraphicFramePr>
        <p:xfrm>
          <a:off x="5145938" y="636774"/>
          <a:ext cx="7201905" cy="5764025"/>
        </p:xfrm>
        <a:graphic>
          <a:graphicData uri="http://schemas.openxmlformats.org/presentationml/2006/ole">
            <mc:AlternateContent xmlns:mc="http://schemas.openxmlformats.org/markup-compatibility/2006">
              <mc:Choice xmlns:v="urn:schemas-microsoft-com:vml" Requires="v">
                <p:oleObj name="Visio" r:id="rId2" imgW="8515559" imgH="6886857" progId="Visio.Drawing.15">
                  <p:embed/>
                </p:oleObj>
              </mc:Choice>
              <mc:Fallback>
                <p:oleObj name="Visio" r:id="rId2" imgW="8515559" imgH="6886857" progId="Visio.Drawing.15">
                  <p:embed/>
                  <p:pic>
                    <p:nvPicPr>
                      <p:cNvPr id="11" name="Object 10">
                        <a:extLst>
                          <a:ext uri="{FF2B5EF4-FFF2-40B4-BE49-F238E27FC236}">
                            <a16:creationId xmlns:a16="http://schemas.microsoft.com/office/drawing/2014/main" id="{2987FA17-AF7C-AD0D-A06D-3FB127A349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5938" y="636774"/>
                        <a:ext cx="7201905" cy="5764025"/>
                      </a:xfrm>
                      <a:prstGeom prst="rect">
                        <a:avLst/>
                      </a:prstGeom>
                      <a:noFill/>
                    </p:spPr>
                  </p:pic>
                </p:oleObj>
              </mc:Fallback>
            </mc:AlternateContent>
          </a:graphicData>
        </a:graphic>
      </p:graphicFrame>
      <p:pic>
        <p:nvPicPr>
          <p:cNvPr id="2" name="Picture 1" descr="DVB-logo.png">
            <a:extLst>
              <a:ext uri="{FF2B5EF4-FFF2-40B4-BE49-F238E27FC236}">
                <a16:creationId xmlns:a16="http://schemas.microsoft.com/office/drawing/2014/main" id="{910D5D61-80B9-D16D-DDD3-4553B3E383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2848" y="2273240"/>
            <a:ext cx="1671108" cy="71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5G-MAG : MEDIA + ICT + COLLABORATION">
            <a:extLst>
              <a:ext uri="{FF2B5EF4-FFF2-40B4-BE49-F238E27FC236}">
                <a16:creationId xmlns:a16="http://schemas.microsoft.com/office/drawing/2014/main" id="{2EAC9D99-FFEB-3386-7989-9235B91AD1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005" y="5360440"/>
            <a:ext cx="731039" cy="731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3FC5C7EC-726F-D972-269F-B9F343B28DB2}"/>
              </a:ext>
            </a:extLst>
          </p:cNvPr>
          <p:cNvPicPr>
            <a:picLocks noChangeAspect="1"/>
          </p:cNvPicPr>
          <p:nvPr/>
        </p:nvPicPr>
        <p:blipFill>
          <a:blip r:embed="rId6"/>
          <a:stretch>
            <a:fillRect/>
          </a:stretch>
        </p:blipFill>
        <p:spPr>
          <a:xfrm>
            <a:off x="5760625" y="247473"/>
            <a:ext cx="6010275" cy="2743200"/>
          </a:xfrm>
          <a:prstGeom prst="rect">
            <a:avLst/>
          </a:prstGeom>
        </p:spPr>
      </p:pic>
    </p:spTree>
    <p:extLst>
      <p:ext uri="{BB962C8B-B14F-4D97-AF65-F5344CB8AC3E}">
        <p14:creationId xmlns:p14="http://schemas.microsoft.com/office/powerpoint/2010/main" val="5791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A61271-5F34-46A3-AA0C-F8413FC95306}"/>
              </a:ext>
            </a:extLst>
          </p:cNvPr>
          <p:cNvSpPr>
            <a:spLocks noGrp="1"/>
          </p:cNvSpPr>
          <p:nvPr>
            <p:ph type="title"/>
          </p:nvPr>
        </p:nvSpPr>
        <p:spPr/>
        <p:txBody>
          <a:bodyPr/>
          <a:lstStyle/>
          <a:p>
            <a:r>
              <a:rPr lang="de-DE" dirty="0"/>
              <a:t>Hybrid Unicast Broadcast</a:t>
            </a:r>
            <a:endParaRPr lang="en-US" dirty="0"/>
          </a:p>
        </p:txBody>
      </p:sp>
      <p:sp>
        <p:nvSpPr>
          <p:cNvPr id="4" name="Content Placeholder 3">
            <a:extLst>
              <a:ext uri="{FF2B5EF4-FFF2-40B4-BE49-F238E27FC236}">
                <a16:creationId xmlns:a16="http://schemas.microsoft.com/office/drawing/2014/main" id="{B855F26B-F2AA-4F05-B82C-193B9C91CBA1}"/>
              </a:ext>
            </a:extLst>
          </p:cNvPr>
          <p:cNvSpPr>
            <a:spLocks noGrp="1"/>
          </p:cNvSpPr>
          <p:nvPr>
            <p:ph sz="quarter" idx="16"/>
          </p:nvPr>
        </p:nvSpPr>
        <p:spPr>
          <a:xfrm>
            <a:off x="495299" y="1719072"/>
            <a:ext cx="6105524" cy="4681727"/>
          </a:xfrm>
        </p:spPr>
        <p:txBody>
          <a:bodyPr>
            <a:normAutofit fontScale="92500"/>
          </a:bodyPr>
          <a:lstStyle/>
          <a:p>
            <a:r>
              <a:rPr lang="de-DE" dirty="0"/>
              <a:t>Content Provider may leverage 5G </a:t>
            </a:r>
            <a:br>
              <a:rPr lang="de-DE" dirty="0"/>
            </a:br>
            <a:r>
              <a:rPr lang="de-DE" dirty="0"/>
              <a:t>Unicast systems, 5G Broadcast </a:t>
            </a:r>
            <a:br>
              <a:rPr lang="de-DE" dirty="0"/>
            </a:br>
            <a:r>
              <a:rPr lang="de-DE" dirty="0"/>
              <a:t>systems, and 5G devices to build </a:t>
            </a:r>
            <a:br>
              <a:rPr lang="de-DE" dirty="0"/>
            </a:br>
            <a:r>
              <a:rPr lang="de-DE" dirty="0"/>
              <a:t>efficient and innovative applications</a:t>
            </a:r>
          </a:p>
          <a:p>
            <a:r>
              <a:rPr lang="de-DE" dirty="0"/>
              <a:t>Supported by well defined network </a:t>
            </a:r>
            <a:br>
              <a:rPr lang="de-DE" dirty="0"/>
            </a:br>
            <a:r>
              <a:rPr lang="de-DE" dirty="0"/>
              <a:t>and client-side APIs</a:t>
            </a:r>
          </a:p>
          <a:p>
            <a:r>
              <a:rPr lang="de-DE" dirty="0"/>
              <a:t>Examples:</a:t>
            </a:r>
          </a:p>
          <a:p>
            <a:pPr lvl="1"/>
            <a:r>
              <a:rPr lang="de-DE" sz="1800" dirty="0"/>
              <a:t>Hybrid Services</a:t>
            </a:r>
          </a:p>
          <a:p>
            <a:pPr lvl="1"/>
            <a:r>
              <a:rPr lang="de-DE" sz="1800" dirty="0"/>
              <a:t>Universal Coverage</a:t>
            </a:r>
          </a:p>
          <a:p>
            <a:pPr lvl="1"/>
            <a:r>
              <a:rPr lang="de-DE" sz="1800" dirty="0"/>
              <a:t>Broadcast on Demand</a:t>
            </a:r>
          </a:p>
          <a:p>
            <a:r>
              <a:rPr lang="en-US" sz="2600" dirty="0"/>
              <a:t>Integrated into 3GPP 5G specs, ETSI TS 103 720 and TR 103 972 (DVB over 5G)</a:t>
            </a:r>
          </a:p>
        </p:txBody>
      </p:sp>
      <p:sp>
        <p:nvSpPr>
          <p:cNvPr id="2" name="Subtitle 1">
            <a:extLst>
              <a:ext uri="{FF2B5EF4-FFF2-40B4-BE49-F238E27FC236}">
                <a16:creationId xmlns:a16="http://schemas.microsoft.com/office/drawing/2014/main" id="{258264D2-ABDB-4A6C-911E-8266AA99391D}"/>
              </a:ext>
            </a:extLst>
          </p:cNvPr>
          <p:cNvSpPr>
            <a:spLocks noGrp="1"/>
          </p:cNvSpPr>
          <p:nvPr>
            <p:ph type="subTitle" idx="1"/>
          </p:nvPr>
        </p:nvSpPr>
        <p:spPr/>
        <p:txBody>
          <a:bodyPr/>
          <a:lstStyle/>
          <a:p>
            <a:r>
              <a:rPr lang="de-DE"/>
              <a:t>Architectures, Collaboration Models and Use Cases </a:t>
            </a:r>
            <a:endParaRPr lang="en-US"/>
          </a:p>
        </p:txBody>
      </p:sp>
      <p:graphicFrame>
        <p:nvGraphicFramePr>
          <p:cNvPr id="8" name="Object 7">
            <a:extLst>
              <a:ext uri="{FF2B5EF4-FFF2-40B4-BE49-F238E27FC236}">
                <a16:creationId xmlns:a16="http://schemas.microsoft.com/office/drawing/2014/main" id="{336C4EDF-B856-4F00-A51B-36B8D3FF40D6}"/>
              </a:ext>
            </a:extLst>
          </p:cNvPr>
          <p:cNvGraphicFramePr>
            <a:graphicFrameLocks noChangeAspect="1"/>
          </p:cNvGraphicFramePr>
          <p:nvPr/>
        </p:nvGraphicFramePr>
        <p:xfrm>
          <a:off x="6052608" y="1778889"/>
          <a:ext cx="6105525" cy="3990975"/>
        </p:xfrm>
        <a:graphic>
          <a:graphicData uri="http://schemas.openxmlformats.org/presentationml/2006/ole">
            <mc:AlternateContent xmlns:mc="http://schemas.openxmlformats.org/markup-compatibility/2006">
              <mc:Choice xmlns:v="urn:schemas-microsoft-com:vml" Requires="v">
                <p:oleObj name="Visio" r:id="rId3" imgW="16236998" imgH="10604546" progId="Visio.Drawing.15">
                  <p:embed/>
                </p:oleObj>
              </mc:Choice>
              <mc:Fallback>
                <p:oleObj name="Visio" r:id="rId3" imgW="16236998" imgH="10604546" progId="Visio.Drawing.15">
                  <p:embed/>
                  <p:pic>
                    <p:nvPicPr>
                      <p:cNvPr id="8" name="Object 7">
                        <a:extLst>
                          <a:ext uri="{FF2B5EF4-FFF2-40B4-BE49-F238E27FC236}">
                            <a16:creationId xmlns:a16="http://schemas.microsoft.com/office/drawing/2014/main" id="{336C4EDF-B856-4F00-A51B-36B8D3FF40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2608" y="1778889"/>
                        <a:ext cx="6105525" cy="399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5" name="Straight Connector 14">
            <a:extLst>
              <a:ext uri="{FF2B5EF4-FFF2-40B4-BE49-F238E27FC236}">
                <a16:creationId xmlns:a16="http://schemas.microsoft.com/office/drawing/2014/main" id="{4D7A80EE-FD77-4A30-8E65-3D1F224436DC}"/>
              </a:ext>
            </a:extLst>
          </p:cNvPr>
          <p:cNvCxnSpPr>
            <a:cxnSpLocks/>
          </p:cNvCxnSpPr>
          <p:nvPr/>
        </p:nvCxnSpPr>
        <p:spPr>
          <a:xfrm>
            <a:off x="9774315" y="4332883"/>
            <a:ext cx="2329687" cy="0"/>
          </a:xfrm>
          <a:prstGeom prst="line">
            <a:avLst/>
          </a:prstGeom>
          <a:ln w="5715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B9945B-8E88-4B35-8F72-72F9F7E6D6DC}"/>
              </a:ext>
            </a:extLst>
          </p:cNvPr>
          <p:cNvCxnSpPr>
            <a:cxnSpLocks/>
          </p:cNvCxnSpPr>
          <p:nvPr/>
        </p:nvCxnSpPr>
        <p:spPr>
          <a:xfrm>
            <a:off x="9774315" y="1696659"/>
            <a:ext cx="0" cy="2636224"/>
          </a:xfrm>
          <a:prstGeom prst="line">
            <a:avLst/>
          </a:prstGeom>
          <a:ln w="5715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2B394A1-748B-4632-AE10-2B32B6C8D86B}"/>
              </a:ext>
            </a:extLst>
          </p:cNvPr>
          <p:cNvSpPr/>
          <p:nvPr/>
        </p:nvSpPr>
        <p:spPr>
          <a:xfrm>
            <a:off x="6052608" y="4332883"/>
            <a:ext cx="5629804" cy="1436966"/>
          </a:xfrm>
          <a:prstGeom prst="rect">
            <a:avLst/>
          </a:prstGeom>
          <a:solidFill>
            <a:srgbClr val="92D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5G Broadcast Operator</a:t>
            </a:r>
            <a:endParaRPr kumimoji="0" lang="en-US" sz="1400" b="0" i="0" u="none" strike="noStrike" kern="0" cap="none" spc="0" normalizeH="0" baseline="0" noProof="0" err="1">
              <a:ln>
                <a:noFill/>
              </a:ln>
              <a:solidFill>
                <a:srgbClr val="13171F"/>
              </a:solidFill>
              <a:effectLst/>
              <a:uLnTx/>
              <a:uFillTx/>
              <a:latin typeface="Microsoft Sans Serif"/>
              <a:ea typeface="+mn-ea"/>
              <a:cs typeface="Microsoft Sans Serif" panose="020B0604020202020204" pitchFamily="34" charset="0"/>
              <a:sym typeface="Arial"/>
            </a:endParaRPr>
          </a:p>
        </p:txBody>
      </p:sp>
      <p:sp>
        <p:nvSpPr>
          <p:cNvPr id="23" name="Rectangle 22">
            <a:extLst>
              <a:ext uri="{FF2B5EF4-FFF2-40B4-BE49-F238E27FC236}">
                <a16:creationId xmlns:a16="http://schemas.microsoft.com/office/drawing/2014/main" id="{AAFA38DF-69E1-4B6B-B4B7-F694ED208F6C}"/>
              </a:ext>
            </a:extLst>
          </p:cNvPr>
          <p:cNvSpPr/>
          <p:nvPr/>
        </p:nvSpPr>
        <p:spPr>
          <a:xfrm>
            <a:off x="9747249" y="1793586"/>
            <a:ext cx="2356753" cy="2553979"/>
          </a:xfrm>
          <a:prstGeom prst="rect">
            <a:avLst/>
          </a:prstGeom>
          <a:solidFill>
            <a:srgbClr val="2853D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Content Provider</a:t>
            </a:r>
            <a:endParaRPr kumimoji="0" lang="en-US" sz="1400" b="0" i="0" u="none" strike="noStrike" kern="0" cap="none" spc="0" normalizeH="0" baseline="0" noProof="0" err="1">
              <a:ln>
                <a:noFill/>
              </a:ln>
              <a:solidFill>
                <a:srgbClr val="13171F"/>
              </a:solidFill>
              <a:effectLst/>
              <a:uLnTx/>
              <a:uFillTx/>
              <a:latin typeface="Microsoft Sans Serif"/>
              <a:ea typeface="+mn-ea"/>
              <a:cs typeface="Microsoft Sans Serif" panose="020B0604020202020204" pitchFamily="34" charset="0"/>
              <a:sym typeface="Arial"/>
            </a:endParaRPr>
          </a:p>
        </p:txBody>
      </p:sp>
      <p:sp>
        <p:nvSpPr>
          <p:cNvPr id="24" name="Rectangle 23">
            <a:extLst>
              <a:ext uri="{FF2B5EF4-FFF2-40B4-BE49-F238E27FC236}">
                <a16:creationId xmlns:a16="http://schemas.microsoft.com/office/drawing/2014/main" id="{4C0576CC-1BEF-4E01-AF99-203318B34632}"/>
              </a:ext>
            </a:extLst>
          </p:cNvPr>
          <p:cNvSpPr/>
          <p:nvPr/>
        </p:nvSpPr>
        <p:spPr>
          <a:xfrm>
            <a:off x="7642796" y="1778875"/>
            <a:ext cx="2104453" cy="2553994"/>
          </a:xfrm>
          <a:prstGeom prst="rect">
            <a:avLst/>
          </a:prstGeom>
          <a:solidFill>
            <a:schemeClr val="bg2">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5G MNO</a:t>
            </a:r>
          </a:p>
        </p:txBody>
      </p:sp>
      <p:sp>
        <p:nvSpPr>
          <p:cNvPr id="6" name="Footer Placeholder 5">
            <a:extLst>
              <a:ext uri="{FF2B5EF4-FFF2-40B4-BE49-F238E27FC236}">
                <a16:creationId xmlns:a16="http://schemas.microsoft.com/office/drawing/2014/main" id="{1BE456D8-260B-426A-A366-282A95738A2D}"/>
              </a:ext>
            </a:extLst>
          </p:cNvPr>
          <p:cNvSpPr>
            <a:spLocks noGrp="1"/>
          </p:cNvSpPr>
          <p:nvPr>
            <p:ph type="ftr" sz="quarter" idx="10"/>
          </p:nvPr>
        </p:nvSpPr>
        <p:spPr>
          <a:xfrm>
            <a:off x="495299" y="6532895"/>
            <a:ext cx="10489691"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nn-NO"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IBC 2023</a:t>
            </a:r>
            <a:endPar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endParaRPr>
          </a:p>
        </p:txBody>
      </p:sp>
    </p:spTree>
    <p:extLst>
      <p:ext uri="{BB962C8B-B14F-4D97-AF65-F5344CB8AC3E}">
        <p14:creationId xmlns:p14="http://schemas.microsoft.com/office/powerpoint/2010/main" val="143204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F97CB2-CA59-4590-5CFE-CEBA3740810A}"/>
              </a:ext>
            </a:extLst>
          </p:cNvPr>
          <p:cNvPicPr>
            <a:picLocks noChangeAspect="1"/>
          </p:cNvPicPr>
          <p:nvPr/>
        </p:nvPicPr>
        <p:blipFill>
          <a:blip r:embed="rId2"/>
          <a:stretch>
            <a:fillRect/>
          </a:stretch>
        </p:blipFill>
        <p:spPr>
          <a:xfrm>
            <a:off x="0" y="1467"/>
            <a:ext cx="12192000" cy="6855065"/>
          </a:xfrm>
          <a:prstGeom prst="rect">
            <a:avLst/>
          </a:prstGeom>
        </p:spPr>
      </p:pic>
      <p:sp>
        <p:nvSpPr>
          <p:cNvPr id="2" name="Rectangle 1">
            <a:extLst>
              <a:ext uri="{FF2B5EF4-FFF2-40B4-BE49-F238E27FC236}">
                <a16:creationId xmlns:a16="http://schemas.microsoft.com/office/drawing/2014/main" id="{2F95E58D-AC7B-C6E4-D34E-6FB190E874E3}"/>
              </a:ext>
            </a:extLst>
          </p:cNvPr>
          <p:cNvSpPr/>
          <p:nvPr/>
        </p:nvSpPr>
        <p:spPr>
          <a:xfrm>
            <a:off x="342900" y="6296025"/>
            <a:ext cx="1857375" cy="5128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7F8FA"/>
              </a:solidFill>
              <a:effectLst/>
              <a:uLnTx/>
              <a:uFillTx/>
              <a:latin typeface="Microsoft Sans Serif"/>
              <a:ea typeface="+mn-ea"/>
              <a:cs typeface="Microsoft Sans Serif" panose="020B0604020202020204" pitchFamily="34" charset="0"/>
            </a:endParaRPr>
          </a:p>
        </p:txBody>
      </p:sp>
      <p:sp>
        <p:nvSpPr>
          <p:cNvPr id="4" name="Footer Placeholder 3">
            <a:extLst>
              <a:ext uri="{FF2B5EF4-FFF2-40B4-BE49-F238E27FC236}">
                <a16:creationId xmlns:a16="http://schemas.microsoft.com/office/drawing/2014/main" id="{A84545D1-7A34-13BF-0E20-6E74E12FBAA0}"/>
              </a:ext>
            </a:extLst>
          </p:cNvPr>
          <p:cNvSpPr>
            <a:spLocks noGrp="1"/>
          </p:cNvSpPr>
          <p:nvPr>
            <p:ph type="ftr" sz="quarter" idx="10"/>
          </p:nvPr>
        </p:nvSpPr>
        <p:spPr/>
        <p:txBody>
          <a:bodyPr/>
          <a:lstStyle/>
          <a:p>
            <a:r>
              <a:rPr lang="en-US"/>
              <a:t>IBC 2023</a:t>
            </a:r>
            <a:endParaRPr lang="en-US" dirty="0"/>
          </a:p>
        </p:txBody>
      </p:sp>
    </p:spTree>
    <p:extLst>
      <p:ext uri="{BB962C8B-B14F-4D97-AF65-F5344CB8AC3E}">
        <p14:creationId xmlns:p14="http://schemas.microsoft.com/office/powerpoint/2010/main" val="53131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3542" y="627216"/>
            <a:ext cx="11432977" cy="711397"/>
          </a:xfrm>
        </p:spPr>
        <p:txBody>
          <a:bodyPr/>
          <a:lstStyle/>
          <a:p>
            <a:r>
              <a:rPr lang="en-US" dirty="0"/>
              <a:t>How is the QRD MBMS Layer used?</a:t>
            </a:r>
          </a:p>
        </p:txBody>
      </p:sp>
      <p:sp>
        <p:nvSpPr>
          <p:cNvPr id="47" name="Rectangle 11">
            <a:extLst>
              <a:ext uri="{FF2B5EF4-FFF2-40B4-BE49-F238E27FC236}">
                <a16:creationId xmlns:a16="http://schemas.microsoft.com/office/drawing/2014/main" id="{B13A33B6-F6D2-BE25-EFFF-CEC595CC4A1F}"/>
              </a:ext>
            </a:extLst>
          </p:cNvPr>
          <p:cNvSpPr>
            <a:spLocks noChangeArrowheads="1"/>
          </p:cNvSpPr>
          <p:nvPr/>
        </p:nvSpPr>
        <p:spPr bwMode="auto">
          <a:xfrm>
            <a:off x="929386" y="5437714"/>
            <a:ext cx="11027300" cy="1282608"/>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Modem</a:t>
            </a:r>
          </a:p>
        </p:txBody>
      </p:sp>
      <p:sp>
        <p:nvSpPr>
          <p:cNvPr id="49" name="Rectangle 11">
            <a:extLst>
              <a:ext uri="{FF2B5EF4-FFF2-40B4-BE49-F238E27FC236}">
                <a16:creationId xmlns:a16="http://schemas.microsoft.com/office/drawing/2014/main" id="{CEC9CF02-8BE4-0934-89B5-A50AD2AD9CE6}"/>
              </a:ext>
            </a:extLst>
          </p:cNvPr>
          <p:cNvSpPr>
            <a:spLocks noChangeArrowheads="1"/>
          </p:cNvSpPr>
          <p:nvPr/>
        </p:nvSpPr>
        <p:spPr bwMode="auto">
          <a:xfrm>
            <a:off x="929385" y="1405202"/>
            <a:ext cx="11071025" cy="3968791"/>
          </a:xfrm>
          <a:prstGeom prst="roundRect">
            <a:avLst>
              <a:gd name="adj" fmla="val 4195"/>
            </a:avLst>
          </a:prstGeom>
          <a:solidFill>
            <a:schemeClr val="bg1">
              <a:lumMod val="65000"/>
            </a:schemeClr>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solidFill>
                <a:effectLst/>
                <a:uLnTx/>
                <a:uFillTx/>
                <a:latin typeface="Microsoft Sans Serif"/>
                <a:ea typeface="+mn-ea"/>
                <a:cs typeface="+mn-cs"/>
              </a:rPr>
              <a:t>Application Processor</a:t>
            </a:r>
          </a:p>
        </p:txBody>
      </p:sp>
      <p:sp>
        <p:nvSpPr>
          <p:cNvPr id="7" name="Rectangle 12">
            <a:extLst>
              <a:ext uri="{FF2B5EF4-FFF2-40B4-BE49-F238E27FC236}">
                <a16:creationId xmlns:a16="http://schemas.microsoft.com/office/drawing/2014/main" id="{5778DDEB-4884-C038-33B9-A8C8DA34FCEF}"/>
              </a:ext>
            </a:extLst>
          </p:cNvPr>
          <p:cNvSpPr>
            <a:spLocks noChangeArrowheads="1"/>
          </p:cNvSpPr>
          <p:nvPr/>
        </p:nvSpPr>
        <p:spPr bwMode="auto">
          <a:xfrm>
            <a:off x="929385" y="6358874"/>
            <a:ext cx="4830824"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F7F8FA">
                    <a:lumMod val="25000"/>
                  </a:srgbClr>
                </a:solidFill>
                <a:effectLst/>
                <a:highlight>
                  <a:srgbClr val="FFFF00"/>
                </a:highlight>
                <a:uLnTx/>
                <a:uFillTx/>
                <a:latin typeface="Microsoft Sans Serif"/>
                <a:ea typeface="+mn-ea"/>
                <a:cs typeface="+mn-cs"/>
              </a:rPr>
              <a:t>WiFi</a:t>
            </a:r>
            <a:r>
              <a:rPr kumimoji="0" lang="en-US" sz="1100" b="0" i="0" u="none" strike="noStrike" kern="1200" cap="none" spc="0" normalizeH="0" baseline="0" noProof="0">
                <a:ln>
                  <a:noFill/>
                </a:ln>
                <a:solidFill>
                  <a:srgbClr val="F7F8FA">
                    <a:lumMod val="25000"/>
                  </a:srgbClr>
                </a:solidFill>
                <a:effectLst/>
                <a:highlight>
                  <a:srgbClr val="FFFF00"/>
                </a:highlight>
                <a:uLnTx/>
                <a:uFillTx/>
                <a:latin typeface="Microsoft Sans Serif"/>
                <a:ea typeface="+mn-ea"/>
                <a:cs typeface="+mn-cs"/>
              </a:rPr>
              <a:t> Modem</a:t>
            </a:r>
          </a:p>
        </p:txBody>
      </p:sp>
      <p:sp>
        <p:nvSpPr>
          <p:cNvPr id="4" name="Rectangle 12">
            <a:extLst>
              <a:ext uri="{FF2B5EF4-FFF2-40B4-BE49-F238E27FC236}">
                <a16:creationId xmlns:a16="http://schemas.microsoft.com/office/drawing/2014/main" id="{A325EECA-4FC7-D433-B0DB-8253D793317C}"/>
              </a:ext>
            </a:extLst>
          </p:cNvPr>
          <p:cNvSpPr>
            <a:spLocks noChangeArrowheads="1"/>
          </p:cNvSpPr>
          <p:nvPr/>
        </p:nvSpPr>
        <p:spPr bwMode="auto">
          <a:xfrm>
            <a:off x="3257525" y="5634624"/>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P Unicast</a:t>
            </a:r>
            <a:br>
              <a:rPr kumimoji="0" lang="en-US" sz="900" b="0" i="0" u="none" strike="noStrike" kern="1200" cap="none" spc="0" normalizeH="0" baseline="0" noProof="0">
                <a:ln>
                  <a:noFill/>
                </a:ln>
                <a:solidFill>
                  <a:srgbClr val="13171F"/>
                </a:solidFill>
                <a:effectLst/>
                <a:uLnTx/>
                <a:uFillTx/>
                <a:latin typeface="Microsoft Sans Serif"/>
                <a:ea typeface="+mn-ea"/>
                <a:cs typeface="+mn-cs"/>
              </a:rPr>
            </a:br>
            <a:endParaRPr kumimoji="0" lang="en-US" sz="900" b="0" i="0" u="none" strike="noStrike" kern="1200" cap="none" spc="0" normalizeH="0" baseline="0" noProof="0">
              <a:ln>
                <a:noFill/>
              </a:ln>
              <a:solidFill>
                <a:srgbClr val="13171F"/>
              </a:solidFill>
              <a:effectLst/>
              <a:uLnTx/>
              <a:uFillTx/>
              <a:latin typeface="Microsoft Sans Serif"/>
              <a:ea typeface="+mn-ea"/>
              <a:cs typeface="+mn-cs"/>
            </a:endParaRPr>
          </a:p>
        </p:txBody>
      </p:sp>
      <p:cxnSp>
        <p:nvCxnSpPr>
          <p:cNvPr id="5" name="Straight Arrow Connector 4">
            <a:extLst>
              <a:ext uri="{FF2B5EF4-FFF2-40B4-BE49-F238E27FC236}">
                <a16:creationId xmlns:a16="http://schemas.microsoft.com/office/drawing/2014/main" id="{E8C527FB-7A78-25B5-7EAD-E0DF6931F48B}"/>
              </a:ext>
            </a:extLst>
          </p:cNvPr>
          <p:cNvCxnSpPr>
            <a:cxnSpLocks/>
            <a:endCxn id="4" idx="2"/>
          </p:cNvCxnSpPr>
          <p:nvPr/>
        </p:nvCxnSpPr>
        <p:spPr>
          <a:xfrm flipV="1">
            <a:off x="3737710" y="6000384"/>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BDF40140-17C2-B8D2-90F4-AEE030C1009D}"/>
              </a:ext>
            </a:extLst>
          </p:cNvPr>
          <p:cNvPicPr>
            <a:picLocks noChangeAspect="1"/>
          </p:cNvPicPr>
          <p:nvPr/>
        </p:nvPicPr>
        <p:blipFill>
          <a:blip r:embed="rId3"/>
          <a:stretch>
            <a:fillRect/>
          </a:stretch>
        </p:blipFill>
        <p:spPr>
          <a:xfrm>
            <a:off x="5810160" y="1515673"/>
            <a:ext cx="4573884" cy="2621548"/>
          </a:xfrm>
          <a:prstGeom prst="rect">
            <a:avLst/>
          </a:prstGeom>
        </p:spPr>
      </p:pic>
      <p:sp>
        <p:nvSpPr>
          <p:cNvPr id="10" name="Rectangle 12">
            <a:extLst>
              <a:ext uri="{FF2B5EF4-FFF2-40B4-BE49-F238E27FC236}">
                <a16:creationId xmlns:a16="http://schemas.microsoft.com/office/drawing/2014/main" id="{0C997DC0-6CE7-9646-7461-8DD29B7696EB}"/>
              </a:ext>
            </a:extLst>
          </p:cNvPr>
          <p:cNvSpPr>
            <a:spLocks noChangeArrowheads="1"/>
          </p:cNvSpPr>
          <p:nvPr/>
        </p:nvSpPr>
        <p:spPr bwMode="auto">
          <a:xfrm>
            <a:off x="5810160" y="4261245"/>
            <a:ext cx="5906359" cy="1173054"/>
          </a:xfrm>
          <a:prstGeom prst="roundRect">
            <a:avLst>
              <a:gd name="adj" fmla="val 10656"/>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vert" wrap="square" lIns="34295" tIns="34295" rIns="34295" bIns="34295" numCol="1" anchor="b"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a:ln>
                  <a:noFill/>
                </a:ln>
                <a:solidFill>
                  <a:srgbClr val="13171F"/>
                </a:solidFill>
                <a:effectLst/>
                <a:uLnTx/>
                <a:uFillTx/>
                <a:latin typeface="Microsoft Sans Serif"/>
                <a:ea typeface="+mn-ea"/>
                <a:cs typeface="+mn-cs"/>
              </a:rPr>
              <a:t>HLOS</a:t>
            </a:r>
          </a:p>
        </p:txBody>
      </p:sp>
      <p:sp>
        <p:nvSpPr>
          <p:cNvPr id="11" name="Rectangle 13">
            <a:extLst>
              <a:ext uri="{FF2B5EF4-FFF2-40B4-BE49-F238E27FC236}">
                <a16:creationId xmlns:a16="http://schemas.microsoft.com/office/drawing/2014/main" id="{3E9EC29F-6E88-42BA-F07E-C9F344F8D069}"/>
              </a:ext>
            </a:extLst>
          </p:cNvPr>
          <p:cNvSpPr>
            <a:spLocks noChangeArrowheads="1"/>
          </p:cNvSpPr>
          <p:nvPr/>
        </p:nvSpPr>
        <p:spPr bwMode="auto">
          <a:xfrm>
            <a:off x="7057433" y="4426707"/>
            <a:ext cx="4484915" cy="933789"/>
          </a:xfrm>
          <a:prstGeom prst="roundRect">
            <a:avLst>
              <a:gd name="adj" fmla="val 9125"/>
            </a:avLst>
          </a:prstGeom>
          <a:solidFill>
            <a:schemeClr val="accent3"/>
          </a:solidFill>
          <a:ln>
            <a:noFill/>
          </a:ln>
        </p:spPr>
        <p:txBody>
          <a:bodyPr vert="vert" wrap="square" lIns="45720" tIns="45720" rIns="45720" bIns="45720" numCol="1" anchor="t"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000" b="1" i="0" u="none" strike="noStrike" kern="1200" cap="none" spc="0" normalizeH="0" baseline="0" noProof="0">
                <a:ln>
                  <a:noFill/>
                </a:ln>
                <a:solidFill>
                  <a:srgbClr val="F7F8FA"/>
                </a:solidFill>
                <a:effectLst/>
                <a:uLnTx/>
                <a:uFillTx/>
                <a:latin typeface="Microsoft Sans Serif"/>
                <a:ea typeface="+mn-ea"/>
                <a:cs typeface="+mn-cs"/>
              </a:rPr>
              <a:t>MBMS Client</a:t>
            </a:r>
            <a:endParaRPr kumimoji="0" lang="en-US" sz="1100" b="0"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2" name="Rectangle 12">
            <a:extLst>
              <a:ext uri="{FF2B5EF4-FFF2-40B4-BE49-F238E27FC236}">
                <a16:creationId xmlns:a16="http://schemas.microsoft.com/office/drawing/2014/main" id="{FF5D502C-539C-558A-23F0-120E8BC466C7}"/>
              </a:ext>
            </a:extLst>
          </p:cNvPr>
          <p:cNvSpPr>
            <a:spLocks noChangeArrowheads="1"/>
          </p:cNvSpPr>
          <p:nvPr/>
        </p:nvSpPr>
        <p:spPr bwMode="auto">
          <a:xfrm>
            <a:off x="10108257" y="5654107"/>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IP Stack</a:t>
            </a:r>
            <a:br>
              <a:rPr kumimoji="0" lang="en-US" sz="900" b="0" i="0" u="none" strike="noStrike" kern="1200" cap="none" spc="0" normalizeH="0" baseline="0" noProof="0">
                <a:ln>
                  <a:noFill/>
                </a:ln>
                <a:solidFill>
                  <a:srgbClr val="13171F"/>
                </a:solidFill>
                <a:effectLst/>
                <a:uLnTx/>
                <a:uFillTx/>
                <a:latin typeface="Microsoft Sans Serif"/>
                <a:ea typeface="+mn-ea"/>
                <a:cs typeface="+mn-cs"/>
              </a:rPr>
            </a:br>
            <a:r>
              <a:rPr kumimoji="0" lang="en-US" sz="900" b="0" i="0" u="none" strike="noStrike" kern="1200" cap="none" spc="0" normalizeH="0" baseline="0" noProof="0">
                <a:ln>
                  <a:noFill/>
                </a:ln>
                <a:solidFill>
                  <a:srgbClr val="13171F"/>
                </a:solidFill>
                <a:effectLst/>
                <a:uLnTx/>
                <a:uFillTx/>
                <a:latin typeface="Microsoft Sans Serif"/>
                <a:ea typeface="+mn-ea"/>
                <a:cs typeface="+mn-cs"/>
              </a:rPr>
              <a:t>(with multicast)</a:t>
            </a:r>
          </a:p>
        </p:txBody>
      </p:sp>
      <p:sp>
        <p:nvSpPr>
          <p:cNvPr id="13" name="Rectangle 12">
            <a:extLst>
              <a:ext uri="{FF2B5EF4-FFF2-40B4-BE49-F238E27FC236}">
                <a16:creationId xmlns:a16="http://schemas.microsoft.com/office/drawing/2014/main" id="{D9D54354-A5D8-35CE-7581-A71895A66233}"/>
              </a:ext>
            </a:extLst>
          </p:cNvPr>
          <p:cNvSpPr>
            <a:spLocks noChangeArrowheads="1"/>
          </p:cNvSpPr>
          <p:nvPr/>
        </p:nvSpPr>
        <p:spPr bwMode="auto">
          <a:xfrm>
            <a:off x="7247946" y="5721479"/>
            <a:ext cx="960370" cy="365760"/>
          </a:xfrm>
          <a:prstGeom prst="round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95" tIns="34295" rIns="34295" bIns="34295" numCol="1" anchor="ctr" anchorCtr="1"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solidFill>
                <a:effectLst/>
                <a:uLnTx/>
                <a:uFillTx/>
                <a:latin typeface="Microsoft Sans Serif"/>
                <a:ea typeface="+mn-ea"/>
                <a:cs typeface="+mn-cs"/>
              </a:rPr>
              <a:t>eMBMS Service</a:t>
            </a:r>
          </a:p>
        </p:txBody>
      </p:sp>
      <p:cxnSp>
        <p:nvCxnSpPr>
          <p:cNvPr id="14" name="Straight Arrow Connector 13">
            <a:extLst>
              <a:ext uri="{FF2B5EF4-FFF2-40B4-BE49-F238E27FC236}">
                <a16:creationId xmlns:a16="http://schemas.microsoft.com/office/drawing/2014/main" id="{7E582256-1AFF-529D-5562-E12F23D8C3D3}"/>
              </a:ext>
            </a:extLst>
          </p:cNvPr>
          <p:cNvCxnSpPr>
            <a:cxnSpLocks/>
            <a:stCxn id="13" idx="0"/>
          </p:cNvCxnSpPr>
          <p:nvPr/>
        </p:nvCxnSpPr>
        <p:spPr>
          <a:xfrm flipV="1">
            <a:off x="7728131" y="5226858"/>
            <a:ext cx="0" cy="494621"/>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3CB57D-55A0-7024-A7CB-B133DAFA527E}"/>
              </a:ext>
            </a:extLst>
          </p:cNvPr>
          <p:cNvCxnSpPr>
            <a:cxnSpLocks/>
          </p:cNvCxnSpPr>
          <p:nvPr/>
        </p:nvCxnSpPr>
        <p:spPr>
          <a:xfrm flipV="1">
            <a:off x="7728131" y="6046937"/>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7F58E14-4F2A-D241-4DA7-4693F828ACE9}"/>
              </a:ext>
            </a:extLst>
          </p:cNvPr>
          <p:cNvCxnSpPr>
            <a:cxnSpLocks/>
            <a:endCxn id="12" idx="2"/>
          </p:cNvCxnSpPr>
          <p:nvPr/>
        </p:nvCxnSpPr>
        <p:spPr>
          <a:xfrm flipV="1">
            <a:off x="10588442" y="6019867"/>
            <a:ext cx="0" cy="36576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tangle 12">
            <a:extLst>
              <a:ext uri="{FF2B5EF4-FFF2-40B4-BE49-F238E27FC236}">
                <a16:creationId xmlns:a16="http://schemas.microsoft.com/office/drawing/2014/main" id="{AA451D9F-A20F-1D8A-77AE-CFD191F6518B}"/>
              </a:ext>
            </a:extLst>
          </p:cNvPr>
          <p:cNvSpPr>
            <a:spLocks noChangeArrowheads="1"/>
          </p:cNvSpPr>
          <p:nvPr/>
        </p:nvSpPr>
        <p:spPr bwMode="auto">
          <a:xfrm>
            <a:off x="5890486" y="6377732"/>
            <a:ext cx="5886993" cy="303349"/>
          </a:xfrm>
          <a:prstGeom prst="roundRect">
            <a:avLst/>
          </a:prstGeom>
          <a:solidFill>
            <a:srgbClr val="FFFF00"/>
          </a:solidFill>
          <a:ln>
            <a:noFill/>
          </a:ln>
          <a:effectLst/>
          <a:scene3d>
            <a:camera prst="orthographicFront">
              <a:rot lat="0" lon="0" rev="0"/>
            </a:camera>
            <a:lightRig rig="balanced" dir="t">
              <a:rot lat="0" lon="0" rev="0"/>
            </a:lightRig>
          </a:scene3d>
          <a:sp3d>
            <a:contourClr>
              <a:schemeClr val="lt1"/>
            </a:contourClr>
          </a:sp3d>
        </p:spPr>
        <p:style>
          <a:lnRef idx="0">
            <a:schemeClr val="accent2"/>
          </a:lnRef>
          <a:fillRef idx="3">
            <a:schemeClr val="accent2"/>
          </a:fillRef>
          <a:effectRef idx="3">
            <a:schemeClr val="accent2"/>
          </a:effectRef>
          <a:fontRef idx="minor">
            <a:schemeClr val="lt1"/>
          </a:fontRef>
        </p:style>
        <p:txBody>
          <a:bodyPr lIns="68589" tIns="34295" rIns="68589" bIns="34295"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rgbClr val="F7F8FA">
                    <a:lumMod val="25000"/>
                  </a:srgbClr>
                </a:solidFill>
                <a:effectLst/>
                <a:highlight>
                  <a:srgbClr val="FFFF00"/>
                </a:highlight>
                <a:uLnTx/>
                <a:uFillTx/>
                <a:latin typeface="Microsoft Sans Serif"/>
                <a:ea typeface="+mn-ea"/>
                <a:cs typeface="+mn-cs"/>
              </a:rPr>
              <a:t>LTE Modem</a:t>
            </a:r>
          </a:p>
        </p:txBody>
      </p:sp>
      <p:sp>
        <p:nvSpPr>
          <p:cNvPr id="18" name="Rectangle 12">
            <a:extLst>
              <a:ext uri="{FF2B5EF4-FFF2-40B4-BE49-F238E27FC236}">
                <a16:creationId xmlns:a16="http://schemas.microsoft.com/office/drawing/2014/main" id="{F0443A23-EAAA-B5F2-DE62-92518D09463D}"/>
              </a:ext>
            </a:extLst>
          </p:cNvPr>
          <p:cNvSpPr>
            <a:spLocks noChangeArrowheads="1"/>
          </p:cNvSpPr>
          <p:nvPr/>
        </p:nvSpPr>
        <p:spPr bwMode="auto">
          <a:xfrm>
            <a:off x="9907942" y="4931404"/>
            <a:ext cx="1360365"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Group Communication</a:t>
            </a:r>
          </a:p>
        </p:txBody>
      </p:sp>
      <p:cxnSp>
        <p:nvCxnSpPr>
          <p:cNvPr id="19" name="Straight Arrow Connector 18">
            <a:extLst>
              <a:ext uri="{FF2B5EF4-FFF2-40B4-BE49-F238E27FC236}">
                <a16:creationId xmlns:a16="http://schemas.microsoft.com/office/drawing/2014/main" id="{A5660149-203D-64EC-BCA7-8F72D3FEA558}"/>
              </a:ext>
            </a:extLst>
          </p:cNvPr>
          <p:cNvCxnSpPr>
            <a:cxnSpLocks/>
            <a:stCxn id="12" idx="0"/>
          </p:cNvCxnSpPr>
          <p:nvPr/>
        </p:nvCxnSpPr>
        <p:spPr>
          <a:xfrm flipH="1" flipV="1">
            <a:off x="10588125" y="5226858"/>
            <a:ext cx="317" cy="427249"/>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2">
            <a:extLst>
              <a:ext uri="{FF2B5EF4-FFF2-40B4-BE49-F238E27FC236}">
                <a16:creationId xmlns:a16="http://schemas.microsoft.com/office/drawing/2014/main" id="{9E0BD598-5FD8-76C3-747C-7665F07F355E}"/>
              </a:ext>
            </a:extLst>
          </p:cNvPr>
          <p:cNvSpPr>
            <a:spLocks noChangeArrowheads="1"/>
          </p:cNvSpPr>
          <p:nvPr/>
        </p:nvSpPr>
        <p:spPr bwMode="auto">
          <a:xfrm>
            <a:off x="7280610" y="4937933"/>
            <a:ext cx="1257280" cy="288925"/>
          </a:xfrm>
          <a:prstGeom prst="round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1" compatLnSpc="1">
            <a:prstTxWarp prst="textNoShape">
              <a:avLst/>
            </a:prstTxWarp>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srgbClr val="13171F">
                    <a:lumMod val="85000"/>
                    <a:lumOff val="15000"/>
                  </a:srgbClr>
                </a:solidFill>
                <a:effectLst/>
                <a:uLnTx/>
                <a:uFillTx/>
                <a:latin typeface="Microsoft Sans Serif"/>
                <a:ea typeface="+mn-ea"/>
                <a:cs typeface="+mn-cs"/>
              </a:rPr>
              <a:t>Group Communication</a:t>
            </a:r>
          </a:p>
        </p:txBody>
      </p:sp>
      <p:cxnSp>
        <p:nvCxnSpPr>
          <p:cNvPr id="22" name="Connector: Elbow 21">
            <a:extLst>
              <a:ext uri="{FF2B5EF4-FFF2-40B4-BE49-F238E27FC236}">
                <a16:creationId xmlns:a16="http://schemas.microsoft.com/office/drawing/2014/main" id="{8DE26A45-9B8D-8898-45E3-A09AB48257F2}"/>
              </a:ext>
            </a:extLst>
          </p:cNvPr>
          <p:cNvCxnSpPr>
            <a:cxnSpLocks/>
            <a:stCxn id="4" idx="0"/>
            <a:endCxn id="9" idx="1"/>
          </p:cNvCxnSpPr>
          <p:nvPr/>
        </p:nvCxnSpPr>
        <p:spPr>
          <a:xfrm rot="5400000" flipH="1" flipV="1">
            <a:off x="3369847" y="3194311"/>
            <a:ext cx="2808177" cy="2072450"/>
          </a:xfrm>
          <a:prstGeom prst="bentConnector2">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1EDDB6A-E8D2-EAEF-AAE9-8FAE9E6CB6FF}"/>
              </a:ext>
            </a:extLst>
          </p:cNvPr>
          <p:cNvPicPr>
            <a:picLocks noChangeAspect="1"/>
          </p:cNvPicPr>
          <p:nvPr/>
        </p:nvPicPr>
        <p:blipFill>
          <a:blip r:embed="rId4"/>
          <a:stretch>
            <a:fillRect/>
          </a:stretch>
        </p:blipFill>
        <p:spPr>
          <a:xfrm>
            <a:off x="10474657" y="1484007"/>
            <a:ext cx="1435140" cy="1216435"/>
          </a:xfrm>
          <a:prstGeom prst="rect">
            <a:avLst/>
          </a:prstGeom>
        </p:spPr>
      </p:pic>
      <p:pic>
        <p:nvPicPr>
          <p:cNvPr id="1026" name="Picture 2">
            <a:extLst>
              <a:ext uri="{FF2B5EF4-FFF2-40B4-BE49-F238E27FC236}">
                <a16:creationId xmlns:a16="http://schemas.microsoft.com/office/drawing/2014/main" id="{98F63587-7D04-27BE-E2D1-25681B917D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0486" y="3842515"/>
            <a:ext cx="1017360" cy="273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139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23060E4-5E8E-4DAB-980F-6AAE56EF0A80}"/>
              </a:ext>
            </a:extLst>
          </p:cNvPr>
          <p:cNvSpPr>
            <a:spLocks noGrp="1"/>
          </p:cNvSpPr>
          <p:nvPr>
            <p:ph type="title"/>
          </p:nvPr>
        </p:nvSpPr>
        <p:spPr>
          <a:xfrm>
            <a:off x="495298" y="2457921"/>
            <a:ext cx="8829675" cy="1472711"/>
          </a:xfrm>
        </p:spPr>
        <p:txBody>
          <a:bodyPr/>
          <a:lstStyle/>
          <a:p>
            <a:r>
              <a:rPr lang="en-US" dirty="0"/>
              <a:t>What is 5G Broadcast? </a:t>
            </a:r>
            <a:br>
              <a:rPr lang="en-US" dirty="0"/>
            </a:br>
            <a:r>
              <a:rPr lang="en-US" dirty="0"/>
              <a:t>And what not?</a:t>
            </a:r>
          </a:p>
        </p:txBody>
      </p:sp>
    </p:spTree>
    <p:extLst>
      <p:ext uri="{BB962C8B-B14F-4D97-AF65-F5344CB8AC3E}">
        <p14:creationId xmlns:p14="http://schemas.microsoft.com/office/powerpoint/2010/main" val="53200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8D4CAC-0CD2-4F41-BF35-6A9A4B190D72}"/>
              </a:ext>
            </a:extLst>
          </p:cNvPr>
          <p:cNvSpPr>
            <a:spLocks noGrp="1"/>
          </p:cNvSpPr>
          <p:nvPr>
            <p:ph type="title"/>
          </p:nvPr>
        </p:nvSpPr>
        <p:spPr/>
        <p:txBody>
          <a:bodyPr>
            <a:noAutofit/>
          </a:bodyPr>
          <a:lstStyle/>
          <a:p>
            <a:r>
              <a:rPr lang="en-GB" dirty="0"/>
              <a:t>5G-MAG Reference Tools?</a:t>
            </a:r>
            <a:endParaRPr lang="fr-CH" sz="2133" dirty="0"/>
          </a:p>
        </p:txBody>
      </p:sp>
      <p:sp>
        <p:nvSpPr>
          <p:cNvPr id="4" name="Slide Number Placeholder 3">
            <a:extLst>
              <a:ext uri="{FF2B5EF4-FFF2-40B4-BE49-F238E27FC236}">
                <a16:creationId xmlns:a16="http://schemas.microsoft.com/office/drawing/2014/main" id="{D5772987-E54C-4085-9258-F59E1EE9D695}"/>
              </a:ext>
            </a:extLst>
          </p:cNvPr>
          <p:cNvSpPr>
            <a:spLocks noGrp="1"/>
          </p:cNvSpPr>
          <p:nvPr>
            <p:ph type="sldNum" sz="quarter" idx="4"/>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4FAB73BC-B049-4115-A692-8D63A059BFB8}" type="slidenum">
              <a:rPr kumimoji="0" lang="fr-CH" sz="1200" b="0" i="0" u="none" strike="noStrike" kern="1200" cap="none" spc="0" normalizeH="0" baseline="0" noProof="0">
                <a:ln>
                  <a:noFill/>
                </a:ln>
                <a:solidFill>
                  <a:srgbClr val="324158"/>
                </a:solidFill>
                <a:effectLst/>
                <a:uLnTx/>
                <a:uFillTx/>
                <a:latin typeface="Poppins ExtraLight" panose="00000300000000000000" pitchFamily="2" charset="0"/>
                <a:ea typeface="+mn-ea"/>
                <a:cs typeface="Poppins ExtraLight" panose="00000300000000000000" pitchFamily="2" charset="0"/>
              </a:rPr>
              <a:pPr marL="0" marR="0" lvl="0" indent="0" algn="r" defTabSz="609585" rtl="0" eaLnBrk="1" fontAlgn="auto" latinLnBrk="0" hangingPunct="1">
                <a:lnSpc>
                  <a:spcPct val="100000"/>
                </a:lnSpc>
                <a:spcBef>
                  <a:spcPts val="0"/>
                </a:spcBef>
                <a:spcAft>
                  <a:spcPts val="0"/>
                </a:spcAft>
                <a:buClrTx/>
                <a:buSzTx/>
                <a:buFontTx/>
                <a:buNone/>
                <a:tabLst/>
                <a:defRPr/>
              </a:pPr>
              <a:t>60</a:t>
            </a:fld>
            <a:endParaRPr kumimoji="0" lang="fr-CH" sz="1200" b="0" i="0" u="none" strike="noStrike" kern="1200" cap="none" spc="0" normalizeH="0" baseline="0" noProof="0" dirty="0">
              <a:ln>
                <a:noFill/>
              </a:ln>
              <a:solidFill>
                <a:srgbClr val="324158"/>
              </a:solidFill>
              <a:effectLst/>
              <a:uLnTx/>
              <a:uFillTx/>
              <a:latin typeface="Poppins ExtraLight" panose="00000300000000000000" pitchFamily="2" charset="0"/>
              <a:ea typeface="+mn-ea"/>
              <a:cs typeface="Poppins ExtraLight" panose="00000300000000000000" pitchFamily="2" charset="0"/>
            </a:endParaRPr>
          </a:p>
        </p:txBody>
      </p:sp>
      <p:pic>
        <p:nvPicPr>
          <p:cNvPr id="6" name="Picture 5">
            <a:extLst>
              <a:ext uri="{FF2B5EF4-FFF2-40B4-BE49-F238E27FC236}">
                <a16:creationId xmlns:a16="http://schemas.microsoft.com/office/drawing/2014/main" id="{9686EB6F-AC99-A307-5D15-157466951A76}"/>
              </a:ext>
            </a:extLst>
          </p:cNvPr>
          <p:cNvPicPr>
            <a:picLocks noChangeAspect="1"/>
          </p:cNvPicPr>
          <p:nvPr/>
        </p:nvPicPr>
        <p:blipFill rotWithShape="1">
          <a:blip r:embed="rId2"/>
          <a:srcRect b="57964"/>
          <a:stretch/>
        </p:blipFill>
        <p:spPr>
          <a:xfrm>
            <a:off x="445894" y="5677188"/>
            <a:ext cx="6212004" cy="564293"/>
          </a:xfrm>
          <a:prstGeom prst="rect">
            <a:avLst/>
          </a:prstGeom>
        </p:spPr>
      </p:pic>
      <p:pic>
        <p:nvPicPr>
          <p:cNvPr id="14" name="Picture 13">
            <a:extLst>
              <a:ext uri="{FF2B5EF4-FFF2-40B4-BE49-F238E27FC236}">
                <a16:creationId xmlns:a16="http://schemas.microsoft.com/office/drawing/2014/main" id="{1231B4D5-3056-483E-A375-45B99052161F}"/>
              </a:ext>
            </a:extLst>
          </p:cNvPr>
          <p:cNvPicPr>
            <a:picLocks noChangeAspect="1"/>
          </p:cNvPicPr>
          <p:nvPr/>
        </p:nvPicPr>
        <p:blipFill rotWithShape="1">
          <a:blip r:embed="rId2"/>
          <a:srcRect t="53054" r="18922" b="-1"/>
          <a:stretch/>
        </p:blipFill>
        <p:spPr>
          <a:xfrm>
            <a:off x="6776899" y="5611252"/>
            <a:ext cx="5036528" cy="630229"/>
          </a:xfrm>
          <a:prstGeom prst="rect">
            <a:avLst/>
          </a:prstGeom>
        </p:spPr>
      </p:pic>
      <p:sp>
        <p:nvSpPr>
          <p:cNvPr id="7" name="Textfeld 12">
            <a:extLst>
              <a:ext uri="{FF2B5EF4-FFF2-40B4-BE49-F238E27FC236}">
                <a16:creationId xmlns:a16="http://schemas.microsoft.com/office/drawing/2014/main" id="{5D1D95EB-F782-EB0C-36D0-8ED95E96E27E}"/>
              </a:ext>
            </a:extLst>
          </p:cNvPr>
          <p:cNvSpPr txBox="1"/>
          <p:nvPr/>
        </p:nvSpPr>
        <p:spPr>
          <a:xfrm>
            <a:off x="223517" y="5371884"/>
            <a:ext cx="4273927"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AT" sz="1867" b="0" i="0" u="none" strike="noStrike" kern="1200" cap="none" spc="0" normalizeH="0" baseline="0" noProof="0" dirty="0">
                <a:ln>
                  <a:noFill/>
                </a:ln>
                <a:solidFill>
                  <a:srgbClr val="000000"/>
                </a:solidFill>
                <a:effectLst/>
                <a:uLnTx/>
                <a:uFillTx/>
                <a:latin typeface="Poppins SemiBold" panose="00000700000000000000" pitchFamily="2" charset="0"/>
                <a:ea typeface="+mn-ea"/>
                <a:cs typeface="Poppins SemiBold" panose="00000700000000000000" pitchFamily="2" charset="0"/>
              </a:rPr>
              <a:t>Current list of official contributors</a:t>
            </a:r>
          </a:p>
        </p:txBody>
      </p:sp>
      <p:sp>
        <p:nvSpPr>
          <p:cNvPr id="2" name="Rectangle 1">
            <a:extLst>
              <a:ext uri="{FF2B5EF4-FFF2-40B4-BE49-F238E27FC236}">
                <a16:creationId xmlns:a16="http://schemas.microsoft.com/office/drawing/2014/main" id="{9AE52A38-FF50-B06E-9DDE-2F67D85EB271}"/>
              </a:ext>
            </a:extLst>
          </p:cNvPr>
          <p:cNvSpPr/>
          <p:nvPr/>
        </p:nvSpPr>
        <p:spPr>
          <a:xfrm>
            <a:off x="3762277" y="6462547"/>
            <a:ext cx="8146560"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fr-CH" sz="1467" b="1" i="0" u="none" strike="noStrike" kern="1200" cap="none" spc="0" normalizeH="0" baseline="0" noProof="0" dirty="0" err="1">
                <a:ln>
                  <a:noFill/>
                </a:ln>
                <a:solidFill>
                  <a:srgbClr val="324158"/>
                </a:solidFill>
                <a:effectLst/>
                <a:uLnTx/>
                <a:uFillTx/>
                <a:latin typeface="Poppins SemiBold" panose="02000000000000000000" pitchFamily="2" charset="0"/>
                <a:ea typeface="+mn-ea"/>
                <a:cs typeface="Poppins SemiBold" panose="02000000000000000000" pitchFamily="2" charset="0"/>
              </a:rPr>
              <a:t>Find</a:t>
            </a:r>
            <a:r>
              <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rPr>
              <a:t> information at </a:t>
            </a:r>
            <a:r>
              <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hlinkClick r:id="rId3"/>
              </a:rPr>
              <a:t>developer.5g-mag.com</a:t>
            </a:r>
            <a:endPar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endParaRPr>
          </a:p>
        </p:txBody>
      </p:sp>
      <p:pic>
        <p:nvPicPr>
          <p:cNvPr id="8" name="Graphic 7" descr="Information with solid fill">
            <a:extLst>
              <a:ext uri="{FF2B5EF4-FFF2-40B4-BE49-F238E27FC236}">
                <a16:creationId xmlns:a16="http://schemas.microsoft.com/office/drawing/2014/main" id="{BEE7E325-A10E-C0B5-3818-39864382A1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29994" y="6462547"/>
            <a:ext cx="315631" cy="315631"/>
          </a:xfrm>
          <a:prstGeom prst="rect">
            <a:avLst/>
          </a:prstGeom>
        </p:spPr>
      </p:pic>
      <p:pic>
        <p:nvPicPr>
          <p:cNvPr id="12" name="Picture 11">
            <a:extLst>
              <a:ext uri="{FF2B5EF4-FFF2-40B4-BE49-F238E27FC236}">
                <a16:creationId xmlns:a16="http://schemas.microsoft.com/office/drawing/2014/main" id="{EB8A8836-A4D8-EDF6-98F5-4DA0E32DCA14}"/>
              </a:ext>
            </a:extLst>
          </p:cNvPr>
          <p:cNvPicPr>
            <a:picLocks noChangeAspect="1"/>
          </p:cNvPicPr>
          <p:nvPr/>
        </p:nvPicPr>
        <p:blipFill>
          <a:blip r:embed="rId6"/>
          <a:stretch>
            <a:fillRect/>
          </a:stretch>
        </p:blipFill>
        <p:spPr>
          <a:xfrm>
            <a:off x="859352" y="2585727"/>
            <a:ext cx="10473296" cy="2597116"/>
          </a:xfrm>
          <a:prstGeom prst="rect">
            <a:avLst/>
          </a:prstGeom>
        </p:spPr>
      </p:pic>
      <p:grpSp>
        <p:nvGrpSpPr>
          <p:cNvPr id="13" name="Group 12">
            <a:extLst>
              <a:ext uri="{FF2B5EF4-FFF2-40B4-BE49-F238E27FC236}">
                <a16:creationId xmlns:a16="http://schemas.microsoft.com/office/drawing/2014/main" id="{79EFD00E-6EE5-2C69-61FF-5FF6F5FE15A7}"/>
              </a:ext>
            </a:extLst>
          </p:cNvPr>
          <p:cNvGrpSpPr/>
          <p:nvPr/>
        </p:nvGrpSpPr>
        <p:grpSpPr>
          <a:xfrm>
            <a:off x="1376949" y="1142672"/>
            <a:ext cx="3189672" cy="1004501"/>
            <a:chOff x="6242863" y="829285"/>
            <a:chExt cx="2392254" cy="753376"/>
          </a:xfrm>
        </p:grpSpPr>
        <p:sp>
          <p:nvSpPr>
            <p:cNvPr id="15" name="Rectangle: Rounded Corners 14">
              <a:extLst>
                <a:ext uri="{FF2B5EF4-FFF2-40B4-BE49-F238E27FC236}">
                  <a16:creationId xmlns:a16="http://schemas.microsoft.com/office/drawing/2014/main" id="{8FD9097C-66B0-626D-241A-745D6AD3219B}"/>
                </a:ext>
              </a:extLst>
            </p:cNvPr>
            <p:cNvSpPr/>
            <p:nvPr/>
          </p:nvSpPr>
          <p:spPr>
            <a:xfrm>
              <a:off x="6242863" y="829285"/>
              <a:ext cx="2392254" cy="753376"/>
            </a:xfrm>
            <a:prstGeom prst="roundRect">
              <a:avLst>
                <a:gd name="adj" fmla="val 147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r-CH" sz="24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7" name="Picture 16">
              <a:extLst>
                <a:ext uri="{FF2B5EF4-FFF2-40B4-BE49-F238E27FC236}">
                  <a16:creationId xmlns:a16="http://schemas.microsoft.com/office/drawing/2014/main" id="{C2464B01-9358-AAB0-CA93-DA8C86856E80}"/>
                </a:ext>
              </a:extLst>
            </p:cNvPr>
            <p:cNvPicPr>
              <a:picLocks noChangeAspect="1"/>
            </p:cNvPicPr>
            <p:nvPr/>
          </p:nvPicPr>
          <p:blipFill rotWithShape="1">
            <a:blip r:embed="rId7"/>
            <a:srcRect r="4427" b="18788"/>
            <a:stretch/>
          </p:blipFill>
          <p:spPr>
            <a:xfrm>
              <a:off x="6369406" y="871070"/>
              <a:ext cx="2139167" cy="669805"/>
            </a:xfrm>
            <a:prstGeom prst="rect">
              <a:avLst/>
            </a:prstGeom>
          </p:spPr>
        </p:pic>
      </p:grpSp>
      <p:sp>
        <p:nvSpPr>
          <p:cNvPr id="21" name="TextBox 20">
            <a:extLst>
              <a:ext uri="{FF2B5EF4-FFF2-40B4-BE49-F238E27FC236}">
                <a16:creationId xmlns:a16="http://schemas.microsoft.com/office/drawing/2014/main" id="{5AB663AE-5224-A6D7-F639-F3F339C5EDC3}"/>
              </a:ext>
            </a:extLst>
          </p:cNvPr>
          <p:cNvSpPr txBox="1"/>
          <p:nvPr/>
        </p:nvSpPr>
        <p:spPr>
          <a:xfrm>
            <a:off x="4648232" y="671491"/>
            <a:ext cx="6205267" cy="1569660"/>
          </a:xfrm>
          <a:prstGeom prst="rect">
            <a:avLst/>
          </a:prstGeom>
          <a:noFill/>
        </p:spPr>
        <p:txBody>
          <a:bodyPr wrap="square">
            <a:spAutoFit/>
          </a:bodyPr>
          <a:lstStyle/>
          <a:p>
            <a:pPr marL="0" marR="0" lvl="1" indent="0" algn="ctr" defTabSz="609585" rtl="0" eaLnBrk="1" fontAlgn="auto" latinLnBrk="0" hangingPunct="1">
              <a:lnSpc>
                <a:spcPct val="100000"/>
              </a:lnSpc>
              <a:spcBef>
                <a:spcPts val="0"/>
              </a:spcBef>
              <a:spcAft>
                <a:spcPts val="0"/>
              </a:spcAft>
              <a:buClr>
                <a:srgbClr val="00A0D2"/>
              </a:buClr>
              <a:buSzTx/>
              <a:buFontTx/>
              <a:buNone/>
              <a:tabLst/>
              <a:defRPr/>
            </a:pPr>
            <a:endParaRPr kumimoji="0" lang="fr-CH" sz="2133" b="1" i="0" u="none" strike="noStrike" kern="1200" cap="none" spc="0" normalizeH="0" baseline="0" noProof="0" dirty="0">
              <a:ln>
                <a:noFill/>
              </a:ln>
              <a:solidFill>
                <a:srgbClr val="00A0D2"/>
              </a:solidFill>
              <a:effectLst/>
              <a:uLnTx/>
              <a:uFillTx/>
              <a:latin typeface="Poppins ExtraLight" panose="00000300000000000000" pitchFamily="2" charset="0"/>
              <a:ea typeface="+mn-ea"/>
              <a:cs typeface="Poppins ExtraLight" panose="00000300000000000000" pitchFamily="2" charset="0"/>
            </a:endParaRPr>
          </a:p>
          <a:p>
            <a:pPr marL="0" marR="0" lvl="1" indent="0" algn="ctr" defTabSz="609585" rtl="0" eaLnBrk="1" fontAlgn="auto" latinLnBrk="0" hangingPunct="1">
              <a:lnSpc>
                <a:spcPct val="100000"/>
              </a:lnSpc>
              <a:spcBef>
                <a:spcPts val="0"/>
              </a:spcBef>
              <a:spcAft>
                <a:spcPts val="0"/>
              </a:spcAft>
              <a:buClr>
                <a:srgbClr val="00A0D2"/>
              </a:buClr>
              <a:buSzTx/>
              <a:buFontTx/>
              <a:buNone/>
              <a:tabLst/>
              <a:defRPr/>
            </a:pPr>
            <a:r>
              <a:rPr kumimoji="0" lang="fr-CH" sz="4800" b="1" i="0" u="none" strike="noStrike" kern="1200" cap="none" spc="0" normalizeH="0" baseline="0" noProof="0" dirty="0" err="1">
                <a:ln>
                  <a:noFill/>
                </a:ln>
                <a:solidFill>
                  <a:srgbClr val="00A0D2"/>
                </a:solidFill>
                <a:effectLst/>
                <a:uLnTx/>
                <a:uFillTx/>
                <a:latin typeface="Poppins ExtraLight" panose="00000300000000000000" pitchFamily="2" charset="0"/>
                <a:ea typeface="+mn-ea"/>
                <a:cs typeface="Poppins ExtraLight" panose="00000300000000000000" pitchFamily="2" charset="0"/>
              </a:rPr>
              <a:t>Developer</a:t>
            </a:r>
            <a:r>
              <a:rPr kumimoji="0" lang="fr-CH" sz="4800" b="1" i="0" u="none" strike="noStrike" kern="1200" cap="none" spc="0" normalizeH="0" baseline="0" noProof="0" dirty="0">
                <a:ln>
                  <a:noFill/>
                </a:ln>
                <a:solidFill>
                  <a:srgbClr val="00A0D2"/>
                </a:solidFill>
                <a:effectLst/>
                <a:uLnTx/>
                <a:uFillTx/>
                <a:latin typeface="Poppins ExtraLight" panose="00000300000000000000" pitchFamily="2" charset="0"/>
                <a:ea typeface="+mn-ea"/>
                <a:cs typeface="Poppins ExtraLight" panose="00000300000000000000" pitchFamily="2" charset="0"/>
              </a:rPr>
              <a:t> Space</a:t>
            </a:r>
          </a:p>
          <a:p>
            <a:pPr marL="0" marR="0" lvl="1" indent="0" algn="ctr" defTabSz="609585" rtl="0" eaLnBrk="1" fontAlgn="auto" latinLnBrk="0" hangingPunct="1">
              <a:lnSpc>
                <a:spcPct val="100000"/>
              </a:lnSpc>
              <a:spcBef>
                <a:spcPts val="0"/>
              </a:spcBef>
              <a:spcAft>
                <a:spcPts val="0"/>
              </a:spcAft>
              <a:buClr>
                <a:srgbClr val="00A0D2"/>
              </a:buClr>
              <a:buSzTx/>
              <a:buFontTx/>
              <a:buNone/>
              <a:tabLst/>
              <a:defRPr/>
            </a:pPr>
            <a:r>
              <a:rPr kumimoji="0" lang="fr-CH" sz="2667" b="0"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hlinkClick r:id="rId3">
                  <a:extLst>
                    <a:ext uri="{A12FA001-AC4F-418D-AE19-62706E023703}">
                      <ahyp:hlinkClr xmlns:ahyp="http://schemas.microsoft.com/office/drawing/2018/hyperlinkcolor" val="tx"/>
                    </a:ext>
                  </a:extLst>
                </a:hlinkClick>
              </a:rPr>
              <a:t>https://developer.5g-mag.com</a:t>
            </a:r>
            <a:endParaRPr kumimoji="0" lang="fr-CH" sz="2667" b="0"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endParaRPr>
          </a:p>
        </p:txBody>
      </p:sp>
    </p:spTree>
    <p:extLst>
      <p:ext uri="{BB962C8B-B14F-4D97-AF65-F5344CB8AC3E}">
        <p14:creationId xmlns:p14="http://schemas.microsoft.com/office/powerpoint/2010/main" val="2091969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A28F5B4-C074-5552-BDA2-EF7E62FF5ED6}"/>
              </a:ext>
            </a:extLst>
          </p:cNvPr>
          <p:cNvSpPr/>
          <p:nvPr/>
        </p:nvSpPr>
        <p:spPr>
          <a:xfrm>
            <a:off x="0" y="4550906"/>
            <a:ext cx="12192000" cy="2307095"/>
          </a:xfrm>
          <a:prstGeom prst="rect">
            <a:avLst/>
          </a:prstGeom>
          <a:gradFill>
            <a:gsLst>
              <a:gs pos="22000">
                <a:srgbClr val="2B6CA3"/>
              </a:gs>
              <a:gs pos="87000">
                <a:srgbClr val="00A0D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sz="1143"/>
          </a:p>
        </p:txBody>
      </p:sp>
      <p:sp>
        <p:nvSpPr>
          <p:cNvPr id="19" name="TextBox 18">
            <a:extLst>
              <a:ext uri="{FF2B5EF4-FFF2-40B4-BE49-F238E27FC236}">
                <a16:creationId xmlns:a16="http://schemas.microsoft.com/office/drawing/2014/main" id="{96FCFB04-A9B6-7514-2A35-EB08558C54D5}"/>
              </a:ext>
            </a:extLst>
          </p:cNvPr>
          <p:cNvSpPr txBox="1"/>
          <p:nvPr/>
        </p:nvSpPr>
        <p:spPr>
          <a:xfrm>
            <a:off x="-218537" y="197878"/>
            <a:ext cx="2932921" cy="3402532"/>
          </a:xfrm>
          <a:prstGeom prst="rect">
            <a:avLst/>
          </a:prstGeom>
          <a:noFill/>
        </p:spPr>
        <p:txBody>
          <a:bodyPr wrap="square" anchor="t">
            <a:noAutofit/>
          </a:bodyPr>
          <a:lstStyle/>
          <a:p>
            <a:pPr marL="0" lvl="1" algn="r" defTabSz="609585">
              <a:buClr>
                <a:srgbClr val="00A0D2"/>
              </a:buClr>
              <a:defRPr/>
            </a:pPr>
            <a:r>
              <a:rPr lang="fr-CH" sz="2133" b="1" err="1">
                <a:solidFill>
                  <a:srgbClr val="00A0D2"/>
                </a:solidFill>
                <a:latin typeface="Poppins ExtraLight" panose="00000300000000000000" pitchFamily="2" charset="0"/>
                <a:cs typeface="Poppins ExtraLight" panose="00000300000000000000" pitchFamily="2" charset="0"/>
              </a:rPr>
              <a:t>Developer</a:t>
            </a:r>
            <a:r>
              <a:rPr lang="fr-CH" sz="2133" b="1">
                <a:solidFill>
                  <a:srgbClr val="00A0D2"/>
                </a:solidFill>
                <a:latin typeface="Poppins ExtraLight" panose="00000300000000000000" pitchFamily="2" charset="0"/>
                <a:cs typeface="Poppins ExtraLight" panose="00000300000000000000" pitchFamily="2" charset="0"/>
              </a:rPr>
              <a:t> Space</a:t>
            </a:r>
          </a:p>
          <a:p>
            <a:pPr marL="0" lvl="1" algn="r" defTabSz="609585">
              <a:buClr>
                <a:srgbClr val="00A0D2"/>
              </a:buClr>
              <a:defRPr/>
            </a:pPr>
            <a:r>
              <a:rPr lang="fr-CH" sz="1400">
                <a:solidFill>
                  <a:srgbClr val="324158"/>
                </a:solidFill>
                <a:latin typeface="Poppins SemiBold" panose="02000000000000000000" pitchFamily="2" charset="0"/>
                <a:cs typeface="Poppins SemiBold" panose="02000000000000000000" pitchFamily="2" charset="0"/>
                <a:hlinkClick r:id="rId2">
                  <a:extLst>
                    <a:ext uri="{A12FA001-AC4F-418D-AE19-62706E023703}">
                      <ahyp:hlinkClr xmlns:ahyp="http://schemas.microsoft.com/office/drawing/2018/hyperlinkcolor" val="tx"/>
                    </a:ext>
                  </a:extLst>
                </a:hlinkClick>
              </a:rPr>
              <a:t>developer.5g-mag.com</a:t>
            </a:r>
            <a:endParaRPr lang="fr-CH" sz="1400">
              <a:solidFill>
                <a:srgbClr val="324158"/>
              </a:solidFill>
              <a:latin typeface="Poppins SemiBold" panose="02000000000000000000" pitchFamily="2" charset="0"/>
              <a:cs typeface="Poppins SemiBold" panose="02000000000000000000" pitchFamily="2" charset="0"/>
            </a:endParaRPr>
          </a:p>
        </p:txBody>
      </p:sp>
      <p:cxnSp>
        <p:nvCxnSpPr>
          <p:cNvPr id="16" name="Straight Connector 15">
            <a:extLst>
              <a:ext uri="{FF2B5EF4-FFF2-40B4-BE49-F238E27FC236}">
                <a16:creationId xmlns:a16="http://schemas.microsoft.com/office/drawing/2014/main" id="{E4F1C66A-E243-5669-2D2D-CF31DC60A4BD}"/>
              </a:ext>
            </a:extLst>
          </p:cNvPr>
          <p:cNvCxnSpPr>
            <a:cxnSpLocks/>
          </p:cNvCxnSpPr>
          <p:nvPr/>
        </p:nvCxnSpPr>
        <p:spPr>
          <a:xfrm>
            <a:off x="2714388" y="197877"/>
            <a:ext cx="0" cy="4224000"/>
          </a:xfrm>
          <a:prstGeom prst="line">
            <a:avLst/>
          </a:prstGeom>
          <a:ln w="19050">
            <a:solidFill>
              <a:srgbClr val="00A0D2"/>
            </a:solidFill>
          </a:ln>
        </p:spPr>
        <p:style>
          <a:lnRef idx="1">
            <a:schemeClr val="accent1"/>
          </a:lnRef>
          <a:fillRef idx="0">
            <a:schemeClr val="accent1"/>
          </a:fillRef>
          <a:effectRef idx="0">
            <a:schemeClr val="accent1"/>
          </a:effectRef>
          <a:fontRef idx="minor">
            <a:schemeClr val="tx1"/>
          </a:fontRef>
        </p:style>
      </p:cxnSp>
      <p:sp>
        <p:nvSpPr>
          <p:cNvPr id="29" name="TextBox 1">
            <a:extLst>
              <a:ext uri="{FF2B5EF4-FFF2-40B4-BE49-F238E27FC236}">
                <a16:creationId xmlns:a16="http://schemas.microsoft.com/office/drawing/2014/main" id="{DC8F1C27-4EBF-6920-0307-28692650BF7B}"/>
              </a:ext>
            </a:extLst>
          </p:cNvPr>
          <p:cNvSpPr txBox="1"/>
          <p:nvPr/>
        </p:nvSpPr>
        <p:spPr>
          <a:xfrm>
            <a:off x="498722" y="3975848"/>
            <a:ext cx="2368028" cy="502573"/>
          </a:xfrm>
          <a:prstGeom prst="rect">
            <a:avLst/>
          </a:prstGeom>
          <a:noFill/>
        </p:spPr>
        <p:txBody>
          <a:bodyPr wrap="square">
            <a:spAutoFit/>
          </a:bodyPr>
          <a:lstStyle/>
          <a:p>
            <a:r>
              <a:rPr lang="fr-CH" sz="1333" dirty="0">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www.youtube.com/</a:t>
            </a:r>
          </a:p>
          <a:p>
            <a:r>
              <a:rPr lang="fr-CH" sz="1333" dirty="0">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5gmag</a:t>
            </a:r>
            <a:endParaRPr lang="fr-CH" sz="1333" dirty="0">
              <a:solidFill>
                <a:srgbClr val="324158"/>
              </a:solidFill>
              <a:latin typeface="poppins" panose="00000500000000000000" pitchFamily="2" charset="0"/>
              <a:cs typeface="poppins" panose="00000500000000000000" pitchFamily="2" charset="0"/>
            </a:endParaRPr>
          </a:p>
        </p:txBody>
      </p:sp>
      <p:pic>
        <p:nvPicPr>
          <p:cNvPr id="30" name="Picture 6" descr="A red and white play button&#10;&#10;Description automatically generated with low confidence">
            <a:hlinkClick r:id="rId3"/>
            <a:extLst>
              <a:ext uri="{FF2B5EF4-FFF2-40B4-BE49-F238E27FC236}">
                <a16:creationId xmlns:a16="http://schemas.microsoft.com/office/drawing/2014/main" id="{261BC717-FED3-93AB-B9C4-A771E0B499C3}"/>
              </a:ext>
            </a:extLst>
          </p:cNvPr>
          <p:cNvPicPr>
            <a:picLocks noChangeAspect="1"/>
          </p:cNvPicPr>
          <p:nvPr/>
        </p:nvPicPr>
        <p:blipFill>
          <a:blip r:embed="rId4"/>
          <a:stretch>
            <a:fillRect/>
          </a:stretch>
        </p:blipFill>
        <p:spPr>
          <a:xfrm>
            <a:off x="105003" y="4020845"/>
            <a:ext cx="412632" cy="412632"/>
          </a:xfrm>
          <a:prstGeom prst="rect">
            <a:avLst/>
          </a:prstGeom>
        </p:spPr>
      </p:pic>
      <p:pic>
        <p:nvPicPr>
          <p:cNvPr id="31" name="Picture 16">
            <a:extLst>
              <a:ext uri="{FF2B5EF4-FFF2-40B4-BE49-F238E27FC236}">
                <a16:creationId xmlns:a16="http://schemas.microsoft.com/office/drawing/2014/main" id="{21D54A63-ED88-EBDC-2166-D56344342785}"/>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1816" y="3532796"/>
            <a:ext cx="348277" cy="348277"/>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11">
            <a:extLst>
              <a:ext uri="{FF2B5EF4-FFF2-40B4-BE49-F238E27FC236}">
                <a16:creationId xmlns:a16="http://schemas.microsoft.com/office/drawing/2014/main" id="{74E27B89-2BFE-1F23-1E49-5CFAA111F77A}"/>
              </a:ext>
            </a:extLst>
          </p:cNvPr>
          <p:cNvSpPr txBox="1"/>
          <p:nvPr/>
        </p:nvSpPr>
        <p:spPr>
          <a:xfrm>
            <a:off x="491968" y="3469932"/>
            <a:ext cx="2511825" cy="502573"/>
          </a:xfrm>
          <a:prstGeom prst="rect">
            <a:avLst/>
          </a:prstGeom>
          <a:noFill/>
        </p:spPr>
        <p:txBody>
          <a:bodyPr wrap="square">
            <a:spAutoFit/>
          </a:bodyPr>
          <a:lstStyle/>
          <a:p>
            <a:r>
              <a:rPr lang="fr-CH" sz="1333">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Discussions at the </a:t>
            </a:r>
          </a:p>
          <a:p>
            <a:r>
              <a:rPr lang="fr-CH" sz="1333">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5G-MAG Forum</a:t>
            </a:r>
            <a:endParaRPr lang="fr-CH" sz="1333">
              <a:solidFill>
                <a:srgbClr val="324158"/>
              </a:solidFill>
              <a:latin typeface="poppins" panose="00000500000000000000" pitchFamily="2" charset="0"/>
              <a:cs typeface="poppins" panose="00000500000000000000" pitchFamily="2" charset="0"/>
            </a:endParaRPr>
          </a:p>
        </p:txBody>
      </p:sp>
      <p:pic>
        <p:nvPicPr>
          <p:cNvPr id="34" name="Picture 18">
            <a:extLst>
              <a:ext uri="{FF2B5EF4-FFF2-40B4-BE49-F238E27FC236}">
                <a16:creationId xmlns:a16="http://schemas.microsoft.com/office/drawing/2014/main" id="{A4459191-FA08-E2EF-7250-04C803FD54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721" y="2917799"/>
            <a:ext cx="381000" cy="381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1">
            <a:extLst>
              <a:ext uri="{FF2B5EF4-FFF2-40B4-BE49-F238E27FC236}">
                <a16:creationId xmlns:a16="http://schemas.microsoft.com/office/drawing/2014/main" id="{3E8D103F-037B-668F-CF9C-A0882EF64A12}"/>
              </a:ext>
            </a:extLst>
          </p:cNvPr>
          <p:cNvSpPr txBox="1"/>
          <p:nvPr/>
        </p:nvSpPr>
        <p:spPr>
          <a:xfrm>
            <a:off x="498722" y="2851210"/>
            <a:ext cx="2467188" cy="502573"/>
          </a:xfrm>
          <a:prstGeom prst="rect">
            <a:avLst/>
          </a:prstGeom>
          <a:noFill/>
        </p:spPr>
        <p:txBody>
          <a:bodyPr wrap="square">
            <a:spAutoFit/>
          </a:bodyPr>
          <a:lstStyle/>
          <a:p>
            <a:r>
              <a:rPr lang="fr-CH" sz="1333" dirty="0">
                <a:solidFill>
                  <a:srgbClr val="324158"/>
                </a:solidFill>
                <a:latin typeface="poppins" panose="00000500000000000000" pitchFamily="2" charset="0"/>
                <a:cs typeface="poppins" panose="00000500000000000000" pitchFamily="2" charset="0"/>
                <a:hlinkClick r:id="rId7">
                  <a:extLst>
                    <a:ext uri="{A12FA001-AC4F-418D-AE19-62706E023703}">
                      <ahyp:hlinkClr xmlns:ahyp="http://schemas.microsoft.com/office/drawing/2018/hyperlinkcolor" val="tx"/>
                    </a:ext>
                  </a:extLst>
                </a:hlinkClick>
              </a:rPr>
              <a:t>github.com/5G-MAG/</a:t>
            </a:r>
          </a:p>
          <a:p>
            <a:r>
              <a:rPr lang="fr-CH" sz="1333" dirty="0" err="1">
                <a:solidFill>
                  <a:srgbClr val="324158"/>
                </a:solidFill>
                <a:latin typeface="poppins" panose="00000500000000000000" pitchFamily="2" charset="0"/>
                <a:cs typeface="poppins" panose="00000500000000000000" pitchFamily="2" charset="0"/>
                <a:hlinkClick r:id="rId7">
                  <a:extLst>
                    <a:ext uri="{A12FA001-AC4F-418D-AE19-62706E023703}">
                      <ahyp:hlinkClr xmlns:ahyp="http://schemas.microsoft.com/office/drawing/2018/hyperlinkcolor" val="tx"/>
                    </a:ext>
                  </a:extLst>
                </a:hlinkClick>
              </a:rPr>
              <a:t>Getting-Started</a:t>
            </a:r>
            <a:r>
              <a:rPr lang="fr-CH" sz="1333" dirty="0">
                <a:solidFill>
                  <a:srgbClr val="324158"/>
                </a:solidFill>
                <a:latin typeface="poppins" panose="00000500000000000000" pitchFamily="2" charset="0"/>
                <a:cs typeface="poppins" panose="00000500000000000000" pitchFamily="2" charset="0"/>
                <a:hlinkClick r:id="rId7">
                  <a:extLst>
                    <a:ext uri="{A12FA001-AC4F-418D-AE19-62706E023703}">
                      <ahyp:hlinkClr xmlns:ahyp="http://schemas.microsoft.com/office/drawing/2018/hyperlinkcolor" val="tx"/>
                    </a:ext>
                  </a:extLst>
                </a:hlinkClick>
              </a:rPr>
              <a:t>/wiki</a:t>
            </a:r>
            <a:endParaRPr lang="fr-CH" sz="1333" dirty="0">
              <a:solidFill>
                <a:srgbClr val="324158"/>
              </a:solidFill>
              <a:latin typeface="poppins" panose="00000500000000000000" pitchFamily="2" charset="0"/>
              <a:cs typeface="poppins" panose="00000500000000000000" pitchFamily="2" charset="0"/>
            </a:endParaRPr>
          </a:p>
        </p:txBody>
      </p:sp>
      <p:sp>
        <p:nvSpPr>
          <p:cNvPr id="10" name="Título 4">
            <a:extLst>
              <a:ext uri="{FF2B5EF4-FFF2-40B4-BE49-F238E27FC236}">
                <a16:creationId xmlns:a16="http://schemas.microsoft.com/office/drawing/2014/main" id="{FCCC994C-9E41-35B9-2553-3E272AA5A174}"/>
              </a:ext>
            </a:extLst>
          </p:cNvPr>
          <p:cNvSpPr txBox="1">
            <a:spLocks/>
          </p:cNvSpPr>
          <p:nvPr/>
        </p:nvSpPr>
        <p:spPr>
          <a:xfrm>
            <a:off x="708849" y="5103650"/>
            <a:ext cx="11084847" cy="709908"/>
          </a:xfrm>
          <a:prstGeom prst="rect">
            <a:avLst/>
          </a:prstGeom>
        </p:spPr>
        <p:txBody>
          <a:bodyPr anchor="ctr">
            <a:normAutofit/>
          </a:bodyPr>
          <a:lstStyle>
            <a:lvl1pPr algn="l" defTabSz="1433733" rtl="0" eaLnBrk="1" latinLnBrk="0" hangingPunct="1">
              <a:lnSpc>
                <a:spcPct val="90000"/>
              </a:lnSpc>
              <a:spcBef>
                <a:spcPct val="0"/>
              </a:spcBef>
              <a:buNone/>
              <a:defRPr sz="7526" b="1" kern="1200" spc="-157" baseline="0">
                <a:solidFill>
                  <a:srgbClr val="2B6CA3"/>
                </a:solidFill>
                <a:latin typeface="+mj-lt"/>
                <a:ea typeface="+mj-ea"/>
                <a:cs typeface="+mj-cs"/>
              </a:defRPr>
            </a:lvl1pPr>
          </a:lstStyle>
          <a:p>
            <a:r>
              <a:rPr lang="fr-CH" sz="4267" dirty="0">
                <a:solidFill>
                  <a:schemeClr val="bg1"/>
                </a:solidFill>
                <a:latin typeface="Poppins SemiBold" panose="02000000000000000000" pitchFamily="2" charset="0"/>
                <a:cs typeface="Poppins SemiBold" panose="02000000000000000000" pitchFamily="2" charset="0"/>
              </a:rPr>
              <a:t>5G-MAG Reference Tools</a:t>
            </a:r>
          </a:p>
          <a:p>
            <a:endParaRPr lang="fr-CH" sz="4267" dirty="0">
              <a:solidFill>
                <a:schemeClr val="bg1"/>
              </a:solidFill>
              <a:latin typeface="Poppins SemiBold" panose="02000000000000000000" pitchFamily="2" charset="0"/>
              <a:cs typeface="Poppins SemiBold" panose="02000000000000000000" pitchFamily="2" charset="0"/>
            </a:endParaRPr>
          </a:p>
        </p:txBody>
      </p:sp>
      <p:sp>
        <p:nvSpPr>
          <p:cNvPr id="11" name="TextBox 10">
            <a:extLst>
              <a:ext uri="{FF2B5EF4-FFF2-40B4-BE49-F238E27FC236}">
                <a16:creationId xmlns:a16="http://schemas.microsoft.com/office/drawing/2014/main" id="{FB9A9305-BA7B-5480-2A0E-716717D9FC05}"/>
              </a:ext>
            </a:extLst>
          </p:cNvPr>
          <p:cNvSpPr txBox="1"/>
          <p:nvPr/>
        </p:nvSpPr>
        <p:spPr>
          <a:xfrm>
            <a:off x="708848" y="5373817"/>
            <a:ext cx="10190885" cy="830997"/>
          </a:xfrm>
          <a:prstGeom prst="rect">
            <a:avLst/>
          </a:prstGeom>
          <a:noFill/>
        </p:spPr>
        <p:txBody>
          <a:bodyPr wrap="square">
            <a:spAutoFit/>
          </a:bodyPr>
          <a:lstStyle/>
          <a:p>
            <a:r>
              <a:rPr lang="fr-CH" sz="2400">
                <a:solidFill>
                  <a:schemeClr val="bg1"/>
                </a:solidFill>
                <a:latin typeface="Poppins ExtraLight" panose="00000300000000000000" pitchFamily="2" charset="0"/>
                <a:cs typeface="Poppins ExtraLight" panose="00000300000000000000" pitchFamily="2" charset="0"/>
              </a:rPr>
              <a:t>Open-source Reference Tools for </a:t>
            </a:r>
            <a:r>
              <a:rPr lang="fr-CH" sz="2400" err="1">
                <a:solidFill>
                  <a:schemeClr val="bg1"/>
                </a:solidFill>
                <a:latin typeface="Poppins ExtraLight" panose="00000300000000000000" pitchFamily="2" charset="0"/>
                <a:cs typeface="Poppins ExtraLight" panose="00000300000000000000" pitchFamily="2" charset="0"/>
              </a:rPr>
              <a:t>Multimedia</a:t>
            </a:r>
            <a:r>
              <a:rPr lang="fr-CH" sz="2400">
                <a:solidFill>
                  <a:schemeClr val="bg1"/>
                </a:solidFill>
                <a:latin typeface="Poppins ExtraLight" panose="00000300000000000000" pitchFamily="2" charset="0"/>
                <a:cs typeface="Poppins ExtraLight" panose="00000300000000000000" pitchFamily="2" charset="0"/>
              </a:rPr>
              <a:t> Applications</a:t>
            </a:r>
          </a:p>
          <a:p>
            <a:r>
              <a:rPr lang="fr-CH" sz="2400">
                <a:solidFill>
                  <a:schemeClr val="bg1"/>
                </a:solidFill>
                <a:latin typeface="Poppins ExtraLight" panose="00000300000000000000" pitchFamily="2" charset="0"/>
                <a:cs typeface="Poppins ExtraLight" panose="00000300000000000000" pitchFamily="2" charset="0"/>
                <a:hlinkClick r:id="rId2">
                  <a:extLst>
                    <a:ext uri="{A12FA001-AC4F-418D-AE19-62706E023703}">
                      <ahyp:hlinkClr xmlns:ahyp="http://schemas.microsoft.com/office/drawing/2018/hyperlinkcolor" val="tx"/>
                    </a:ext>
                  </a:extLst>
                </a:hlinkClick>
              </a:rPr>
              <a:t>developer.5g-mag.com</a:t>
            </a:r>
            <a:endParaRPr lang="fr-CH" sz="2400">
              <a:solidFill>
                <a:schemeClr val="bg1"/>
              </a:solidFill>
              <a:latin typeface="Poppins ExtraLight" panose="00000300000000000000" pitchFamily="2" charset="0"/>
              <a:cs typeface="Poppins ExtraLight" panose="00000300000000000000" pitchFamily="2" charset="0"/>
            </a:endParaRPr>
          </a:p>
        </p:txBody>
      </p:sp>
      <p:sp>
        <p:nvSpPr>
          <p:cNvPr id="17" name="TextBox 1">
            <a:extLst>
              <a:ext uri="{FF2B5EF4-FFF2-40B4-BE49-F238E27FC236}">
                <a16:creationId xmlns:a16="http://schemas.microsoft.com/office/drawing/2014/main" id="{C713EA64-0D88-41D5-9BC3-C10EC670996B}"/>
              </a:ext>
            </a:extLst>
          </p:cNvPr>
          <p:cNvSpPr txBox="1"/>
          <p:nvPr/>
        </p:nvSpPr>
        <p:spPr>
          <a:xfrm>
            <a:off x="2714387" y="197877"/>
            <a:ext cx="9391525" cy="1077218"/>
          </a:xfrm>
          <a:prstGeom prst="rect">
            <a:avLst/>
          </a:prstGeom>
          <a:noFill/>
        </p:spPr>
        <p:txBody>
          <a:bodyPr wrap="square">
            <a:spAutoFit/>
          </a:bodyPr>
          <a:lstStyle/>
          <a:p>
            <a:pPr lvl="0">
              <a:buClr>
                <a:srgbClr val="00A0D2"/>
              </a:buClr>
              <a:defRPr/>
            </a:pPr>
            <a:r>
              <a:rPr lang="fr-CH" sz="1600" dirty="0">
                <a:solidFill>
                  <a:srgbClr val="324158"/>
                </a:solidFill>
                <a:latin typeface="Poppins SemiBold" panose="02000000000000000000" pitchFamily="2" charset="0"/>
                <a:cs typeface="Poppins SemiBold" panose="02000000000000000000" pitchFamily="2" charset="0"/>
              </a:rPr>
              <a:t>Need a full update on 5G-MAG REFERENCE TOOLS?</a:t>
            </a:r>
          </a:p>
          <a:p>
            <a:pPr lvl="0">
              <a:buClr>
                <a:srgbClr val="00A0D2"/>
              </a:buClr>
              <a:defRPr/>
            </a:pPr>
            <a:r>
              <a:rPr lang="fr-CH" sz="1600" dirty="0" err="1">
                <a:solidFill>
                  <a:srgbClr val="324158"/>
                </a:solidFill>
                <a:latin typeface="Poppins ExtraLight" panose="00000300000000000000" pitchFamily="2" charset="0"/>
                <a:cs typeface="Poppins ExtraLight" panose="00000300000000000000" pitchFamily="2" charset="0"/>
              </a:rPr>
              <a:t>Visit</a:t>
            </a:r>
            <a:r>
              <a:rPr lang="fr-CH" sz="1600" dirty="0">
                <a:solidFill>
                  <a:srgbClr val="324158"/>
                </a:solidFill>
                <a:latin typeface="Poppins ExtraLight" panose="00000300000000000000" pitchFamily="2" charset="0"/>
                <a:cs typeface="Poppins ExtraLight" panose="00000300000000000000" pitchFamily="2" charset="0"/>
              </a:rPr>
              <a:t>: </a:t>
            </a:r>
            <a:r>
              <a:rPr lang="fr-CH" sz="1600" dirty="0">
                <a:solidFill>
                  <a:srgbClr val="324158"/>
                </a:solidFill>
                <a:latin typeface="Poppins ExtraLight" panose="00000300000000000000" pitchFamily="2" charset="0"/>
                <a:cs typeface="Poppins ExtraLight" panose="00000300000000000000" pitchFamily="2" charset="0"/>
                <a:hlinkClick r:id="rId8"/>
              </a:rPr>
              <a:t>5G-MAG Reference Tools XCHANGE + DEMOS</a:t>
            </a:r>
            <a:endParaRPr lang="fr-CH" sz="1600" dirty="0">
              <a:solidFill>
                <a:srgbClr val="324158"/>
              </a:solidFill>
              <a:latin typeface="Poppins ExtraLight" panose="00000300000000000000" pitchFamily="2" charset="0"/>
              <a:cs typeface="Poppins ExtraLight" panose="00000300000000000000" pitchFamily="2" charset="0"/>
            </a:endParaRPr>
          </a:p>
          <a:p>
            <a:pPr lvl="0">
              <a:buClr>
                <a:srgbClr val="00A0D2"/>
              </a:buClr>
              <a:defRPr/>
            </a:pPr>
            <a:endParaRPr lang="fr-CH" sz="1600" dirty="0">
              <a:solidFill>
                <a:srgbClr val="324158"/>
              </a:solidFill>
              <a:latin typeface="Poppins ExtraLight" panose="00000300000000000000" pitchFamily="2" charset="0"/>
              <a:cs typeface="Poppins ExtraLight" panose="00000300000000000000" pitchFamily="2" charset="0"/>
            </a:endParaRPr>
          </a:p>
          <a:p>
            <a:pPr lvl="0">
              <a:buClr>
                <a:srgbClr val="00A0D2"/>
              </a:buClr>
              <a:defRPr/>
            </a:pPr>
            <a:r>
              <a:rPr lang="fr-CH" sz="1600" dirty="0">
                <a:solidFill>
                  <a:srgbClr val="324158"/>
                </a:solidFill>
                <a:latin typeface="Poppins SemiBold" panose="02000000000000000000" pitchFamily="2" charset="0"/>
                <a:cs typeface="Poppins SemiBold" panose="02000000000000000000" pitchFamily="2" charset="0"/>
              </a:rPr>
              <a:t>DEVELOPER XCHANGES</a:t>
            </a:r>
            <a:r>
              <a:rPr lang="fr-CH" sz="1600" dirty="0">
                <a:solidFill>
                  <a:srgbClr val="324158"/>
                </a:solidFill>
                <a:latin typeface="Poppins ExtraLight" panose="00000300000000000000" pitchFamily="2" charset="0"/>
                <a:cs typeface="Poppins ExtraLight" panose="00000300000000000000" pitchFamily="2" charset="0"/>
              </a:rPr>
              <a:t>: </a:t>
            </a:r>
            <a:r>
              <a:rPr lang="fr-CH" sz="1600" dirty="0">
                <a:solidFill>
                  <a:srgbClr val="324158"/>
                </a:solidFill>
                <a:latin typeface="Poppins ExtraLight" panose="00000300000000000000" pitchFamily="2" charset="0"/>
                <a:cs typeface="Poppins ExtraLight" panose="00000300000000000000" pitchFamily="2" charset="0"/>
                <a:hlinkClick r:id="rId9"/>
              </a:rPr>
              <a:t>www.5g-mag.com/tutorials</a:t>
            </a:r>
            <a:endParaRPr lang="fr-CH" sz="1600" dirty="0">
              <a:solidFill>
                <a:srgbClr val="324158"/>
              </a:solidFill>
              <a:latin typeface="Poppins ExtraLight" panose="00000300000000000000" pitchFamily="2" charset="0"/>
              <a:cs typeface="Poppins ExtraLight" panose="00000300000000000000" pitchFamily="2" charset="0"/>
            </a:endParaRPr>
          </a:p>
        </p:txBody>
      </p:sp>
      <p:sp>
        <p:nvSpPr>
          <p:cNvPr id="28" name="Rectangle: Rounded Corners 12">
            <a:extLst>
              <a:ext uri="{FF2B5EF4-FFF2-40B4-BE49-F238E27FC236}">
                <a16:creationId xmlns:a16="http://schemas.microsoft.com/office/drawing/2014/main" id="{8D28F127-165C-4D52-AEE7-D7654A1CFFEE}"/>
              </a:ext>
            </a:extLst>
          </p:cNvPr>
          <p:cNvSpPr/>
          <p:nvPr/>
        </p:nvSpPr>
        <p:spPr>
          <a:xfrm>
            <a:off x="3614727" y="1991417"/>
            <a:ext cx="7940508" cy="2081391"/>
          </a:xfrm>
          <a:prstGeom prst="roundRect">
            <a:avLst>
              <a:gd name="adj" fmla="val 31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sz="2400"/>
          </a:p>
        </p:txBody>
      </p:sp>
      <p:pic>
        <p:nvPicPr>
          <p:cNvPr id="36" name="Picture 41" descr="A picture containing text, screenshot, font, logo&#10;&#10;Description automatically generated">
            <a:extLst>
              <a:ext uri="{FF2B5EF4-FFF2-40B4-BE49-F238E27FC236}">
                <a16:creationId xmlns:a16="http://schemas.microsoft.com/office/drawing/2014/main" id="{B4EC7353-5B8B-49C6-87FB-7CF9F2FA213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146440" y="1505626"/>
            <a:ext cx="4454536" cy="2516913"/>
          </a:xfrm>
          <a:prstGeom prst="rect">
            <a:avLst/>
          </a:prstGeom>
        </p:spPr>
      </p:pic>
      <p:sp>
        <p:nvSpPr>
          <p:cNvPr id="37" name="TextBox 42">
            <a:extLst>
              <a:ext uri="{FF2B5EF4-FFF2-40B4-BE49-F238E27FC236}">
                <a16:creationId xmlns:a16="http://schemas.microsoft.com/office/drawing/2014/main" id="{02A6AAA1-FCDD-4603-9E82-473CFC5C1889}"/>
              </a:ext>
            </a:extLst>
          </p:cNvPr>
          <p:cNvSpPr txBox="1"/>
          <p:nvPr/>
        </p:nvSpPr>
        <p:spPr>
          <a:xfrm>
            <a:off x="3146428" y="4036941"/>
            <a:ext cx="4454536" cy="297454"/>
          </a:xfrm>
          <a:prstGeom prst="rect">
            <a:avLst/>
          </a:prstGeom>
          <a:noFill/>
        </p:spPr>
        <p:txBody>
          <a:bodyPr wrap="square">
            <a:spAutoFit/>
          </a:bodyPr>
          <a:lstStyle/>
          <a:p>
            <a:pPr algn="ctr" defTabSz="609585">
              <a:buClr>
                <a:srgbClr val="00A0D2"/>
              </a:buClr>
              <a:defRPr/>
            </a:pPr>
            <a:r>
              <a:rPr lang="fr-CH" sz="1333">
                <a:solidFill>
                  <a:srgbClr val="324158"/>
                </a:solidFill>
                <a:latin typeface="Poppins ExtraLight" panose="00000300000000000000" pitchFamily="2" charset="0"/>
                <a:cs typeface="Poppins ExtraLight" panose="00000300000000000000" pitchFamily="2" charset="0"/>
                <a:hlinkClick r:id="rId11"/>
              </a:rPr>
              <a:t>https://www.youtube.com/watch?v=4RZ_cON5bfo</a:t>
            </a:r>
            <a:endParaRPr lang="fr-CH" sz="1333">
              <a:solidFill>
                <a:srgbClr val="324158"/>
              </a:solidFill>
              <a:latin typeface="Poppins ExtraLight" panose="00000300000000000000" pitchFamily="2" charset="0"/>
              <a:cs typeface="Poppins ExtraLight" panose="00000300000000000000" pitchFamily="2" charset="0"/>
            </a:endParaRPr>
          </a:p>
        </p:txBody>
      </p:sp>
      <p:pic>
        <p:nvPicPr>
          <p:cNvPr id="38" name="Picture 2">
            <a:extLst>
              <a:ext uri="{FF2B5EF4-FFF2-40B4-BE49-F238E27FC236}">
                <a16:creationId xmlns:a16="http://schemas.microsoft.com/office/drawing/2014/main" id="{5119F3A1-54C6-490F-81B8-FABCB28A1CE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41638" y="1754840"/>
            <a:ext cx="2731215" cy="1543275"/>
          </a:xfrm>
          <a:prstGeom prst="rect">
            <a:avLst/>
          </a:prstGeom>
          <a:noFill/>
          <a:ln>
            <a:solidFill>
              <a:srgbClr val="2B6CA3"/>
            </a:solidFill>
          </a:ln>
          <a:extLst>
            <a:ext uri="{909E8E84-426E-40DD-AFC4-6F175D3DCCD1}">
              <a14:hiddenFill xmlns:a14="http://schemas.microsoft.com/office/drawing/2010/main">
                <a:solidFill>
                  <a:srgbClr val="FFFFFF"/>
                </a:solidFill>
              </a14:hiddenFill>
            </a:ext>
          </a:extLst>
        </p:spPr>
      </p:pic>
      <p:pic>
        <p:nvPicPr>
          <p:cNvPr id="39" name="Picture 46">
            <a:extLst>
              <a:ext uri="{FF2B5EF4-FFF2-40B4-BE49-F238E27FC236}">
                <a16:creationId xmlns:a16="http://schemas.microsoft.com/office/drawing/2014/main" id="{19DF650E-8951-47AF-ACF8-460BAE43C47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99739" y="442071"/>
            <a:ext cx="2731215" cy="1543275"/>
          </a:xfrm>
          <a:prstGeom prst="rect">
            <a:avLst/>
          </a:prstGeom>
          <a:noFill/>
          <a:ln>
            <a:solidFill>
              <a:srgbClr val="2B6CA3"/>
            </a:solidFill>
          </a:ln>
          <a:extLst>
            <a:ext uri="{909E8E84-426E-40DD-AFC4-6F175D3DCCD1}">
              <a14:hiddenFill xmlns:a14="http://schemas.microsoft.com/office/drawing/2010/main">
                <a:solidFill>
                  <a:srgbClr val="FFFFFF"/>
                </a:solidFill>
              </a14:hiddenFill>
            </a:ext>
          </a:extLst>
        </p:spPr>
      </p:pic>
      <p:pic>
        <p:nvPicPr>
          <p:cNvPr id="40" name="Imagen 14" descr="Interfaz de usuario gráfica, Texto, Aplicación&#10;&#10;Descripción generada automáticamente">
            <a:extLst>
              <a:ext uri="{FF2B5EF4-FFF2-40B4-BE49-F238E27FC236}">
                <a16:creationId xmlns:a16="http://schemas.microsoft.com/office/drawing/2014/main" id="{9599F1A1-CECB-464D-8EA4-A3C123861012}"/>
              </a:ext>
            </a:extLst>
          </p:cNvPr>
          <p:cNvPicPr>
            <a:picLocks noChangeAspect="1"/>
          </p:cNvPicPr>
          <p:nvPr/>
        </p:nvPicPr>
        <p:blipFill>
          <a:blip r:embed="rId14"/>
          <a:stretch>
            <a:fillRect/>
          </a:stretch>
        </p:blipFill>
        <p:spPr>
          <a:xfrm>
            <a:off x="9373177" y="2651112"/>
            <a:ext cx="2731351" cy="1543275"/>
          </a:xfrm>
          <a:prstGeom prst="rect">
            <a:avLst/>
          </a:prstGeom>
          <a:noFill/>
          <a:ln>
            <a:solidFill>
              <a:srgbClr val="2B6CA3"/>
            </a:solidFill>
          </a:ln>
        </p:spPr>
      </p:pic>
      <p:sp>
        <p:nvSpPr>
          <p:cNvPr id="2" name="Slide Number Placeholder 1">
            <a:extLst>
              <a:ext uri="{FF2B5EF4-FFF2-40B4-BE49-F238E27FC236}">
                <a16:creationId xmlns:a16="http://schemas.microsoft.com/office/drawing/2014/main" id="{D3D4C9D1-5EFD-92B7-F2AF-499619AD3CE9}"/>
              </a:ext>
            </a:extLst>
          </p:cNvPr>
          <p:cNvSpPr>
            <a:spLocks noGrp="1"/>
          </p:cNvSpPr>
          <p:nvPr>
            <p:ph type="sldNum" sz="quarter" idx="4"/>
          </p:nvPr>
        </p:nvSpPr>
        <p:spPr/>
        <p:txBody>
          <a:bodyPr/>
          <a:lstStyle/>
          <a:p>
            <a:fld id="{4FAB73BC-B049-4115-A692-8D63A059BFB8}" type="slidenum">
              <a:rPr lang="fr-CH" smtClean="0"/>
              <a:pPr/>
              <a:t>61</a:t>
            </a:fld>
            <a:endParaRPr lang="fr-CH"/>
          </a:p>
        </p:txBody>
      </p:sp>
    </p:spTree>
    <p:extLst>
      <p:ext uri="{BB962C8B-B14F-4D97-AF65-F5344CB8AC3E}">
        <p14:creationId xmlns:p14="http://schemas.microsoft.com/office/powerpoint/2010/main" val="39917560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BA183C8-F07D-4C4E-A2C3-F665C30D31C7}"/>
              </a:ext>
            </a:extLst>
          </p:cNvPr>
          <p:cNvSpPr>
            <a:spLocks noGrp="1"/>
          </p:cNvSpPr>
          <p:nvPr>
            <p:ph type="title"/>
          </p:nvPr>
        </p:nvSpPr>
        <p:spPr>
          <a:xfrm>
            <a:off x="1" y="81231"/>
            <a:ext cx="12152345" cy="647156"/>
          </a:xfrm>
        </p:spPr>
        <p:txBody>
          <a:bodyPr/>
          <a:lstStyle/>
          <a:p>
            <a:r>
              <a:rPr lang="fr-FR" dirty="0"/>
              <a:t>5G-MAG Reference Tools</a:t>
            </a:r>
          </a:p>
        </p:txBody>
      </p:sp>
      <p:sp>
        <p:nvSpPr>
          <p:cNvPr id="9" name="Slide Number Placeholder 3">
            <a:extLst>
              <a:ext uri="{FF2B5EF4-FFF2-40B4-BE49-F238E27FC236}">
                <a16:creationId xmlns:a16="http://schemas.microsoft.com/office/drawing/2014/main" id="{30727D7E-5CB1-2FE3-2940-93A2943B4807}"/>
              </a:ext>
            </a:extLst>
          </p:cNvPr>
          <p:cNvSpPr>
            <a:spLocks noGrp="1"/>
          </p:cNvSpPr>
          <p:nvPr>
            <p:ph type="sldNum" sz="quarter" idx="4"/>
          </p:nvPr>
        </p:nvSpPr>
        <p:spPr/>
        <p:txBody>
          <a:bodyPr/>
          <a:lstStyle/>
          <a:p>
            <a:pPr algn="r" defTabSz="609585">
              <a:defRPr/>
            </a:pPr>
            <a:fld id="{4FAB73BC-B049-4115-A692-8D63A059BFB8}" type="slidenum">
              <a:rPr lang="en-US" sz="1200">
                <a:solidFill>
                  <a:srgbClr val="324158"/>
                </a:solidFill>
                <a:latin typeface="Poppins ExtraLight" panose="00000300000000000000" pitchFamily="2" charset="0"/>
                <a:cs typeface="Poppins ExtraLight" panose="00000300000000000000" pitchFamily="2" charset="0"/>
              </a:rPr>
              <a:pPr algn="r" defTabSz="609585">
                <a:defRPr/>
              </a:pPr>
              <a:t>62</a:t>
            </a:fld>
            <a:endParaRPr lang="en-US" sz="1200">
              <a:solidFill>
                <a:srgbClr val="324158"/>
              </a:solidFill>
              <a:latin typeface="Poppins ExtraLight" panose="00000300000000000000" pitchFamily="2" charset="0"/>
              <a:cs typeface="Poppins ExtraLight" panose="00000300000000000000" pitchFamily="2" charset="0"/>
            </a:endParaRPr>
          </a:p>
        </p:txBody>
      </p:sp>
      <p:sp>
        <p:nvSpPr>
          <p:cNvPr id="2" name="Marcador de contenido 9">
            <a:extLst>
              <a:ext uri="{FF2B5EF4-FFF2-40B4-BE49-F238E27FC236}">
                <a16:creationId xmlns:a16="http://schemas.microsoft.com/office/drawing/2014/main" id="{9F64F7F2-3E20-FD62-A5CD-2FAA40B94CCA}"/>
              </a:ext>
            </a:extLst>
          </p:cNvPr>
          <p:cNvSpPr txBox="1">
            <a:spLocks/>
          </p:cNvSpPr>
          <p:nvPr/>
        </p:nvSpPr>
        <p:spPr>
          <a:xfrm>
            <a:off x="262466" y="1073888"/>
            <a:ext cx="11813095" cy="5647587"/>
          </a:xfrm>
          <a:prstGeom prst="rect">
            <a:avLst/>
          </a:prstGeom>
        </p:spPr>
        <p:txBody>
          <a:bodyPr wrap="square">
            <a:normAutofit/>
          </a:bodyPr>
          <a:lstStyle>
            <a:lvl1pPr marL="257175" indent="-257175" algn="l" defTabSz="685800" rtl="0" eaLnBrk="1" latinLnBrk="0" hangingPunct="1">
              <a:lnSpc>
                <a:spcPct val="90000"/>
              </a:lnSpc>
              <a:spcBef>
                <a:spcPts val="900"/>
              </a:spcBef>
              <a:buClr>
                <a:srgbClr val="00A0D2"/>
              </a:buClr>
              <a:buFont typeface="Wingdings" panose="05000000000000000000" pitchFamily="2" charset="2"/>
              <a:buChar char="§"/>
              <a:defRPr sz="20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1pPr>
            <a:lvl2pPr marL="5143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20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2pPr>
            <a:lvl3pPr marL="8572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6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3pPr>
            <a:lvl4pPr marL="12001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4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4pPr>
            <a:lvl5pPr marL="15430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4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5pPr>
            <a:lvl6pPr marL="18859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6pPr>
            <a:lvl7pPr marL="22288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7pPr>
            <a:lvl8pPr marL="25717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8pPr>
            <a:lvl9pPr marL="29146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9pPr>
          </a:lstStyle>
          <a:p>
            <a:pPr marL="0" indent="0" fontAlgn="base">
              <a:lnSpc>
                <a:spcPct val="110000"/>
              </a:lnSpc>
              <a:spcBef>
                <a:spcPts val="800"/>
              </a:spcBef>
              <a:buNone/>
            </a:pPr>
            <a:r>
              <a:rPr lang="fr-CH" sz="2133" dirty="0" err="1">
                <a:latin typeface="Poppins SemiBold" panose="02000000000000000000" pitchFamily="2" charset="0"/>
                <a:cs typeface="Poppins SemiBold" panose="02000000000000000000" pitchFamily="2" charset="0"/>
              </a:rPr>
              <a:t>Implementation</a:t>
            </a:r>
            <a:r>
              <a:rPr lang="fr-CH" sz="2133" dirty="0">
                <a:latin typeface="Poppins SemiBold" panose="02000000000000000000" pitchFamily="2" charset="0"/>
                <a:cs typeface="Poppins SemiBold" panose="02000000000000000000" pitchFamily="2" charset="0"/>
              </a:rPr>
              <a:t> in the 5G-MAG REFERENCE TOOLS</a:t>
            </a:r>
          </a:p>
          <a:p>
            <a:pPr marL="0" indent="0" algn="ctr" defTabSz="609585">
              <a:lnSpc>
                <a:spcPct val="100000"/>
              </a:lnSpc>
              <a:spcBef>
                <a:spcPts val="0"/>
              </a:spcBef>
              <a:buNone/>
            </a:pPr>
            <a:endParaRPr lang="en-US" sz="1400" dirty="0">
              <a:solidFill>
                <a:srgbClr val="324158"/>
              </a:solidFill>
              <a:latin typeface="Poppins SemiBold" panose="02000000000000000000" pitchFamily="2" charset="0"/>
              <a:cs typeface="Poppins SemiBold" panose="02000000000000000000" pitchFamily="2" charset="0"/>
            </a:endParaRPr>
          </a:p>
          <a:p>
            <a:pPr marL="0" indent="0" defTabSz="609585">
              <a:lnSpc>
                <a:spcPct val="100000"/>
              </a:lnSpc>
              <a:spcBef>
                <a:spcPts val="0"/>
              </a:spcBef>
              <a:buNone/>
            </a:pPr>
            <a:endParaRPr lang="fr-CH" sz="2400" dirty="0">
              <a:solidFill>
                <a:srgbClr val="324158"/>
              </a:solidFill>
              <a:latin typeface="Poppins SemiBold" panose="02000000000000000000" pitchFamily="2" charset="0"/>
              <a:cs typeface="Poppins SemiBold" panose="02000000000000000000" pitchFamily="2" charset="0"/>
            </a:endParaRPr>
          </a:p>
        </p:txBody>
      </p:sp>
      <p:sp>
        <p:nvSpPr>
          <p:cNvPr id="8" name="Rectangle 1">
            <a:extLst>
              <a:ext uri="{FF2B5EF4-FFF2-40B4-BE49-F238E27FC236}">
                <a16:creationId xmlns:a16="http://schemas.microsoft.com/office/drawing/2014/main" id="{A24D0FD3-B4D0-99FA-900E-650857A31727}"/>
              </a:ext>
            </a:extLst>
          </p:cNvPr>
          <p:cNvSpPr/>
          <p:nvPr/>
        </p:nvSpPr>
        <p:spPr>
          <a:xfrm>
            <a:off x="3762277" y="6462547"/>
            <a:ext cx="8146560"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CH" sz="1200" err="1">
                <a:solidFill>
                  <a:srgbClr val="324158"/>
                </a:solidFill>
                <a:latin typeface="Poppins ExtraLight" panose="00000300000000000000" pitchFamily="2" charset="0"/>
                <a:cs typeface="Poppins ExtraLight" panose="00000300000000000000" pitchFamily="2" charset="0"/>
              </a:rPr>
              <a:t>Find</a:t>
            </a:r>
            <a:r>
              <a:rPr lang="fr-CH" sz="1200">
                <a:solidFill>
                  <a:srgbClr val="324158"/>
                </a:solidFill>
                <a:latin typeface="Poppins ExtraLight" panose="00000300000000000000" pitchFamily="2" charset="0"/>
                <a:cs typeface="Poppins ExtraLight" panose="00000300000000000000" pitchFamily="2" charset="0"/>
              </a:rPr>
              <a:t> information about 5G-MAG Work Items at </a:t>
            </a:r>
            <a:r>
              <a:rPr lang="fr-CH" sz="1200">
                <a:solidFill>
                  <a:srgbClr val="324158"/>
                </a:solidFill>
                <a:latin typeface="Poppins ExtraLight" panose="00000300000000000000" pitchFamily="2" charset="0"/>
                <a:cs typeface="Poppins ExtraLight" panose="00000300000000000000" pitchFamily="2" charset="0"/>
                <a:hlinkClick r:id="rId2"/>
              </a:rPr>
              <a:t>hub.5g-mag.com</a:t>
            </a:r>
            <a:endParaRPr lang="fr-CH" sz="1200">
              <a:solidFill>
                <a:srgbClr val="324158"/>
              </a:solidFill>
              <a:latin typeface="Poppins ExtraLight" panose="00000300000000000000" pitchFamily="2" charset="0"/>
              <a:cs typeface="Poppins ExtraLight" panose="00000300000000000000" pitchFamily="2" charset="0"/>
            </a:endParaRPr>
          </a:p>
        </p:txBody>
      </p:sp>
      <p:pic>
        <p:nvPicPr>
          <p:cNvPr id="10" name="Picture 9" descr="A picture containing graphics, graphic design, design, silhouette&#10;&#10;Description automatically generated">
            <a:extLst>
              <a:ext uri="{FF2B5EF4-FFF2-40B4-BE49-F238E27FC236}">
                <a16:creationId xmlns:a16="http://schemas.microsoft.com/office/drawing/2014/main" id="{3415B6A4-92D3-4F8E-E27F-EFDFD0D230D7}"/>
              </a:ext>
            </a:extLst>
          </p:cNvPr>
          <p:cNvPicPr>
            <a:picLocks noChangeAspect="1"/>
          </p:cNvPicPr>
          <p:nvPr/>
        </p:nvPicPr>
        <p:blipFill>
          <a:blip r:embed="rId3"/>
          <a:stretch>
            <a:fillRect/>
          </a:stretch>
        </p:blipFill>
        <p:spPr>
          <a:xfrm>
            <a:off x="6656209" y="6516563"/>
            <a:ext cx="239948" cy="239948"/>
          </a:xfrm>
          <a:prstGeom prst="rect">
            <a:avLst/>
          </a:prstGeom>
        </p:spPr>
      </p:pic>
      <p:sp>
        <p:nvSpPr>
          <p:cNvPr id="5" name="Rectangle: Rounded Corners 4">
            <a:extLst>
              <a:ext uri="{FF2B5EF4-FFF2-40B4-BE49-F238E27FC236}">
                <a16:creationId xmlns:a16="http://schemas.microsoft.com/office/drawing/2014/main" id="{F2F3D040-3E49-72F7-CB4E-EBFA5F7B6CD4}"/>
              </a:ext>
            </a:extLst>
          </p:cNvPr>
          <p:cNvSpPr/>
          <p:nvPr/>
        </p:nvSpPr>
        <p:spPr>
          <a:xfrm>
            <a:off x="11467703" y="375761"/>
            <a:ext cx="528000" cy="240000"/>
          </a:xfrm>
          <a:prstGeom prst="roundRect">
            <a:avLst/>
          </a:prstGeom>
          <a:solidFill>
            <a:srgbClr val="2B6CA3"/>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8000" rIns="0" bIns="0" rtlCol="0" anchor="ctr"/>
          <a:lstStyle/>
          <a:p>
            <a:pPr algn="ctr"/>
            <a:r>
              <a:rPr lang="fr-CH" sz="1333" b="1">
                <a:latin typeface="Poppins SemiBold" panose="02000000000000000000" pitchFamily="2" charset="0"/>
                <a:cs typeface="Poppins SemiBold" panose="02000000000000000000" pitchFamily="2" charset="0"/>
              </a:rPr>
              <a:t>DEV</a:t>
            </a:r>
          </a:p>
        </p:txBody>
      </p:sp>
      <p:sp>
        <p:nvSpPr>
          <p:cNvPr id="6" name="Rectangle: Rounded Corners 5">
            <a:extLst>
              <a:ext uri="{FF2B5EF4-FFF2-40B4-BE49-F238E27FC236}">
                <a16:creationId xmlns:a16="http://schemas.microsoft.com/office/drawing/2014/main" id="{18E48B6A-59D2-5CD9-157B-31A58372D15F}"/>
              </a:ext>
            </a:extLst>
          </p:cNvPr>
          <p:cNvSpPr/>
          <p:nvPr/>
        </p:nvSpPr>
        <p:spPr>
          <a:xfrm>
            <a:off x="9517957" y="122795"/>
            <a:ext cx="2477747" cy="236339"/>
          </a:xfrm>
          <a:prstGeom prst="round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48000" rIns="0" bIns="0" rtlCol="0" anchor="ctr"/>
          <a:lstStyle/>
          <a:p>
            <a:pPr algn="r"/>
            <a:r>
              <a:rPr lang="fr-CH" sz="1200" err="1">
                <a:solidFill>
                  <a:schemeClr val="bg1"/>
                </a:solidFill>
                <a:latin typeface="Poppins SemiBold" panose="02000000000000000000" pitchFamily="2" charset="0"/>
                <a:cs typeface="Poppins SemiBold" panose="02000000000000000000" pitchFamily="2" charset="0"/>
              </a:rPr>
              <a:t>Which</a:t>
            </a:r>
            <a:r>
              <a:rPr lang="fr-CH" sz="1200">
                <a:solidFill>
                  <a:schemeClr val="bg1"/>
                </a:solidFill>
                <a:latin typeface="Poppins SemiBold" panose="02000000000000000000" pitchFamily="2" charset="0"/>
                <a:cs typeface="Poppins SemiBold" panose="02000000000000000000" pitchFamily="2" charset="0"/>
              </a:rPr>
              <a:t> Workgroups to </a:t>
            </a:r>
            <a:r>
              <a:rPr lang="fr-CH" sz="1200" err="1">
                <a:solidFill>
                  <a:schemeClr val="bg1"/>
                </a:solidFill>
                <a:latin typeface="Poppins SemiBold" panose="02000000000000000000" pitchFamily="2" charset="0"/>
                <a:cs typeface="Poppins SemiBold" panose="02000000000000000000" pitchFamily="2" charset="0"/>
              </a:rPr>
              <a:t>join</a:t>
            </a:r>
            <a:r>
              <a:rPr lang="fr-CH" sz="1200">
                <a:solidFill>
                  <a:schemeClr val="bg1"/>
                </a:solidFill>
                <a:latin typeface="Poppins SemiBold" panose="02000000000000000000" pitchFamily="2" charset="0"/>
                <a:cs typeface="Poppins SemiBold" panose="02000000000000000000" pitchFamily="2" charset="0"/>
              </a:rPr>
              <a:t>?</a:t>
            </a:r>
          </a:p>
        </p:txBody>
      </p:sp>
      <p:pic>
        <p:nvPicPr>
          <p:cNvPr id="13" name="Picture 37" descr="A picture containing graphics, graphic design, design, silhouette&#10;&#10;Description automatically generated">
            <a:hlinkClick r:id="" action="ppaction://noaction"/>
            <a:extLst>
              <a:ext uri="{FF2B5EF4-FFF2-40B4-BE49-F238E27FC236}">
                <a16:creationId xmlns:a16="http://schemas.microsoft.com/office/drawing/2014/main" id="{E61413D0-EA78-76FB-C463-01B172E2F69B}"/>
              </a:ext>
            </a:extLst>
          </p:cNvPr>
          <p:cNvPicPr>
            <a:picLocks noChangeAspect="1"/>
          </p:cNvPicPr>
          <p:nvPr/>
        </p:nvPicPr>
        <p:blipFill>
          <a:blip r:embed="rId3"/>
          <a:stretch>
            <a:fillRect/>
          </a:stretch>
        </p:blipFill>
        <p:spPr>
          <a:xfrm>
            <a:off x="10184747" y="1023632"/>
            <a:ext cx="392565" cy="392565"/>
          </a:xfrm>
          <a:prstGeom prst="rect">
            <a:avLst/>
          </a:prstGeom>
        </p:spPr>
      </p:pic>
      <p:sp>
        <p:nvSpPr>
          <p:cNvPr id="14" name="TextBox 38">
            <a:extLst>
              <a:ext uri="{FF2B5EF4-FFF2-40B4-BE49-F238E27FC236}">
                <a16:creationId xmlns:a16="http://schemas.microsoft.com/office/drawing/2014/main" id="{7D103681-624A-2870-C63E-EA3B599D5F2F}"/>
              </a:ext>
            </a:extLst>
          </p:cNvPr>
          <p:cNvSpPr txBox="1"/>
          <p:nvPr/>
        </p:nvSpPr>
        <p:spPr>
          <a:xfrm>
            <a:off x="10584030" y="1112501"/>
            <a:ext cx="1411673" cy="297454"/>
          </a:xfrm>
          <a:prstGeom prst="rect">
            <a:avLst/>
          </a:prstGeom>
          <a:noFill/>
        </p:spPr>
        <p:txBody>
          <a:bodyPr wrap="square">
            <a:spAutoFit/>
          </a:bodyPr>
          <a:lstStyle/>
          <a:p>
            <a:pPr>
              <a:defRPr/>
            </a:pPr>
            <a:r>
              <a:rPr lang="fr-CH" sz="1333">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MORE SLIDES</a:t>
            </a:r>
            <a:endParaRPr lang="fr-CH" sz="1333">
              <a:solidFill>
                <a:srgbClr val="324158"/>
              </a:solidFill>
              <a:latin typeface="poppins" panose="00000500000000000000" pitchFamily="2" charset="0"/>
              <a:cs typeface="poppins" panose="00000500000000000000" pitchFamily="2" charset="0"/>
            </a:endParaRPr>
          </a:p>
        </p:txBody>
      </p:sp>
      <p:pic>
        <p:nvPicPr>
          <p:cNvPr id="11" name="Picture 6" descr="A screen shot of a computer&#10;&#10;Description automatically generated with low confidence">
            <a:extLst>
              <a:ext uri="{FF2B5EF4-FFF2-40B4-BE49-F238E27FC236}">
                <a16:creationId xmlns:a16="http://schemas.microsoft.com/office/drawing/2014/main" id="{14917D83-6879-FED7-7BD2-72902F3C76C6}"/>
              </a:ext>
            </a:extLst>
          </p:cNvPr>
          <p:cNvPicPr>
            <a:picLocks noChangeAspect="1"/>
          </p:cNvPicPr>
          <p:nvPr/>
        </p:nvPicPr>
        <p:blipFill>
          <a:blip r:embed="rId4"/>
          <a:stretch>
            <a:fillRect/>
          </a:stretch>
        </p:blipFill>
        <p:spPr>
          <a:xfrm>
            <a:off x="1628707" y="1630664"/>
            <a:ext cx="9080019" cy="4800000"/>
          </a:xfrm>
          <a:prstGeom prst="rect">
            <a:avLst/>
          </a:prstGeom>
          <a:ln w="12700">
            <a:solidFill>
              <a:srgbClr val="2B6CA3"/>
            </a:solidFill>
          </a:ln>
        </p:spPr>
      </p:pic>
    </p:spTree>
    <p:extLst>
      <p:ext uri="{BB962C8B-B14F-4D97-AF65-F5344CB8AC3E}">
        <p14:creationId xmlns:p14="http://schemas.microsoft.com/office/powerpoint/2010/main" val="10660926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BA183C8-F07D-4C4E-A2C3-F665C30D31C7}"/>
              </a:ext>
            </a:extLst>
          </p:cNvPr>
          <p:cNvSpPr>
            <a:spLocks noGrp="1"/>
          </p:cNvSpPr>
          <p:nvPr>
            <p:ph type="title"/>
          </p:nvPr>
        </p:nvSpPr>
        <p:spPr>
          <a:xfrm>
            <a:off x="1" y="81231"/>
            <a:ext cx="12152345" cy="647156"/>
          </a:xfrm>
        </p:spPr>
        <p:txBody>
          <a:bodyPr/>
          <a:lstStyle/>
          <a:p>
            <a:r>
              <a:rPr lang="fr-FR" dirty="0"/>
              <a:t>5G-MAG Reference Tools</a:t>
            </a:r>
          </a:p>
        </p:txBody>
      </p:sp>
      <p:sp>
        <p:nvSpPr>
          <p:cNvPr id="9" name="Slide Number Placeholder 3">
            <a:extLst>
              <a:ext uri="{FF2B5EF4-FFF2-40B4-BE49-F238E27FC236}">
                <a16:creationId xmlns:a16="http://schemas.microsoft.com/office/drawing/2014/main" id="{30727D7E-5CB1-2FE3-2940-93A2943B4807}"/>
              </a:ext>
            </a:extLst>
          </p:cNvPr>
          <p:cNvSpPr>
            <a:spLocks noGrp="1"/>
          </p:cNvSpPr>
          <p:nvPr>
            <p:ph type="sldNum" sz="quarter" idx="4"/>
          </p:nvPr>
        </p:nvSpPr>
        <p:spPr/>
        <p:txBody>
          <a:bodyPr/>
          <a:lstStyle/>
          <a:p>
            <a:pPr algn="r" defTabSz="609585">
              <a:defRPr/>
            </a:pPr>
            <a:fld id="{4FAB73BC-B049-4115-A692-8D63A059BFB8}" type="slidenum">
              <a:rPr lang="en-US" sz="1200">
                <a:solidFill>
                  <a:srgbClr val="324158"/>
                </a:solidFill>
                <a:latin typeface="Poppins ExtraLight" panose="00000300000000000000" pitchFamily="2" charset="0"/>
                <a:cs typeface="Poppins ExtraLight" panose="00000300000000000000" pitchFamily="2" charset="0"/>
              </a:rPr>
              <a:pPr algn="r" defTabSz="609585">
                <a:defRPr/>
              </a:pPr>
              <a:t>63</a:t>
            </a:fld>
            <a:endParaRPr lang="en-US" sz="1200">
              <a:solidFill>
                <a:srgbClr val="324158"/>
              </a:solidFill>
              <a:latin typeface="Poppins ExtraLight" panose="00000300000000000000" pitchFamily="2" charset="0"/>
              <a:cs typeface="Poppins ExtraLight" panose="00000300000000000000" pitchFamily="2" charset="0"/>
            </a:endParaRPr>
          </a:p>
        </p:txBody>
      </p:sp>
      <p:sp>
        <p:nvSpPr>
          <p:cNvPr id="2" name="Marcador de contenido 9">
            <a:extLst>
              <a:ext uri="{FF2B5EF4-FFF2-40B4-BE49-F238E27FC236}">
                <a16:creationId xmlns:a16="http://schemas.microsoft.com/office/drawing/2014/main" id="{9F64F7F2-3E20-FD62-A5CD-2FAA40B94CCA}"/>
              </a:ext>
            </a:extLst>
          </p:cNvPr>
          <p:cNvSpPr txBox="1">
            <a:spLocks/>
          </p:cNvSpPr>
          <p:nvPr/>
        </p:nvSpPr>
        <p:spPr>
          <a:xfrm>
            <a:off x="262466" y="1073888"/>
            <a:ext cx="11813095" cy="5647587"/>
          </a:xfrm>
          <a:prstGeom prst="rect">
            <a:avLst/>
          </a:prstGeom>
        </p:spPr>
        <p:txBody>
          <a:bodyPr wrap="square">
            <a:normAutofit/>
          </a:bodyPr>
          <a:lstStyle>
            <a:lvl1pPr marL="257175" indent="-257175" algn="l" defTabSz="685800" rtl="0" eaLnBrk="1" latinLnBrk="0" hangingPunct="1">
              <a:lnSpc>
                <a:spcPct val="90000"/>
              </a:lnSpc>
              <a:spcBef>
                <a:spcPts val="900"/>
              </a:spcBef>
              <a:buClr>
                <a:srgbClr val="00A0D2"/>
              </a:buClr>
              <a:buFont typeface="Wingdings" panose="05000000000000000000" pitchFamily="2" charset="2"/>
              <a:buChar char="§"/>
              <a:defRPr sz="20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1pPr>
            <a:lvl2pPr marL="5143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20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2pPr>
            <a:lvl3pPr marL="8572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6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3pPr>
            <a:lvl4pPr marL="12001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4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4pPr>
            <a:lvl5pPr marL="1543050" indent="-137160" algn="l" defTabSz="685800" rtl="0" eaLnBrk="1" latinLnBrk="0" hangingPunct="1">
              <a:lnSpc>
                <a:spcPct val="90000"/>
              </a:lnSpc>
              <a:spcBef>
                <a:spcPts val="188"/>
              </a:spcBef>
              <a:spcAft>
                <a:spcPts val="188"/>
              </a:spcAft>
              <a:buClr>
                <a:srgbClr val="00A0D2"/>
              </a:buClr>
              <a:buFont typeface="Wingdings" panose="05000000000000000000" pitchFamily="2" charset="2"/>
              <a:buChar char="§"/>
              <a:defRPr sz="1400" kern="1200">
                <a:solidFill>
                  <a:schemeClr val="tx1">
                    <a:lumMod val="65000"/>
                    <a:lumOff val="35000"/>
                  </a:schemeClr>
                </a:solidFill>
                <a:latin typeface="Poppins ExtraLight" panose="00000300000000000000" pitchFamily="2" charset="0"/>
                <a:ea typeface="+mn-ea"/>
                <a:cs typeface="Poppins ExtraLight" panose="00000300000000000000" pitchFamily="2" charset="0"/>
              </a:defRPr>
            </a:lvl5pPr>
            <a:lvl6pPr marL="18859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6pPr>
            <a:lvl7pPr marL="22288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7pPr>
            <a:lvl8pPr marL="25717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8pPr>
            <a:lvl9pPr marL="29146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9pPr>
          </a:lstStyle>
          <a:p>
            <a:pPr marL="0" indent="0" fontAlgn="base">
              <a:lnSpc>
                <a:spcPct val="110000"/>
              </a:lnSpc>
              <a:spcBef>
                <a:spcPts val="800"/>
              </a:spcBef>
              <a:buNone/>
            </a:pPr>
            <a:r>
              <a:rPr lang="fr-CH" sz="2133" dirty="0" err="1">
                <a:latin typeface="Poppins SemiBold" panose="02000000000000000000" pitchFamily="2" charset="0"/>
                <a:cs typeface="Poppins SemiBold" panose="02000000000000000000" pitchFamily="2" charset="0"/>
              </a:rPr>
              <a:t>Implementation</a:t>
            </a:r>
            <a:r>
              <a:rPr lang="fr-CH" sz="2133" dirty="0">
                <a:latin typeface="Poppins SemiBold" panose="02000000000000000000" pitchFamily="2" charset="0"/>
                <a:cs typeface="Poppins SemiBold" panose="02000000000000000000" pitchFamily="2" charset="0"/>
              </a:rPr>
              <a:t> in the 5G-MAG REFERENCE TOOLS</a:t>
            </a:r>
          </a:p>
          <a:p>
            <a:pPr marL="0" indent="0" algn="ctr" defTabSz="609585">
              <a:lnSpc>
                <a:spcPct val="100000"/>
              </a:lnSpc>
              <a:spcBef>
                <a:spcPts val="0"/>
              </a:spcBef>
              <a:buNone/>
            </a:pPr>
            <a:endParaRPr lang="en-US" sz="1400" dirty="0">
              <a:solidFill>
                <a:srgbClr val="324158"/>
              </a:solidFill>
              <a:latin typeface="Poppins SemiBold" panose="02000000000000000000" pitchFamily="2" charset="0"/>
              <a:cs typeface="Poppins SemiBold" panose="02000000000000000000" pitchFamily="2" charset="0"/>
            </a:endParaRPr>
          </a:p>
          <a:p>
            <a:pPr marL="0" indent="0" defTabSz="609585">
              <a:lnSpc>
                <a:spcPct val="100000"/>
              </a:lnSpc>
              <a:spcBef>
                <a:spcPts val="0"/>
              </a:spcBef>
              <a:buNone/>
            </a:pPr>
            <a:endParaRPr lang="fr-CH" sz="2400" dirty="0">
              <a:solidFill>
                <a:srgbClr val="324158"/>
              </a:solidFill>
              <a:latin typeface="Poppins SemiBold" panose="02000000000000000000" pitchFamily="2" charset="0"/>
              <a:cs typeface="Poppins SemiBold" panose="02000000000000000000" pitchFamily="2" charset="0"/>
            </a:endParaRPr>
          </a:p>
        </p:txBody>
      </p:sp>
      <p:sp>
        <p:nvSpPr>
          <p:cNvPr id="8" name="Rectangle 1">
            <a:extLst>
              <a:ext uri="{FF2B5EF4-FFF2-40B4-BE49-F238E27FC236}">
                <a16:creationId xmlns:a16="http://schemas.microsoft.com/office/drawing/2014/main" id="{A24D0FD3-B4D0-99FA-900E-650857A31727}"/>
              </a:ext>
            </a:extLst>
          </p:cNvPr>
          <p:cNvSpPr/>
          <p:nvPr/>
        </p:nvSpPr>
        <p:spPr>
          <a:xfrm>
            <a:off x="3762277" y="6462547"/>
            <a:ext cx="8146560"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CH" sz="1200" err="1">
                <a:solidFill>
                  <a:srgbClr val="324158"/>
                </a:solidFill>
                <a:latin typeface="Poppins ExtraLight" panose="00000300000000000000" pitchFamily="2" charset="0"/>
                <a:cs typeface="Poppins ExtraLight" panose="00000300000000000000" pitchFamily="2" charset="0"/>
              </a:rPr>
              <a:t>Find</a:t>
            </a:r>
            <a:r>
              <a:rPr lang="fr-CH" sz="1200">
                <a:solidFill>
                  <a:srgbClr val="324158"/>
                </a:solidFill>
                <a:latin typeface="Poppins ExtraLight" panose="00000300000000000000" pitchFamily="2" charset="0"/>
                <a:cs typeface="Poppins ExtraLight" panose="00000300000000000000" pitchFamily="2" charset="0"/>
              </a:rPr>
              <a:t> information about 5G-MAG Work Items at </a:t>
            </a:r>
            <a:r>
              <a:rPr lang="fr-CH" sz="1200">
                <a:solidFill>
                  <a:srgbClr val="324158"/>
                </a:solidFill>
                <a:latin typeface="Poppins ExtraLight" panose="00000300000000000000" pitchFamily="2" charset="0"/>
                <a:cs typeface="Poppins ExtraLight" panose="00000300000000000000" pitchFamily="2" charset="0"/>
                <a:hlinkClick r:id="rId2"/>
              </a:rPr>
              <a:t>hub.5g-mag.com</a:t>
            </a:r>
            <a:endParaRPr lang="fr-CH" sz="1200">
              <a:solidFill>
                <a:srgbClr val="324158"/>
              </a:solidFill>
              <a:latin typeface="Poppins ExtraLight" panose="00000300000000000000" pitchFamily="2" charset="0"/>
              <a:cs typeface="Poppins ExtraLight" panose="00000300000000000000" pitchFamily="2" charset="0"/>
            </a:endParaRPr>
          </a:p>
        </p:txBody>
      </p:sp>
      <p:pic>
        <p:nvPicPr>
          <p:cNvPr id="10" name="Picture 9" descr="A picture containing graphics, graphic design, design, silhouette&#10;&#10;Description automatically generated">
            <a:extLst>
              <a:ext uri="{FF2B5EF4-FFF2-40B4-BE49-F238E27FC236}">
                <a16:creationId xmlns:a16="http://schemas.microsoft.com/office/drawing/2014/main" id="{3415B6A4-92D3-4F8E-E27F-EFDFD0D230D7}"/>
              </a:ext>
            </a:extLst>
          </p:cNvPr>
          <p:cNvPicPr>
            <a:picLocks noChangeAspect="1"/>
          </p:cNvPicPr>
          <p:nvPr/>
        </p:nvPicPr>
        <p:blipFill>
          <a:blip r:embed="rId3"/>
          <a:stretch>
            <a:fillRect/>
          </a:stretch>
        </p:blipFill>
        <p:spPr>
          <a:xfrm>
            <a:off x="6656209" y="6516563"/>
            <a:ext cx="239948" cy="239948"/>
          </a:xfrm>
          <a:prstGeom prst="rect">
            <a:avLst/>
          </a:prstGeom>
        </p:spPr>
      </p:pic>
      <p:sp>
        <p:nvSpPr>
          <p:cNvPr id="5" name="Rectangle: Rounded Corners 4">
            <a:extLst>
              <a:ext uri="{FF2B5EF4-FFF2-40B4-BE49-F238E27FC236}">
                <a16:creationId xmlns:a16="http://schemas.microsoft.com/office/drawing/2014/main" id="{F2F3D040-3E49-72F7-CB4E-EBFA5F7B6CD4}"/>
              </a:ext>
            </a:extLst>
          </p:cNvPr>
          <p:cNvSpPr/>
          <p:nvPr/>
        </p:nvSpPr>
        <p:spPr>
          <a:xfrm>
            <a:off x="11467703" y="375761"/>
            <a:ext cx="528000" cy="240000"/>
          </a:xfrm>
          <a:prstGeom prst="roundRect">
            <a:avLst/>
          </a:prstGeom>
          <a:solidFill>
            <a:srgbClr val="2B6CA3"/>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8000" rIns="0" bIns="0" rtlCol="0" anchor="ctr"/>
          <a:lstStyle/>
          <a:p>
            <a:pPr algn="ctr"/>
            <a:r>
              <a:rPr lang="fr-CH" sz="1333" b="1">
                <a:latin typeface="Poppins SemiBold" panose="02000000000000000000" pitchFamily="2" charset="0"/>
                <a:cs typeface="Poppins SemiBold" panose="02000000000000000000" pitchFamily="2" charset="0"/>
              </a:rPr>
              <a:t>DEV</a:t>
            </a:r>
          </a:p>
        </p:txBody>
      </p:sp>
      <p:sp>
        <p:nvSpPr>
          <p:cNvPr id="6" name="Rectangle: Rounded Corners 5">
            <a:extLst>
              <a:ext uri="{FF2B5EF4-FFF2-40B4-BE49-F238E27FC236}">
                <a16:creationId xmlns:a16="http://schemas.microsoft.com/office/drawing/2014/main" id="{18E48B6A-59D2-5CD9-157B-31A58372D15F}"/>
              </a:ext>
            </a:extLst>
          </p:cNvPr>
          <p:cNvSpPr/>
          <p:nvPr/>
        </p:nvSpPr>
        <p:spPr>
          <a:xfrm>
            <a:off x="9517957" y="122795"/>
            <a:ext cx="2477747" cy="236339"/>
          </a:xfrm>
          <a:prstGeom prst="round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48000" rIns="0" bIns="0" rtlCol="0" anchor="ctr"/>
          <a:lstStyle/>
          <a:p>
            <a:pPr algn="r"/>
            <a:r>
              <a:rPr lang="fr-CH" sz="1200" err="1">
                <a:solidFill>
                  <a:schemeClr val="bg1"/>
                </a:solidFill>
                <a:latin typeface="Poppins SemiBold" panose="02000000000000000000" pitchFamily="2" charset="0"/>
                <a:cs typeface="Poppins SemiBold" panose="02000000000000000000" pitchFamily="2" charset="0"/>
              </a:rPr>
              <a:t>Which</a:t>
            </a:r>
            <a:r>
              <a:rPr lang="fr-CH" sz="1200">
                <a:solidFill>
                  <a:schemeClr val="bg1"/>
                </a:solidFill>
                <a:latin typeface="Poppins SemiBold" panose="02000000000000000000" pitchFamily="2" charset="0"/>
                <a:cs typeface="Poppins SemiBold" panose="02000000000000000000" pitchFamily="2" charset="0"/>
              </a:rPr>
              <a:t> Workgroups to </a:t>
            </a:r>
            <a:r>
              <a:rPr lang="fr-CH" sz="1200" err="1">
                <a:solidFill>
                  <a:schemeClr val="bg1"/>
                </a:solidFill>
                <a:latin typeface="Poppins SemiBold" panose="02000000000000000000" pitchFamily="2" charset="0"/>
                <a:cs typeface="Poppins SemiBold" panose="02000000000000000000" pitchFamily="2" charset="0"/>
              </a:rPr>
              <a:t>join</a:t>
            </a:r>
            <a:r>
              <a:rPr lang="fr-CH" sz="1200">
                <a:solidFill>
                  <a:schemeClr val="bg1"/>
                </a:solidFill>
                <a:latin typeface="Poppins SemiBold" panose="02000000000000000000" pitchFamily="2" charset="0"/>
                <a:cs typeface="Poppins SemiBold" panose="02000000000000000000" pitchFamily="2" charset="0"/>
              </a:rPr>
              <a:t>?</a:t>
            </a:r>
          </a:p>
        </p:txBody>
      </p:sp>
      <p:pic>
        <p:nvPicPr>
          <p:cNvPr id="13" name="Picture 37" descr="A picture containing graphics, graphic design, design, silhouette&#10;&#10;Description automatically generated">
            <a:hlinkClick r:id="" action="ppaction://noaction"/>
            <a:extLst>
              <a:ext uri="{FF2B5EF4-FFF2-40B4-BE49-F238E27FC236}">
                <a16:creationId xmlns:a16="http://schemas.microsoft.com/office/drawing/2014/main" id="{E61413D0-EA78-76FB-C463-01B172E2F69B}"/>
              </a:ext>
            </a:extLst>
          </p:cNvPr>
          <p:cNvPicPr>
            <a:picLocks noChangeAspect="1"/>
          </p:cNvPicPr>
          <p:nvPr/>
        </p:nvPicPr>
        <p:blipFill>
          <a:blip r:embed="rId3"/>
          <a:stretch>
            <a:fillRect/>
          </a:stretch>
        </p:blipFill>
        <p:spPr>
          <a:xfrm>
            <a:off x="10184747" y="1023632"/>
            <a:ext cx="392565" cy="392565"/>
          </a:xfrm>
          <a:prstGeom prst="rect">
            <a:avLst/>
          </a:prstGeom>
        </p:spPr>
      </p:pic>
      <p:sp>
        <p:nvSpPr>
          <p:cNvPr id="14" name="TextBox 38">
            <a:extLst>
              <a:ext uri="{FF2B5EF4-FFF2-40B4-BE49-F238E27FC236}">
                <a16:creationId xmlns:a16="http://schemas.microsoft.com/office/drawing/2014/main" id="{7D103681-624A-2870-C63E-EA3B599D5F2F}"/>
              </a:ext>
            </a:extLst>
          </p:cNvPr>
          <p:cNvSpPr txBox="1"/>
          <p:nvPr/>
        </p:nvSpPr>
        <p:spPr>
          <a:xfrm>
            <a:off x="10584030" y="1112501"/>
            <a:ext cx="1411673" cy="297454"/>
          </a:xfrm>
          <a:prstGeom prst="rect">
            <a:avLst/>
          </a:prstGeom>
          <a:noFill/>
        </p:spPr>
        <p:txBody>
          <a:bodyPr wrap="square">
            <a:spAutoFit/>
          </a:bodyPr>
          <a:lstStyle/>
          <a:p>
            <a:pPr>
              <a:defRPr/>
            </a:pPr>
            <a:r>
              <a:rPr lang="fr-CH" sz="1333">
                <a:solidFill>
                  <a:srgbClr val="324158"/>
                </a:solidFill>
                <a:latin typeface="poppins" panose="00000500000000000000" pitchFamily="2" charset="0"/>
                <a:cs typeface="poppins" panose="00000500000000000000" pitchFamily="2" charset="0"/>
                <a:hlinkClick r:id="" action="ppaction://noaction">
                  <a:extLst>
                    <a:ext uri="{A12FA001-AC4F-418D-AE19-62706E023703}">
                      <ahyp:hlinkClr xmlns:ahyp="http://schemas.microsoft.com/office/drawing/2018/hyperlinkcolor" val="tx"/>
                    </a:ext>
                  </a:extLst>
                </a:hlinkClick>
              </a:rPr>
              <a:t>MORE SLIDES</a:t>
            </a:r>
            <a:endParaRPr lang="fr-CH" sz="1333">
              <a:solidFill>
                <a:srgbClr val="324158"/>
              </a:solidFill>
              <a:latin typeface="poppins" panose="00000500000000000000" pitchFamily="2" charset="0"/>
              <a:cs typeface="poppins" panose="00000500000000000000" pitchFamily="2" charset="0"/>
            </a:endParaRPr>
          </a:p>
        </p:txBody>
      </p:sp>
      <p:pic>
        <p:nvPicPr>
          <p:cNvPr id="17" name="Picture 4" descr="A screenshot of a radio broadcast&#10;&#10;Description automatically generated">
            <a:extLst>
              <a:ext uri="{FF2B5EF4-FFF2-40B4-BE49-F238E27FC236}">
                <a16:creationId xmlns:a16="http://schemas.microsoft.com/office/drawing/2014/main" id="{773BBD7A-82B5-4DB0-B990-E9D3938D1B4A}"/>
              </a:ext>
            </a:extLst>
          </p:cNvPr>
          <p:cNvPicPr>
            <a:picLocks noChangeAspect="1"/>
          </p:cNvPicPr>
          <p:nvPr/>
        </p:nvPicPr>
        <p:blipFill>
          <a:blip r:embed="rId4"/>
          <a:stretch>
            <a:fillRect/>
          </a:stretch>
        </p:blipFill>
        <p:spPr>
          <a:xfrm>
            <a:off x="1628714" y="1632219"/>
            <a:ext cx="9080012" cy="4800000"/>
          </a:xfrm>
          <a:prstGeom prst="rect">
            <a:avLst/>
          </a:prstGeom>
          <a:ln w="12700">
            <a:solidFill>
              <a:srgbClr val="2B6CA3"/>
            </a:solidFill>
          </a:ln>
        </p:spPr>
      </p:pic>
    </p:spTree>
    <p:extLst>
      <p:ext uri="{BB962C8B-B14F-4D97-AF65-F5344CB8AC3E}">
        <p14:creationId xmlns:p14="http://schemas.microsoft.com/office/powerpoint/2010/main" val="40304512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9162DF0-5617-FD15-A879-C2444581360D}"/>
              </a:ext>
            </a:extLst>
          </p:cNvPr>
          <p:cNvSpPr>
            <a:spLocks noGrp="1"/>
          </p:cNvSpPr>
          <p:nvPr>
            <p:ph type="title"/>
          </p:nvPr>
        </p:nvSpPr>
        <p:spPr/>
        <p:txBody>
          <a:bodyPr vert="horz" wrap="square" lIns="0" tIns="96000" rIns="0" bIns="0" rtlCol="0" anchor="ctr">
            <a:noAutofit/>
          </a:bodyPr>
          <a:lstStyle/>
          <a:p>
            <a:r>
              <a:rPr lang="en-US"/>
              <a:t>Demos 2023</a:t>
            </a:r>
          </a:p>
        </p:txBody>
      </p:sp>
      <p:sp>
        <p:nvSpPr>
          <p:cNvPr id="4" name="Foliennummernplatzhalter 3">
            <a:extLst>
              <a:ext uri="{FF2B5EF4-FFF2-40B4-BE49-F238E27FC236}">
                <a16:creationId xmlns:a16="http://schemas.microsoft.com/office/drawing/2014/main" id="{EC97D605-FF0E-A797-C163-417C2AC31C85}"/>
              </a:ext>
            </a:extLst>
          </p:cNvPr>
          <p:cNvSpPr>
            <a:spLocks noGrp="1"/>
          </p:cNvSpPr>
          <p:nvPr>
            <p:ph type="sldNum" sz="quarter" idx="4"/>
          </p:nvPr>
        </p:nvSpPr>
        <p:spPr/>
        <p:txBody>
          <a:bodyPr/>
          <a:lstStyle/>
          <a:p>
            <a:pPr algn="r" defTabSz="609585">
              <a:defRPr/>
            </a:pPr>
            <a:fld id="{4FAB73BC-B049-4115-A692-8D63A059BFB8}" type="slidenum">
              <a:rPr lang="fr-CH" sz="1200">
                <a:solidFill>
                  <a:srgbClr val="324158"/>
                </a:solidFill>
                <a:latin typeface="Poppins ExtraLight" panose="00000300000000000000" pitchFamily="2" charset="0"/>
                <a:cs typeface="Poppins ExtraLight" panose="00000300000000000000" pitchFamily="2" charset="0"/>
              </a:rPr>
              <a:pPr algn="r" defTabSz="609585">
                <a:defRPr/>
              </a:pPr>
              <a:t>64</a:t>
            </a:fld>
            <a:endParaRPr lang="fr-CH" sz="1200">
              <a:solidFill>
                <a:srgbClr val="324158"/>
              </a:solidFill>
              <a:latin typeface="Poppins ExtraLight" panose="00000300000000000000" pitchFamily="2" charset="0"/>
              <a:cs typeface="Poppins ExtraLight" panose="00000300000000000000" pitchFamily="2" charset="0"/>
            </a:endParaRPr>
          </a:p>
        </p:txBody>
      </p:sp>
      <p:sp>
        <p:nvSpPr>
          <p:cNvPr id="7" name="Textfeld 6">
            <a:extLst>
              <a:ext uri="{FF2B5EF4-FFF2-40B4-BE49-F238E27FC236}">
                <a16:creationId xmlns:a16="http://schemas.microsoft.com/office/drawing/2014/main" id="{2A99420B-8D89-0161-B6A4-F60F2D13C762}"/>
              </a:ext>
            </a:extLst>
          </p:cNvPr>
          <p:cNvSpPr txBox="1"/>
          <p:nvPr/>
        </p:nvSpPr>
        <p:spPr>
          <a:xfrm>
            <a:off x="125449" y="4764406"/>
            <a:ext cx="6659664" cy="1200329"/>
          </a:xfrm>
          <a:prstGeom prst="rect">
            <a:avLst/>
          </a:prstGeom>
          <a:noFill/>
        </p:spPr>
        <p:txBody>
          <a:bodyPr wrap="square" rtlCol="0">
            <a:spAutoFit/>
          </a:bodyPr>
          <a:lstStyle/>
          <a:p>
            <a:pPr algn="ctr" defTabSz="609585">
              <a:defRPr/>
            </a:pPr>
            <a:r>
              <a:rPr lang="en-US" sz="2400">
                <a:solidFill>
                  <a:srgbClr val="000000"/>
                </a:solidFill>
                <a:latin typeface="Poppins SemiBold" panose="02000000000000000000" pitchFamily="2" charset="0"/>
                <a:cs typeface="Poppins SemiBold" panose="02000000000000000000" pitchFamily="2" charset="0"/>
              </a:rPr>
              <a:t>FOKUS Media Web Symposium</a:t>
            </a:r>
          </a:p>
          <a:p>
            <a:pPr algn="ctr" defTabSz="609585">
              <a:defRPr/>
            </a:pPr>
            <a:r>
              <a:rPr lang="en-US" sz="2400">
                <a:solidFill>
                  <a:srgbClr val="000000"/>
                </a:solidFill>
                <a:latin typeface="Poppins SemiBold" panose="02000000000000000000" pitchFamily="2" charset="0"/>
                <a:cs typeface="Poppins SemiBold" panose="02000000000000000000" pitchFamily="2" charset="0"/>
              </a:rPr>
              <a:t>BBC’s 5G MEDIA Workshop</a:t>
            </a:r>
          </a:p>
          <a:p>
            <a:pPr algn="ctr" defTabSz="609585">
              <a:defRPr/>
            </a:pPr>
            <a:r>
              <a:rPr lang="en-US" sz="2400">
                <a:solidFill>
                  <a:srgbClr val="000000"/>
                </a:solidFill>
                <a:latin typeface="Poppins SemiBold" panose="02000000000000000000" pitchFamily="2" charset="0"/>
                <a:cs typeface="Poppins SemiBold" panose="02000000000000000000" pitchFamily="2" charset="0"/>
              </a:rPr>
              <a:t>IEEE BMSB 2023</a:t>
            </a:r>
          </a:p>
        </p:txBody>
      </p:sp>
      <p:pic>
        <p:nvPicPr>
          <p:cNvPr id="2050" name="Picture 2" descr="No hay descripción alternativa para esta imagen">
            <a:extLst>
              <a:ext uri="{FF2B5EF4-FFF2-40B4-BE49-F238E27FC236}">
                <a16:creationId xmlns:a16="http://schemas.microsoft.com/office/drawing/2014/main" id="{36FC4F9E-AD33-BD54-C1B4-5FCCE01CB5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633" y="879610"/>
            <a:ext cx="5423492" cy="305177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No hay descripción alternativa para esta imagen">
            <a:extLst>
              <a:ext uri="{FF2B5EF4-FFF2-40B4-BE49-F238E27FC236}">
                <a16:creationId xmlns:a16="http://schemas.microsoft.com/office/drawing/2014/main" id="{8EB32F28-FC38-FD79-BE0D-70D40FF86A6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922942" y="4014881"/>
            <a:ext cx="4836164" cy="2753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group of people in a room&#10;&#10;Description automatically generated">
            <a:extLst>
              <a:ext uri="{FF2B5EF4-FFF2-40B4-BE49-F238E27FC236}">
                <a16:creationId xmlns:a16="http://schemas.microsoft.com/office/drawing/2014/main" id="{CC858D84-08B7-531C-EABE-4F85ABF42389}"/>
              </a:ext>
            </a:extLst>
          </p:cNvPr>
          <p:cNvPicPr>
            <a:picLocks noChangeAspect="1"/>
          </p:cNvPicPr>
          <p:nvPr/>
        </p:nvPicPr>
        <p:blipFill rotWithShape="1">
          <a:blip r:embed="rId4"/>
          <a:srcRect l="28379" t="36747" r="4000" b="10579"/>
          <a:stretch/>
        </p:blipFill>
        <p:spPr>
          <a:xfrm>
            <a:off x="5891838" y="870788"/>
            <a:ext cx="5877869" cy="3056184"/>
          </a:xfrm>
          <a:prstGeom prst="rect">
            <a:avLst/>
          </a:prstGeom>
        </p:spPr>
      </p:pic>
    </p:spTree>
    <p:extLst>
      <p:ext uri="{BB962C8B-B14F-4D97-AF65-F5344CB8AC3E}">
        <p14:creationId xmlns:p14="http://schemas.microsoft.com/office/powerpoint/2010/main" val="16210071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A7E84CD-2034-ACE4-63D3-04C22C8FE11D}"/>
              </a:ext>
            </a:extLst>
          </p:cNvPr>
          <p:cNvSpPr>
            <a:spLocks noGrp="1"/>
          </p:cNvSpPr>
          <p:nvPr>
            <p:ph type="ftr" sz="quarter" idx="10"/>
          </p:nvPr>
        </p:nvSpPr>
        <p:spPr>
          <a:xfrm>
            <a:off x="495299" y="6534114"/>
            <a:ext cx="10489691" cy="116955"/>
          </a:xfrm>
        </p:spPr>
        <p:txBody>
          <a:bodyPr wrap="square" anchor="b">
            <a:normAutofit/>
          </a:bodyPr>
          <a:lstStyle/>
          <a:p>
            <a:r>
              <a:rPr lang="en-US" sz="700"/>
              <a:t>IBC 2023</a:t>
            </a:r>
          </a:p>
        </p:txBody>
      </p:sp>
      <p:sp>
        <p:nvSpPr>
          <p:cNvPr id="7" name="Title 6">
            <a:extLst>
              <a:ext uri="{FF2B5EF4-FFF2-40B4-BE49-F238E27FC236}">
                <a16:creationId xmlns:a16="http://schemas.microsoft.com/office/drawing/2014/main" id="{E69B89B4-8763-61FA-DD13-168DBD97E403}"/>
              </a:ext>
            </a:extLst>
          </p:cNvPr>
          <p:cNvSpPr>
            <a:spLocks noGrp="1"/>
          </p:cNvSpPr>
          <p:nvPr>
            <p:ph type="title"/>
          </p:nvPr>
        </p:nvSpPr>
        <p:spPr>
          <a:xfrm>
            <a:off x="495300" y="575576"/>
            <a:ext cx="11187112" cy="429028"/>
          </a:xfrm>
        </p:spPr>
        <p:txBody>
          <a:bodyPr wrap="square" anchor="b">
            <a:normAutofit/>
          </a:bodyPr>
          <a:lstStyle/>
          <a:p>
            <a:r>
              <a:rPr lang="de-DE" sz="3100" dirty="0"/>
              <a:t>Summary &amp; Next Steps</a:t>
            </a:r>
            <a:endParaRPr lang="en-US" sz="3100" dirty="0"/>
          </a:p>
        </p:txBody>
      </p:sp>
      <p:sp>
        <p:nvSpPr>
          <p:cNvPr id="11" name="Text Placeholder 10">
            <a:extLst>
              <a:ext uri="{FF2B5EF4-FFF2-40B4-BE49-F238E27FC236}">
                <a16:creationId xmlns:a16="http://schemas.microsoft.com/office/drawing/2014/main" id="{E2398CF6-560E-2A07-0120-0869AE393F0F}"/>
              </a:ext>
            </a:extLst>
          </p:cNvPr>
          <p:cNvSpPr>
            <a:spLocks noGrp="1"/>
          </p:cNvSpPr>
          <p:nvPr>
            <p:ph type="subTitle" idx="1"/>
          </p:nvPr>
        </p:nvSpPr>
        <p:spPr>
          <a:xfrm>
            <a:off x="494189" y="1088135"/>
            <a:ext cx="11188223" cy="274320"/>
          </a:xfrm>
        </p:spPr>
        <p:txBody>
          <a:bodyPr>
            <a:normAutofit/>
          </a:bodyPr>
          <a:lstStyle/>
          <a:p>
            <a:r>
              <a:rPr lang="de-DE" dirty="0"/>
              <a:t>Join the community of open standards, innovation and development</a:t>
            </a:r>
            <a:endParaRPr lang="en-US" dirty="0"/>
          </a:p>
        </p:txBody>
      </p:sp>
      <p:graphicFrame>
        <p:nvGraphicFramePr>
          <p:cNvPr id="13" name="Content Placeholder 9">
            <a:extLst>
              <a:ext uri="{FF2B5EF4-FFF2-40B4-BE49-F238E27FC236}">
                <a16:creationId xmlns:a16="http://schemas.microsoft.com/office/drawing/2014/main" id="{EC14AF31-EE74-8B07-7EBF-7FC86D0D142D}"/>
              </a:ext>
            </a:extLst>
          </p:cNvPr>
          <p:cNvGraphicFramePr>
            <a:graphicFrameLocks noGrp="1"/>
          </p:cNvGraphicFramePr>
          <p:nvPr>
            <p:ph sz="quarter" idx="14"/>
            <p:extLst>
              <p:ext uri="{D42A27DB-BD31-4B8C-83A1-F6EECF244321}">
                <p14:modId xmlns:p14="http://schemas.microsoft.com/office/powerpoint/2010/main" val="3935576227"/>
              </p:ext>
            </p:extLst>
          </p:nvPr>
        </p:nvGraphicFramePr>
        <p:xfrm>
          <a:off x="495300" y="1719072"/>
          <a:ext cx="11187112" cy="46817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34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42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F0F725-6173-4AED-80E6-AD7A9BC86CDC}"/>
              </a:ext>
            </a:extLst>
          </p:cNvPr>
          <p:cNvSpPr>
            <a:spLocks noGrp="1"/>
          </p:cNvSpPr>
          <p:nvPr>
            <p:ph type="title"/>
          </p:nvPr>
        </p:nvSpPr>
        <p:spPr>
          <a:xfrm>
            <a:off x="495300" y="642644"/>
            <a:ext cx="11187112" cy="361959"/>
          </a:xfrm>
        </p:spPr>
        <p:txBody>
          <a:bodyPr/>
          <a:lstStyle/>
          <a:p>
            <a:r>
              <a:rPr lang="en-US"/>
              <a:t>Background – Coexistence with other broadcast systems</a:t>
            </a:r>
          </a:p>
        </p:txBody>
      </p:sp>
      <p:sp>
        <p:nvSpPr>
          <p:cNvPr id="11" name="Content Placeholder 10">
            <a:extLst>
              <a:ext uri="{FF2B5EF4-FFF2-40B4-BE49-F238E27FC236}">
                <a16:creationId xmlns:a16="http://schemas.microsoft.com/office/drawing/2014/main" id="{5ECF620F-E60C-41DB-ACD4-D31BB4B376A1}"/>
              </a:ext>
            </a:extLst>
          </p:cNvPr>
          <p:cNvSpPr>
            <a:spLocks noGrp="1"/>
          </p:cNvSpPr>
          <p:nvPr>
            <p:ph sz="quarter" idx="14"/>
          </p:nvPr>
        </p:nvSpPr>
        <p:spPr>
          <a:xfrm>
            <a:off x="495300" y="1291906"/>
            <a:ext cx="11187112" cy="2576875"/>
          </a:xfrm>
        </p:spPr>
        <p:txBody>
          <a:bodyPr/>
          <a:lstStyle/>
          <a:p>
            <a:r>
              <a:rPr lang="en-US"/>
              <a:t>Due to FCC regulation, US broadcasters shall broadcast one </a:t>
            </a:r>
            <a:r>
              <a:rPr lang="en-US" i="1"/>
              <a:t>free to air</a:t>
            </a:r>
            <a:r>
              <a:rPr lang="en-US"/>
              <a:t> stream using ATSC 3.0 in their allocated spectrum (6 MHz carrier).</a:t>
            </a:r>
          </a:p>
          <a:p>
            <a:r>
              <a:rPr lang="en-US"/>
              <a:t>Outside of this mandatory stream, the rest of the radio resources can be used for any other purpose using any technology (“ancillary services”)</a:t>
            </a:r>
          </a:p>
          <a:p>
            <a:r>
              <a:rPr lang="en-US"/>
              <a:t>Therefore, to enable 5G Broadcast deployments in the US under current regulation, </a:t>
            </a:r>
            <a:r>
              <a:rPr lang="en-US">
                <a:solidFill>
                  <a:schemeClr val="bg2"/>
                </a:solidFill>
              </a:rPr>
              <a:t>both technologies may need to coexist in the same 6 MHz carrier.</a:t>
            </a:r>
          </a:p>
          <a:p>
            <a:pPr lvl="1"/>
            <a:r>
              <a:rPr lang="en-US"/>
              <a:t>The only feasible coexistence is by TDM</a:t>
            </a:r>
          </a:p>
        </p:txBody>
      </p:sp>
      <p:graphicFrame>
        <p:nvGraphicFramePr>
          <p:cNvPr id="2" name="Table 6">
            <a:extLst>
              <a:ext uri="{FF2B5EF4-FFF2-40B4-BE49-F238E27FC236}">
                <a16:creationId xmlns:a16="http://schemas.microsoft.com/office/drawing/2014/main" id="{FE277A9D-C557-95E2-773C-3A998B5037B2}"/>
              </a:ext>
            </a:extLst>
          </p:cNvPr>
          <p:cNvGraphicFramePr>
            <a:graphicFrameLocks noGrp="1"/>
          </p:cNvGraphicFramePr>
          <p:nvPr/>
        </p:nvGraphicFramePr>
        <p:xfrm>
          <a:off x="1823141" y="4208904"/>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ATSC 3.0</a:t>
                      </a:r>
                    </a:p>
                  </a:txBody>
                  <a:tcPr>
                    <a:solidFill>
                      <a:schemeClr val="bg2"/>
                    </a:solidFill>
                  </a:tcPr>
                </a:tc>
                <a:extLst>
                  <a:ext uri="{0D108BD9-81ED-4DB2-BD59-A6C34878D82A}">
                    <a16:rowId xmlns:a16="http://schemas.microsoft.com/office/drawing/2014/main" val="2553152952"/>
                  </a:ext>
                </a:extLst>
              </a:tr>
            </a:tbl>
          </a:graphicData>
        </a:graphic>
      </p:graphicFrame>
      <p:graphicFrame>
        <p:nvGraphicFramePr>
          <p:cNvPr id="3" name="Table 6">
            <a:extLst>
              <a:ext uri="{FF2B5EF4-FFF2-40B4-BE49-F238E27FC236}">
                <a16:creationId xmlns:a16="http://schemas.microsoft.com/office/drawing/2014/main" id="{F595A04D-588A-AC8E-BD79-0F619F8CAD15}"/>
              </a:ext>
            </a:extLst>
          </p:cNvPr>
          <p:cNvGraphicFramePr>
            <a:graphicFrameLocks noGrp="1"/>
          </p:cNvGraphicFramePr>
          <p:nvPr/>
        </p:nvGraphicFramePr>
        <p:xfrm>
          <a:off x="3906258" y="4208904"/>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5GB</a:t>
                      </a:r>
                    </a:p>
                  </a:txBody>
                  <a:tcPr>
                    <a:solidFill>
                      <a:schemeClr val="accent1"/>
                    </a:solidFill>
                  </a:tcPr>
                </a:tc>
                <a:extLst>
                  <a:ext uri="{0D108BD9-81ED-4DB2-BD59-A6C34878D82A}">
                    <a16:rowId xmlns:a16="http://schemas.microsoft.com/office/drawing/2014/main" val="2553152952"/>
                  </a:ext>
                </a:extLst>
              </a:tr>
            </a:tbl>
          </a:graphicData>
        </a:graphic>
      </p:graphicFrame>
      <p:graphicFrame>
        <p:nvGraphicFramePr>
          <p:cNvPr id="4" name="Table 6">
            <a:extLst>
              <a:ext uri="{FF2B5EF4-FFF2-40B4-BE49-F238E27FC236}">
                <a16:creationId xmlns:a16="http://schemas.microsoft.com/office/drawing/2014/main" id="{CF79F6B3-C497-9E6C-A88A-FBE0A9006815}"/>
              </a:ext>
            </a:extLst>
          </p:cNvPr>
          <p:cNvGraphicFramePr>
            <a:graphicFrameLocks noGrp="1"/>
          </p:cNvGraphicFramePr>
          <p:nvPr/>
        </p:nvGraphicFramePr>
        <p:xfrm>
          <a:off x="5989375" y="4208904"/>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ATSC 3.0</a:t>
                      </a:r>
                    </a:p>
                  </a:txBody>
                  <a:tcPr>
                    <a:solidFill>
                      <a:schemeClr val="bg2"/>
                    </a:solidFill>
                  </a:tcPr>
                </a:tc>
                <a:extLst>
                  <a:ext uri="{0D108BD9-81ED-4DB2-BD59-A6C34878D82A}">
                    <a16:rowId xmlns:a16="http://schemas.microsoft.com/office/drawing/2014/main" val="2553152952"/>
                  </a:ext>
                </a:extLst>
              </a:tr>
            </a:tbl>
          </a:graphicData>
        </a:graphic>
      </p:graphicFrame>
      <p:graphicFrame>
        <p:nvGraphicFramePr>
          <p:cNvPr id="5" name="Table 6">
            <a:extLst>
              <a:ext uri="{FF2B5EF4-FFF2-40B4-BE49-F238E27FC236}">
                <a16:creationId xmlns:a16="http://schemas.microsoft.com/office/drawing/2014/main" id="{428A9848-EA97-2896-FA0E-42C8182B2CF9}"/>
              </a:ext>
            </a:extLst>
          </p:cNvPr>
          <p:cNvGraphicFramePr>
            <a:graphicFrameLocks noGrp="1"/>
          </p:cNvGraphicFramePr>
          <p:nvPr/>
        </p:nvGraphicFramePr>
        <p:xfrm>
          <a:off x="8072492" y="4208904"/>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5GB</a:t>
                      </a:r>
                    </a:p>
                  </a:txBody>
                  <a:tcPr>
                    <a:solidFill>
                      <a:schemeClr val="accent1"/>
                    </a:solidFill>
                  </a:tcPr>
                </a:tc>
                <a:extLst>
                  <a:ext uri="{0D108BD9-81ED-4DB2-BD59-A6C34878D82A}">
                    <a16:rowId xmlns:a16="http://schemas.microsoft.com/office/drawing/2014/main" val="2553152952"/>
                  </a:ext>
                </a:extLst>
              </a:tr>
            </a:tbl>
          </a:graphicData>
        </a:graphic>
      </p:graphicFrame>
      <p:sp>
        <p:nvSpPr>
          <p:cNvPr id="6" name="TextBox 5">
            <a:extLst>
              <a:ext uri="{FF2B5EF4-FFF2-40B4-BE49-F238E27FC236}">
                <a16:creationId xmlns:a16="http://schemas.microsoft.com/office/drawing/2014/main" id="{120F4A72-6467-977F-E3A4-3EAB3D4BD26F}"/>
              </a:ext>
            </a:extLst>
          </p:cNvPr>
          <p:cNvSpPr txBox="1"/>
          <p:nvPr/>
        </p:nvSpPr>
        <p:spPr>
          <a:xfrm>
            <a:off x="416438" y="4272684"/>
            <a:ext cx="1040349"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Transmitter</a:t>
            </a:r>
          </a:p>
        </p:txBody>
      </p:sp>
      <p:sp>
        <p:nvSpPr>
          <p:cNvPr id="7" name="TextBox 6">
            <a:extLst>
              <a:ext uri="{FF2B5EF4-FFF2-40B4-BE49-F238E27FC236}">
                <a16:creationId xmlns:a16="http://schemas.microsoft.com/office/drawing/2014/main" id="{430E69B9-1C16-AB8F-4183-47ADAF90E290}"/>
              </a:ext>
            </a:extLst>
          </p:cNvPr>
          <p:cNvSpPr txBox="1"/>
          <p:nvPr/>
        </p:nvSpPr>
        <p:spPr>
          <a:xfrm>
            <a:off x="416437" y="5321307"/>
            <a:ext cx="1330492"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ATSC receiver</a:t>
            </a:r>
          </a:p>
        </p:txBody>
      </p:sp>
      <p:graphicFrame>
        <p:nvGraphicFramePr>
          <p:cNvPr id="8" name="Table 6">
            <a:extLst>
              <a:ext uri="{FF2B5EF4-FFF2-40B4-BE49-F238E27FC236}">
                <a16:creationId xmlns:a16="http://schemas.microsoft.com/office/drawing/2014/main" id="{458AC484-9D2E-1172-3695-620CF43A582D}"/>
              </a:ext>
            </a:extLst>
          </p:cNvPr>
          <p:cNvGraphicFramePr>
            <a:graphicFrameLocks noGrp="1"/>
          </p:cNvGraphicFramePr>
          <p:nvPr/>
        </p:nvGraphicFramePr>
        <p:xfrm>
          <a:off x="1823141" y="5232952"/>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ATSC 3.0</a:t>
                      </a:r>
                    </a:p>
                  </a:txBody>
                  <a:tcPr>
                    <a:solidFill>
                      <a:schemeClr val="bg2"/>
                    </a:solidFill>
                  </a:tcPr>
                </a:tc>
                <a:extLst>
                  <a:ext uri="{0D108BD9-81ED-4DB2-BD59-A6C34878D82A}">
                    <a16:rowId xmlns:a16="http://schemas.microsoft.com/office/drawing/2014/main" val="2553152952"/>
                  </a:ext>
                </a:extLst>
              </a:tr>
            </a:tbl>
          </a:graphicData>
        </a:graphic>
      </p:graphicFrame>
      <p:graphicFrame>
        <p:nvGraphicFramePr>
          <p:cNvPr id="10" name="Table 6">
            <a:extLst>
              <a:ext uri="{FF2B5EF4-FFF2-40B4-BE49-F238E27FC236}">
                <a16:creationId xmlns:a16="http://schemas.microsoft.com/office/drawing/2014/main" id="{14458062-ECEE-91ED-1C1A-9906BF219435}"/>
              </a:ext>
            </a:extLst>
          </p:cNvPr>
          <p:cNvGraphicFramePr>
            <a:graphicFrameLocks noGrp="1"/>
          </p:cNvGraphicFramePr>
          <p:nvPr/>
        </p:nvGraphicFramePr>
        <p:xfrm>
          <a:off x="3906258" y="5232952"/>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Blank</a:t>
                      </a:r>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graphicFrame>
        <p:nvGraphicFramePr>
          <p:cNvPr id="12" name="Table 6">
            <a:extLst>
              <a:ext uri="{FF2B5EF4-FFF2-40B4-BE49-F238E27FC236}">
                <a16:creationId xmlns:a16="http://schemas.microsoft.com/office/drawing/2014/main" id="{FA4FEE94-7CC9-8C56-946B-3DA2D6F76000}"/>
              </a:ext>
            </a:extLst>
          </p:cNvPr>
          <p:cNvGraphicFramePr>
            <a:graphicFrameLocks noGrp="1"/>
          </p:cNvGraphicFramePr>
          <p:nvPr/>
        </p:nvGraphicFramePr>
        <p:xfrm>
          <a:off x="5989375" y="5232952"/>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ATSC 3.0</a:t>
                      </a:r>
                    </a:p>
                  </a:txBody>
                  <a:tcPr>
                    <a:solidFill>
                      <a:schemeClr val="bg2"/>
                    </a:solidFill>
                  </a:tcPr>
                </a:tc>
                <a:extLst>
                  <a:ext uri="{0D108BD9-81ED-4DB2-BD59-A6C34878D82A}">
                    <a16:rowId xmlns:a16="http://schemas.microsoft.com/office/drawing/2014/main" val="2553152952"/>
                  </a:ext>
                </a:extLst>
              </a:tr>
            </a:tbl>
          </a:graphicData>
        </a:graphic>
      </p:graphicFrame>
      <p:graphicFrame>
        <p:nvGraphicFramePr>
          <p:cNvPr id="13" name="Table 6">
            <a:extLst>
              <a:ext uri="{FF2B5EF4-FFF2-40B4-BE49-F238E27FC236}">
                <a16:creationId xmlns:a16="http://schemas.microsoft.com/office/drawing/2014/main" id="{EDBEA968-2165-C5E2-CCA7-07464B1AC1A3}"/>
              </a:ext>
            </a:extLst>
          </p:cNvPr>
          <p:cNvGraphicFramePr>
            <a:graphicFrameLocks noGrp="1"/>
          </p:cNvGraphicFramePr>
          <p:nvPr/>
        </p:nvGraphicFramePr>
        <p:xfrm>
          <a:off x="8072492" y="5232952"/>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Blank</a:t>
                      </a:r>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graphicFrame>
        <p:nvGraphicFramePr>
          <p:cNvPr id="14" name="Table 6">
            <a:extLst>
              <a:ext uri="{FF2B5EF4-FFF2-40B4-BE49-F238E27FC236}">
                <a16:creationId xmlns:a16="http://schemas.microsoft.com/office/drawing/2014/main" id="{4F4342DA-24E2-4232-9036-B68692603CBC}"/>
              </a:ext>
            </a:extLst>
          </p:cNvPr>
          <p:cNvGraphicFramePr>
            <a:graphicFrameLocks noGrp="1"/>
          </p:cNvGraphicFramePr>
          <p:nvPr/>
        </p:nvGraphicFramePr>
        <p:xfrm>
          <a:off x="1823141" y="5861510"/>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Blank</a:t>
                      </a:r>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graphicFrame>
        <p:nvGraphicFramePr>
          <p:cNvPr id="15" name="Table 6">
            <a:extLst>
              <a:ext uri="{FF2B5EF4-FFF2-40B4-BE49-F238E27FC236}">
                <a16:creationId xmlns:a16="http://schemas.microsoft.com/office/drawing/2014/main" id="{D51C792B-9AFD-A2DA-BEBB-1B182A53D0F2}"/>
              </a:ext>
            </a:extLst>
          </p:cNvPr>
          <p:cNvGraphicFramePr>
            <a:graphicFrameLocks noGrp="1"/>
          </p:cNvGraphicFramePr>
          <p:nvPr/>
        </p:nvGraphicFramePr>
        <p:xfrm>
          <a:off x="3906258" y="5861510"/>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5GB</a:t>
                      </a:r>
                    </a:p>
                  </a:txBody>
                  <a:tcPr>
                    <a:solidFill>
                      <a:schemeClr val="accent1"/>
                    </a:solidFill>
                  </a:tcPr>
                </a:tc>
                <a:extLst>
                  <a:ext uri="{0D108BD9-81ED-4DB2-BD59-A6C34878D82A}">
                    <a16:rowId xmlns:a16="http://schemas.microsoft.com/office/drawing/2014/main" val="2553152952"/>
                  </a:ext>
                </a:extLst>
              </a:tr>
            </a:tbl>
          </a:graphicData>
        </a:graphic>
      </p:graphicFrame>
      <p:graphicFrame>
        <p:nvGraphicFramePr>
          <p:cNvPr id="16" name="Table 6">
            <a:extLst>
              <a:ext uri="{FF2B5EF4-FFF2-40B4-BE49-F238E27FC236}">
                <a16:creationId xmlns:a16="http://schemas.microsoft.com/office/drawing/2014/main" id="{725BBE35-6C2A-8250-580C-D449CA249882}"/>
              </a:ext>
            </a:extLst>
          </p:cNvPr>
          <p:cNvGraphicFramePr>
            <a:graphicFrameLocks noGrp="1"/>
          </p:cNvGraphicFramePr>
          <p:nvPr/>
        </p:nvGraphicFramePr>
        <p:xfrm>
          <a:off x="5989375" y="5861510"/>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Blank</a:t>
                      </a:r>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graphicFrame>
        <p:nvGraphicFramePr>
          <p:cNvPr id="17" name="Table 6">
            <a:extLst>
              <a:ext uri="{FF2B5EF4-FFF2-40B4-BE49-F238E27FC236}">
                <a16:creationId xmlns:a16="http://schemas.microsoft.com/office/drawing/2014/main" id="{972C7CDB-0274-33A8-DCCD-3C38966B8762}"/>
              </a:ext>
            </a:extLst>
          </p:cNvPr>
          <p:cNvGraphicFramePr>
            <a:graphicFrameLocks noGrp="1"/>
          </p:cNvGraphicFramePr>
          <p:nvPr/>
        </p:nvGraphicFramePr>
        <p:xfrm>
          <a:off x="8072492" y="5861510"/>
          <a:ext cx="2083117" cy="370840"/>
        </p:xfrm>
        <a:graphic>
          <a:graphicData uri="http://schemas.openxmlformats.org/drawingml/2006/table">
            <a:tbl>
              <a:tblPr firstRow="1" bandRow="1">
                <a:tableStyleId>{5C22544A-7EE6-4342-B048-85BDC9FD1C3A}</a:tableStyleId>
              </a:tblPr>
              <a:tblGrid>
                <a:gridCol w="2083117">
                  <a:extLst>
                    <a:ext uri="{9D8B030D-6E8A-4147-A177-3AD203B41FA5}">
                      <a16:colId xmlns:a16="http://schemas.microsoft.com/office/drawing/2014/main" val="1108404918"/>
                    </a:ext>
                  </a:extLst>
                </a:gridCol>
              </a:tblGrid>
              <a:tr h="370840">
                <a:tc>
                  <a:txBody>
                    <a:bodyPr/>
                    <a:lstStyle/>
                    <a:p>
                      <a:pPr algn="ctr"/>
                      <a:r>
                        <a:rPr lang="en-US" b="0"/>
                        <a:t>5GB</a:t>
                      </a:r>
                    </a:p>
                  </a:txBody>
                  <a:tcPr>
                    <a:solidFill>
                      <a:schemeClr val="accent1"/>
                    </a:solidFill>
                  </a:tcPr>
                </a:tc>
                <a:extLst>
                  <a:ext uri="{0D108BD9-81ED-4DB2-BD59-A6C34878D82A}">
                    <a16:rowId xmlns:a16="http://schemas.microsoft.com/office/drawing/2014/main" val="2553152952"/>
                  </a:ext>
                </a:extLst>
              </a:tr>
            </a:tbl>
          </a:graphicData>
        </a:graphic>
      </p:graphicFrame>
      <p:sp>
        <p:nvSpPr>
          <p:cNvPr id="18" name="TextBox 17">
            <a:extLst>
              <a:ext uri="{FF2B5EF4-FFF2-40B4-BE49-F238E27FC236}">
                <a16:creationId xmlns:a16="http://schemas.microsoft.com/office/drawing/2014/main" id="{7F3E1751-BFE8-A6F0-28A2-1CE8FDCDB738}"/>
              </a:ext>
            </a:extLst>
          </p:cNvPr>
          <p:cNvSpPr txBox="1"/>
          <p:nvPr/>
        </p:nvSpPr>
        <p:spPr>
          <a:xfrm>
            <a:off x="404390" y="5874252"/>
            <a:ext cx="1195840"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5GB receiver</a:t>
            </a:r>
          </a:p>
        </p:txBody>
      </p:sp>
      <p:cxnSp>
        <p:nvCxnSpPr>
          <p:cNvPr id="34" name="Straight Arrow Connector 33">
            <a:extLst>
              <a:ext uri="{FF2B5EF4-FFF2-40B4-BE49-F238E27FC236}">
                <a16:creationId xmlns:a16="http://schemas.microsoft.com/office/drawing/2014/main" id="{A7970D06-A5F3-C6F1-B598-F82A37B6138D}"/>
              </a:ext>
            </a:extLst>
          </p:cNvPr>
          <p:cNvCxnSpPr>
            <a:cxnSpLocks/>
          </p:cNvCxnSpPr>
          <p:nvPr/>
        </p:nvCxnSpPr>
        <p:spPr>
          <a:xfrm>
            <a:off x="10357392" y="4208904"/>
            <a:ext cx="0" cy="37084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
        <p:nvSpPr>
          <p:cNvPr id="37" name="TextBox 36">
            <a:extLst>
              <a:ext uri="{FF2B5EF4-FFF2-40B4-BE49-F238E27FC236}">
                <a16:creationId xmlns:a16="http://schemas.microsoft.com/office/drawing/2014/main" id="{636DDF5F-AC3F-2D96-9BEE-B6066ED608D7}"/>
              </a:ext>
            </a:extLst>
          </p:cNvPr>
          <p:cNvSpPr txBox="1"/>
          <p:nvPr/>
        </p:nvSpPr>
        <p:spPr>
          <a:xfrm>
            <a:off x="10482031" y="4305511"/>
            <a:ext cx="1173398"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6MHz carrier</a:t>
            </a:r>
          </a:p>
        </p:txBody>
      </p:sp>
      <p:sp>
        <p:nvSpPr>
          <p:cNvPr id="19" name="Footer Placeholder 18">
            <a:extLst>
              <a:ext uri="{FF2B5EF4-FFF2-40B4-BE49-F238E27FC236}">
                <a16:creationId xmlns:a16="http://schemas.microsoft.com/office/drawing/2014/main" id="{23C4CECF-9F55-D025-393A-0561D46AE918}"/>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231325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F0F725-6173-4AED-80E6-AD7A9BC86CDC}"/>
              </a:ext>
            </a:extLst>
          </p:cNvPr>
          <p:cNvSpPr>
            <a:spLocks noGrp="1"/>
          </p:cNvSpPr>
          <p:nvPr>
            <p:ph type="title"/>
          </p:nvPr>
        </p:nvSpPr>
        <p:spPr>
          <a:xfrm>
            <a:off x="495300" y="642644"/>
            <a:ext cx="11187112" cy="361959"/>
          </a:xfrm>
        </p:spPr>
        <p:txBody>
          <a:bodyPr/>
          <a:lstStyle/>
          <a:p>
            <a:r>
              <a:rPr lang="en-US"/>
              <a:t>Background - Mechanisms for coexistence</a:t>
            </a:r>
          </a:p>
        </p:txBody>
      </p:sp>
      <p:sp>
        <p:nvSpPr>
          <p:cNvPr id="11" name="Content Placeholder 10">
            <a:extLst>
              <a:ext uri="{FF2B5EF4-FFF2-40B4-BE49-F238E27FC236}">
                <a16:creationId xmlns:a16="http://schemas.microsoft.com/office/drawing/2014/main" id="{5ECF620F-E60C-41DB-ACD4-D31BB4B376A1}"/>
              </a:ext>
            </a:extLst>
          </p:cNvPr>
          <p:cNvSpPr>
            <a:spLocks noGrp="1"/>
          </p:cNvSpPr>
          <p:nvPr>
            <p:ph sz="quarter" idx="14"/>
          </p:nvPr>
        </p:nvSpPr>
        <p:spPr>
          <a:xfrm>
            <a:off x="495300" y="1291906"/>
            <a:ext cx="11187112" cy="5108894"/>
          </a:xfrm>
        </p:spPr>
        <p:txBody>
          <a:bodyPr/>
          <a:lstStyle/>
          <a:p>
            <a:r>
              <a:rPr lang="en-US" dirty="0"/>
              <a:t>Both ATSC and 5GB implement basic mechanisms for coexistence / forward compatibility:</a:t>
            </a:r>
          </a:p>
          <a:p>
            <a:r>
              <a:rPr lang="en-US" b="1" dirty="0">
                <a:solidFill>
                  <a:schemeClr val="accent1"/>
                </a:solidFill>
              </a:rPr>
              <a:t>5G Broadcast:</a:t>
            </a:r>
          </a:p>
          <a:p>
            <a:pPr lvl="1"/>
            <a:r>
              <a:rPr lang="en-US" dirty="0"/>
              <a:t>In 5GB, the only signal that is “always on” is the </a:t>
            </a:r>
            <a:r>
              <a:rPr lang="en-US" b="1" dirty="0">
                <a:solidFill>
                  <a:schemeClr val="accent1"/>
                </a:solidFill>
              </a:rPr>
              <a:t>CAS</a:t>
            </a:r>
            <a:r>
              <a:rPr lang="en-US" dirty="0"/>
              <a:t>, with a periodicity of 40ms.</a:t>
            </a:r>
          </a:p>
          <a:p>
            <a:pPr lvl="1"/>
            <a:r>
              <a:rPr lang="en-US" dirty="0"/>
              <a:t>The MBSFN subframes in between CAS can be signaled to belong to a given MBSFN area.</a:t>
            </a:r>
          </a:p>
          <a:p>
            <a:pPr lvl="1"/>
            <a:r>
              <a:rPr lang="en-US" dirty="0"/>
              <a:t>For subframes not belonging to any MBSFN area (or not scheduled), the UE cannot assume presence of any signal.</a:t>
            </a:r>
          </a:p>
          <a:p>
            <a:pPr lvl="1"/>
            <a:r>
              <a:rPr lang="en-US" dirty="0"/>
              <a:t>This mechanism was used in Rel-16 to introduce new numerologies, and in Rel-17 to introduce new PMCH bandwidth in a backward compatible way.</a:t>
            </a:r>
          </a:p>
          <a:p>
            <a:pPr lvl="1"/>
            <a:endParaRPr lang="en-US" dirty="0"/>
          </a:p>
          <a:p>
            <a:pPr lvl="1"/>
            <a:endParaRPr lang="en-US" dirty="0"/>
          </a:p>
          <a:p>
            <a:r>
              <a:rPr lang="en-US" b="1" dirty="0">
                <a:solidFill>
                  <a:schemeClr val="bg2"/>
                </a:solidFill>
              </a:rPr>
              <a:t>ATSC 3.0:</a:t>
            </a:r>
          </a:p>
          <a:p>
            <a:pPr lvl="1"/>
            <a:r>
              <a:rPr lang="en-US" dirty="0"/>
              <a:t>In ATSC 3.0, forward compatibility is created by combining the “</a:t>
            </a:r>
            <a:r>
              <a:rPr lang="en-US" b="1" dirty="0">
                <a:solidFill>
                  <a:schemeClr val="bg2"/>
                </a:solidFill>
              </a:rPr>
              <a:t>bootstrap</a:t>
            </a:r>
            <a:r>
              <a:rPr lang="en-US" dirty="0"/>
              <a:t>” signal and limited frame length.</a:t>
            </a:r>
          </a:p>
          <a:p>
            <a:pPr lvl="1"/>
            <a:r>
              <a:rPr lang="en-US" dirty="0"/>
              <a:t>The bootstrap can be seen as a sync signal (with a common structure) that can be used for future technologies</a:t>
            </a:r>
          </a:p>
          <a:p>
            <a:pPr lvl="2"/>
            <a:r>
              <a:rPr lang="en-US" sz="1400" dirty="0"/>
              <a:t>A common bootstrap signal allows for the receiver to potentially search for two technologies with the same searcher hardware.</a:t>
            </a:r>
          </a:p>
          <a:p>
            <a:pPr lvl="1"/>
            <a:r>
              <a:rPr lang="en-US" dirty="0"/>
              <a:t>The preamble after the bootstrap signal indicates the length of the frame. The bootstrap signals the minimum gap to the next bootstrap (</a:t>
            </a:r>
            <a:r>
              <a:rPr lang="en-US" dirty="0" err="1"/>
              <a:t>min_time_to_next</a:t>
            </a:r>
            <a:r>
              <a:rPr lang="en-US" dirty="0"/>
              <a:t>)</a:t>
            </a:r>
          </a:p>
        </p:txBody>
      </p:sp>
      <p:graphicFrame>
        <p:nvGraphicFramePr>
          <p:cNvPr id="18" name="Table 6">
            <a:extLst>
              <a:ext uri="{FF2B5EF4-FFF2-40B4-BE49-F238E27FC236}">
                <a16:creationId xmlns:a16="http://schemas.microsoft.com/office/drawing/2014/main" id="{81DCEC72-470B-4BE4-B99E-39D55AC4D2BA}"/>
              </a:ext>
            </a:extLst>
          </p:cNvPr>
          <p:cNvGraphicFramePr>
            <a:graphicFrameLocks noGrp="1"/>
          </p:cNvGraphicFramePr>
          <p:nvPr/>
        </p:nvGraphicFramePr>
        <p:xfrm>
          <a:off x="2153325" y="3579140"/>
          <a:ext cx="8128000" cy="370840"/>
        </p:xfrm>
        <a:graphic>
          <a:graphicData uri="http://schemas.openxmlformats.org/drawingml/2006/table">
            <a:tbl>
              <a:tblPr firstRow="1" bandRow="1">
                <a:tableStyleId>{5C22544A-7EE6-4342-B048-85BDC9FD1C3A}</a:tableStyleId>
              </a:tblPr>
              <a:tblGrid>
                <a:gridCol w="702492">
                  <a:extLst>
                    <a:ext uri="{9D8B030D-6E8A-4147-A177-3AD203B41FA5}">
                      <a16:colId xmlns:a16="http://schemas.microsoft.com/office/drawing/2014/main" val="1108404918"/>
                    </a:ext>
                  </a:extLst>
                </a:gridCol>
                <a:gridCol w="1329508">
                  <a:extLst>
                    <a:ext uri="{9D8B030D-6E8A-4147-A177-3AD203B41FA5}">
                      <a16:colId xmlns:a16="http://schemas.microsoft.com/office/drawing/2014/main" val="1431854110"/>
                    </a:ext>
                  </a:extLst>
                </a:gridCol>
                <a:gridCol w="664754">
                  <a:extLst>
                    <a:ext uri="{9D8B030D-6E8A-4147-A177-3AD203B41FA5}">
                      <a16:colId xmlns:a16="http://schemas.microsoft.com/office/drawing/2014/main" val="482222412"/>
                    </a:ext>
                  </a:extLst>
                </a:gridCol>
                <a:gridCol w="1367246">
                  <a:extLst>
                    <a:ext uri="{9D8B030D-6E8A-4147-A177-3AD203B41FA5}">
                      <a16:colId xmlns:a16="http://schemas.microsoft.com/office/drawing/2014/main" val="1423493162"/>
                    </a:ext>
                  </a:extLst>
                </a:gridCol>
                <a:gridCol w="653143">
                  <a:extLst>
                    <a:ext uri="{9D8B030D-6E8A-4147-A177-3AD203B41FA5}">
                      <a16:colId xmlns:a16="http://schemas.microsoft.com/office/drawing/2014/main" val="1323009794"/>
                    </a:ext>
                  </a:extLst>
                </a:gridCol>
                <a:gridCol w="1378857">
                  <a:extLst>
                    <a:ext uri="{9D8B030D-6E8A-4147-A177-3AD203B41FA5}">
                      <a16:colId xmlns:a16="http://schemas.microsoft.com/office/drawing/2014/main" val="2449777931"/>
                    </a:ext>
                  </a:extLst>
                </a:gridCol>
                <a:gridCol w="667657">
                  <a:extLst>
                    <a:ext uri="{9D8B030D-6E8A-4147-A177-3AD203B41FA5}">
                      <a16:colId xmlns:a16="http://schemas.microsoft.com/office/drawing/2014/main" val="383800788"/>
                    </a:ext>
                  </a:extLst>
                </a:gridCol>
                <a:gridCol w="1364343">
                  <a:extLst>
                    <a:ext uri="{9D8B030D-6E8A-4147-A177-3AD203B41FA5}">
                      <a16:colId xmlns:a16="http://schemas.microsoft.com/office/drawing/2014/main" val="1905218954"/>
                    </a:ext>
                  </a:extLst>
                </a:gridCol>
              </a:tblGrid>
              <a:tr h="370840">
                <a:tc>
                  <a:txBody>
                    <a:bodyPr/>
                    <a:lstStyle/>
                    <a:p>
                      <a:r>
                        <a:rPr lang="en-US" b="0"/>
                        <a:t>CAS</a:t>
                      </a:r>
                    </a:p>
                  </a:txBody>
                  <a:tcPr/>
                </a:tc>
                <a:tc>
                  <a:txBody>
                    <a:bodyPr/>
                    <a:lstStyle/>
                    <a:p>
                      <a:endParaRPr lang="en-US" b="0"/>
                    </a:p>
                  </a:txBody>
                  <a:tcPr>
                    <a:solidFill>
                      <a:schemeClr val="accent6">
                        <a:lumMod val="60000"/>
                        <a:lumOff val="40000"/>
                      </a:schemeClr>
                    </a:solidFill>
                  </a:tcPr>
                </a:tc>
                <a:tc>
                  <a:txBody>
                    <a:bodyPr/>
                    <a:lstStyle/>
                    <a:p>
                      <a:r>
                        <a:rPr lang="en-US" b="0"/>
                        <a:t>CAS</a:t>
                      </a:r>
                    </a:p>
                  </a:txBody>
                  <a:tcPr/>
                </a:tc>
                <a:tc>
                  <a:txBody>
                    <a:bodyPr/>
                    <a:lstStyle/>
                    <a:p>
                      <a:pPr algn="ctr"/>
                      <a:endParaRPr lang="en-US" b="0"/>
                    </a:p>
                  </a:txBody>
                  <a:tcPr>
                    <a:solidFill>
                      <a:schemeClr val="accent6">
                        <a:lumMod val="60000"/>
                        <a:lumOff val="40000"/>
                      </a:schemeClr>
                    </a:solidFill>
                  </a:tcPr>
                </a:tc>
                <a:tc>
                  <a:txBody>
                    <a:bodyPr/>
                    <a:lstStyle/>
                    <a:p>
                      <a:r>
                        <a:rPr lang="en-US" b="0"/>
                        <a:t>CAS</a:t>
                      </a:r>
                    </a:p>
                  </a:txBody>
                  <a:tcPr/>
                </a:tc>
                <a:tc>
                  <a:txBody>
                    <a:bodyPr/>
                    <a:lstStyle/>
                    <a:p>
                      <a:endParaRPr lang="en-US" b="0"/>
                    </a:p>
                  </a:txBody>
                  <a:tcPr>
                    <a:solidFill>
                      <a:schemeClr val="accent6">
                        <a:lumMod val="60000"/>
                        <a:lumOff val="40000"/>
                      </a:schemeClr>
                    </a:solidFill>
                  </a:tcPr>
                </a:tc>
                <a:tc>
                  <a:txBody>
                    <a:bodyPr/>
                    <a:lstStyle/>
                    <a:p>
                      <a:r>
                        <a:rPr lang="en-US" b="0"/>
                        <a:t>CAS</a:t>
                      </a:r>
                    </a:p>
                  </a:txBody>
                  <a:tcPr/>
                </a:tc>
                <a:tc>
                  <a:txBody>
                    <a:bodyPr/>
                    <a:lstStyle/>
                    <a:p>
                      <a:endParaRPr lang="en-US" b="0"/>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graphicFrame>
        <p:nvGraphicFramePr>
          <p:cNvPr id="19" name="Table 6">
            <a:extLst>
              <a:ext uri="{FF2B5EF4-FFF2-40B4-BE49-F238E27FC236}">
                <a16:creationId xmlns:a16="http://schemas.microsoft.com/office/drawing/2014/main" id="{34008C0B-1950-4114-9144-6E447A9E5E4D}"/>
              </a:ext>
            </a:extLst>
          </p:cNvPr>
          <p:cNvGraphicFramePr>
            <a:graphicFrameLocks noGrp="1"/>
          </p:cNvGraphicFramePr>
          <p:nvPr/>
        </p:nvGraphicFramePr>
        <p:xfrm>
          <a:off x="4064000" y="6198810"/>
          <a:ext cx="8128000" cy="370840"/>
        </p:xfrm>
        <a:graphic>
          <a:graphicData uri="http://schemas.openxmlformats.org/drawingml/2006/table">
            <a:tbl>
              <a:tblPr firstRow="1" bandRow="1">
                <a:tableStyleId>{5C22544A-7EE6-4342-B048-85BDC9FD1C3A}</a:tableStyleId>
              </a:tblPr>
              <a:tblGrid>
                <a:gridCol w="378752">
                  <a:extLst>
                    <a:ext uri="{9D8B030D-6E8A-4147-A177-3AD203B41FA5}">
                      <a16:colId xmlns:a16="http://schemas.microsoft.com/office/drawing/2014/main" val="1108404918"/>
                    </a:ext>
                  </a:extLst>
                </a:gridCol>
                <a:gridCol w="394283">
                  <a:extLst>
                    <a:ext uri="{9D8B030D-6E8A-4147-A177-3AD203B41FA5}">
                      <a16:colId xmlns:a16="http://schemas.microsoft.com/office/drawing/2014/main" val="1431854110"/>
                    </a:ext>
                  </a:extLst>
                </a:gridCol>
                <a:gridCol w="1923719">
                  <a:extLst>
                    <a:ext uri="{9D8B030D-6E8A-4147-A177-3AD203B41FA5}">
                      <a16:colId xmlns:a16="http://schemas.microsoft.com/office/drawing/2014/main" val="482222412"/>
                    </a:ext>
                  </a:extLst>
                </a:gridCol>
                <a:gridCol w="1717103">
                  <a:extLst>
                    <a:ext uri="{9D8B030D-6E8A-4147-A177-3AD203B41FA5}">
                      <a16:colId xmlns:a16="http://schemas.microsoft.com/office/drawing/2014/main" val="1423493162"/>
                    </a:ext>
                  </a:extLst>
                </a:gridCol>
                <a:gridCol w="360726">
                  <a:extLst>
                    <a:ext uri="{9D8B030D-6E8A-4147-A177-3AD203B41FA5}">
                      <a16:colId xmlns:a16="http://schemas.microsoft.com/office/drawing/2014/main" val="1323009794"/>
                    </a:ext>
                  </a:extLst>
                </a:gridCol>
                <a:gridCol w="377505">
                  <a:extLst>
                    <a:ext uri="{9D8B030D-6E8A-4147-A177-3AD203B41FA5}">
                      <a16:colId xmlns:a16="http://schemas.microsoft.com/office/drawing/2014/main" val="2449777931"/>
                    </a:ext>
                  </a:extLst>
                </a:gridCol>
                <a:gridCol w="1611569">
                  <a:extLst>
                    <a:ext uri="{9D8B030D-6E8A-4147-A177-3AD203B41FA5}">
                      <a16:colId xmlns:a16="http://schemas.microsoft.com/office/drawing/2014/main" val="383800788"/>
                    </a:ext>
                  </a:extLst>
                </a:gridCol>
                <a:gridCol w="1364343">
                  <a:extLst>
                    <a:ext uri="{9D8B030D-6E8A-4147-A177-3AD203B41FA5}">
                      <a16:colId xmlns:a16="http://schemas.microsoft.com/office/drawing/2014/main" val="1905218954"/>
                    </a:ext>
                  </a:extLst>
                </a:gridCol>
              </a:tblGrid>
              <a:tr h="370840">
                <a:tc>
                  <a:txBody>
                    <a:bodyPr/>
                    <a:lstStyle/>
                    <a:p>
                      <a:r>
                        <a:rPr lang="en-US" b="0"/>
                        <a:t>B</a:t>
                      </a:r>
                    </a:p>
                  </a:txBody>
                  <a:tcPr>
                    <a:solidFill>
                      <a:schemeClr val="bg2"/>
                    </a:solidFill>
                  </a:tcPr>
                </a:tc>
                <a:tc>
                  <a:txBody>
                    <a:bodyPr/>
                    <a:lstStyle/>
                    <a:p>
                      <a:r>
                        <a:rPr lang="en-US" b="0"/>
                        <a:t>P</a:t>
                      </a:r>
                    </a:p>
                  </a:txBody>
                  <a:tcPr>
                    <a:solidFill>
                      <a:schemeClr val="bg2"/>
                    </a:solidFill>
                  </a:tcPr>
                </a:tc>
                <a:tc>
                  <a:txBody>
                    <a:bodyPr/>
                    <a:lstStyle/>
                    <a:p>
                      <a:r>
                        <a:rPr lang="en-US" b="0"/>
                        <a:t>Subframes</a:t>
                      </a:r>
                    </a:p>
                  </a:txBody>
                  <a:tcPr>
                    <a:solidFill>
                      <a:schemeClr val="bg2"/>
                    </a:solidFill>
                  </a:tcPr>
                </a:tc>
                <a:tc>
                  <a:txBody>
                    <a:bodyPr/>
                    <a:lstStyle/>
                    <a:p>
                      <a:pPr algn="ctr"/>
                      <a:endParaRPr lang="en-US" b="0"/>
                    </a:p>
                  </a:txBody>
                  <a:tcPr>
                    <a:solidFill>
                      <a:schemeClr val="accent6">
                        <a:lumMod val="60000"/>
                        <a:lumOff val="40000"/>
                      </a:schemeClr>
                    </a:solidFill>
                  </a:tcPr>
                </a:tc>
                <a:tc>
                  <a:txBody>
                    <a:bodyPr/>
                    <a:lstStyle/>
                    <a:p>
                      <a:r>
                        <a:rPr lang="en-US" b="0"/>
                        <a:t>B</a:t>
                      </a:r>
                    </a:p>
                  </a:txBody>
                  <a:tcPr>
                    <a:solidFill>
                      <a:schemeClr val="bg2"/>
                    </a:solidFill>
                  </a:tcPr>
                </a:tc>
                <a:tc>
                  <a:txBody>
                    <a:bodyPr/>
                    <a:lstStyle/>
                    <a:p>
                      <a:r>
                        <a:rPr lang="en-US" b="0"/>
                        <a:t>P</a:t>
                      </a:r>
                    </a:p>
                  </a:txBody>
                  <a:tcPr>
                    <a:solidFill>
                      <a:schemeClr val="bg2"/>
                    </a:solidFill>
                  </a:tcPr>
                </a:tc>
                <a:tc>
                  <a:txBody>
                    <a:bodyPr/>
                    <a:lstStyle/>
                    <a:p>
                      <a:r>
                        <a:rPr lang="en-US" b="0"/>
                        <a:t>Subframes</a:t>
                      </a:r>
                    </a:p>
                  </a:txBody>
                  <a:tcPr>
                    <a:solidFill>
                      <a:schemeClr val="bg2"/>
                    </a:solidFill>
                  </a:tcPr>
                </a:tc>
                <a:tc>
                  <a:txBody>
                    <a:bodyPr/>
                    <a:lstStyle/>
                    <a:p>
                      <a:endParaRPr lang="en-US" b="0"/>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sp>
        <p:nvSpPr>
          <p:cNvPr id="2" name="Arc 1">
            <a:extLst>
              <a:ext uri="{FF2B5EF4-FFF2-40B4-BE49-F238E27FC236}">
                <a16:creationId xmlns:a16="http://schemas.microsoft.com/office/drawing/2014/main" id="{504F58F8-F2DE-45E5-A519-C426896F6C73}"/>
              </a:ext>
            </a:extLst>
          </p:cNvPr>
          <p:cNvSpPr/>
          <p:nvPr/>
        </p:nvSpPr>
        <p:spPr>
          <a:xfrm>
            <a:off x="4185325" y="5701228"/>
            <a:ext cx="4322975" cy="1199625"/>
          </a:xfrm>
          <a:prstGeom prst="arc">
            <a:avLst>
              <a:gd name="adj1" fmla="val 10991069"/>
              <a:gd name="adj2" fmla="val 21382712"/>
            </a:avLst>
          </a:prstGeom>
          <a:ln w="12700" cap="rnd">
            <a:solidFill>
              <a:schemeClr val="bg2"/>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solidFill>
              <a:effectLst/>
              <a:uLnTx/>
              <a:uFillTx/>
              <a:latin typeface="Microsoft Sans Serif"/>
              <a:ea typeface="+mn-ea"/>
              <a:cs typeface="+mn-cs"/>
            </a:endParaRPr>
          </a:p>
        </p:txBody>
      </p:sp>
      <p:cxnSp>
        <p:nvCxnSpPr>
          <p:cNvPr id="7" name="Straight Arrow Connector 6">
            <a:extLst>
              <a:ext uri="{FF2B5EF4-FFF2-40B4-BE49-F238E27FC236}">
                <a16:creationId xmlns:a16="http://schemas.microsoft.com/office/drawing/2014/main" id="{2615E8EF-6D5C-4D01-ACFD-4740FE1E0F6F}"/>
              </a:ext>
            </a:extLst>
          </p:cNvPr>
          <p:cNvCxnSpPr>
            <a:cxnSpLocks/>
          </p:cNvCxnSpPr>
          <p:nvPr/>
        </p:nvCxnSpPr>
        <p:spPr>
          <a:xfrm>
            <a:off x="6743700" y="6640245"/>
            <a:ext cx="1760518" cy="0"/>
          </a:xfrm>
          <a:prstGeom prst="straightConnector1">
            <a:avLst/>
          </a:prstGeom>
          <a:ln w="12700" cap="rnd">
            <a:solidFill>
              <a:schemeClr val="bg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3A6072B-A13E-4D18-A1CE-926AB6119C3A}"/>
              </a:ext>
            </a:extLst>
          </p:cNvPr>
          <p:cNvSpPr txBox="1"/>
          <p:nvPr/>
        </p:nvSpPr>
        <p:spPr>
          <a:xfrm>
            <a:off x="7391467" y="6648409"/>
            <a:ext cx="564257" cy="177293"/>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Variable</a:t>
            </a:r>
          </a:p>
        </p:txBody>
      </p:sp>
      <p:cxnSp>
        <p:nvCxnSpPr>
          <p:cNvPr id="25" name="Straight Arrow Connector 24">
            <a:extLst>
              <a:ext uri="{FF2B5EF4-FFF2-40B4-BE49-F238E27FC236}">
                <a16:creationId xmlns:a16="http://schemas.microsoft.com/office/drawing/2014/main" id="{1B8E9CE3-6E92-4309-B929-D7091078CAB6}"/>
              </a:ext>
            </a:extLst>
          </p:cNvPr>
          <p:cNvCxnSpPr>
            <a:cxnSpLocks/>
          </p:cNvCxnSpPr>
          <p:nvPr/>
        </p:nvCxnSpPr>
        <p:spPr>
          <a:xfrm>
            <a:off x="2836877" y="4118830"/>
            <a:ext cx="1407952" cy="0"/>
          </a:xfrm>
          <a:prstGeom prst="straightConnector1">
            <a:avLst/>
          </a:prstGeom>
          <a:ln w="12700" cap="rnd">
            <a:solidFill>
              <a:schemeClr val="accent1"/>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B2BD07F-93EF-425D-B5F4-7CF0A44FD053}"/>
              </a:ext>
            </a:extLst>
          </p:cNvPr>
          <p:cNvSpPr txBox="1"/>
          <p:nvPr/>
        </p:nvSpPr>
        <p:spPr>
          <a:xfrm>
            <a:off x="3258724" y="4126781"/>
            <a:ext cx="375103" cy="177293"/>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39ms</a:t>
            </a:r>
          </a:p>
        </p:txBody>
      </p:sp>
      <p:sp>
        <p:nvSpPr>
          <p:cNvPr id="3" name="TextBox 2">
            <a:extLst>
              <a:ext uri="{FF2B5EF4-FFF2-40B4-BE49-F238E27FC236}">
                <a16:creationId xmlns:a16="http://schemas.microsoft.com/office/drawing/2014/main" id="{44AC79F9-AC21-5671-D454-E510F9031796}"/>
              </a:ext>
            </a:extLst>
          </p:cNvPr>
          <p:cNvSpPr txBox="1"/>
          <p:nvPr/>
        </p:nvSpPr>
        <p:spPr>
          <a:xfrm>
            <a:off x="1362958" y="6489302"/>
            <a:ext cx="2366032"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Microsoft Sans Serif"/>
                <a:ea typeface="+mn-ea"/>
                <a:cs typeface="Microsoft Sans Serif" panose="020B0604020202020204" pitchFamily="34" charset="0"/>
              </a:rPr>
              <a:t>B: Bootstrap. P: Preamble</a:t>
            </a:r>
          </a:p>
        </p:txBody>
      </p:sp>
      <p:sp>
        <p:nvSpPr>
          <p:cNvPr id="4" name="Footer Placeholder 3">
            <a:extLst>
              <a:ext uri="{FF2B5EF4-FFF2-40B4-BE49-F238E27FC236}">
                <a16:creationId xmlns:a16="http://schemas.microsoft.com/office/drawing/2014/main" id="{F3003152-1B25-8774-44D5-A7C01B38FFAC}"/>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263781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F0F725-6173-4AED-80E6-AD7A9BC86CDC}"/>
              </a:ext>
            </a:extLst>
          </p:cNvPr>
          <p:cNvSpPr>
            <a:spLocks noGrp="1"/>
          </p:cNvSpPr>
          <p:nvPr>
            <p:ph type="title"/>
          </p:nvPr>
        </p:nvSpPr>
        <p:spPr>
          <a:xfrm>
            <a:off x="495300" y="642644"/>
            <a:ext cx="11187112" cy="361959"/>
          </a:xfrm>
        </p:spPr>
        <p:txBody>
          <a:bodyPr/>
          <a:lstStyle/>
          <a:p>
            <a:r>
              <a:rPr lang="en-US"/>
              <a:t>Limitations to coexistence</a:t>
            </a:r>
          </a:p>
        </p:txBody>
      </p:sp>
      <p:sp>
        <p:nvSpPr>
          <p:cNvPr id="11" name="Content Placeholder 10">
            <a:extLst>
              <a:ext uri="{FF2B5EF4-FFF2-40B4-BE49-F238E27FC236}">
                <a16:creationId xmlns:a16="http://schemas.microsoft.com/office/drawing/2014/main" id="{5ECF620F-E60C-41DB-ACD4-D31BB4B376A1}"/>
              </a:ext>
            </a:extLst>
          </p:cNvPr>
          <p:cNvSpPr>
            <a:spLocks noGrp="1"/>
          </p:cNvSpPr>
          <p:nvPr>
            <p:ph sz="quarter" idx="14"/>
          </p:nvPr>
        </p:nvSpPr>
        <p:spPr>
          <a:xfrm>
            <a:off x="495300" y="1291906"/>
            <a:ext cx="11187112" cy="1169896"/>
          </a:xfrm>
        </p:spPr>
        <p:txBody>
          <a:bodyPr/>
          <a:lstStyle/>
          <a:p>
            <a:r>
              <a:rPr lang="en-US"/>
              <a:t>Unfortunately, the approaches followed in both technologies are not compatible:</a:t>
            </a:r>
          </a:p>
          <a:p>
            <a:pPr lvl="1"/>
            <a:r>
              <a:rPr lang="en-US"/>
              <a:t>In 5GB, the CAS (1ms) is periodic with a 40ms periodicity.</a:t>
            </a:r>
          </a:p>
          <a:p>
            <a:pPr lvl="1"/>
            <a:r>
              <a:rPr lang="en-US"/>
              <a:t>In ATSC, there are no periodic signals, but every ATSC frame has a duration of at least 50ms.</a:t>
            </a:r>
          </a:p>
        </p:txBody>
      </p:sp>
      <p:graphicFrame>
        <p:nvGraphicFramePr>
          <p:cNvPr id="5" name="Table 6">
            <a:extLst>
              <a:ext uri="{FF2B5EF4-FFF2-40B4-BE49-F238E27FC236}">
                <a16:creationId xmlns:a16="http://schemas.microsoft.com/office/drawing/2014/main" id="{51DDD5D8-6CF0-4063-A75D-E34D9DFC7FF0}"/>
              </a:ext>
            </a:extLst>
          </p:cNvPr>
          <p:cNvGraphicFramePr>
            <a:graphicFrameLocks noGrp="1"/>
          </p:cNvGraphicFramePr>
          <p:nvPr/>
        </p:nvGraphicFramePr>
        <p:xfrm>
          <a:off x="3172547" y="2739338"/>
          <a:ext cx="8128000" cy="370840"/>
        </p:xfrm>
        <a:graphic>
          <a:graphicData uri="http://schemas.openxmlformats.org/drawingml/2006/table">
            <a:tbl>
              <a:tblPr firstRow="1" bandRow="1">
                <a:tableStyleId>{5C22544A-7EE6-4342-B048-85BDC9FD1C3A}</a:tableStyleId>
              </a:tblPr>
              <a:tblGrid>
                <a:gridCol w="702492">
                  <a:extLst>
                    <a:ext uri="{9D8B030D-6E8A-4147-A177-3AD203B41FA5}">
                      <a16:colId xmlns:a16="http://schemas.microsoft.com/office/drawing/2014/main" val="1108404918"/>
                    </a:ext>
                  </a:extLst>
                </a:gridCol>
                <a:gridCol w="1329508">
                  <a:extLst>
                    <a:ext uri="{9D8B030D-6E8A-4147-A177-3AD203B41FA5}">
                      <a16:colId xmlns:a16="http://schemas.microsoft.com/office/drawing/2014/main" val="1431854110"/>
                    </a:ext>
                  </a:extLst>
                </a:gridCol>
                <a:gridCol w="664754">
                  <a:extLst>
                    <a:ext uri="{9D8B030D-6E8A-4147-A177-3AD203B41FA5}">
                      <a16:colId xmlns:a16="http://schemas.microsoft.com/office/drawing/2014/main" val="482222412"/>
                    </a:ext>
                  </a:extLst>
                </a:gridCol>
                <a:gridCol w="1367246">
                  <a:extLst>
                    <a:ext uri="{9D8B030D-6E8A-4147-A177-3AD203B41FA5}">
                      <a16:colId xmlns:a16="http://schemas.microsoft.com/office/drawing/2014/main" val="1423493162"/>
                    </a:ext>
                  </a:extLst>
                </a:gridCol>
                <a:gridCol w="653143">
                  <a:extLst>
                    <a:ext uri="{9D8B030D-6E8A-4147-A177-3AD203B41FA5}">
                      <a16:colId xmlns:a16="http://schemas.microsoft.com/office/drawing/2014/main" val="1323009794"/>
                    </a:ext>
                  </a:extLst>
                </a:gridCol>
                <a:gridCol w="1378857">
                  <a:extLst>
                    <a:ext uri="{9D8B030D-6E8A-4147-A177-3AD203B41FA5}">
                      <a16:colId xmlns:a16="http://schemas.microsoft.com/office/drawing/2014/main" val="2449777931"/>
                    </a:ext>
                  </a:extLst>
                </a:gridCol>
                <a:gridCol w="667657">
                  <a:extLst>
                    <a:ext uri="{9D8B030D-6E8A-4147-A177-3AD203B41FA5}">
                      <a16:colId xmlns:a16="http://schemas.microsoft.com/office/drawing/2014/main" val="383800788"/>
                    </a:ext>
                  </a:extLst>
                </a:gridCol>
                <a:gridCol w="1364343">
                  <a:extLst>
                    <a:ext uri="{9D8B030D-6E8A-4147-A177-3AD203B41FA5}">
                      <a16:colId xmlns:a16="http://schemas.microsoft.com/office/drawing/2014/main" val="1905218954"/>
                    </a:ext>
                  </a:extLst>
                </a:gridCol>
              </a:tblGrid>
              <a:tr h="370840">
                <a:tc>
                  <a:txBody>
                    <a:bodyPr/>
                    <a:lstStyle/>
                    <a:p>
                      <a:r>
                        <a:rPr lang="en-US" b="0"/>
                        <a:t>CAS</a:t>
                      </a:r>
                    </a:p>
                  </a:txBody>
                  <a:tcPr/>
                </a:tc>
                <a:tc>
                  <a:txBody>
                    <a:bodyPr/>
                    <a:lstStyle/>
                    <a:p>
                      <a:endParaRPr lang="en-US" b="0"/>
                    </a:p>
                  </a:txBody>
                  <a:tcPr>
                    <a:solidFill>
                      <a:schemeClr val="accent6">
                        <a:lumMod val="60000"/>
                        <a:lumOff val="40000"/>
                      </a:schemeClr>
                    </a:solidFill>
                  </a:tcPr>
                </a:tc>
                <a:tc>
                  <a:txBody>
                    <a:bodyPr/>
                    <a:lstStyle/>
                    <a:p>
                      <a:r>
                        <a:rPr lang="en-US" b="0"/>
                        <a:t>CAS</a:t>
                      </a:r>
                    </a:p>
                  </a:txBody>
                  <a:tcPr/>
                </a:tc>
                <a:tc>
                  <a:txBody>
                    <a:bodyPr/>
                    <a:lstStyle/>
                    <a:p>
                      <a:pPr algn="ctr"/>
                      <a:endParaRPr lang="en-US" b="0"/>
                    </a:p>
                  </a:txBody>
                  <a:tcPr>
                    <a:solidFill>
                      <a:schemeClr val="accent6">
                        <a:lumMod val="60000"/>
                        <a:lumOff val="40000"/>
                      </a:schemeClr>
                    </a:solidFill>
                  </a:tcPr>
                </a:tc>
                <a:tc>
                  <a:txBody>
                    <a:bodyPr/>
                    <a:lstStyle/>
                    <a:p>
                      <a:r>
                        <a:rPr lang="en-US" b="0"/>
                        <a:t>CAS</a:t>
                      </a:r>
                    </a:p>
                  </a:txBody>
                  <a:tcPr/>
                </a:tc>
                <a:tc>
                  <a:txBody>
                    <a:bodyPr/>
                    <a:lstStyle/>
                    <a:p>
                      <a:endParaRPr lang="en-US" b="0"/>
                    </a:p>
                  </a:txBody>
                  <a:tcPr>
                    <a:solidFill>
                      <a:schemeClr val="accent6">
                        <a:lumMod val="60000"/>
                        <a:lumOff val="40000"/>
                      </a:schemeClr>
                    </a:solidFill>
                  </a:tcPr>
                </a:tc>
                <a:tc>
                  <a:txBody>
                    <a:bodyPr/>
                    <a:lstStyle/>
                    <a:p>
                      <a:r>
                        <a:rPr lang="en-US" b="0"/>
                        <a:t>CAS</a:t>
                      </a:r>
                    </a:p>
                  </a:txBody>
                  <a:tcPr/>
                </a:tc>
                <a:tc>
                  <a:txBody>
                    <a:bodyPr/>
                    <a:lstStyle/>
                    <a:p>
                      <a:endParaRPr lang="en-US" b="0"/>
                    </a:p>
                  </a:txBody>
                  <a:tcPr>
                    <a:solidFill>
                      <a:schemeClr val="accent6">
                        <a:lumMod val="60000"/>
                        <a:lumOff val="40000"/>
                      </a:schemeClr>
                    </a:solidFill>
                  </a:tcPr>
                </a:tc>
                <a:extLst>
                  <a:ext uri="{0D108BD9-81ED-4DB2-BD59-A6C34878D82A}">
                    <a16:rowId xmlns:a16="http://schemas.microsoft.com/office/drawing/2014/main" val="2553152952"/>
                  </a:ext>
                </a:extLst>
              </a:tr>
            </a:tbl>
          </a:graphicData>
        </a:graphic>
      </p:graphicFrame>
      <p:cxnSp>
        <p:nvCxnSpPr>
          <p:cNvPr id="6" name="Straight Arrow Connector 5">
            <a:extLst>
              <a:ext uri="{FF2B5EF4-FFF2-40B4-BE49-F238E27FC236}">
                <a16:creationId xmlns:a16="http://schemas.microsoft.com/office/drawing/2014/main" id="{750A9D48-5997-4AD8-9C39-451B592E08E1}"/>
              </a:ext>
            </a:extLst>
          </p:cNvPr>
          <p:cNvCxnSpPr>
            <a:cxnSpLocks/>
          </p:cNvCxnSpPr>
          <p:nvPr/>
        </p:nvCxnSpPr>
        <p:spPr>
          <a:xfrm>
            <a:off x="3172547" y="3281375"/>
            <a:ext cx="683622" cy="0"/>
          </a:xfrm>
          <a:prstGeom prst="straightConnector1">
            <a:avLst/>
          </a:prstGeom>
          <a:ln w="12700" cap="rnd">
            <a:solidFill>
              <a:schemeClr val="tx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71DA847-6C8B-41A6-B2E4-AD1BB8A88F20}"/>
              </a:ext>
            </a:extLst>
          </p:cNvPr>
          <p:cNvSpPr txBox="1"/>
          <p:nvPr/>
        </p:nvSpPr>
        <p:spPr>
          <a:xfrm>
            <a:off x="3320394" y="3306854"/>
            <a:ext cx="387927"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1ms</a:t>
            </a:r>
          </a:p>
        </p:txBody>
      </p:sp>
      <p:cxnSp>
        <p:nvCxnSpPr>
          <p:cNvPr id="10" name="Straight Arrow Connector 9">
            <a:extLst>
              <a:ext uri="{FF2B5EF4-FFF2-40B4-BE49-F238E27FC236}">
                <a16:creationId xmlns:a16="http://schemas.microsoft.com/office/drawing/2014/main" id="{1F10ABA0-5C2E-4E2A-A472-0B56264CDDE2}"/>
              </a:ext>
            </a:extLst>
          </p:cNvPr>
          <p:cNvCxnSpPr>
            <a:cxnSpLocks/>
          </p:cNvCxnSpPr>
          <p:nvPr/>
        </p:nvCxnSpPr>
        <p:spPr>
          <a:xfrm flipV="1">
            <a:off x="3856169" y="3281375"/>
            <a:ext cx="1385476" cy="38"/>
          </a:xfrm>
          <a:prstGeom prst="straightConnector1">
            <a:avLst/>
          </a:prstGeom>
          <a:ln w="12700" cap="rnd">
            <a:solidFill>
              <a:schemeClr val="tx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D1E59C6-9DE0-4B39-85A2-0FC722E34567}"/>
              </a:ext>
            </a:extLst>
          </p:cNvPr>
          <p:cNvSpPr txBox="1"/>
          <p:nvPr/>
        </p:nvSpPr>
        <p:spPr>
          <a:xfrm>
            <a:off x="4298037" y="3350064"/>
            <a:ext cx="501740"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39ms</a:t>
            </a:r>
          </a:p>
        </p:txBody>
      </p:sp>
      <p:sp>
        <p:nvSpPr>
          <p:cNvPr id="8" name="TextBox 7">
            <a:extLst>
              <a:ext uri="{FF2B5EF4-FFF2-40B4-BE49-F238E27FC236}">
                <a16:creationId xmlns:a16="http://schemas.microsoft.com/office/drawing/2014/main" id="{73E066C1-F123-41F8-970A-C278194D7E7D}"/>
              </a:ext>
            </a:extLst>
          </p:cNvPr>
          <p:cNvSpPr txBox="1"/>
          <p:nvPr/>
        </p:nvSpPr>
        <p:spPr>
          <a:xfrm>
            <a:off x="1396728" y="2806585"/>
            <a:ext cx="410369"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5GB</a:t>
            </a:r>
          </a:p>
        </p:txBody>
      </p:sp>
      <p:graphicFrame>
        <p:nvGraphicFramePr>
          <p:cNvPr id="13" name="Table 6">
            <a:extLst>
              <a:ext uri="{FF2B5EF4-FFF2-40B4-BE49-F238E27FC236}">
                <a16:creationId xmlns:a16="http://schemas.microsoft.com/office/drawing/2014/main" id="{628F80C9-1C98-4E80-A63D-A6A2EF1AF769}"/>
              </a:ext>
            </a:extLst>
          </p:cNvPr>
          <p:cNvGraphicFramePr>
            <a:graphicFrameLocks noGrp="1"/>
          </p:cNvGraphicFramePr>
          <p:nvPr/>
        </p:nvGraphicFramePr>
        <p:xfrm>
          <a:off x="5110403" y="3781370"/>
          <a:ext cx="3470059" cy="370840"/>
        </p:xfrm>
        <a:graphic>
          <a:graphicData uri="http://schemas.openxmlformats.org/drawingml/2006/table">
            <a:tbl>
              <a:tblPr firstRow="1" bandRow="1">
                <a:tableStyleId>{5C22544A-7EE6-4342-B048-85BDC9FD1C3A}</a:tableStyleId>
              </a:tblPr>
              <a:tblGrid>
                <a:gridCol w="3470059">
                  <a:extLst>
                    <a:ext uri="{9D8B030D-6E8A-4147-A177-3AD203B41FA5}">
                      <a16:colId xmlns:a16="http://schemas.microsoft.com/office/drawing/2014/main" val="1108404918"/>
                    </a:ext>
                  </a:extLst>
                </a:gridCol>
              </a:tblGrid>
              <a:tr h="370840">
                <a:tc>
                  <a:txBody>
                    <a:bodyPr/>
                    <a:lstStyle/>
                    <a:p>
                      <a:pPr algn="ctr"/>
                      <a:r>
                        <a:rPr lang="en-US" b="0"/>
                        <a:t>ATSC frame</a:t>
                      </a:r>
                    </a:p>
                  </a:txBody>
                  <a:tcPr>
                    <a:solidFill>
                      <a:schemeClr val="bg2"/>
                    </a:solidFill>
                  </a:tcPr>
                </a:tc>
                <a:extLst>
                  <a:ext uri="{0D108BD9-81ED-4DB2-BD59-A6C34878D82A}">
                    <a16:rowId xmlns:a16="http://schemas.microsoft.com/office/drawing/2014/main" val="2553152952"/>
                  </a:ext>
                </a:extLst>
              </a:tr>
            </a:tbl>
          </a:graphicData>
        </a:graphic>
      </p:graphicFrame>
      <p:cxnSp>
        <p:nvCxnSpPr>
          <p:cNvPr id="16" name="Straight Arrow Connector 15">
            <a:extLst>
              <a:ext uri="{FF2B5EF4-FFF2-40B4-BE49-F238E27FC236}">
                <a16:creationId xmlns:a16="http://schemas.microsoft.com/office/drawing/2014/main" id="{FF85B74D-596D-424C-B6D2-FC43894B8B14}"/>
              </a:ext>
            </a:extLst>
          </p:cNvPr>
          <p:cNvCxnSpPr>
            <a:cxnSpLocks/>
          </p:cNvCxnSpPr>
          <p:nvPr/>
        </p:nvCxnSpPr>
        <p:spPr>
          <a:xfrm>
            <a:off x="5110404" y="4331427"/>
            <a:ext cx="3470059" cy="0"/>
          </a:xfrm>
          <a:prstGeom prst="straightConnector1">
            <a:avLst/>
          </a:prstGeom>
          <a:ln w="12700" cap="rnd">
            <a:solidFill>
              <a:schemeClr val="tx2"/>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A14023-9CAC-4A9C-A11C-3D091CA7B58B}"/>
              </a:ext>
            </a:extLst>
          </p:cNvPr>
          <p:cNvSpPr txBox="1"/>
          <p:nvPr/>
        </p:nvSpPr>
        <p:spPr>
          <a:xfrm>
            <a:off x="6449659" y="4392471"/>
            <a:ext cx="955017" cy="236347"/>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0B2742"/>
                </a:solidFill>
                <a:effectLst/>
                <a:uLnTx/>
                <a:uFillTx/>
                <a:latin typeface="Microsoft Sans Serif"/>
                <a:ea typeface="+mn-ea"/>
                <a:cs typeface="Microsoft Sans Serif" panose="020B0604020202020204" pitchFamily="34" charset="0"/>
              </a:rPr>
              <a:t>&gt;=50ms</a:t>
            </a:r>
          </a:p>
        </p:txBody>
      </p:sp>
      <p:cxnSp>
        <p:nvCxnSpPr>
          <p:cNvPr id="22" name="Straight Arrow Connector 21">
            <a:extLst>
              <a:ext uri="{FF2B5EF4-FFF2-40B4-BE49-F238E27FC236}">
                <a16:creationId xmlns:a16="http://schemas.microsoft.com/office/drawing/2014/main" id="{4F0A22E4-FCF8-4917-8CEB-97F3580B07C4}"/>
              </a:ext>
            </a:extLst>
          </p:cNvPr>
          <p:cNvCxnSpPr>
            <a:cxnSpLocks/>
          </p:cNvCxnSpPr>
          <p:nvPr/>
        </p:nvCxnSpPr>
        <p:spPr>
          <a:xfrm flipH="1" flipV="1">
            <a:off x="6458048" y="3212081"/>
            <a:ext cx="145446" cy="531083"/>
          </a:xfrm>
          <a:prstGeom prst="straightConnector1">
            <a:avLst/>
          </a:prstGeom>
          <a:ln w="12700" cap="rnd">
            <a:solidFill>
              <a:schemeClr val="bg2"/>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E43B33C-66CD-49B1-9BBB-61C89F807F1C}"/>
              </a:ext>
            </a:extLst>
          </p:cNvPr>
          <p:cNvSpPr txBox="1"/>
          <p:nvPr/>
        </p:nvSpPr>
        <p:spPr>
          <a:xfrm>
            <a:off x="6747202" y="3209427"/>
            <a:ext cx="3308685" cy="472694"/>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Cannot fit ATSC frame within the 39 “blank” milliseconds of 5GB</a:t>
            </a:r>
          </a:p>
        </p:txBody>
      </p:sp>
      <p:sp>
        <p:nvSpPr>
          <p:cNvPr id="24" name="TextBox 23">
            <a:extLst>
              <a:ext uri="{FF2B5EF4-FFF2-40B4-BE49-F238E27FC236}">
                <a16:creationId xmlns:a16="http://schemas.microsoft.com/office/drawing/2014/main" id="{12EF1BA2-E2DF-43AD-A92F-38D808248ED5}"/>
              </a:ext>
            </a:extLst>
          </p:cNvPr>
          <p:cNvSpPr txBox="1"/>
          <p:nvPr/>
        </p:nvSpPr>
        <p:spPr>
          <a:xfrm>
            <a:off x="1396728" y="3848616"/>
            <a:ext cx="886461"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1" i="0" u="none" strike="noStrike" kern="1200" cap="none" spc="0" normalizeH="0" baseline="0" noProof="0">
                <a:ln>
                  <a:noFill/>
                </a:ln>
                <a:solidFill>
                  <a:srgbClr val="E71324"/>
                </a:solidFill>
                <a:effectLst/>
                <a:uLnTx/>
                <a:uFillTx/>
                <a:latin typeface="Microsoft Sans Serif"/>
                <a:ea typeface="+mn-ea"/>
                <a:cs typeface="Microsoft Sans Serif" panose="020B0604020202020204" pitchFamily="34" charset="0"/>
              </a:rPr>
              <a:t>ATSC 3.0</a:t>
            </a:r>
          </a:p>
        </p:txBody>
      </p:sp>
      <p:pic>
        <p:nvPicPr>
          <p:cNvPr id="26" name="Content Placeholder 6">
            <a:extLst>
              <a:ext uri="{FF2B5EF4-FFF2-40B4-BE49-F238E27FC236}">
                <a16:creationId xmlns:a16="http://schemas.microsoft.com/office/drawing/2014/main" id="{CF75244B-FE02-4E3A-9F35-F19F85587CA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92170" y="4888925"/>
            <a:ext cx="4690057" cy="1737360"/>
          </a:xfrm>
          <a:prstGeom prst="rect">
            <a:avLst/>
          </a:prstGeom>
        </p:spPr>
      </p:pic>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AB091E15-0F83-4A5E-8176-7C40A0DEB53A}"/>
                  </a:ext>
                </a:extLst>
              </p:cNvPr>
              <p:cNvSpPr txBox="1"/>
              <p:nvPr/>
            </p:nvSpPr>
            <p:spPr>
              <a:xfrm>
                <a:off x="4827796" y="5319683"/>
                <a:ext cx="6094602" cy="1015663"/>
              </a:xfrm>
              <a:prstGeom prst="rect">
                <a:avLst/>
              </a:prstGeom>
              <a:noFill/>
            </p:spPr>
            <p:txBody>
              <a:bodyPr wrap="square">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Bootstrap”: </a:t>
                </a:r>
                <a14:m>
                  <m:oMath xmlns:m="http://schemas.openxmlformats.org/officeDocument/2006/math">
                    <m: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m:t>
                    </m:r>
                  </m:oMath>
                </a14:m>
                <a:r>
                  <a:rPr kumimoji="0" lang="en-US" sz="1200" b="0" i="0" u="none" strike="noStrike" kern="1200" cap="none" spc="0" normalizeH="0" baseline="0" noProof="0">
                    <a:ln>
                      <a:noFill/>
                    </a:ln>
                    <a:solidFill>
                      <a:srgbClr val="13161E"/>
                    </a:solidFill>
                    <a:effectLst/>
                    <a:uLnTx/>
                    <a:uFillTx/>
                    <a:latin typeface="Microsoft Sans Serif"/>
                    <a:ea typeface="+mn-ea"/>
                    <a:cs typeface="+mn-cs"/>
                  </a:rPr>
                  <a:t> 2 </a:t>
                </a:r>
                <a:r>
                  <a:rPr kumimoji="0" lang="en-US" sz="1200" b="0" i="0" u="none" strike="noStrike" kern="1200" cap="none" spc="0" normalizeH="0" baseline="0" noProof="0" err="1">
                    <a:ln>
                      <a:noFill/>
                    </a:ln>
                    <a:solidFill>
                      <a:srgbClr val="13161E"/>
                    </a:solidFill>
                    <a:effectLst/>
                    <a:uLnTx/>
                    <a:uFillTx/>
                    <a:latin typeface="Microsoft Sans Serif"/>
                    <a:ea typeface="+mn-ea"/>
                    <a:cs typeface="+mn-cs"/>
                  </a:rPr>
                  <a:t>ms</a:t>
                </a:r>
                <a:r>
                  <a:rPr kumimoji="0" lang="en-US" sz="1200" b="0" i="0" u="none" strike="noStrike" kern="1200" cap="none" spc="0" normalizeH="0" baseline="0" noProof="0">
                    <a:ln>
                      <a:noFill/>
                    </a:ln>
                    <a:solidFill>
                      <a:srgbClr val="13161E"/>
                    </a:solidFill>
                    <a:effectLst/>
                    <a:uLnTx/>
                    <a:uFillTx/>
                    <a:latin typeface="Microsoft Sans Serif"/>
                    <a:ea typeface="+mn-ea"/>
                    <a:cs typeface="+mn-cs"/>
                  </a:rPr>
                  <a:t> with configurable periodicity between 50 </a:t>
                </a:r>
                <a:r>
                  <a:rPr kumimoji="0" lang="en-US" sz="1200" b="0" i="0" u="none" strike="noStrike" kern="1200" cap="none" spc="0" normalizeH="0" baseline="0" noProof="0" err="1">
                    <a:ln>
                      <a:noFill/>
                    </a:ln>
                    <a:solidFill>
                      <a:srgbClr val="13161E"/>
                    </a:solidFill>
                    <a:effectLst/>
                    <a:uLnTx/>
                    <a:uFillTx/>
                    <a:latin typeface="Microsoft Sans Serif"/>
                    <a:ea typeface="+mn-ea"/>
                    <a:cs typeface="+mn-cs"/>
                  </a:rPr>
                  <a:t>ms</a:t>
                </a:r>
                <a:r>
                  <a:rPr kumimoji="0" lang="en-US" sz="1200" b="0" i="0" u="none" strike="noStrike" kern="1200" cap="none" spc="0" normalizeH="0" baseline="0" noProof="0">
                    <a:ln>
                      <a:noFill/>
                    </a:ln>
                    <a:solidFill>
                      <a:srgbClr val="13161E"/>
                    </a:solidFill>
                    <a:effectLst/>
                    <a:uLnTx/>
                    <a:uFillTx/>
                    <a:latin typeface="Microsoft Sans Serif"/>
                    <a:ea typeface="+mn-ea"/>
                    <a:cs typeface="+mn-cs"/>
                  </a:rPr>
                  <a:t> and 5 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Preamble”: </a:t>
                </a:r>
                <a14:m>
                  <m:oMath xmlns:m="http://schemas.openxmlformats.org/officeDocument/2006/math">
                    <m: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m:t>
                    </m:r>
                  </m:oMath>
                </a14:m>
                <a:r>
                  <a:rPr kumimoji="0" lang="en-US" sz="1200" b="0" i="0" u="none" strike="noStrike" kern="1200" cap="none" spc="0" normalizeH="0" baseline="0" noProof="0">
                    <a:ln>
                      <a:noFill/>
                    </a:ln>
                    <a:solidFill>
                      <a:srgbClr val="13161E"/>
                    </a:solidFill>
                    <a:effectLst/>
                    <a:uLnTx/>
                    <a:uFillTx/>
                    <a:latin typeface="Microsoft Sans Serif"/>
                    <a:ea typeface="+mn-ea"/>
                    <a:cs typeface="+mn-cs"/>
                  </a:rPr>
                  <a:t> 1.2 </a:t>
                </a:r>
                <a:r>
                  <a:rPr kumimoji="0" lang="en-US" sz="1200" b="0" i="0" u="none" strike="noStrike" kern="1200" cap="none" spc="0" normalizeH="0" baseline="0" noProof="0" err="1">
                    <a:ln>
                      <a:noFill/>
                    </a:ln>
                    <a:solidFill>
                      <a:srgbClr val="13161E"/>
                    </a:solidFill>
                    <a:effectLst/>
                    <a:uLnTx/>
                    <a:uFillTx/>
                    <a:latin typeface="Microsoft Sans Serif"/>
                    <a:ea typeface="+mn-ea"/>
                    <a:cs typeface="+mn-cs"/>
                  </a:rPr>
                  <a:t>ms</a:t>
                </a:r>
                <a:r>
                  <a:rPr kumimoji="0" lang="en-US" sz="1200" b="0" i="0" u="none" strike="noStrike" kern="1200" cap="none" spc="0" normalizeH="0" baseline="0" noProof="0">
                    <a:ln>
                      <a:noFill/>
                    </a:ln>
                    <a:solidFill>
                      <a:srgbClr val="13161E"/>
                    </a:solidFill>
                    <a:effectLst/>
                    <a:uLnTx/>
                    <a:uFillTx/>
                    <a:latin typeface="Microsoft Sans Serif"/>
                    <a:ea typeface="+mn-ea"/>
                    <a:cs typeface="+mn-cs"/>
                  </a:rPr>
                  <a:t> (assuming a single preamble OFDM symbol with shortest numerolog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Data subframes”: </a:t>
                </a:r>
                <a14:m>
                  <m:oMath xmlns:m="http://schemas.openxmlformats.org/officeDocument/2006/math">
                    <m: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m:t>
                    </m:r>
                  </m:oMath>
                </a14:m>
                <a:r>
                  <a:rPr kumimoji="0" lang="en-US" sz="1200" b="0" i="0" u="none" strike="noStrike" kern="1200" cap="none" spc="0" normalizeH="0" baseline="0" noProof="0">
                    <a:ln>
                      <a:noFill/>
                    </a:ln>
                    <a:solidFill>
                      <a:srgbClr val="13161E"/>
                    </a:solidFill>
                    <a:effectLst/>
                    <a:uLnTx/>
                    <a:uFillTx/>
                    <a:latin typeface="Microsoft Sans Serif"/>
                    <a:ea typeface="+mn-ea"/>
                    <a:cs typeface="+mn-cs"/>
                  </a:rPr>
                  <a:t> 20 </a:t>
                </a:r>
                <a:r>
                  <a:rPr kumimoji="0" lang="en-US" sz="1200" b="0" i="0" u="none" strike="noStrike" kern="1200" cap="none" spc="0" normalizeH="0" baseline="0" noProof="0" err="1">
                    <a:ln>
                      <a:noFill/>
                    </a:ln>
                    <a:solidFill>
                      <a:srgbClr val="13161E"/>
                    </a:solidFill>
                    <a:effectLst/>
                    <a:uLnTx/>
                    <a:uFillTx/>
                    <a:latin typeface="Microsoft Sans Serif"/>
                    <a:ea typeface="+mn-ea"/>
                    <a:cs typeface="+mn-cs"/>
                  </a:rPr>
                  <a:t>ms</a:t>
                </a:r>
                <a:r>
                  <a:rPr kumimoji="0" lang="en-US" sz="1200" b="0" i="0" u="none" strike="noStrike" kern="1200" cap="none" spc="0" normalizeH="0" baseline="0" noProof="0">
                    <a:ln>
                      <a:noFill/>
                    </a:ln>
                    <a:solidFill>
                      <a:srgbClr val="13161E"/>
                    </a:solidFill>
                    <a:effectLst/>
                    <a:uLnTx/>
                    <a:uFillTx/>
                    <a:latin typeface="Microsoft Sans Serif"/>
                    <a:ea typeface="+mn-ea"/>
                    <a:cs typeface="+mn-cs"/>
                  </a:rPr>
                  <a:t>/subfram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3161E"/>
                    </a:solidFill>
                    <a:effectLst/>
                    <a:uLnTx/>
                    <a:uFillTx/>
                    <a:latin typeface="Microsoft Sans Serif"/>
                    <a:ea typeface="+mn-ea"/>
                    <a:cs typeface="+mn-cs"/>
                  </a:rPr>
                  <a:t>“Frame”: </a:t>
                </a:r>
                <a14:m>
                  <m:oMath xmlns:m="http://schemas.openxmlformats.org/officeDocument/2006/math">
                    <m:r>
                      <a:rPr kumimoji="0" lang="en-US" sz="1200" b="0" i="1" u="none" strike="noStrike" kern="1200" cap="none" spc="0" normalizeH="0" baseline="0" noProof="0" smtClean="0">
                        <a:ln>
                          <a:noFill/>
                        </a:ln>
                        <a:solidFill>
                          <a:srgbClr val="13161E"/>
                        </a:solidFill>
                        <a:effectLst/>
                        <a:uLnTx/>
                        <a:uFillTx/>
                        <a:latin typeface="Cambria Math" panose="02040503050406030204" pitchFamily="18" charset="0"/>
                        <a:ea typeface="+mn-ea"/>
                        <a:cs typeface="+mn-cs"/>
                      </a:rPr>
                      <m:t>≥</m:t>
                    </m:r>
                  </m:oMath>
                </a14:m>
                <a:r>
                  <a:rPr kumimoji="0" lang="en-US" sz="1200" b="0" i="0" u="none" strike="noStrike" kern="1200" cap="none" spc="0" normalizeH="0" baseline="0" noProof="0">
                    <a:ln>
                      <a:noFill/>
                    </a:ln>
                    <a:solidFill>
                      <a:srgbClr val="13161E"/>
                    </a:solidFill>
                    <a:effectLst/>
                    <a:uLnTx/>
                    <a:uFillTx/>
                    <a:latin typeface="Microsoft Sans Serif"/>
                    <a:ea typeface="+mn-ea"/>
                    <a:cs typeface="+mn-cs"/>
                  </a:rPr>
                  <a:t> 50ms</a:t>
                </a:r>
              </a:p>
            </p:txBody>
          </p:sp>
        </mc:Choice>
        <mc:Fallback xmlns="">
          <p:sp>
            <p:nvSpPr>
              <p:cNvPr id="28" name="TextBox 27">
                <a:extLst>
                  <a:ext uri="{FF2B5EF4-FFF2-40B4-BE49-F238E27FC236}">
                    <a16:creationId xmlns:a16="http://schemas.microsoft.com/office/drawing/2014/main" id="{AB091E15-0F83-4A5E-8176-7C40A0DEB53A}"/>
                  </a:ext>
                </a:extLst>
              </p:cNvPr>
              <p:cNvSpPr txBox="1">
                <a:spLocks noRot="1" noChangeAspect="1" noMove="1" noResize="1" noEditPoints="1" noAdjustHandles="1" noChangeArrowheads="1" noChangeShapeType="1" noTextEdit="1"/>
              </p:cNvSpPr>
              <p:nvPr/>
            </p:nvSpPr>
            <p:spPr>
              <a:xfrm>
                <a:off x="4827796" y="5319683"/>
                <a:ext cx="6094602" cy="1015663"/>
              </a:xfrm>
              <a:prstGeom prst="rect">
                <a:avLst/>
              </a:prstGeom>
              <a:blipFill>
                <a:blip r:embed="rId3"/>
                <a:stretch>
                  <a:fillRect t="-1205" b="-3614"/>
                </a:stretch>
              </a:blipFill>
            </p:spPr>
            <p:txBody>
              <a:bodyPr/>
              <a:lstStyle/>
              <a:p>
                <a:r>
                  <a:rPr lang="en-US">
                    <a:noFill/>
                  </a:rPr>
                  <a:t> </a:t>
                </a:r>
              </a:p>
            </p:txBody>
          </p:sp>
        </mc:Fallback>
      </mc:AlternateContent>
      <p:sp>
        <p:nvSpPr>
          <p:cNvPr id="2" name="TextBox 1">
            <a:extLst>
              <a:ext uri="{FF2B5EF4-FFF2-40B4-BE49-F238E27FC236}">
                <a16:creationId xmlns:a16="http://schemas.microsoft.com/office/drawing/2014/main" id="{ABB3DB80-C537-7C41-4EA7-F785E68FF85B}"/>
              </a:ext>
            </a:extLst>
          </p:cNvPr>
          <p:cNvSpPr txBox="1"/>
          <p:nvPr/>
        </p:nvSpPr>
        <p:spPr>
          <a:xfrm>
            <a:off x="176003" y="4752722"/>
            <a:ext cx="3144391" cy="177293"/>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Microsoft Sans Serif"/>
                <a:ea typeface="+mn-ea"/>
                <a:cs typeface="Microsoft Sans Serif" panose="020B0604020202020204" pitchFamily="34" charset="0"/>
              </a:rPr>
              <a:t>ATSC 3.0 frame structure (from A/322)</a:t>
            </a:r>
          </a:p>
        </p:txBody>
      </p:sp>
      <p:sp>
        <p:nvSpPr>
          <p:cNvPr id="3" name="Footer Placeholder 2">
            <a:extLst>
              <a:ext uri="{FF2B5EF4-FFF2-40B4-BE49-F238E27FC236}">
                <a16:creationId xmlns:a16="http://schemas.microsoft.com/office/drawing/2014/main" id="{4524EB02-F85C-6D9B-08AE-EC4E4A8DE7DC}"/>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233079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Challenges for Broadcasters: Devices, Formats, Users</a:t>
            </a:r>
          </a:p>
        </p:txBody>
      </p:sp>
      <p:sp>
        <p:nvSpPr>
          <p:cNvPr id="25" name="Oval 24">
            <a:extLst>
              <a:ext uri="{FF2B5EF4-FFF2-40B4-BE49-F238E27FC236}">
                <a16:creationId xmlns:a16="http://schemas.microsoft.com/office/drawing/2014/main" id="{E22D8715-41A6-424D-8366-5034D5D54314}"/>
              </a:ext>
            </a:extLst>
          </p:cNvPr>
          <p:cNvSpPr/>
          <p:nvPr/>
        </p:nvSpPr>
        <p:spPr>
          <a:xfrm>
            <a:off x="819490" y="3485466"/>
            <a:ext cx="1986374" cy="95430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de-DE" sz="1600" dirty="0"/>
              <a:t>Broadcasters</a:t>
            </a:r>
          </a:p>
          <a:p>
            <a:pPr algn="ctr"/>
            <a:r>
              <a:rPr lang="de-DE" sz="1600" dirty="0"/>
              <a:t> and Content Provider</a:t>
            </a:r>
          </a:p>
        </p:txBody>
      </p:sp>
      <p:grpSp>
        <p:nvGrpSpPr>
          <p:cNvPr id="35" name="Group 4">
            <a:extLst>
              <a:ext uri="{FF2B5EF4-FFF2-40B4-BE49-F238E27FC236}">
                <a16:creationId xmlns:a16="http://schemas.microsoft.com/office/drawing/2014/main" id="{3FDC9D93-6894-47CA-8913-AFD27A842EE5}"/>
              </a:ext>
            </a:extLst>
          </p:cNvPr>
          <p:cNvGrpSpPr>
            <a:grpSpLocks noChangeAspect="1"/>
          </p:cNvGrpSpPr>
          <p:nvPr/>
        </p:nvGrpSpPr>
        <p:grpSpPr bwMode="auto">
          <a:xfrm>
            <a:off x="7895734" y="2235774"/>
            <a:ext cx="1377390" cy="878094"/>
            <a:chOff x="942" y="1778"/>
            <a:chExt cx="2149" cy="1370"/>
          </a:xfrm>
          <a:solidFill>
            <a:srgbClr val="3253DC"/>
          </a:solidFill>
        </p:grpSpPr>
        <p:sp>
          <p:nvSpPr>
            <p:cNvPr id="38" name="Freeform 5">
              <a:extLst>
                <a:ext uri="{FF2B5EF4-FFF2-40B4-BE49-F238E27FC236}">
                  <a16:creationId xmlns:a16="http://schemas.microsoft.com/office/drawing/2014/main" id="{4E57B985-C910-4D11-9F94-C2AE3C52E12F}"/>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sp>
          <p:nvSpPr>
            <p:cNvPr id="39" name="Freeform 6">
              <a:extLst>
                <a:ext uri="{FF2B5EF4-FFF2-40B4-BE49-F238E27FC236}">
                  <a16:creationId xmlns:a16="http://schemas.microsoft.com/office/drawing/2014/main" id="{2DB8066F-09F8-41A1-A0C3-8C3834D6929D}"/>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a:ea typeface="+mn-ea"/>
                <a:cs typeface="+mn-cs"/>
              </a:endParaRPr>
            </a:p>
          </p:txBody>
        </p:sp>
      </p:grpSp>
      <p:grpSp>
        <p:nvGrpSpPr>
          <p:cNvPr id="47" name="Group 46">
            <a:extLst>
              <a:ext uri="{FF2B5EF4-FFF2-40B4-BE49-F238E27FC236}">
                <a16:creationId xmlns:a16="http://schemas.microsoft.com/office/drawing/2014/main" id="{EBB0E42E-8E50-4135-A060-F73479DD9587}"/>
              </a:ext>
            </a:extLst>
          </p:cNvPr>
          <p:cNvGrpSpPr>
            <a:grpSpLocks noChangeAspect="1"/>
          </p:cNvGrpSpPr>
          <p:nvPr/>
        </p:nvGrpSpPr>
        <p:grpSpPr>
          <a:xfrm>
            <a:off x="8709546" y="4124262"/>
            <a:ext cx="700420" cy="951118"/>
            <a:chOff x="1105197" y="2827506"/>
            <a:chExt cx="1396843" cy="1896808"/>
          </a:xfrm>
        </p:grpSpPr>
        <p:sp>
          <p:nvSpPr>
            <p:cNvPr id="49" name="Freeform 9">
              <a:extLst>
                <a:ext uri="{FF2B5EF4-FFF2-40B4-BE49-F238E27FC236}">
                  <a16:creationId xmlns:a16="http://schemas.microsoft.com/office/drawing/2014/main" id="{79D7E762-BB2D-4D62-A904-893545B7F164}"/>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sp>
          <p:nvSpPr>
            <p:cNvPr id="50" name="Freeform 10">
              <a:extLst>
                <a:ext uri="{FF2B5EF4-FFF2-40B4-BE49-F238E27FC236}">
                  <a16:creationId xmlns:a16="http://schemas.microsoft.com/office/drawing/2014/main" id="{B2951E92-8108-4FF2-ABF3-08C6D765B574}"/>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grpSp>
      <p:grpSp>
        <p:nvGrpSpPr>
          <p:cNvPr id="54" name="Group 53">
            <a:extLst>
              <a:ext uri="{FF2B5EF4-FFF2-40B4-BE49-F238E27FC236}">
                <a16:creationId xmlns:a16="http://schemas.microsoft.com/office/drawing/2014/main" id="{FE61B2CE-1366-4345-9F99-393D00419644}"/>
              </a:ext>
            </a:extLst>
          </p:cNvPr>
          <p:cNvGrpSpPr>
            <a:grpSpLocks noChangeAspect="1"/>
          </p:cNvGrpSpPr>
          <p:nvPr/>
        </p:nvGrpSpPr>
        <p:grpSpPr>
          <a:xfrm>
            <a:off x="7021844" y="4886246"/>
            <a:ext cx="503668" cy="933659"/>
            <a:chOff x="5434013" y="2201863"/>
            <a:chExt cx="1323975" cy="2454275"/>
          </a:xfrm>
        </p:grpSpPr>
        <p:sp>
          <p:nvSpPr>
            <p:cNvPr id="55" name="Freeform 5">
              <a:extLst>
                <a:ext uri="{FF2B5EF4-FFF2-40B4-BE49-F238E27FC236}">
                  <a16:creationId xmlns:a16="http://schemas.microsoft.com/office/drawing/2014/main" id="{B4F5755E-3B1E-4268-9517-65B8A0C09D8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sp>
          <p:nvSpPr>
            <p:cNvPr id="56" name="Freeform: Shape 35">
              <a:extLst>
                <a:ext uri="{FF2B5EF4-FFF2-40B4-BE49-F238E27FC236}">
                  <a16:creationId xmlns:a16="http://schemas.microsoft.com/office/drawing/2014/main" id="{9DD2B296-D733-4925-BE40-C7A1116B5D8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icrosoft Sans Serif"/>
                <a:ea typeface="+mn-ea"/>
                <a:cs typeface="+mn-cs"/>
              </a:endParaRPr>
            </a:p>
          </p:txBody>
        </p:sp>
      </p:grpSp>
      <p:grpSp>
        <p:nvGrpSpPr>
          <p:cNvPr id="65" name="Group 64">
            <a:extLst>
              <a:ext uri="{FF2B5EF4-FFF2-40B4-BE49-F238E27FC236}">
                <a16:creationId xmlns:a16="http://schemas.microsoft.com/office/drawing/2014/main" id="{71D49FB9-4390-45EA-87A5-FB1C6FB1CAB5}"/>
              </a:ext>
            </a:extLst>
          </p:cNvPr>
          <p:cNvGrpSpPr/>
          <p:nvPr/>
        </p:nvGrpSpPr>
        <p:grpSpPr>
          <a:xfrm>
            <a:off x="8569494" y="3325840"/>
            <a:ext cx="911982" cy="652234"/>
            <a:chOff x="16516350" y="0"/>
            <a:chExt cx="11074400" cy="6861175"/>
          </a:xfrm>
        </p:grpSpPr>
        <p:sp>
          <p:nvSpPr>
            <p:cNvPr id="71" name="Freeform 5">
              <a:extLst>
                <a:ext uri="{FF2B5EF4-FFF2-40B4-BE49-F238E27FC236}">
                  <a16:creationId xmlns:a16="http://schemas.microsoft.com/office/drawing/2014/main" id="{BDED60B2-96DA-4FF8-9D46-103BC953F40A}"/>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
          <p:nvSpPr>
            <p:cNvPr id="72" name="Freeform 6">
              <a:extLst>
                <a:ext uri="{FF2B5EF4-FFF2-40B4-BE49-F238E27FC236}">
                  <a16:creationId xmlns:a16="http://schemas.microsoft.com/office/drawing/2014/main" id="{18F85799-58C1-45B8-A4CF-D19B3980EF09}"/>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3" name="Freeform 7">
              <a:extLst>
                <a:ext uri="{FF2B5EF4-FFF2-40B4-BE49-F238E27FC236}">
                  <a16:creationId xmlns:a16="http://schemas.microsoft.com/office/drawing/2014/main" id="{D1EE28CC-847A-43DC-8DE3-8FCAC0822378}"/>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74" name="Freeform 8">
              <a:extLst>
                <a:ext uri="{FF2B5EF4-FFF2-40B4-BE49-F238E27FC236}">
                  <a16:creationId xmlns:a16="http://schemas.microsoft.com/office/drawing/2014/main" id="{77A944EE-F386-4E15-86C7-9375677C9BE7}"/>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79" name="Group 78">
            <a:extLst>
              <a:ext uri="{FF2B5EF4-FFF2-40B4-BE49-F238E27FC236}">
                <a16:creationId xmlns:a16="http://schemas.microsoft.com/office/drawing/2014/main" id="{F6AACDAC-9A24-425B-82AF-900031BA7B59}"/>
              </a:ext>
            </a:extLst>
          </p:cNvPr>
          <p:cNvGrpSpPr/>
          <p:nvPr/>
        </p:nvGrpSpPr>
        <p:grpSpPr>
          <a:xfrm>
            <a:off x="4316914" y="871338"/>
            <a:ext cx="2979908" cy="1401674"/>
            <a:chOff x="1064240" y="2657768"/>
            <a:chExt cx="3772442" cy="1770626"/>
          </a:xfrm>
        </p:grpSpPr>
        <p:pic>
          <p:nvPicPr>
            <p:cNvPr id="80" name="Picture 79">
              <a:extLst>
                <a:ext uri="{FF2B5EF4-FFF2-40B4-BE49-F238E27FC236}">
                  <a16:creationId xmlns:a16="http://schemas.microsoft.com/office/drawing/2014/main" id="{9AB00E16-84B5-4531-BD6A-8F457A902D06}"/>
                </a:ext>
              </a:extLst>
            </p:cNvPr>
            <p:cNvPicPr>
              <a:picLocks noChangeAspect="1"/>
            </p:cNvPicPr>
            <p:nvPr/>
          </p:nvPicPr>
          <p:blipFill>
            <a:blip r:embed="rId4">
              <a:alphaModFix amt="89000"/>
            </a:blip>
            <a:stretch>
              <a:fillRect/>
            </a:stretch>
          </p:blipFill>
          <p:spPr>
            <a:xfrm>
              <a:off x="1064240" y="2657768"/>
              <a:ext cx="3146208" cy="1770626"/>
            </a:xfrm>
            <a:prstGeom prst="rect">
              <a:avLst/>
            </a:prstGeom>
          </p:spPr>
        </p:pic>
        <p:pic>
          <p:nvPicPr>
            <p:cNvPr id="81" name="Picture 80">
              <a:extLst>
                <a:ext uri="{FF2B5EF4-FFF2-40B4-BE49-F238E27FC236}">
                  <a16:creationId xmlns:a16="http://schemas.microsoft.com/office/drawing/2014/main" id="{9BBD3AE4-3B30-44E7-B7F8-79B12C312573}"/>
                </a:ext>
              </a:extLst>
            </p:cNvPr>
            <p:cNvPicPr>
              <a:picLocks noChangeAspect="1"/>
            </p:cNvPicPr>
            <p:nvPr/>
          </p:nvPicPr>
          <p:blipFill>
            <a:blip r:embed="rId5">
              <a:alphaModFix amt="50000"/>
            </a:blip>
            <a:stretch>
              <a:fillRect/>
            </a:stretch>
          </p:blipFill>
          <p:spPr>
            <a:xfrm>
              <a:off x="2308159" y="3429000"/>
              <a:ext cx="1351850" cy="760758"/>
            </a:xfrm>
            <a:prstGeom prst="rect">
              <a:avLst/>
            </a:prstGeom>
          </p:spPr>
        </p:pic>
        <p:pic>
          <p:nvPicPr>
            <p:cNvPr id="82" name="Picture 81">
              <a:extLst>
                <a:ext uri="{FF2B5EF4-FFF2-40B4-BE49-F238E27FC236}">
                  <a16:creationId xmlns:a16="http://schemas.microsoft.com/office/drawing/2014/main" id="{2A6AEF56-D633-46D7-AB09-7BD7A09CD691}"/>
                </a:ext>
              </a:extLst>
            </p:cNvPr>
            <p:cNvPicPr>
              <a:picLocks noChangeAspect="1"/>
            </p:cNvPicPr>
            <p:nvPr/>
          </p:nvPicPr>
          <p:blipFill>
            <a:blip r:embed="rId6">
              <a:alphaModFix amt="50000"/>
            </a:blip>
            <a:stretch>
              <a:fillRect/>
            </a:stretch>
          </p:blipFill>
          <p:spPr>
            <a:xfrm>
              <a:off x="3488318" y="3136400"/>
              <a:ext cx="1348364" cy="760758"/>
            </a:xfrm>
            <a:prstGeom prst="rect">
              <a:avLst/>
            </a:prstGeom>
          </p:spPr>
        </p:pic>
      </p:grpSp>
      <p:pic>
        <p:nvPicPr>
          <p:cNvPr id="4" name="Graphic 3" descr="Laptop">
            <a:extLst>
              <a:ext uri="{FF2B5EF4-FFF2-40B4-BE49-F238E27FC236}">
                <a16:creationId xmlns:a16="http://schemas.microsoft.com/office/drawing/2014/main" id="{AE1C832C-862A-475B-B558-BFA1082901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7293" y="1255624"/>
            <a:ext cx="1101526" cy="1101526"/>
          </a:xfrm>
          <a:prstGeom prst="rect">
            <a:avLst/>
          </a:prstGeom>
        </p:spPr>
      </p:pic>
      <p:grpSp>
        <p:nvGrpSpPr>
          <p:cNvPr id="85" name="Group 84">
            <a:extLst>
              <a:ext uri="{FF2B5EF4-FFF2-40B4-BE49-F238E27FC236}">
                <a16:creationId xmlns:a16="http://schemas.microsoft.com/office/drawing/2014/main" id="{19E960A3-23C9-41A7-9F83-52CE2912A4EF}"/>
              </a:ext>
            </a:extLst>
          </p:cNvPr>
          <p:cNvGrpSpPr>
            <a:grpSpLocks noChangeAspect="1"/>
          </p:cNvGrpSpPr>
          <p:nvPr/>
        </p:nvGrpSpPr>
        <p:grpSpPr>
          <a:xfrm>
            <a:off x="5672085" y="5404149"/>
            <a:ext cx="1263839" cy="1263839"/>
            <a:chOff x="1379506" y="1978346"/>
            <a:chExt cx="1774947" cy="1774947"/>
          </a:xfrm>
        </p:grpSpPr>
        <p:grpSp>
          <p:nvGrpSpPr>
            <p:cNvPr id="86" name="Group 85">
              <a:extLst>
                <a:ext uri="{FF2B5EF4-FFF2-40B4-BE49-F238E27FC236}">
                  <a16:creationId xmlns:a16="http://schemas.microsoft.com/office/drawing/2014/main" id="{9BAF9FF7-8F25-43D7-AD78-9D397FAB668B}"/>
                </a:ext>
              </a:extLst>
            </p:cNvPr>
            <p:cNvGrpSpPr/>
            <p:nvPr/>
          </p:nvGrpSpPr>
          <p:grpSpPr>
            <a:xfrm>
              <a:off x="1379506" y="1978346"/>
              <a:ext cx="1774947" cy="1774947"/>
              <a:chOff x="1379506" y="1978346"/>
              <a:chExt cx="1774947" cy="1774947"/>
            </a:xfrm>
          </p:grpSpPr>
          <p:sp>
            <p:nvSpPr>
              <p:cNvPr id="90" name="Freeform 5">
                <a:extLst>
                  <a:ext uri="{FF2B5EF4-FFF2-40B4-BE49-F238E27FC236}">
                    <a16:creationId xmlns:a16="http://schemas.microsoft.com/office/drawing/2014/main" id="{41641434-E46B-4DBA-8E9C-D267B0252F3D}"/>
                  </a:ext>
                </a:extLst>
              </p:cNvPr>
              <p:cNvSpPr>
                <a:spLocks noEditPoints="1"/>
              </p:cNvSpPr>
              <p:nvPr/>
            </p:nvSpPr>
            <p:spPr bwMode="auto">
              <a:xfrm>
                <a:off x="1379506" y="1978346"/>
                <a:ext cx="1774947" cy="1774947"/>
              </a:xfrm>
              <a:custGeom>
                <a:avLst/>
                <a:gdLst>
                  <a:gd name="T0" fmla="*/ 604 w 1209"/>
                  <a:gd name="T1" fmla="*/ 1131 h 1209"/>
                  <a:gd name="T2" fmla="*/ 78 w 1209"/>
                  <a:gd name="T3" fmla="*/ 604 h 1209"/>
                  <a:gd name="T4" fmla="*/ 604 w 1209"/>
                  <a:gd name="T5" fmla="*/ 78 h 1209"/>
                  <a:gd name="T6" fmla="*/ 1131 w 1209"/>
                  <a:gd name="T7" fmla="*/ 604 h 1209"/>
                  <a:gd name="T8" fmla="*/ 604 w 1209"/>
                  <a:gd name="T9" fmla="*/ 1131 h 1209"/>
                  <a:gd name="T10" fmla="*/ 604 w 1209"/>
                  <a:gd name="T11" fmla="*/ 0 h 1209"/>
                  <a:gd name="T12" fmla="*/ 0 w 1209"/>
                  <a:gd name="T13" fmla="*/ 604 h 1209"/>
                  <a:gd name="T14" fmla="*/ 604 w 1209"/>
                  <a:gd name="T15" fmla="*/ 1209 h 1209"/>
                  <a:gd name="T16" fmla="*/ 1209 w 1209"/>
                  <a:gd name="T17" fmla="*/ 604 h 1209"/>
                  <a:gd name="T18" fmla="*/ 604 w 1209"/>
                  <a:gd name="T19" fmla="*/ 0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9" h="1209">
                    <a:moveTo>
                      <a:pt x="604" y="1131"/>
                    </a:moveTo>
                    <a:cubicBezTo>
                      <a:pt x="314" y="1131"/>
                      <a:pt x="78" y="895"/>
                      <a:pt x="78" y="604"/>
                    </a:cubicBezTo>
                    <a:cubicBezTo>
                      <a:pt x="78" y="314"/>
                      <a:pt x="314" y="78"/>
                      <a:pt x="604" y="78"/>
                    </a:cubicBezTo>
                    <a:cubicBezTo>
                      <a:pt x="895" y="78"/>
                      <a:pt x="1131" y="314"/>
                      <a:pt x="1131" y="604"/>
                    </a:cubicBezTo>
                    <a:cubicBezTo>
                      <a:pt x="1131" y="895"/>
                      <a:pt x="895" y="1131"/>
                      <a:pt x="604" y="1131"/>
                    </a:cubicBezTo>
                    <a:moveTo>
                      <a:pt x="604" y="0"/>
                    </a:moveTo>
                    <a:cubicBezTo>
                      <a:pt x="271" y="0"/>
                      <a:pt x="0" y="271"/>
                      <a:pt x="0" y="604"/>
                    </a:cubicBezTo>
                    <a:cubicBezTo>
                      <a:pt x="0" y="938"/>
                      <a:pt x="271" y="1209"/>
                      <a:pt x="604" y="1209"/>
                    </a:cubicBezTo>
                    <a:cubicBezTo>
                      <a:pt x="938" y="1209"/>
                      <a:pt x="1209" y="938"/>
                      <a:pt x="1209" y="604"/>
                    </a:cubicBezTo>
                    <a:cubicBezTo>
                      <a:pt x="1209" y="271"/>
                      <a:pt x="938" y="0"/>
                      <a:pt x="604" y="0"/>
                    </a:cubicBezTo>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Freeform: Shape 34">
                <a:extLst>
                  <a:ext uri="{FF2B5EF4-FFF2-40B4-BE49-F238E27FC236}">
                    <a16:creationId xmlns:a16="http://schemas.microsoft.com/office/drawing/2014/main" id="{85A4C28B-B382-420E-ABE2-3C59F3F4BF33}"/>
                  </a:ext>
                </a:extLst>
              </p:cNvPr>
              <p:cNvSpPr>
                <a:spLocks noChangeArrowheads="1"/>
              </p:cNvSpPr>
              <p:nvPr/>
            </p:nvSpPr>
            <p:spPr bwMode="auto">
              <a:xfrm>
                <a:off x="1487283" y="2079669"/>
                <a:ext cx="1559394" cy="1559394"/>
              </a:xfrm>
              <a:custGeom>
                <a:avLst/>
                <a:gdLst>
                  <a:gd name="connsiteX0" fmla="*/ 779697 w 1559394"/>
                  <a:gd name="connsiteY0" fmla="*/ 0 h 1559394"/>
                  <a:gd name="connsiteX1" fmla="*/ 1559394 w 1559394"/>
                  <a:gd name="connsiteY1" fmla="*/ 779697 h 1559394"/>
                  <a:gd name="connsiteX2" fmla="*/ 779697 w 1559394"/>
                  <a:gd name="connsiteY2" fmla="*/ 1559394 h 1559394"/>
                  <a:gd name="connsiteX3" fmla="*/ 0 w 1559394"/>
                  <a:gd name="connsiteY3" fmla="*/ 779697 h 1559394"/>
                  <a:gd name="connsiteX4" fmla="*/ 779697 w 1559394"/>
                  <a:gd name="connsiteY4" fmla="*/ 0 h 1559394"/>
                  <a:gd name="connsiteX5" fmla="*/ 779697 w 1559394"/>
                  <a:gd name="connsiteY5" fmla="*/ 133724 h 1559394"/>
                  <a:gd name="connsiteX6" fmla="*/ 128645 w 1559394"/>
                  <a:gd name="connsiteY6" fmla="*/ 784776 h 1559394"/>
                  <a:gd name="connsiteX7" fmla="*/ 779697 w 1559394"/>
                  <a:gd name="connsiteY7" fmla="*/ 1435828 h 1559394"/>
                  <a:gd name="connsiteX8" fmla="*/ 1430749 w 1559394"/>
                  <a:gd name="connsiteY8" fmla="*/ 784776 h 1559394"/>
                  <a:gd name="connsiteX9" fmla="*/ 779697 w 1559394"/>
                  <a:gd name="connsiteY9" fmla="*/ 133724 h 155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9394" h="1559394">
                    <a:moveTo>
                      <a:pt x="779697" y="0"/>
                    </a:moveTo>
                    <a:cubicBezTo>
                      <a:pt x="1210312" y="0"/>
                      <a:pt x="1559394" y="349082"/>
                      <a:pt x="1559394" y="779697"/>
                    </a:cubicBezTo>
                    <a:cubicBezTo>
                      <a:pt x="1559394" y="1210312"/>
                      <a:pt x="1210312" y="1559394"/>
                      <a:pt x="779697" y="1559394"/>
                    </a:cubicBezTo>
                    <a:cubicBezTo>
                      <a:pt x="349082" y="1559394"/>
                      <a:pt x="0" y="1210312"/>
                      <a:pt x="0" y="779697"/>
                    </a:cubicBezTo>
                    <a:cubicBezTo>
                      <a:pt x="0" y="349082"/>
                      <a:pt x="349082" y="0"/>
                      <a:pt x="779697" y="0"/>
                    </a:cubicBezTo>
                    <a:close/>
                    <a:moveTo>
                      <a:pt x="779697" y="133724"/>
                    </a:moveTo>
                    <a:cubicBezTo>
                      <a:pt x="420131" y="133724"/>
                      <a:pt x="128645" y="425210"/>
                      <a:pt x="128645" y="784776"/>
                    </a:cubicBezTo>
                    <a:cubicBezTo>
                      <a:pt x="128645" y="1144342"/>
                      <a:pt x="420131" y="1435828"/>
                      <a:pt x="779697" y="1435828"/>
                    </a:cubicBezTo>
                    <a:cubicBezTo>
                      <a:pt x="1139263" y="1435828"/>
                      <a:pt x="1430749" y="1144342"/>
                      <a:pt x="1430749" y="784776"/>
                    </a:cubicBezTo>
                    <a:cubicBezTo>
                      <a:pt x="1430749" y="425210"/>
                      <a:pt x="1139263" y="133724"/>
                      <a:pt x="779697" y="13372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7" name="Group 86">
              <a:extLst>
                <a:ext uri="{FF2B5EF4-FFF2-40B4-BE49-F238E27FC236}">
                  <a16:creationId xmlns:a16="http://schemas.microsoft.com/office/drawing/2014/main" id="{0BA5000A-E414-4D0D-B8F2-B7B954EAA513}"/>
                </a:ext>
              </a:extLst>
            </p:cNvPr>
            <p:cNvGrpSpPr/>
            <p:nvPr/>
          </p:nvGrpSpPr>
          <p:grpSpPr>
            <a:xfrm>
              <a:off x="1773825" y="2316593"/>
              <a:ext cx="927716" cy="1095706"/>
              <a:chOff x="3519426" y="1193801"/>
              <a:chExt cx="1560512" cy="1843088"/>
            </a:xfrm>
          </p:grpSpPr>
          <p:sp>
            <p:nvSpPr>
              <p:cNvPr id="88" name="Freeform 5">
                <a:extLst>
                  <a:ext uri="{FF2B5EF4-FFF2-40B4-BE49-F238E27FC236}">
                    <a16:creationId xmlns:a16="http://schemas.microsoft.com/office/drawing/2014/main" id="{8027FD6B-DAE1-4D51-B7BA-48ADB07C0400}"/>
                  </a:ext>
                </a:extLst>
              </p:cNvPr>
              <p:cNvSpPr>
                <a:spLocks/>
              </p:cNvSpPr>
              <p:nvPr/>
            </p:nvSpPr>
            <p:spPr bwMode="auto">
              <a:xfrm>
                <a:off x="3635311" y="1193801"/>
                <a:ext cx="1430338" cy="1843088"/>
              </a:xfrm>
              <a:custGeom>
                <a:avLst/>
                <a:gdLst>
                  <a:gd name="T0" fmla="*/ 61 w 3154"/>
                  <a:gd name="T1" fmla="*/ 1995 h 4076"/>
                  <a:gd name="T2" fmla="*/ 61 w 3154"/>
                  <a:gd name="T3" fmla="*/ 1991 h 4076"/>
                  <a:gd name="T4" fmla="*/ 300 w 3154"/>
                  <a:gd name="T5" fmla="*/ 1524 h 4076"/>
                  <a:gd name="T6" fmla="*/ 294 w 3154"/>
                  <a:gd name="T7" fmla="*/ 1080 h 4076"/>
                  <a:gd name="T8" fmla="*/ 756 w 3154"/>
                  <a:gd name="T9" fmla="*/ 259 h 4076"/>
                  <a:gd name="T10" fmla="*/ 1690 w 3154"/>
                  <a:gd name="T11" fmla="*/ 20 h 4076"/>
                  <a:gd name="T12" fmla="*/ 2557 w 3154"/>
                  <a:gd name="T13" fmla="*/ 340 h 4076"/>
                  <a:gd name="T14" fmla="*/ 2962 w 3154"/>
                  <a:gd name="T15" fmla="*/ 1816 h 4076"/>
                  <a:gd name="T16" fmla="*/ 2672 w 3154"/>
                  <a:gd name="T17" fmla="*/ 2381 h 4076"/>
                  <a:gd name="T18" fmla="*/ 2564 w 3154"/>
                  <a:gd name="T19" fmla="*/ 2997 h 4076"/>
                  <a:gd name="T20" fmla="*/ 2631 w 3154"/>
                  <a:gd name="T21" fmla="*/ 3303 h 4076"/>
                  <a:gd name="T22" fmla="*/ 2436 w 3154"/>
                  <a:gd name="T23" fmla="*/ 3562 h 4076"/>
                  <a:gd name="T24" fmla="*/ 1785 w 3154"/>
                  <a:gd name="T25" fmla="*/ 3972 h 4076"/>
                  <a:gd name="T26" fmla="*/ 1464 w 3154"/>
                  <a:gd name="T27" fmla="*/ 4076 h 4076"/>
                  <a:gd name="T28" fmla="*/ 1363 w 3154"/>
                  <a:gd name="T29" fmla="*/ 4039 h 4076"/>
                  <a:gd name="T30" fmla="*/ 1346 w 3154"/>
                  <a:gd name="T31" fmla="*/ 3975 h 4076"/>
                  <a:gd name="T32" fmla="*/ 1309 w 3154"/>
                  <a:gd name="T33" fmla="*/ 3501 h 4076"/>
                  <a:gd name="T34" fmla="*/ 1262 w 3154"/>
                  <a:gd name="T35" fmla="*/ 3209 h 4076"/>
                  <a:gd name="T36" fmla="*/ 1073 w 3154"/>
                  <a:gd name="T37" fmla="*/ 2993 h 4076"/>
                  <a:gd name="T38" fmla="*/ 469 w 3154"/>
                  <a:gd name="T39" fmla="*/ 2946 h 4076"/>
                  <a:gd name="T40" fmla="*/ 381 w 3154"/>
                  <a:gd name="T41" fmla="*/ 2815 h 4076"/>
                  <a:gd name="T42" fmla="*/ 402 w 3154"/>
                  <a:gd name="T43" fmla="*/ 2650 h 4076"/>
                  <a:gd name="T44" fmla="*/ 334 w 3154"/>
                  <a:gd name="T45" fmla="*/ 2573 h 4076"/>
                  <a:gd name="T46" fmla="*/ 304 w 3154"/>
                  <a:gd name="T47" fmla="*/ 2418 h 4076"/>
                  <a:gd name="T48" fmla="*/ 203 w 3154"/>
                  <a:gd name="T49" fmla="*/ 2364 h 4076"/>
                  <a:gd name="T50" fmla="*/ 203 w 3154"/>
                  <a:gd name="T51" fmla="*/ 2301 h 4076"/>
                  <a:gd name="T52" fmla="*/ 233 w 3154"/>
                  <a:gd name="T53" fmla="*/ 2240 h 4076"/>
                  <a:gd name="T54" fmla="*/ 122 w 3154"/>
                  <a:gd name="T55" fmla="*/ 2196 h 4076"/>
                  <a:gd name="T56" fmla="*/ 20 w 3154"/>
                  <a:gd name="T57" fmla="*/ 2129 h 4076"/>
                  <a:gd name="T58" fmla="*/ 61 w 3154"/>
                  <a:gd name="T59" fmla="*/ 1995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54" h="4076">
                    <a:moveTo>
                      <a:pt x="61" y="1995"/>
                    </a:moveTo>
                    <a:cubicBezTo>
                      <a:pt x="61" y="1991"/>
                      <a:pt x="61" y="1991"/>
                      <a:pt x="61" y="1991"/>
                    </a:cubicBezTo>
                    <a:cubicBezTo>
                      <a:pt x="165" y="1847"/>
                      <a:pt x="273" y="1699"/>
                      <a:pt x="300" y="1524"/>
                    </a:cubicBezTo>
                    <a:cubicBezTo>
                      <a:pt x="324" y="1376"/>
                      <a:pt x="290" y="1228"/>
                      <a:pt x="294" y="1080"/>
                    </a:cubicBezTo>
                    <a:cubicBezTo>
                      <a:pt x="300" y="754"/>
                      <a:pt x="489" y="444"/>
                      <a:pt x="756" y="259"/>
                    </a:cubicBezTo>
                    <a:cubicBezTo>
                      <a:pt x="1026" y="71"/>
                      <a:pt x="1363" y="0"/>
                      <a:pt x="1690" y="20"/>
                    </a:cubicBezTo>
                    <a:cubicBezTo>
                      <a:pt x="2004" y="41"/>
                      <a:pt x="2314" y="145"/>
                      <a:pt x="2557" y="340"/>
                    </a:cubicBezTo>
                    <a:cubicBezTo>
                      <a:pt x="2986" y="680"/>
                      <a:pt x="3154" y="1305"/>
                      <a:pt x="2962" y="1816"/>
                    </a:cubicBezTo>
                    <a:cubicBezTo>
                      <a:pt x="2888" y="2015"/>
                      <a:pt x="2763" y="2193"/>
                      <a:pt x="2672" y="2381"/>
                    </a:cubicBezTo>
                    <a:cubicBezTo>
                      <a:pt x="2578" y="2573"/>
                      <a:pt x="2513" y="2792"/>
                      <a:pt x="2564" y="2997"/>
                    </a:cubicBezTo>
                    <a:cubicBezTo>
                      <a:pt x="2591" y="3098"/>
                      <a:pt x="2648" y="3198"/>
                      <a:pt x="2631" y="3303"/>
                    </a:cubicBezTo>
                    <a:cubicBezTo>
                      <a:pt x="2611" y="3414"/>
                      <a:pt x="2524" y="3494"/>
                      <a:pt x="2436" y="3562"/>
                    </a:cubicBezTo>
                    <a:cubicBezTo>
                      <a:pt x="2233" y="3720"/>
                      <a:pt x="2014" y="3858"/>
                      <a:pt x="1785" y="3972"/>
                    </a:cubicBezTo>
                    <a:cubicBezTo>
                      <a:pt x="1684" y="4022"/>
                      <a:pt x="1579" y="4070"/>
                      <a:pt x="1464" y="4076"/>
                    </a:cubicBezTo>
                    <a:cubicBezTo>
                      <a:pt x="1427" y="4076"/>
                      <a:pt x="1383" y="4073"/>
                      <a:pt x="1363" y="4039"/>
                    </a:cubicBezTo>
                    <a:cubicBezTo>
                      <a:pt x="1350" y="4022"/>
                      <a:pt x="1346" y="3999"/>
                      <a:pt x="1346" y="3975"/>
                    </a:cubicBezTo>
                    <a:cubicBezTo>
                      <a:pt x="1333" y="3817"/>
                      <a:pt x="1323" y="3659"/>
                      <a:pt x="1309" y="3501"/>
                    </a:cubicBezTo>
                    <a:cubicBezTo>
                      <a:pt x="1302" y="3400"/>
                      <a:pt x="1296" y="3303"/>
                      <a:pt x="1262" y="3209"/>
                    </a:cubicBezTo>
                    <a:cubicBezTo>
                      <a:pt x="1228" y="3118"/>
                      <a:pt x="1164" y="3030"/>
                      <a:pt x="1073" y="2993"/>
                    </a:cubicBezTo>
                    <a:cubicBezTo>
                      <a:pt x="881" y="2916"/>
                      <a:pt x="634" y="3064"/>
                      <a:pt x="469" y="2946"/>
                    </a:cubicBezTo>
                    <a:cubicBezTo>
                      <a:pt x="425" y="2916"/>
                      <a:pt x="395" y="2866"/>
                      <a:pt x="381" y="2815"/>
                    </a:cubicBezTo>
                    <a:cubicBezTo>
                      <a:pt x="368" y="2751"/>
                      <a:pt x="388" y="2707"/>
                      <a:pt x="402" y="2650"/>
                    </a:cubicBezTo>
                    <a:cubicBezTo>
                      <a:pt x="415" y="2593"/>
                      <a:pt x="375" y="2590"/>
                      <a:pt x="334" y="2573"/>
                    </a:cubicBezTo>
                    <a:cubicBezTo>
                      <a:pt x="280" y="2546"/>
                      <a:pt x="263" y="2465"/>
                      <a:pt x="304" y="2418"/>
                    </a:cubicBezTo>
                    <a:cubicBezTo>
                      <a:pt x="263" y="2428"/>
                      <a:pt x="216" y="2405"/>
                      <a:pt x="203" y="2364"/>
                    </a:cubicBezTo>
                    <a:cubicBezTo>
                      <a:pt x="192" y="2344"/>
                      <a:pt x="196" y="2321"/>
                      <a:pt x="203" y="2301"/>
                    </a:cubicBezTo>
                    <a:cubicBezTo>
                      <a:pt x="213" y="2280"/>
                      <a:pt x="240" y="2260"/>
                      <a:pt x="233" y="2240"/>
                    </a:cubicBezTo>
                    <a:cubicBezTo>
                      <a:pt x="223" y="2206"/>
                      <a:pt x="149" y="2203"/>
                      <a:pt x="122" y="2196"/>
                    </a:cubicBezTo>
                    <a:cubicBezTo>
                      <a:pt x="81" y="2186"/>
                      <a:pt x="37" y="2173"/>
                      <a:pt x="20" y="2129"/>
                    </a:cubicBezTo>
                    <a:cubicBezTo>
                      <a:pt x="0" y="2085"/>
                      <a:pt x="30" y="2035"/>
                      <a:pt x="61" y="199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a:extLst>
                  <a:ext uri="{FF2B5EF4-FFF2-40B4-BE49-F238E27FC236}">
                    <a16:creationId xmlns:a16="http://schemas.microsoft.com/office/drawing/2014/main" id="{67EB21CA-B2DA-4C8A-B28E-4C88EE962466}"/>
                  </a:ext>
                </a:extLst>
              </p:cNvPr>
              <p:cNvSpPr>
                <a:spLocks/>
              </p:cNvSpPr>
              <p:nvPr/>
            </p:nvSpPr>
            <p:spPr bwMode="auto">
              <a:xfrm>
                <a:off x="3519426" y="1544637"/>
                <a:ext cx="1560512" cy="493713"/>
              </a:xfrm>
              <a:custGeom>
                <a:avLst/>
                <a:gdLst>
                  <a:gd name="T0" fmla="*/ 3408 w 3442"/>
                  <a:gd name="T1" fmla="*/ 705 h 1091"/>
                  <a:gd name="T2" fmla="*/ 3325 w 3442"/>
                  <a:gd name="T3" fmla="*/ 786 h 1091"/>
                  <a:gd name="T4" fmla="*/ 1052 w 3442"/>
                  <a:gd name="T5" fmla="*/ 875 h 1091"/>
                  <a:gd name="T6" fmla="*/ 984 w 3442"/>
                  <a:gd name="T7" fmla="*/ 916 h 1091"/>
                  <a:gd name="T8" fmla="*/ 909 w 3442"/>
                  <a:gd name="T9" fmla="*/ 1032 h 1091"/>
                  <a:gd name="T10" fmla="*/ 830 w 3442"/>
                  <a:gd name="T11" fmla="*/ 1077 h 1091"/>
                  <a:gd name="T12" fmla="*/ 156 w 3442"/>
                  <a:gd name="T13" fmla="*/ 1090 h 1091"/>
                  <a:gd name="T14" fmla="*/ 90 w 3442"/>
                  <a:gd name="T15" fmla="*/ 1040 h 1091"/>
                  <a:gd name="T16" fmla="*/ 84 w 3442"/>
                  <a:gd name="T17" fmla="*/ 50 h 1091"/>
                  <a:gd name="T18" fmla="*/ 149 w 3442"/>
                  <a:gd name="T19" fmla="*/ 0 h 1091"/>
                  <a:gd name="T20" fmla="*/ 826 w 3442"/>
                  <a:gd name="T21" fmla="*/ 0 h 1091"/>
                  <a:gd name="T22" fmla="*/ 920 w 3442"/>
                  <a:gd name="T23" fmla="*/ 39 h 1091"/>
                  <a:gd name="T24" fmla="*/ 929 w 3442"/>
                  <a:gd name="T25" fmla="*/ 48 h 1091"/>
                  <a:gd name="T26" fmla="*/ 1016 w 3442"/>
                  <a:gd name="T27" fmla="*/ 83 h 1091"/>
                  <a:gd name="T28" fmla="*/ 3356 w 3442"/>
                  <a:gd name="T29" fmla="*/ 172 h 1091"/>
                  <a:gd name="T30" fmla="*/ 3439 w 3442"/>
                  <a:gd name="T31" fmla="*/ 265 h 1091"/>
                  <a:gd name="T32" fmla="*/ 3408 w 3442"/>
                  <a:gd name="T33" fmla="*/ 705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42" h="1091">
                    <a:moveTo>
                      <a:pt x="3408" y="705"/>
                    </a:moveTo>
                    <a:cubicBezTo>
                      <a:pt x="3405" y="749"/>
                      <a:pt x="3369" y="784"/>
                      <a:pt x="3325" y="786"/>
                    </a:cubicBezTo>
                    <a:cubicBezTo>
                      <a:pt x="1052" y="875"/>
                      <a:pt x="1052" y="875"/>
                      <a:pt x="1052" y="875"/>
                    </a:cubicBezTo>
                    <a:cubicBezTo>
                      <a:pt x="1023" y="875"/>
                      <a:pt x="997" y="890"/>
                      <a:pt x="984" y="916"/>
                    </a:cubicBezTo>
                    <a:cubicBezTo>
                      <a:pt x="909" y="1032"/>
                      <a:pt x="909" y="1032"/>
                      <a:pt x="909" y="1032"/>
                    </a:cubicBezTo>
                    <a:cubicBezTo>
                      <a:pt x="891" y="1059"/>
                      <a:pt x="862" y="1076"/>
                      <a:pt x="830" y="1077"/>
                    </a:cubicBezTo>
                    <a:cubicBezTo>
                      <a:pt x="681" y="1080"/>
                      <a:pt x="259" y="1087"/>
                      <a:pt x="156" y="1090"/>
                    </a:cubicBezTo>
                    <a:cubicBezTo>
                      <a:pt x="126" y="1091"/>
                      <a:pt x="98" y="1070"/>
                      <a:pt x="90" y="1040"/>
                    </a:cubicBezTo>
                    <a:cubicBezTo>
                      <a:pt x="3" y="718"/>
                      <a:pt x="0" y="376"/>
                      <a:pt x="84" y="50"/>
                    </a:cubicBezTo>
                    <a:cubicBezTo>
                      <a:pt x="92" y="21"/>
                      <a:pt x="119" y="0"/>
                      <a:pt x="149" y="0"/>
                    </a:cubicBezTo>
                    <a:cubicBezTo>
                      <a:pt x="826" y="0"/>
                      <a:pt x="826" y="0"/>
                      <a:pt x="826" y="0"/>
                    </a:cubicBezTo>
                    <a:cubicBezTo>
                      <a:pt x="861" y="0"/>
                      <a:pt x="895" y="14"/>
                      <a:pt x="920" y="39"/>
                    </a:cubicBezTo>
                    <a:cubicBezTo>
                      <a:pt x="929" y="48"/>
                      <a:pt x="929" y="48"/>
                      <a:pt x="929" y="48"/>
                    </a:cubicBezTo>
                    <a:cubicBezTo>
                      <a:pt x="952" y="70"/>
                      <a:pt x="984" y="83"/>
                      <a:pt x="1016" y="83"/>
                    </a:cubicBezTo>
                    <a:cubicBezTo>
                      <a:pt x="2443" y="142"/>
                      <a:pt x="3168" y="164"/>
                      <a:pt x="3356" y="172"/>
                    </a:cubicBezTo>
                    <a:cubicBezTo>
                      <a:pt x="3405" y="174"/>
                      <a:pt x="3442" y="216"/>
                      <a:pt x="3439" y="265"/>
                    </a:cubicBezTo>
                    <a:lnTo>
                      <a:pt x="3408" y="7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2" name="Group 91">
            <a:extLst>
              <a:ext uri="{FF2B5EF4-FFF2-40B4-BE49-F238E27FC236}">
                <a16:creationId xmlns:a16="http://schemas.microsoft.com/office/drawing/2014/main" id="{69CE3689-A15F-4DE5-99BC-ED8B3814E51E}"/>
              </a:ext>
            </a:extLst>
          </p:cNvPr>
          <p:cNvGrpSpPr/>
          <p:nvPr/>
        </p:nvGrpSpPr>
        <p:grpSpPr>
          <a:xfrm>
            <a:off x="7081842" y="3029743"/>
            <a:ext cx="784166" cy="1101526"/>
            <a:chOff x="9602993" y="4307275"/>
            <a:chExt cx="582301" cy="1001016"/>
          </a:xfrm>
          <a:solidFill>
            <a:schemeClr val="accent2"/>
          </a:solidFill>
        </p:grpSpPr>
        <p:grpSp>
          <p:nvGrpSpPr>
            <p:cNvPr id="93" name="Group 4">
              <a:extLst>
                <a:ext uri="{FF2B5EF4-FFF2-40B4-BE49-F238E27FC236}">
                  <a16:creationId xmlns:a16="http://schemas.microsoft.com/office/drawing/2014/main" id="{F8BED598-31E0-4226-B102-E25A94F2206D}"/>
                </a:ext>
              </a:extLst>
            </p:cNvPr>
            <p:cNvGrpSpPr>
              <a:grpSpLocks noChangeAspect="1"/>
            </p:cNvGrpSpPr>
            <p:nvPr/>
          </p:nvGrpSpPr>
          <p:grpSpPr bwMode="auto">
            <a:xfrm>
              <a:off x="9602993" y="4611717"/>
              <a:ext cx="582301" cy="696574"/>
              <a:chOff x="-865" y="1607"/>
              <a:chExt cx="1651" cy="1975"/>
            </a:xfrm>
            <a:grpFill/>
          </p:grpSpPr>
          <p:sp>
            <p:nvSpPr>
              <p:cNvPr id="97" name="Freeform 7">
                <a:extLst>
                  <a:ext uri="{FF2B5EF4-FFF2-40B4-BE49-F238E27FC236}">
                    <a16:creationId xmlns:a16="http://schemas.microsoft.com/office/drawing/2014/main" id="{760D569D-5183-4E97-A4AC-794CD8FA7C18}"/>
                  </a:ext>
                </a:extLst>
              </p:cNvPr>
              <p:cNvSpPr>
                <a:spLocks/>
              </p:cNvSpPr>
              <p:nvPr/>
            </p:nvSpPr>
            <p:spPr bwMode="auto">
              <a:xfrm>
                <a:off x="-759" y="2126"/>
                <a:ext cx="1443" cy="217"/>
              </a:xfrm>
              <a:custGeom>
                <a:avLst/>
                <a:gdLst>
                  <a:gd name="T0" fmla="*/ 0 w 1443"/>
                  <a:gd name="T1" fmla="*/ 0 h 217"/>
                  <a:gd name="T2" fmla="*/ 1443 w 1443"/>
                  <a:gd name="T3" fmla="*/ 0 h 217"/>
                  <a:gd name="T4" fmla="*/ 1443 w 1443"/>
                  <a:gd name="T5" fmla="*/ 217 h 217"/>
                  <a:gd name="T6" fmla="*/ 0 w 1443"/>
                  <a:gd name="T7" fmla="*/ 217 h 217"/>
                  <a:gd name="T8" fmla="*/ 0 w 1443"/>
                  <a:gd name="T9" fmla="*/ 0 h 217"/>
                  <a:gd name="T10" fmla="*/ 0 w 1443"/>
                  <a:gd name="T11" fmla="*/ 0 h 217"/>
                </a:gdLst>
                <a:ahLst/>
                <a:cxnLst>
                  <a:cxn ang="0">
                    <a:pos x="T0" y="T1"/>
                  </a:cxn>
                  <a:cxn ang="0">
                    <a:pos x="T2" y="T3"/>
                  </a:cxn>
                  <a:cxn ang="0">
                    <a:pos x="T4" y="T5"/>
                  </a:cxn>
                  <a:cxn ang="0">
                    <a:pos x="T6" y="T7"/>
                  </a:cxn>
                  <a:cxn ang="0">
                    <a:pos x="T8" y="T9"/>
                  </a:cxn>
                  <a:cxn ang="0">
                    <a:pos x="T10" y="T11"/>
                  </a:cxn>
                </a:cxnLst>
                <a:rect l="0" t="0" r="r" b="b"/>
                <a:pathLst>
                  <a:path w="1443" h="217">
                    <a:moveTo>
                      <a:pt x="0" y="0"/>
                    </a:moveTo>
                    <a:lnTo>
                      <a:pt x="1443" y="0"/>
                    </a:lnTo>
                    <a:lnTo>
                      <a:pt x="1443" y="217"/>
                    </a:lnTo>
                    <a:lnTo>
                      <a:pt x="0" y="217"/>
                    </a:lnTo>
                    <a:lnTo>
                      <a:pt x="0" y="0"/>
                    </a:lnTo>
                    <a:lnTo>
                      <a:pt x="0" y="0"/>
                    </a:lnTo>
                    <a:close/>
                  </a:path>
                </a:pathLst>
              </a:custGeom>
              <a:grpFill/>
              <a:ln w="10795" cap="flat" cmpd="sng" algn="ctr">
                <a:noFill/>
                <a:prstDash val="solid"/>
              </a:ln>
              <a:effectLst/>
            </p:spPr>
            <p:txBody>
              <a:bodyPr rtlCol="0" anchor="ctr"/>
              <a:lstStyle/>
              <a:p>
                <a:pPr algn="ctr"/>
                <a:endParaRPr lang="en-US" kern="0" dirty="0">
                  <a:solidFill>
                    <a:prstClr val="white"/>
                  </a:solidFill>
                  <a:latin typeface="Microsoft Sans Serif"/>
                </a:endParaRPr>
              </a:p>
            </p:txBody>
          </p:sp>
          <p:sp>
            <p:nvSpPr>
              <p:cNvPr id="98" name="Freeform 8">
                <a:extLst>
                  <a:ext uri="{FF2B5EF4-FFF2-40B4-BE49-F238E27FC236}">
                    <a16:creationId xmlns:a16="http://schemas.microsoft.com/office/drawing/2014/main" id="{97222D33-E070-40CC-A7C3-07C7A17C7415}"/>
                  </a:ext>
                </a:extLst>
              </p:cNvPr>
              <p:cNvSpPr>
                <a:spLocks noEditPoints="1"/>
              </p:cNvSpPr>
              <p:nvPr/>
            </p:nvSpPr>
            <p:spPr bwMode="auto">
              <a:xfrm>
                <a:off x="-865" y="1607"/>
                <a:ext cx="1651" cy="1975"/>
              </a:xfrm>
              <a:custGeom>
                <a:avLst/>
                <a:gdLst>
                  <a:gd name="T0" fmla="*/ 406 w 696"/>
                  <a:gd name="T1" fmla="*/ 776 h 834"/>
                  <a:gd name="T2" fmla="*/ 348 w 696"/>
                  <a:gd name="T3" fmla="*/ 834 h 834"/>
                  <a:gd name="T4" fmla="*/ 348 w 696"/>
                  <a:gd name="T5" fmla="*/ 834 h 834"/>
                  <a:gd name="T6" fmla="*/ 290 w 696"/>
                  <a:gd name="T7" fmla="*/ 776 h 834"/>
                  <a:gd name="T8" fmla="*/ 290 w 696"/>
                  <a:gd name="T9" fmla="*/ 59 h 834"/>
                  <a:gd name="T10" fmla="*/ 348 w 696"/>
                  <a:gd name="T11" fmla="*/ 0 h 834"/>
                  <a:gd name="T12" fmla="*/ 348 w 696"/>
                  <a:gd name="T13" fmla="*/ 0 h 834"/>
                  <a:gd name="T14" fmla="*/ 406 w 696"/>
                  <a:gd name="T15" fmla="*/ 59 h 834"/>
                  <a:gd name="T16" fmla="*/ 406 w 696"/>
                  <a:gd name="T17" fmla="*/ 776 h 834"/>
                  <a:gd name="T18" fmla="*/ 406 w 696"/>
                  <a:gd name="T19" fmla="*/ 776 h 834"/>
                  <a:gd name="T20" fmla="*/ 234 w 696"/>
                  <a:gd name="T21" fmla="*/ 72 h 834"/>
                  <a:gd name="T22" fmla="*/ 190 w 696"/>
                  <a:gd name="T23" fmla="*/ 28 h 834"/>
                  <a:gd name="T24" fmla="*/ 190 w 696"/>
                  <a:gd name="T25" fmla="*/ 28 h 834"/>
                  <a:gd name="T26" fmla="*/ 146 w 696"/>
                  <a:gd name="T27" fmla="*/ 72 h 834"/>
                  <a:gd name="T28" fmla="*/ 146 w 696"/>
                  <a:gd name="T29" fmla="*/ 424 h 834"/>
                  <a:gd name="T30" fmla="*/ 190 w 696"/>
                  <a:gd name="T31" fmla="*/ 468 h 834"/>
                  <a:gd name="T32" fmla="*/ 190 w 696"/>
                  <a:gd name="T33" fmla="*/ 468 h 834"/>
                  <a:gd name="T34" fmla="*/ 234 w 696"/>
                  <a:gd name="T35" fmla="*/ 424 h 834"/>
                  <a:gd name="T36" fmla="*/ 234 w 696"/>
                  <a:gd name="T37" fmla="*/ 72 h 834"/>
                  <a:gd name="T38" fmla="*/ 234 w 696"/>
                  <a:gd name="T39" fmla="*/ 72 h 834"/>
                  <a:gd name="T40" fmla="*/ 88 w 696"/>
                  <a:gd name="T41" fmla="*/ 135 h 834"/>
                  <a:gd name="T42" fmla="*/ 44 w 696"/>
                  <a:gd name="T43" fmla="*/ 91 h 834"/>
                  <a:gd name="T44" fmla="*/ 44 w 696"/>
                  <a:gd name="T45" fmla="*/ 91 h 834"/>
                  <a:gd name="T46" fmla="*/ 0 w 696"/>
                  <a:gd name="T47" fmla="*/ 135 h 834"/>
                  <a:gd name="T48" fmla="*/ 0 w 696"/>
                  <a:gd name="T49" fmla="*/ 487 h 834"/>
                  <a:gd name="T50" fmla="*/ 44 w 696"/>
                  <a:gd name="T51" fmla="*/ 531 h 834"/>
                  <a:gd name="T52" fmla="*/ 44 w 696"/>
                  <a:gd name="T53" fmla="*/ 531 h 834"/>
                  <a:gd name="T54" fmla="*/ 88 w 696"/>
                  <a:gd name="T55" fmla="*/ 487 h 834"/>
                  <a:gd name="T56" fmla="*/ 88 w 696"/>
                  <a:gd name="T57" fmla="*/ 135 h 834"/>
                  <a:gd name="T58" fmla="*/ 88 w 696"/>
                  <a:gd name="T59" fmla="*/ 135 h 834"/>
                  <a:gd name="T60" fmla="*/ 462 w 696"/>
                  <a:gd name="T61" fmla="*/ 424 h 834"/>
                  <a:gd name="T62" fmla="*/ 506 w 696"/>
                  <a:gd name="T63" fmla="*/ 468 h 834"/>
                  <a:gd name="T64" fmla="*/ 506 w 696"/>
                  <a:gd name="T65" fmla="*/ 468 h 834"/>
                  <a:gd name="T66" fmla="*/ 550 w 696"/>
                  <a:gd name="T67" fmla="*/ 424 h 834"/>
                  <a:gd name="T68" fmla="*/ 550 w 696"/>
                  <a:gd name="T69" fmla="*/ 72 h 834"/>
                  <a:gd name="T70" fmla="*/ 506 w 696"/>
                  <a:gd name="T71" fmla="*/ 28 h 834"/>
                  <a:gd name="T72" fmla="*/ 506 w 696"/>
                  <a:gd name="T73" fmla="*/ 28 h 834"/>
                  <a:gd name="T74" fmla="*/ 462 w 696"/>
                  <a:gd name="T75" fmla="*/ 72 h 834"/>
                  <a:gd name="T76" fmla="*/ 462 w 696"/>
                  <a:gd name="T77" fmla="*/ 424 h 834"/>
                  <a:gd name="T78" fmla="*/ 462 w 696"/>
                  <a:gd name="T79" fmla="*/ 424 h 834"/>
                  <a:gd name="T80" fmla="*/ 608 w 696"/>
                  <a:gd name="T81" fmla="*/ 487 h 834"/>
                  <a:gd name="T82" fmla="*/ 652 w 696"/>
                  <a:gd name="T83" fmla="*/ 531 h 834"/>
                  <a:gd name="T84" fmla="*/ 652 w 696"/>
                  <a:gd name="T85" fmla="*/ 531 h 834"/>
                  <a:gd name="T86" fmla="*/ 696 w 696"/>
                  <a:gd name="T87" fmla="*/ 487 h 834"/>
                  <a:gd name="T88" fmla="*/ 696 w 696"/>
                  <a:gd name="T89" fmla="*/ 135 h 834"/>
                  <a:gd name="T90" fmla="*/ 652 w 696"/>
                  <a:gd name="T91" fmla="*/ 91 h 834"/>
                  <a:gd name="T92" fmla="*/ 652 w 696"/>
                  <a:gd name="T93" fmla="*/ 91 h 834"/>
                  <a:gd name="T94" fmla="*/ 608 w 696"/>
                  <a:gd name="T95" fmla="*/ 135 h 834"/>
                  <a:gd name="T96" fmla="*/ 608 w 696"/>
                  <a:gd name="T97" fmla="*/ 487 h 834"/>
                  <a:gd name="T98" fmla="*/ 608 w 696"/>
                  <a:gd name="T99" fmla="*/ 48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6" h="834">
                    <a:moveTo>
                      <a:pt x="406" y="776"/>
                    </a:moveTo>
                    <a:cubicBezTo>
                      <a:pt x="406" y="808"/>
                      <a:pt x="380" y="834"/>
                      <a:pt x="348" y="834"/>
                    </a:cubicBezTo>
                    <a:cubicBezTo>
                      <a:pt x="348" y="834"/>
                      <a:pt x="348" y="834"/>
                      <a:pt x="348" y="834"/>
                    </a:cubicBezTo>
                    <a:cubicBezTo>
                      <a:pt x="316" y="834"/>
                      <a:pt x="290" y="808"/>
                      <a:pt x="290" y="776"/>
                    </a:cubicBezTo>
                    <a:cubicBezTo>
                      <a:pt x="290" y="59"/>
                      <a:pt x="290" y="59"/>
                      <a:pt x="290" y="59"/>
                    </a:cubicBezTo>
                    <a:cubicBezTo>
                      <a:pt x="290" y="26"/>
                      <a:pt x="316" y="0"/>
                      <a:pt x="348" y="0"/>
                    </a:cubicBezTo>
                    <a:cubicBezTo>
                      <a:pt x="348" y="0"/>
                      <a:pt x="348" y="0"/>
                      <a:pt x="348" y="0"/>
                    </a:cubicBezTo>
                    <a:cubicBezTo>
                      <a:pt x="380" y="0"/>
                      <a:pt x="406" y="26"/>
                      <a:pt x="406" y="59"/>
                    </a:cubicBezTo>
                    <a:cubicBezTo>
                      <a:pt x="406" y="776"/>
                      <a:pt x="406" y="776"/>
                      <a:pt x="406" y="776"/>
                    </a:cubicBezTo>
                    <a:cubicBezTo>
                      <a:pt x="406" y="776"/>
                      <a:pt x="406" y="776"/>
                      <a:pt x="406" y="776"/>
                    </a:cubicBezTo>
                    <a:close/>
                    <a:moveTo>
                      <a:pt x="234" y="72"/>
                    </a:moveTo>
                    <a:cubicBezTo>
                      <a:pt x="234" y="48"/>
                      <a:pt x="214" y="28"/>
                      <a:pt x="190" y="28"/>
                    </a:cubicBezTo>
                    <a:cubicBezTo>
                      <a:pt x="190" y="28"/>
                      <a:pt x="190" y="28"/>
                      <a:pt x="190" y="28"/>
                    </a:cubicBezTo>
                    <a:cubicBezTo>
                      <a:pt x="166" y="28"/>
                      <a:pt x="146" y="48"/>
                      <a:pt x="146" y="72"/>
                    </a:cubicBezTo>
                    <a:cubicBezTo>
                      <a:pt x="146" y="424"/>
                      <a:pt x="146" y="424"/>
                      <a:pt x="146" y="424"/>
                    </a:cubicBezTo>
                    <a:cubicBezTo>
                      <a:pt x="146" y="448"/>
                      <a:pt x="166" y="468"/>
                      <a:pt x="190" y="468"/>
                    </a:cubicBezTo>
                    <a:cubicBezTo>
                      <a:pt x="190" y="468"/>
                      <a:pt x="190" y="468"/>
                      <a:pt x="190" y="468"/>
                    </a:cubicBezTo>
                    <a:cubicBezTo>
                      <a:pt x="214" y="468"/>
                      <a:pt x="234" y="448"/>
                      <a:pt x="234" y="424"/>
                    </a:cubicBezTo>
                    <a:cubicBezTo>
                      <a:pt x="234" y="72"/>
                      <a:pt x="234" y="72"/>
                      <a:pt x="234" y="72"/>
                    </a:cubicBezTo>
                    <a:cubicBezTo>
                      <a:pt x="234" y="72"/>
                      <a:pt x="234" y="72"/>
                      <a:pt x="234" y="72"/>
                    </a:cubicBezTo>
                    <a:close/>
                    <a:moveTo>
                      <a:pt x="88" y="135"/>
                    </a:moveTo>
                    <a:cubicBezTo>
                      <a:pt x="88" y="111"/>
                      <a:pt x="68" y="91"/>
                      <a:pt x="44" y="91"/>
                    </a:cubicBezTo>
                    <a:cubicBezTo>
                      <a:pt x="44" y="91"/>
                      <a:pt x="44" y="91"/>
                      <a:pt x="44" y="91"/>
                    </a:cubicBezTo>
                    <a:cubicBezTo>
                      <a:pt x="19" y="91"/>
                      <a:pt x="0" y="111"/>
                      <a:pt x="0" y="135"/>
                    </a:cubicBezTo>
                    <a:cubicBezTo>
                      <a:pt x="0" y="487"/>
                      <a:pt x="0" y="487"/>
                      <a:pt x="0" y="487"/>
                    </a:cubicBezTo>
                    <a:cubicBezTo>
                      <a:pt x="0" y="511"/>
                      <a:pt x="19" y="531"/>
                      <a:pt x="44" y="531"/>
                    </a:cubicBezTo>
                    <a:cubicBezTo>
                      <a:pt x="44" y="531"/>
                      <a:pt x="44" y="531"/>
                      <a:pt x="44" y="531"/>
                    </a:cubicBezTo>
                    <a:cubicBezTo>
                      <a:pt x="68" y="531"/>
                      <a:pt x="88" y="511"/>
                      <a:pt x="88" y="487"/>
                    </a:cubicBezTo>
                    <a:cubicBezTo>
                      <a:pt x="88" y="135"/>
                      <a:pt x="88" y="135"/>
                      <a:pt x="88" y="135"/>
                    </a:cubicBezTo>
                    <a:cubicBezTo>
                      <a:pt x="88" y="135"/>
                      <a:pt x="88" y="135"/>
                      <a:pt x="88" y="135"/>
                    </a:cubicBezTo>
                    <a:close/>
                    <a:moveTo>
                      <a:pt x="462" y="424"/>
                    </a:moveTo>
                    <a:cubicBezTo>
                      <a:pt x="462" y="448"/>
                      <a:pt x="481" y="468"/>
                      <a:pt x="506" y="468"/>
                    </a:cubicBezTo>
                    <a:cubicBezTo>
                      <a:pt x="506" y="468"/>
                      <a:pt x="506" y="468"/>
                      <a:pt x="506" y="468"/>
                    </a:cubicBezTo>
                    <a:cubicBezTo>
                      <a:pt x="530" y="468"/>
                      <a:pt x="550" y="448"/>
                      <a:pt x="550" y="424"/>
                    </a:cubicBezTo>
                    <a:cubicBezTo>
                      <a:pt x="550" y="72"/>
                      <a:pt x="550" y="72"/>
                      <a:pt x="550" y="72"/>
                    </a:cubicBezTo>
                    <a:cubicBezTo>
                      <a:pt x="550" y="48"/>
                      <a:pt x="530" y="28"/>
                      <a:pt x="506" y="28"/>
                    </a:cubicBezTo>
                    <a:cubicBezTo>
                      <a:pt x="506" y="28"/>
                      <a:pt x="506" y="28"/>
                      <a:pt x="506" y="28"/>
                    </a:cubicBezTo>
                    <a:cubicBezTo>
                      <a:pt x="481" y="28"/>
                      <a:pt x="462" y="48"/>
                      <a:pt x="462" y="72"/>
                    </a:cubicBezTo>
                    <a:cubicBezTo>
                      <a:pt x="462" y="424"/>
                      <a:pt x="462" y="424"/>
                      <a:pt x="462" y="424"/>
                    </a:cubicBezTo>
                    <a:cubicBezTo>
                      <a:pt x="462" y="424"/>
                      <a:pt x="462" y="424"/>
                      <a:pt x="462" y="424"/>
                    </a:cubicBezTo>
                    <a:close/>
                    <a:moveTo>
                      <a:pt x="608" y="487"/>
                    </a:moveTo>
                    <a:cubicBezTo>
                      <a:pt x="608" y="511"/>
                      <a:pt x="628" y="531"/>
                      <a:pt x="652" y="531"/>
                    </a:cubicBezTo>
                    <a:cubicBezTo>
                      <a:pt x="652" y="531"/>
                      <a:pt x="652" y="531"/>
                      <a:pt x="652" y="531"/>
                    </a:cubicBezTo>
                    <a:cubicBezTo>
                      <a:pt x="676" y="531"/>
                      <a:pt x="696" y="511"/>
                      <a:pt x="696" y="487"/>
                    </a:cubicBezTo>
                    <a:cubicBezTo>
                      <a:pt x="696" y="135"/>
                      <a:pt x="696" y="135"/>
                      <a:pt x="696" y="135"/>
                    </a:cubicBezTo>
                    <a:cubicBezTo>
                      <a:pt x="696" y="111"/>
                      <a:pt x="676" y="91"/>
                      <a:pt x="652" y="91"/>
                    </a:cubicBezTo>
                    <a:cubicBezTo>
                      <a:pt x="652" y="91"/>
                      <a:pt x="652" y="91"/>
                      <a:pt x="652" y="91"/>
                    </a:cubicBezTo>
                    <a:cubicBezTo>
                      <a:pt x="628" y="91"/>
                      <a:pt x="608" y="111"/>
                      <a:pt x="608" y="135"/>
                    </a:cubicBezTo>
                    <a:cubicBezTo>
                      <a:pt x="608" y="487"/>
                      <a:pt x="608" y="487"/>
                      <a:pt x="608" y="487"/>
                    </a:cubicBezTo>
                    <a:cubicBezTo>
                      <a:pt x="608" y="487"/>
                      <a:pt x="608" y="487"/>
                      <a:pt x="608" y="487"/>
                    </a:cubicBezTo>
                    <a:close/>
                  </a:path>
                </a:pathLst>
              </a:custGeom>
              <a:grpFill/>
              <a:ln w="10795" cap="flat" cmpd="sng" algn="ctr">
                <a:noFill/>
                <a:prstDash val="solid"/>
              </a:ln>
              <a:effectLst/>
            </p:spPr>
            <p:txBody>
              <a:bodyPr rtlCol="0" anchor="ctr"/>
              <a:lstStyle/>
              <a:p>
                <a:pPr algn="ctr"/>
                <a:endParaRPr lang="en-US" kern="0" dirty="0">
                  <a:solidFill>
                    <a:prstClr val="white"/>
                  </a:solidFill>
                  <a:latin typeface="Microsoft Sans Serif"/>
                </a:endParaRPr>
              </a:p>
            </p:txBody>
          </p:sp>
        </p:grpSp>
        <p:grpSp>
          <p:nvGrpSpPr>
            <p:cNvPr id="94" name="Group 11">
              <a:extLst>
                <a:ext uri="{FF2B5EF4-FFF2-40B4-BE49-F238E27FC236}">
                  <a16:creationId xmlns:a16="http://schemas.microsoft.com/office/drawing/2014/main" id="{BFB5C9C7-E140-4A8E-9F23-95934FA03953}"/>
                </a:ext>
              </a:extLst>
            </p:cNvPr>
            <p:cNvGrpSpPr>
              <a:grpSpLocks noChangeAspect="1"/>
            </p:cNvGrpSpPr>
            <p:nvPr/>
          </p:nvGrpSpPr>
          <p:grpSpPr bwMode="auto">
            <a:xfrm>
              <a:off x="9607207" y="4307275"/>
              <a:ext cx="569503" cy="352831"/>
              <a:chOff x="5945" y="3147"/>
              <a:chExt cx="481" cy="298"/>
            </a:xfrm>
            <a:grpFill/>
          </p:grpSpPr>
          <p:sp>
            <p:nvSpPr>
              <p:cNvPr id="95" name="Freeform 12">
                <a:extLst>
                  <a:ext uri="{FF2B5EF4-FFF2-40B4-BE49-F238E27FC236}">
                    <a16:creationId xmlns:a16="http://schemas.microsoft.com/office/drawing/2014/main" id="{A1B5A1EB-8A66-4205-BBD4-278BBD57F36A}"/>
                  </a:ext>
                </a:extLst>
              </p:cNvPr>
              <p:cNvSpPr>
                <a:spLocks/>
              </p:cNvSpPr>
              <p:nvPr/>
            </p:nvSpPr>
            <p:spPr bwMode="auto">
              <a:xfrm>
                <a:off x="6029" y="3232"/>
                <a:ext cx="313" cy="184"/>
              </a:xfrm>
              <a:custGeom>
                <a:avLst/>
                <a:gdLst>
                  <a:gd name="T0" fmla="*/ 120 w 442"/>
                  <a:gd name="T1" fmla="*/ 255 h 259"/>
                  <a:gd name="T2" fmla="*/ 114 w 442"/>
                  <a:gd name="T3" fmla="*/ 220 h 259"/>
                  <a:gd name="T4" fmla="*/ 221 w 442"/>
                  <a:gd name="T5" fmla="*/ 113 h 259"/>
                  <a:gd name="T6" fmla="*/ 329 w 442"/>
                  <a:gd name="T7" fmla="*/ 220 h 259"/>
                  <a:gd name="T8" fmla="*/ 325 w 442"/>
                  <a:gd name="T9" fmla="*/ 248 h 259"/>
                  <a:gd name="T10" fmla="*/ 375 w 442"/>
                  <a:gd name="T11" fmla="*/ 232 h 259"/>
                  <a:gd name="T12" fmla="*/ 438 w 442"/>
                  <a:gd name="T13" fmla="*/ 259 h 259"/>
                  <a:gd name="T14" fmla="*/ 442 w 442"/>
                  <a:gd name="T15" fmla="*/ 220 h 259"/>
                  <a:gd name="T16" fmla="*/ 221 w 442"/>
                  <a:gd name="T17" fmla="*/ 0 h 259"/>
                  <a:gd name="T18" fmla="*/ 0 w 442"/>
                  <a:gd name="T19" fmla="*/ 220 h 259"/>
                  <a:gd name="T20" fmla="*/ 3 w 442"/>
                  <a:gd name="T21" fmla="*/ 253 h 259"/>
                  <a:gd name="T22" fmla="*/ 60 w 442"/>
                  <a:gd name="T23" fmla="*/ 232 h 259"/>
                  <a:gd name="T24" fmla="*/ 120 w 442"/>
                  <a:gd name="T25" fmla="*/ 25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 h="259">
                    <a:moveTo>
                      <a:pt x="120" y="255"/>
                    </a:moveTo>
                    <a:cubicBezTo>
                      <a:pt x="116" y="244"/>
                      <a:pt x="114" y="232"/>
                      <a:pt x="114" y="220"/>
                    </a:cubicBezTo>
                    <a:cubicBezTo>
                      <a:pt x="114" y="161"/>
                      <a:pt x="162" y="113"/>
                      <a:pt x="221" y="113"/>
                    </a:cubicBezTo>
                    <a:cubicBezTo>
                      <a:pt x="280" y="113"/>
                      <a:pt x="329" y="161"/>
                      <a:pt x="329" y="220"/>
                    </a:cubicBezTo>
                    <a:cubicBezTo>
                      <a:pt x="329" y="230"/>
                      <a:pt x="327" y="239"/>
                      <a:pt x="325" y="248"/>
                    </a:cubicBezTo>
                    <a:cubicBezTo>
                      <a:pt x="339" y="238"/>
                      <a:pt x="357" y="232"/>
                      <a:pt x="375" y="232"/>
                    </a:cubicBezTo>
                    <a:cubicBezTo>
                      <a:pt x="400" y="232"/>
                      <a:pt x="422" y="242"/>
                      <a:pt x="438" y="259"/>
                    </a:cubicBezTo>
                    <a:cubicBezTo>
                      <a:pt x="441" y="246"/>
                      <a:pt x="442" y="233"/>
                      <a:pt x="442" y="220"/>
                    </a:cubicBezTo>
                    <a:cubicBezTo>
                      <a:pt x="442" y="98"/>
                      <a:pt x="343" y="0"/>
                      <a:pt x="221" y="0"/>
                    </a:cubicBezTo>
                    <a:cubicBezTo>
                      <a:pt x="99" y="0"/>
                      <a:pt x="0" y="98"/>
                      <a:pt x="0" y="220"/>
                    </a:cubicBezTo>
                    <a:cubicBezTo>
                      <a:pt x="0" y="231"/>
                      <a:pt x="1" y="242"/>
                      <a:pt x="3" y="253"/>
                    </a:cubicBezTo>
                    <a:cubicBezTo>
                      <a:pt x="18" y="240"/>
                      <a:pt x="38" y="232"/>
                      <a:pt x="60" y="232"/>
                    </a:cubicBezTo>
                    <a:cubicBezTo>
                      <a:pt x="83" y="232"/>
                      <a:pt x="104" y="241"/>
                      <a:pt x="120"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3">
                <a:extLst>
                  <a:ext uri="{FF2B5EF4-FFF2-40B4-BE49-F238E27FC236}">
                    <a16:creationId xmlns:a16="http://schemas.microsoft.com/office/drawing/2014/main" id="{251E1F98-6C32-47F5-BF73-3C6C541BDDB4}"/>
                  </a:ext>
                </a:extLst>
              </p:cNvPr>
              <p:cNvSpPr>
                <a:spLocks/>
              </p:cNvSpPr>
              <p:nvPr/>
            </p:nvSpPr>
            <p:spPr bwMode="auto">
              <a:xfrm>
                <a:off x="5945" y="3147"/>
                <a:ext cx="481" cy="298"/>
              </a:xfrm>
              <a:custGeom>
                <a:avLst/>
                <a:gdLst>
                  <a:gd name="T0" fmla="*/ 10 w 680"/>
                  <a:gd name="T1" fmla="*/ 340 h 420"/>
                  <a:gd name="T2" fmla="*/ 340 w 680"/>
                  <a:gd name="T3" fmla="*/ 10 h 420"/>
                  <a:gd name="T4" fmla="*/ 670 w 680"/>
                  <a:gd name="T5" fmla="*/ 340 h 420"/>
                  <a:gd name="T6" fmla="*/ 661 w 680"/>
                  <a:gd name="T7" fmla="*/ 417 h 420"/>
                  <a:gd name="T8" fmla="*/ 671 w 680"/>
                  <a:gd name="T9" fmla="*/ 420 h 420"/>
                  <a:gd name="T10" fmla="*/ 680 w 680"/>
                  <a:gd name="T11" fmla="*/ 340 h 420"/>
                  <a:gd name="T12" fmla="*/ 340 w 680"/>
                  <a:gd name="T13" fmla="*/ 0 h 420"/>
                  <a:gd name="T14" fmla="*/ 0 w 680"/>
                  <a:gd name="T15" fmla="*/ 340 h 420"/>
                  <a:gd name="T16" fmla="*/ 9 w 680"/>
                  <a:gd name="T17" fmla="*/ 418 h 420"/>
                  <a:gd name="T18" fmla="*/ 19 w 680"/>
                  <a:gd name="T19" fmla="*/ 415 h 420"/>
                  <a:gd name="T20" fmla="*/ 10 w 680"/>
                  <a:gd name="T21" fmla="*/ 34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0" h="420">
                    <a:moveTo>
                      <a:pt x="10" y="340"/>
                    </a:moveTo>
                    <a:cubicBezTo>
                      <a:pt x="10" y="158"/>
                      <a:pt x="158" y="10"/>
                      <a:pt x="340" y="10"/>
                    </a:cubicBezTo>
                    <a:cubicBezTo>
                      <a:pt x="522" y="10"/>
                      <a:pt x="670" y="158"/>
                      <a:pt x="670" y="340"/>
                    </a:cubicBezTo>
                    <a:cubicBezTo>
                      <a:pt x="670" y="366"/>
                      <a:pt x="667" y="392"/>
                      <a:pt x="661" y="417"/>
                    </a:cubicBezTo>
                    <a:cubicBezTo>
                      <a:pt x="664" y="417"/>
                      <a:pt x="668" y="418"/>
                      <a:pt x="671" y="420"/>
                    </a:cubicBezTo>
                    <a:cubicBezTo>
                      <a:pt x="677" y="394"/>
                      <a:pt x="680" y="367"/>
                      <a:pt x="680" y="340"/>
                    </a:cubicBezTo>
                    <a:cubicBezTo>
                      <a:pt x="680" y="152"/>
                      <a:pt x="528" y="0"/>
                      <a:pt x="340" y="0"/>
                    </a:cubicBezTo>
                    <a:cubicBezTo>
                      <a:pt x="152" y="0"/>
                      <a:pt x="0" y="152"/>
                      <a:pt x="0" y="340"/>
                    </a:cubicBezTo>
                    <a:cubicBezTo>
                      <a:pt x="0" y="367"/>
                      <a:pt x="3" y="393"/>
                      <a:pt x="9" y="418"/>
                    </a:cubicBezTo>
                    <a:cubicBezTo>
                      <a:pt x="12" y="417"/>
                      <a:pt x="16" y="416"/>
                      <a:pt x="19" y="415"/>
                    </a:cubicBezTo>
                    <a:cubicBezTo>
                      <a:pt x="14" y="391"/>
                      <a:pt x="10" y="366"/>
                      <a:pt x="10" y="3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99" name="Freeform 5">
            <a:extLst>
              <a:ext uri="{FF2B5EF4-FFF2-40B4-BE49-F238E27FC236}">
                <a16:creationId xmlns:a16="http://schemas.microsoft.com/office/drawing/2014/main" id="{2E637E98-7E6E-4149-9D17-493A72166E93}"/>
              </a:ext>
            </a:extLst>
          </p:cNvPr>
          <p:cNvSpPr>
            <a:spLocks noChangeAspect="1"/>
          </p:cNvSpPr>
          <p:nvPr/>
        </p:nvSpPr>
        <p:spPr bwMode="auto">
          <a:xfrm>
            <a:off x="4112373" y="3073388"/>
            <a:ext cx="2010965" cy="1263839"/>
          </a:xfrm>
          <a:custGeom>
            <a:avLst/>
            <a:gdLst>
              <a:gd name="T0" fmla="*/ 988 w 1211"/>
              <a:gd name="T1" fmla="*/ 279 h 760"/>
              <a:gd name="T2" fmla="*/ 993 w 1211"/>
              <a:gd name="T3" fmla="*/ 231 h 760"/>
              <a:gd name="T4" fmla="*/ 762 w 1211"/>
              <a:gd name="T5" fmla="*/ 0 h 760"/>
              <a:gd name="T6" fmla="*/ 551 w 1211"/>
              <a:gd name="T7" fmla="*/ 136 h 760"/>
              <a:gd name="T8" fmla="*/ 478 w 1211"/>
              <a:gd name="T9" fmla="*/ 120 h 760"/>
              <a:gd name="T10" fmla="*/ 308 w 1211"/>
              <a:gd name="T11" fmla="*/ 279 h 760"/>
              <a:gd name="T12" fmla="*/ 240 w 1211"/>
              <a:gd name="T13" fmla="*/ 279 h 760"/>
              <a:gd name="T14" fmla="*/ 0 w 1211"/>
              <a:gd name="T15" fmla="*/ 519 h 760"/>
              <a:gd name="T16" fmla="*/ 240 w 1211"/>
              <a:gd name="T17" fmla="*/ 760 h 760"/>
              <a:gd name="T18" fmla="*/ 971 w 1211"/>
              <a:gd name="T19" fmla="*/ 760 h 760"/>
              <a:gd name="T20" fmla="*/ 1211 w 1211"/>
              <a:gd name="T21" fmla="*/ 519 h 760"/>
              <a:gd name="T22" fmla="*/ 988 w 1211"/>
              <a:gd name="T23" fmla="*/ 27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1" h="760">
                <a:moveTo>
                  <a:pt x="988" y="279"/>
                </a:moveTo>
                <a:cubicBezTo>
                  <a:pt x="991" y="264"/>
                  <a:pt x="993" y="247"/>
                  <a:pt x="993" y="231"/>
                </a:cubicBezTo>
                <a:cubicBezTo>
                  <a:pt x="993" y="103"/>
                  <a:pt x="889" y="0"/>
                  <a:pt x="762" y="0"/>
                </a:cubicBezTo>
                <a:cubicBezTo>
                  <a:pt x="668" y="0"/>
                  <a:pt x="587" y="56"/>
                  <a:pt x="551" y="136"/>
                </a:cubicBezTo>
                <a:cubicBezTo>
                  <a:pt x="529" y="126"/>
                  <a:pt x="504" y="120"/>
                  <a:pt x="478" y="120"/>
                </a:cubicBezTo>
                <a:cubicBezTo>
                  <a:pt x="388" y="120"/>
                  <a:pt x="314" y="190"/>
                  <a:pt x="308" y="279"/>
                </a:cubicBezTo>
                <a:cubicBezTo>
                  <a:pt x="240" y="279"/>
                  <a:pt x="240" y="279"/>
                  <a:pt x="240" y="279"/>
                </a:cubicBezTo>
                <a:cubicBezTo>
                  <a:pt x="107" y="279"/>
                  <a:pt x="0" y="386"/>
                  <a:pt x="0" y="519"/>
                </a:cubicBezTo>
                <a:cubicBezTo>
                  <a:pt x="0" y="652"/>
                  <a:pt x="107" y="760"/>
                  <a:pt x="240" y="760"/>
                </a:cubicBezTo>
                <a:cubicBezTo>
                  <a:pt x="971" y="760"/>
                  <a:pt x="971" y="760"/>
                  <a:pt x="971" y="760"/>
                </a:cubicBezTo>
                <a:cubicBezTo>
                  <a:pt x="1104" y="760"/>
                  <a:pt x="1211" y="652"/>
                  <a:pt x="1211" y="519"/>
                </a:cubicBezTo>
                <a:cubicBezTo>
                  <a:pt x="1211" y="392"/>
                  <a:pt x="1113" y="288"/>
                  <a:pt x="988" y="279"/>
                </a:cubicBezTo>
                <a:close/>
              </a:path>
            </a:pathLst>
          </a:custGeom>
          <a:solidFill>
            <a:schemeClr val="accent1">
              <a:lumMod val="100000"/>
            </a:schemeClr>
          </a:solidFill>
          <a:ln w="10795" cap="flat" cmpd="sng" algn="ctr">
            <a:noFill/>
            <a:prstDash val="solid"/>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Microsoft Sans Serif"/>
                <a:ea typeface="+mn-ea"/>
                <a:cs typeface="+mn-cs"/>
              </a:rPr>
              <a:t>Internet</a:t>
            </a:r>
            <a:br>
              <a:rPr kumimoji="0" lang="de-DE" sz="1800" b="0" i="0" u="none" strike="noStrike" kern="0" cap="none" spc="0" normalizeH="0" baseline="0" noProof="0" dirty="0">
                <a:ln>
                  <a:noFill/>
                </a:ln>
                <a:solidFill>
                  <a:prstClr val="white"/>
                </a:solidFill>
                <a:effectLst/>
                <a:uLnTx/>
                <a:uFillTx/>
                <a:latin typeface="Microsoft Sans Serif"/>
                <a:ea typeface="+mn-ea"/>
                <a:cs typeface="+mn-cs"/>
              </a:rPr>
            </a:br>
            <a:r>
              <a:rPr kumimoji="0" lang="de-DE" sz="1800" b="0" i="0" u="none" strike="noStrike" kern="0" cap="none" spc="0" normalizeH="0" baseline="0" noProof="0" dirty="0">
                <a:ln>
                  <a:noFill/>
                </a:ln>
                <a:solidFill>
                  <a:prstClr val="white"/>
                </a:solidFill>
                <a:effectLst/>
                <a:uLnTx/>
                <a:uFillTx/>
                <a:latin typeface="Microsoft Sans Serif"/>
                <a:ea typeface="+mn-ea"/>
                <a:cs typeface="+mn-cs"/>
              </a:rPr>
              <a:t>Cloud/</a:t>
            </a:r>
            <a:r>
              <a:rPr lang="de-DE" kern="0" dirty="0">
                <a:solidFill>
                  <a:prstClr val="white"/>
                </a:solidFill>
                <a:latin typeface="Microsoft Sans Serif"/>
              </a:rPr>
              <a:t>Edge</a:t>
            </a:r>
            <a:endParaRPr kumimoji="0" lang="en-US" sz="1800" b="0" i="0" u="none" strike="noStrike" kern="0" cap="none" spc="0" normalizeH="0" baseline="0" noProof="0" dirty="0">
              <a:ln>
                <a:noFill/>
              </a:ln>
              <a:solidFill>
                <a:prstClr val="white"/>
              </a:solidFill>
              <a:effectLst/>
              <a:uLnTx/>
              <a:uFillTx/>
              <a:latin typeface="Microsoft Sans Serif"/>
              <a:ea typeface="+mn-ea"/>
              <a:cs typeface="+mn-cs"/>
            </a:endParaRPr>
          </a:p>
        </p:txBody>
      </p:sp>
      <p:pic>
        <p:nvPicPr>
          <p:cNvPr id="6" name="Graphic 5" descr="Questions">
            <a:extLst>
              <a:ext uri="{FF2B5EF4-FFF2-40B4-BE49-F238E27FC236}">
                <a16:creationId xmlns:a16="http://schemas.microsoft.com/office/drawing/2014/main" id="{9D26C3B8-262C-49FD-B759-130C005650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70825" y="2386994"/>
            <a:ext cx="1377390" cy="1377390"/>
          </a:xfrm>
          <a:prstGeom prst="rect">
            <a:avLst/>
          </a:prstGeom>
        </p:spPr>
      </p:pic>
      <p:sp>
        <p:nvSpPr>
          <p:cNvPr id="9" name="TextBox 8">
            <a:extLst>
              <a:ext uri="{FF2B5EF4-FFF2-40B4-BE49-F238E27FC236}">
                <a16:creationId xmlns:a16="http://schemas.microsoft.com/office/drawing/2014/main" id="{A6419F95-83F2-4DCC-A23C-24EDD1A7F281}"/>
              </a:ext>
            </a:extLst>
          </p:cNvPr>
          <p:cNvSpPr txBox="1"/>
          <p:nvPr/>
        </p:nvSpPr>
        <p:spPr>
          <a:xfrm>
            <a:off x="7122328" y="4158326"/>
            <a:ext cx="697307" cy="472694"/>
          </a:xfrm>
          <a:prstGeom prst="rect">
            <a:avLst/>
          </a:prstGeom>
        </p:spPr>
        <p:txBody>
          <a:bodyPr wrap="none" lIns="0" tIns="0" rIns="0" bIns="0" rtlCol="0">
            <a:spAutoFit/>
          </a:bodyPr>
          <a:lstStyle/>
          <a:p>
            <a:pPr algn="ctr">
              <a:lnSpc>
                <a:spcPct val="96000"/>
              </a:lnSpc>
            </a:pPr>
            <a:r>
              <a:rPr lang="de-DE" sz="1600" dirty="0">
                <a:solidFill>
                  <a:schemeClr val="tx2"/>
                </a:solidFill>
                <a:latin typeface="Microsoft Sans Serif"/>
                <a:cs typeface="Microsoft Sans Serif" panose="020B0604020202020204" pitchFamily="34" charset="0"/>
              </a:rPr>
              <a:t>Cellular</a:t>
            </a:r>
            <a:br>
              <a:rPr lang="de-DE" sz="1600" dirty="0">
                <a:solidFill>
                  <a:schemeClr val="tx2"/>
                </a:solidFill>
                <a:latin typeface="Microsoft Sans Serif"/>
                <a:cs typeface="Microsoft Sans Serif" panose="020B0604020202020204" pitchFamily="34" charset="0"/>
              </a:rPr>
            </a:br>
            <a:r>
              <a:rPr lang="de-DE" sz="1600" dirty="0">
                <a:solidFill>
                  <a:schemeClr val="tx2"/>
                </a:solidFill>
                <a:latin typeface="Microsoft Sans Serif"/>
                <a:cs typeface="Microsoft Sans Serif" panose="020B0604020202020204" pitchFamily="34" charset="0"/>
              </a:rPr>
              <a:t>WiFi</a:t>
            </a:r>
            <a:endParaRPr lang="en-US" sz="1600" dirty="0">
              <a:solidFill>
                <a:schemeClr val="tx2"/>
              </a:solidFill>
              <a:latin typeface="Microsoft Sans Serif"/>
              <a:cs typeface="Microsoft Sans Serif" panose="020B0604020202020204" pitchFamily="34" charset="0"/>
            </a:endParaRPr>
          </a:p>
        </p:txBody>
      </p:sp>
      <p:sp>
        <p:nvSpPr>
          <p:cNvPr id="11" name="Arrow: Right 10">
            <a:extLst>
              <a:ext uri="{FF2B5EF4-FFF2-40B4-BE49-F238E27FC236}">
                <a16:creationId xmlns:a16="http://schemas.microsoft.com/office/drawing/2014/main" id="{5A86D97C-0DF1-4B2E-BF7E-55CE58DD3890}"/>
              </a:ext>
            </a:extLst>
          </p:cNvPr>
          <p:cNvSpPr/>
          <p:nvPr/>
        </p:nvSpPr>
        <p:spPr>
          <a:xfrm>
            <a:off x="2806666" y="3786563"/>
            <a:ext cx="1305707" cy="3668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pic>
        <p:nvPicPr>
          <p:cNvPr id="101" name="Graphic 100" descr="Questions">
            <a:extLst>
              <a:ext uri="{FF2B5EF4-FFF2-40B4-BE49-F238E27FC236}">
                <a16:creationId xmlns:a16="http://schemas.microsoft.com/office/drawing/2014/main" id="{E63E4D0C-0C30-4B65-8B2E-372A89FCB6C2}"/>
              </a:ext>
            </a:extLst>
          </p:cNvPr>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5794143" y="2393545"/>
            <a:ext cx="1377390" cy="1377390"/>
          </a:xfrm>
          <a:prstGeom prst="rect">
            <a:avLst/>
          </a:prstGeom>
        </p:spPr>
      </p:pic>
      <p:sp>
        <p:nvSpPr>
          <p:cNvPr id="43" name="Arrow: Right 42">
            <a:extLst>
              <a:ext uri="{FF2B5EF4-FFF2-40B4-BE49-F238E27FC236}">
                <a16:creationId xmlns:a16="http://schemas.microsoft.com/office/drawing/2014/main" id="{BA907135-9290-41BA-8717-2B33AB99C8B3}"/>
              </a:ext>
            </a:extLst>
          </p:cNvPr>
          <p:cNvSpPr/>
          <p:nvPr/>
        </p:nvSpPr>
        <p:spPr>
          <a:xfrm>
            <a:off x="6099549" y="3794632"/>
            <a:ext cx="1065807" cy="3668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6" name="Scroll: Vertical 45">
            <a:extLst>
              <a:ext uri="{FF2B5EF4-FFF2-40B4-BE49-F238E27FC236}">
                <a16:creationId xmlns:a16="http://schemas.microsoft.com/office/drawing/2014/main" id="{3298E6C6-1F08-4408-960E-52FA72F95F5A}"/>
              </a:ext>
            </a:extLst>
          </p:cNvPr>
          <p:cNvSpPr/>
          <p:nvPr/>
        </p:nvSpPr>
        <p:spPr>
          <a:xfrm>
            <a:off x="9501764" y="1151019"/>
            <a:ext cx="2710524" cy="5562458"/>
          </a:xfrm>
          <a:prstGeom prst="verticalScroll">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UHD/8K</a:t>
            </a:r>
          </a:p>
          <a:p>
            <a:pPr algn="ctr"/>
            <a:r>
              <a:rPr lang="de-DE" sz="2000" dirty="0"/>
              <a:t>Social</a:t>
            </a:r>
          </a:p>
          <a:p>
            <a:pPr algn="ctr"/>
            <a:r>
              <a:rPr lang="de-DE" sz="2000" dirty="0"/>
              <a:t>3D</a:t>
            </a:r>
          </a:p>
          <a:p>
            <a:pPr algn="ctr"/>
            <a:r>
              <a:rPr lang="de-DE" sz="2000" dirty="0"/>
              <a:t>Immersive</a:t>
            </a:r>
          </a:p>
          <a:p>
            <a:pPr algn="ctr"/>
            <a:r>
              <a:rPr lang="de-DE" sz="2000" dirty="0"/>
              <a:t>Personalized</a:t>
            </a:r>
          </a:p>
          <a:p>
            <a:pPr algn="ctr"/>
            <a:r>
              <a:rPr lang="de-DE" sz="2000" dirty="0"/>
              <a:t>Interactive</a:t>
            </a:r>
          </a:p>
          <a:p>
            <a:pPr algn="ctr"/>
            <a:r>
              <a:rPr lang="de-DE" sz="2000" dirty="0"/>
              <a:t>Gaming-like</a:t>
            </a:r>
          </a:p>
          <a:p>
            <a:pPr algn="ctr"/>
            <a:r>
              <a:rPr lang="de-DE" sz="2000" dirty="0"/>
              <a:t>Short &amp; long</a:t>
            </a:r>
          </a:p>
          <a:p>
            <a:pPr algn="ctr"/>
            <a:r>
              <a:rPr lang="de-DE" sz="2000" dirty="0"/>
              <a:t>Live </a:t>
            </a:r>
          </a:p>
          <a:p>
            <a:pPr algn="ctr"/>
            <a:r>
              <a:rPr lang="de-DE" sz="2000" dirty="0"/>
              <a:t>On-Demand</a:t>
            </a:r>
          </a:p>
          <a:p>
            <a:pPr algn="ctr"/>
            <a:r>
              <a:rPr lang="de-DE" sz="2000" dirty="0"/>
              <a:t>User Generated</a:t>
            </a:r>
          </a:p>
          <a:p>
            <a:pPr algn="ctr"/>
            <a:r>
              <a:rPr lang="de-DE" sz="2000" dirty="0"/>
              <a:t>AI-supported</a:t>
            </a:r>
          </a:p>
          <a:p>
            <a:pPr algn="ctr"/>
            <a:r>
              <a:rPr lang="de-DE" sz="2000" dirty="0"/>
              <a:t>Location</a:t>
            </a:r>
          </a:p>
          <a:p>
            <a:pPr algn="ctr"/>
            <a:r>
              <a:rPr lang="de-DE" sz="2000" dirty="0"/>
              <a:t>Global</a:t>
            </a:r>
          </a:p>
          <a:p>
            <a:pPr algn="ctr"/>
            <a:r>
              <a:rPr lang="de-DE" sz="2000" dirty="0"/>
              <a:t>Secure</a:t>
            </a:r>
          </a:p>
          <a:p>
            <a:pPr algn="ctr"/>
            <a:r>
              <a:rPr lang="de-DE" sz="2000" dirty="0"/>
              <a:t>Time-shift</a:t>
            </a:r>
          </a:p>
          <a:p>
            <a:pPr algn="ctr"/>
            <a:r>
              <a:rPr lang="de-DE" sz="2000" dirty="0"/>
              <a:t>…</a:t>
            </a:r>
          </a:p>
        </p:txBody>
      </p:sp>
      <p:graphicFrame>
        <p:nvGraphicFramePr>
          <p:cNvPr id="48" name="Content Placeholder 2">
            <a:extLst>
              <a:ext uri="{FF2B5EF4-FFF2-40B4-BE49-F238E27FC236}">
                <a16:creationId xmlns:a16="http://schemas.microsoft.com/office/drawing/2014/main" id="{49CAB64C-65DE-4FCB-B86A-0A85DF454287}"/>
              </a:ext>
            </a:extLst>
          </p:cNvPr>
          <p:cNvGraphicFramePr>
            <a:graphicFrameLocks noGrp="1"/>
          </p:cNvGraphicFramePr>
          <p:nvPr>
            <p:ph sz="quarter" idx="12"/>
          </p:nvPr>
        </p:nvGraphicFramePr>
        <p:xfrm>
          <a:off x="30969" y="5009774"/>
          <a:ext cx="5444864" cy="16730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 name="Footer Placeholder 2">
            <a:extLst>
              <a:ext uri="{FF2B5EF4-FFF2-40B4-BE49-F238E27FC236}">
                <a16:creationId xmlns:a16="http://schemas.microsoft.com/office/drawing/2014/main" id="{AD7C50A9-08D1-4A94-9040-8C338FCF6B92}"/>
              </a:ext>
            </a:extLst>
          </p:cNvPr>
          <p:cNvSpPr>
            <a:spLocks noGrp="1"/>
          </p:cNvSpPr>
          <p:nvPr>
            <p:ph type="ftr" sz="quarter" idx="3"/>
          </p:nvPr>
        </p:nvSpPr>
        <p:spPr/>
        <p:txBody>
          <a:bodyPr/>
          <a:lstStyle/>
          <a:p>
            <a:r>
              <a:rPr lang="nn-NO"/>
              <a:t>IBC 2023</a:t>
            </a:r>
            <a:endParaRPr lang="en-US"/>
          </a:p>
        </p:txBody>
      </p:sp>
      <p:pic>
        <p:nvPicPr>
          <p:cNvPr id="51" name="Picture 50">
            <a:extLst>
              <a:ext uri="{FF2B5EF4-FFF2-40B4-BE49-F238E27FC236}">
                <a16:creationId xmlns:a16="http://schemas.microsoft.com/office/drawing/2014/main" id="{B4259B68-9331-4626-8100-0DE114729914}"/>
              </a:ext>
            </a:extLst>
          </p:cNvPr>
          <p:cNvPicPr>
            <a:picLocks noChangeAspect="1"/>
          </p:cNvPicPr>
          <p:nvPr/>
        </p:nvPicPr>
        <p:blipFill rotWithShape="1">
          <a:blip r:embed="rId17">
            <a:extLst>
              <a:ext uri="{28A0092B-C50C-407E-A947-70E740481C1C}">
                <a14:useLocalDpi xmlns:a14="http://schemas.microsoft.com/office/drawing/2010/main" val="0"/>
              </a:ext>
            </a:extLst>
          </a:blip>
          <a:srcRect r="6178" b="259"/>
          <a:stretch/>
        </p:blipFill>
        <p:spPr>
          <a:xfrm>
            <a:off x="7422355" y="4764999"/>
            <a:ext cx="1774146" cy="1833635"/>
          </a:xfrm>
          <a:prstGeom prst="rect">
            <a:avLst/>
          </a:prstGeom>
        </p:spPr>
      </p:pic>
      <p:sp>
        <p:nvSpPr>
          <p:cNvPr id="5" name="Rectangle 4">
            <a:extLst>
              <a:ext uri="{FF2B5EF4-FFF2-40B4-BE49-F238E27FC236}">
                <a16:creationId xmlns:a16="http://schemas.microsoft.com/office/drawing/2014/main" id="{C7F66CB7-32B2-F5FB-9967-7C2460F945AA}"/>
              </a:ext>
            </a:extLst>
          </p:cNvPr>
          <p:cNvSpPr/>
          <p:nvPr/>
        </p:nvSpPr>
        <p:spPr>
          <a:xfrm>
            <a:off x="5426004" y="4252982"/>
            <a:ext cx="1608133" cy="923330"/>
          </a:xfrm>
          <a:prstGeom prst="rect">
            <a:avLst/>
          </a:prstGeom>
          <a:noFill/>
        </p:spPr>
        <p:txBody>
          <a:bodyPr wrap="none" lIns="91440" tIns="45720" rIns="91440" bIns="45720">
            <a:spAutoFit/>
          </a:bodyPr>
          <a:lstStyle/>
          <a:p>
            <a:pPr algn="ctr"/>
            <a:r>
              <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UHF</a:t>
            </a:r>
          </a:p>
        </p:txBody>
      </p:sp>
    </p:spTree>
    <p:custDataLst>
      <p:tags r:id="rId1"/>
    </p:custDataLst>
    <p:extLst>
      <p:ext uri="{BB962C8B-B14F-4D97-AF65-F5344CB8AC3E}">
        <p14:creationId xmlns:p14="http://schemas.microsoft.com/office/powerpoint/2010/main" val="4061452674"/>
      </p:ext>
    </p:extLst>
  </p:cSld>
  <p:clrMapOvr>
    <a:masterClrMapping/>
  </p:clrMapOvr>
  <mc:AlternateContent xmlns:mc="http://schemas.openxmlformats.org/markup-compatibility/2006" xmlns:p14="http://schemas.microsoft.com/office/powerpoint/2010/main">
    <mc:Choice Requires="p14">
      <p:transition spd="med" p14:dur="700" advTm="52362">
        <p:fade/>
      </p:transition>
    </mc:Choice>
    <mc:Fallback xmlns="">
      <p:transition spd="med" advTm="5236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Graphic spid="48" grpId="0">
        <p:bldAsOne/>
      </p:bldGraphic>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F0F725-6173-4AED-80E6-AD7A9BC86CDC}"/>
              </a:ext>
            </a:extLst>
          </p:cNvPr>
          <p:cNvSpPr>
            <a:spLocks noGrp="1"/>
          </p:cNvSpPr>
          <p:nvPr>
            <p:ph type="title"/>
          </p:nvPr>
        </p:nvSpPr>
        <p:spPr>
          <a:xfrm>
            <a:off x="495300" y="642644"/>
            <a:ext cx="11187112" cy="361959"/>
          </a:xfrm>
        </p:spPr>
        <p:txBody>
          <a:bodyPr/>
          <a:lstStyle/>
          <a:p>
            <a:r>
              <a:rPr lang="en-US"/>
              <a:t>Proposal to enable clean coexistence</a:t>
            </a:r>
          </a:p>
        </p:txBody>
      </p:sp>
      <p:sp>
        <p:nvSpPr>
          <p:cNvPr id="11" name="Content Placeholder 10">
            <a:extLst>
              <a:ext uri="{FF2B5EF4-FFF2-40B4-BE49-F238E27FC236}">
                <a16:creationId xmlns:a16="http://schemas.microsoft.com/office/drawing/2014/main" id="{5ECF620F-E60C-41DB-ACD4-D31BB4B376A1}"/>
              </a:ext>
            </a:extLst>
          </p:cNvPr>
          <p:cNvSpPr>
            <a:spLocks noGrp="1"/>
          </p:cNvSpPr>
          <p:nvPr>
            <p:ph sz="quarter" idx="14"/>
          </p:nvPr>
        </p:nvSpPr>
        <p:spPr>
          <a:xfrm>
            <a:off x="495300" y="1510392"/>
            <a:ext cx="11187112" cy="1452086"/>
          </a:xfrm>
        </p:spPr>
        <p:txBody>
          <a:bodyPr/>
          <a:lstStyle/>
          <a:p>
            <a:r>
              <a:rPr lang="en-US" b="1" u="sng" dirty="0"/>
              <a:t>Proposal 1:</a:t>
            </a:r>
            <a:r>
              <a:rPr lang="en-US" b="1" dirty="0"/>
              <a:t> </a:t>
            </a:r>
            <a:r>
              <a:rPr lang="en-US" dirty="0"/>
              <a:t>Standardize “</a:t>
            </a:r>
            <a:r>
              <a:rPr lang="en-US" b="1" dirty="0">
                <a:solidFill>
                  <a:schemeClr val="accent1"/>
                </a:solidFill>
              </a:rPr>
              <a:t>CAS muting</a:t>
            </a:r>
            <a:r>
              <a:rPr lang="en-US" dirty="0"/>
              <a:t>”, i.e., the CAS can be dropped with some pattern that is known to the UE.</a:t>
            </a:r>
          </a:p>
          <a:p>
            <a:pPr lvl="1"/>
            <a:r>
              <a:rPr lang="en-US" sz="1800" dirty="0"/>
              <a:t>The muting of other signals (e.g. MCCH) would follow “CAS” muting.</a:t>
            </a:r>
          </a:p>
          <a:p>
            <a:pPr lvl="1"/>
            <a:r>
              <a:rPr lang="en-US" sz="1800" dirty="0"/>
              <a:t>MTCH will be scheduled during the ON periods.</a:t>
            </a:r>
          </a:p>
        </p:txBody>
      </p:sp>
      <p:graphicFrame>
        <p:nvGraphicFramePr>
          <p:cNvPr id="2" name="Table 6">
            <a:extLst>
              <a:ext uri="{FF2B5EF4-FFF2-40B4-BE49-F238E27FC236}">
                <a16:creationId xmlns:a16="http://schemas.microsoft.com/office/drawing/2014/main" id="{137C0A19-8AD7-D004-A0F4-66DED39621A3}"/>
              </a:ext>
            </a:extLst>
          </p:cNvPr>
          <p:cNvGraphicFramePr>
            <a:graphicFrameLocks noGrp="1"/>
          </p:cNvGraphicFramePr>
          <p:nvPr/>
        </p:nvGraphicFramePr>
        <p:xfrm>
          <a:off x="2672610" y="5524919"/>
          <a:ext cx="6680609" cy="370840"/>
        </p:xfrm>
        <a:graphic>
          <a:graphicData uri="http://schemas.openxmlformats.org/drawingml/2006/table">
            <a:tbl>
              <a:tblPr firstRow="1" bandRow="1">
                <a:tableStyleId>{5C22544A-7EE6-4342-B048-85BDC9FD1C3A}</a:tableStyleId>
              </a:tblPr>
              <a:tblGrid>
                <a:gridCol w="6680609">
                  <a:extLst>
                    <a:ext uri="{9D8B030D-6E8A-4147-A177-3AD203B41FA5}">
                      <a16:colId xmlns:a16="http://schemas.microsoft.com/office/drawing/2014/main" val="1108404918"/>
                    </a:ext>
                  </a:extLst>
                </a:gridCol>
              </a:tblGrid>
              <a:tr h="370840">
                <a:tc>
                  <a:txBody>
                    <a:bodyPr/>
                    <a:lstStyle/>
                    <a:p>
                      <a:pPr algn="ctr"/>
                      <a:r>
                        <a:rPr lang="en-US" b="0"/>
                        <a:t>ATSC frame</a:t>
                      </a:r>
                    </a:p>
                  </a:txBody>
                  <a:tcPr>
                    <a:solidFill>
                      <a:schemeClr val="bg2"/>
                    </a:solidFill>
                  </a:tcPr>
                </a:tc>
                <a:extLst>
                  <a:ext uri="{0D108BD9-81ED-4DB2-BD59-A6C34878D82A}">
                    <a16:rowId xmlns:a16="http://schemas.microsoft.com/office/drawing/2014/main" val="2553152952"/>
                  </a:ext>
                </a:extLst>
              </a:tr>
            </a:tbl>
          </a:graphicData>
        </a:graphic>
      </p:graphicFrame>
      <p:graphicFrame>
        <p:nvGraphicFramePr>
          <p:cNvPr id="3" name="Table 6">
            <a:extLst>
              <a:ext uri="{FF2B5EF4-FFF2-40B4-BE49-F238E27FC236}">
                <a16:creationId xmlns:a16="http://schemas.microsoft.com/office/drawing/2014/main" id="{25E8F0B8-B1E2-BEDA-B759-9F1BB667A78F}"/>
              </a:ext>
            </a:extLst>
          </p:cNvPr>
          <p:cNvGraphicFramePr>
            <a:graphicFrameLocks noGrp="1"/>
          </p:cNvGraphicFramePr>
          <p:nvPr/>
        </p:nvGraphicFramePr>
        <p:xfrm>
          <a:off x="550545" y="4833311"/>
          <a:ext cx="11375123" cy="370840"/>
        </p:xfrm>
        <a:graphic>
          <a:graphicData uri="http://schemas.openxmlformats.org/drawingml/2006/table">
            <a:tbl>
              <a:tblPr firstRow="1" bandRow="1">
                <a:tableStyleId>{5C22544A-7EE6-4342-B048-85BDC9FD1C3A}</a:tableStyleId>
              </a:tblPr>
              <a:tblGrid>
                <a:gridCol w="736037">
                  <a:extLst>
                    <a:ext uri="{9D8B030D-6E8A-4147-A177-3AD203B41FA5}">
                      <a16:colId xmlns:a16="http://schemas.microsoft.com/office/drawing/2014/main" val="1108404918"/>
                    </a:ext>
                  </a:extLst>
                </a:gridCol>
                <a:gridCol w="1392996">
                  <a:extLst>
                    <a:ext uri="{9D8B030D-6E8A-4147-A177-3AD203B41FA5}">
                      <a16:colId xmlns:a16="http://schemas.microsoft.com/office/drawing/2014/main" val="1431854110"/>
                    </a:ext>
                  </a:extLst>
                </a:gridCol>
                <a:gridCol w="696498">
                  <a:extLst>
                    <a:ext uri="{9D8B030D-6E8A-4147-A177-3AD203B41FA5}">
                      <a16:colId xmlns:a16="http://schemas.microsoft.com/office/drawing/2014/main" val="482222412"/>
                    </a:ext>
                  </a:extLst>
                </a:gridCol>
                <a:gridCol w="1432536">
                  <a:extLst>
                    <a:ext uri="{9D8B030D-6E8A-4147-A177-3AD203B41FA5}">
                      <a16:colId xmlns:a16="http://schemas.microsoft.com/office/drawing/2014/main" val="1423493162"/>
                    </a:ext>
                  </a:extLst>
                </a:gridCol>
                <a:gridCol w="684332">
                  <a:extLst>
                    <a:ext uri="{9D8B030D-6E8A-4147-A177-3AD203B41FA5}">
                      <a16:colId xmlns:a16="http://schemas.microsoft.com/office/drawing/2014/main" val="1323009794"/>
                    </a:ext>
                  </a:extLst>
                </a:gridCol>
                <a:gridCol w="1444702">
                  <a:extLst>
                    <a:ext uri="{9D8B030D-6E8A-4147-A177-3AD203B41FA5}">
                      <a16:colId xmlns:a16="http://schemas.microsoft.com/office/drawing/2014/main" val="2449777931"/>
                    </a:ext>
                  </a:extLst>
                </a:gridCol>
                <a:gridCol w="699540">
                  <a:extLst>
                    <a:ext uri="{9D8B030D-6E8A-4147-A177-3AD203B41FA5}">
                      <a16:colId xmlns:a16="http://schemas.microsoft.com/office/drawing/2014/main" val="383800788"/>
                    </a:ext>
                  </a:extLst>
                </a:gridCol>
                <a:gridCol w="1690866">
                  <a:extLst>
                    <a:ext uri="{9D8B030D-6E8A-4147-A177-3AD203B41FA5}">
                      <a16:colId xmlns:a16="http://schemas.microsoft.com/office/drawing/2014/main" val="1905218954"/>
                    </a:ext>
                  </a:extLst>
                </a:gridCol>
                <a:gridCol w="687897">
                  <a:extLst>
                    <a:ext uri="{9D8B030D-6E8A-4147-A177-3AD203B41FA5}">
                      <a16:colId xmlns:a16="http://schemas.microsoft.com/office/drawing/2014/main" val="1672655076"/>
                    </a:ext>
                  </a:extLst>
                </a:gridCol>
                <a:gridCol w="1909719">
                  <a:extLst>
                    <a:ext uri="{9D8B030D-6E8A-4147-A177-3AD203B41FA5}">
                      <a16:colId xmlns:a16="http://schemas.microsoft.com/office/drawing/2014/main" val="1829056083"/>
                    </a:ext>
                  </a:extLst>
                </a:gridCol>
              </a:tblGrid>
              <a:tr h="370840">
                <a:tc>
                  <a:txBody>
                    <a:bodyPr/>
                    <a:lstStyle/>
                    <a:p>
                      <a:r>
                        <a:rPr lang="en-US" b="0"/>
                        <a:t>CAS</a:t>
                      </a:r>
                    </a:p>
                  </a:txBody>
                  <a:tcPr/>
                </a:tc>
                <a:tc>
                  <a:txBody>
                    <a:bodyPr/>
                    <a:lstStyle/>
                    <a:p>
                      <a:r>
                        <a:rPr lang="en-US" b="0"/>
                        <a:t>Data</a:t>
                      </a:r>
                    </a:p>
                  </a:txBody>
                  <a:tcPr>
                    <a:solidFill>
                      <a:schemeClr val="accent1"/>
                    </a:solidFill>
                  </a:tcPr>
                </a:tc>
                <a:tc>
                  <a:txBody>
                    <a:bodyPr/>
                    <a:lstStyle/>
                    <a:p>
                      <a:r>
                        <a:rPr lang="en-US" b="0"/>
                        <a:t>CAS</a:t>
                      </a:r>
                    </a:p>
                  </a:txBody>
                  <a:tcPr>
                    <a:solidFill>
                      <a:schemeClr val="accent6">
                        <a:lumMod val="60000"/>
                        <a:lumOff val="40000"/>
                      </a:schemeClr>
                    </a:solidFill>
                  </a:tcPr>
                </a:tc>
                <a:tc>
                  <a:txBody>
                    <a:bodyPr/>
                    <a:lstStyle/>
                    <a:p>
                      <a:pPr algn="ctr"/>
                      <a:endParaRPr lang="en-US" b="0"/>
                    </a:p>
                  </a:txBody>
                  <a:tcPr>
                    <a:solidFill>
                      <a:schemeClr val="accent6">
                        <a:lumMod val="60000"/>
                        <a:lumOff val="40000"/>
                      </a:schemeClr>
                    </a:solidFill>
                  </a:tcPr>
                </a:tc>
                <a:tc>
                  <a:txBody>
                    <a:bodyPr/>
                    <a:lstStyle/>
                    <a:p>
                      <a:r>
                        <a:rPr lang="en-US" b="0"/>
                        <a:t>CAS</a:t>
                      </a:r>
                    </a:p>
                  </a:txBody>
                  <a:tcPr>
                    <a:solidFill>
                      <a:schemeClr val="accent6">
                        <a:lumMod val="60000"/>
                        <a:lumOff val="40000"/>
                      </a:schemeClr>
                    </a:solidFill>
                  </a:tcPr>
                </a:tc>
                <a:tc>
                  <a:txBody>
                    <a:bodyPr/>
                    <a:lstStyle/>
                    <a:p>
                      <a:endParaRPr lang="en-US" b="0"/>
                    </a:p>
                  </a:txBody>
                  <a:tcPr>
                    <a:solidFill>
                      <a:schemeClr val="accent6">
                        <a:lumMod val="60000"/>
                        <a:lumOff val="40000"/>
                      </a:schemeClr>
                    </a:solidFill>
                  </a:tcPr>
                </a:tc>
                <a:tc>
                  <a:txBody>
                    <a:bodyPr/>
                    <a:lstStyle/>
                    <a:p>
                      <a:r>
                        <a:rPr lang="en-US" b="0"/>
                        <a:t>CAS</a:t>
                      </a:r>
                    </a:p>
                  </a:txBody>
                  <a:tcPr>
                    <a:solidFill>
                      <a:schemeClr val="accent6">
                        <a:lumMod val="60000"/>
                        <a:lumOff val="40000"/>
                      </a:schemeClr>
                    </a:solidFill>
                  </a:tcPr>
                </a:tc>
                <a:tc>
                  <a:txBody>
                    <a:bodyPr/>
                    <a:lstStyle/>
                    <a:p>
                      <a:endParaRPr lang="en-US" b="0"/>
                    </a:p>
                  </a:txBody>
                  <a:tcPr>
                    <a:solidFill>
                      <a:schemeClr val="accent6">
                        <a:lumMod val="60000"/>
                        <a:lumOff val="40000"/>
                      </a:schemeClr>
                    </a:solidFill>
                  </a:tcPr>
                </a:tc>
                <a:tc>
                  <a:txBody>
                    <a:bodyPr/>
                    <a:lstStyle/>
                    <a:p>
                      <a:r>
                        <a:rPr lang="en-US" b="0"/>
                        <a:t>CAS</a:t>
                      </a:r>
                    </a:p>
                  </a:txBody>
                  <a:tcPr>
                    <a:solidFill>
                      <a:schemeClr val="accent1"/>
                    </a:solidFill>
                  </a:tcPr>
                </a:tc>
                <a:tc>
                  <a:txBody>
                    <a:bodyPr/>
                    <a:lstStyle/>
                    <a:p>
                      <a:r>
                        <a:rPr lang="en-US" b="0"/>
                        <a:t>Data</a:t>
                      </a:r>
                    </a:p>
                  </a:txBody>
                  <a:tcPr>
                    <a:solidFill>
                      <a:schemeClr val="accent1"/>
                    </a:solidFill>
                  </a:tcPr>
                </a:tc>
                <a:extLst>
                  <a:ext uri="{0D108BD9-81ED-4DB2-BD59-A6C34878D82A}">
                    <a16:rowId xmlns:a16="http://schemas.microsoft.com/office/drawing/2014/main" val="2553152952"/>
                  </a:ext>
                </a:extLst>
              </a:tr>
            </a:tbl>
          </a:graphicData>
        </a:graphic>
      </p:graphicFrame>
      <p:sp>
        <p:nvSpPr>
          <p:cNvPr id="4" name="Left Brace 3">
            <a:extLst>
              <a:ext uri="{FF2B5EF4-FFF2-40B4-BE49-F238E27FC236}">
                <a16:creationId xmlns:a16="http://schemas.microsoft.com/office/drawing/2014/main" id="{F4DABF49-461E-F1C4-2220-3B7541A38BAF}"/>
              </a:ext>
            </a:extLst>
          </p:cNvPr>
          <p:cNvSpPr/>
          <p:nvPr/>
        </p:nvSpPr>
        <p:spPr>
          <a:xfrm rot="5400000">
            <a:off x="5952304" y="1370375"/>
            <a:ext cx="45719" cy="6605108"/>
          </a:xfrm>
          <a:prstGeom prst="leftBrace">
            <a:avLst/>
          </a:prstGeom>
          <a:ln w="12700" cap="rnd">
            <a:solidFill>
              <a:schemeClr val="accent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61E"/>
              </a:solidFill>
              <a:effectLst/>
              <a:uLnTx/>
              <a:uFillTx/>
              <a:latin typeface="Microsoft Sans Serif"/>
              <a:ea typeface="+mn-ea"/>
              <a:cs typeface="+mn-cs"/>
            </a:endParaRPr>
          </a:p>
        </p:txBody>
      </p:sp>
      <p:sp>
        <p:nvSpPr>
          <p:cNvPr id="5" name="TextBox 4">
            <a:extLst>
              <a:ext uri="{FF2B5EF4-FFF2-40B4-BE49-F238E27FC236}">
                <a16:creationId xmlns:a16="http://schemas.microsoft.com/office/drawing/2014/main" id="{EC730746-BFFE-14DB-89E5-3E5A2165BA89}"/>
              </a:ext>
            </a:extLst>
          </p:cNvPr>
          <p:cNvSpPr txBox="1"/>
          <p:nvPr/>
        </p:nvSpPr>
        <p:spPr>
          <a:xfrm>
            <a:off x="5154679" y="4374623"/>
            <a:ext cx="1772921" cy="236347"/>
          </a:xfrm>
          <a:prstGeom prst="rect">
            <a:avLst/>
          </a:prstGeom>
        </p:spPr>
        <p:txBody>
          <a:bodyPr wrap="non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Muted CAS periods</a:t>
            </a:r>
          </a:p>
        </p:txBody>
      </p:sp>
      <p:sp>
        <p:nvSpPr>
          <p:cNvPr id="6" name="Footer Placeholder 5">
            <a:extLst>
              <a:ext uri="{FF2B5EF4-FFF2-40B4-BE49-F238E27FC236}">
                <a16:creationId xmlns:a16="http://schemas.microsoft.com/office/drawing/2014/main" id="{C2E47AC0-529E-26BD-4D39-309739EBD877}"/>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178155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Isosceles Triangle 182">
            <a:extLst>
              <a:ext uri="{FF2B5EF4-FFF2-40B4-BE49-F238E27FC236}">
                <a16:creationId xmlns:a16="http://schemas.microsoft.com/office/drawing/2014/main" id="{0BFB7E9E-BFC4-458B-A65C-1D3FFA0C3834}"/>
              </a:ext>
            </a:extLst>
          </p:cNvPr>
          <p:cNvSpPr/>
          <p:nvPr/>
        </p:nvSpPr>
        <p:spPr>
          <a:xfrm rot="16200000">
            <a:off x="8057952" y="1465715"/>
            <a:ext cx="3200400" cy="4572000"/>
          </a:xfrm>
          <a:prstGeom prst="triangle">
            <a:avLst/>
          </a:prstGeom>
          <a:gradFill flip="none" rotWithShape="1">
            <a:gsLst>
              <a:gs pos="99000">
                <a:schemeClr val="accent1">
                  <a:lumMod val="60000"/>
                  <a:lumOff val="40000"/>
                  <a:alpha val="0"/>
                </a:schemeClr>
              </a:gs>
              <a:gs pos="18000">
                <a:schemeClr val="accent1">
                  <a:lumMod val="60000"/>
                  <a:lumOff val="40000"/>
                  <a:alpha val="0"/>
                </a:schemeClr>
              </a:gs>
              <a:gs pos="38000">
                <a:schemeClr val="accent1">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185" name="Isosceles Triangle 184">
            <a:extLst>
              <a:ext uri="{FF2B5EF4-FFF2-40B4-BE49-F238E27FC236}">
                <a16:creationId xmlns:a16="http://schemas.microsoft.com/office/drawing/2014/main" id="{8388D06C-11FF-4CB2-83A7-D2F2B8DDCB27}"/>
              </a:ext>
            </a:extLst>
          </p:cNvPr>
          <p:cNvSpPr/>
          <p:nvPr/>
        </p:nvSpPr>
        <p:spPr>
          <a:xfrm rot="16200000">
            <a:off x="1898096" y="1548738"/>
            <a:ext cx="3200400" cy="4572000"/>
          </a:xfrm>
          <a:prstGeom prst="triangle">
            <a:avLst/>
          </a:prstGeom>
          <a:gradFill flip="none" rotWithShape="1">
            <a:gsLst>
              <a:gs pos="99000">
                <a:schemeClr val="accent5">
                  <a:lumMod val="60000"/>
                  <a:lumOff val="40000"/>
                  <a:alpha val="0"/>
                </a:schemeClr>
              </a:gs>
              <a:gs pos="18000">
                <a:schemeClr val="accent5">
                  <a:lumMod val="60000"/>
                  <a:lumOff val="40000"/>
                  <a:alpha val="0"/>
                </a:schemeClr>
              </a:gs>
              <a:gs pos="38000">
                <a:schemeClr val="accent5">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4" name="Title 3">
            <a:extLst>
              <a:ext uri="{FF2B5EF4-FFF2-40B4-BE49-F238E27FC236}">
                <a16:creationId xmlns:a16="http://schemas.microsoft.com/office/drawing/2014/main" id="{20A8D1AC-79DC-4650-97E7-C54AA416ED59}"/>
              </a:ext>
            </a:extLst>
          </p:cNvPr>
          <p:cNvSpPr>
            <a:spLocks noGrp="1"/>
          </p:cNvSpPr>
          <p:nvPr>
            <p:ph type="title"/>
          </p:nvPr>
        </p:nvSpPr>
        <p:spPr/>
        <p:txBody>
          <a:bodyPr/>
          <a:lstStyle/>
          <a:p>
            <a:r>
              <a:rPr lang="en-US"/>
              <a:t>5G defines two modes of broadcast communication</a:t>
            </a:r>
          </a:p>
        </p:txBody>
      </p:sp>
      <p:sp>
        <p:nvSpPr>
          <p:cNvPr id="8" name="Subtitle 7">
            <a:extLst>
              <a:ext uri="{FF2B5EF4-FFF2-40B4-BE49-F238E27FC236}">
                <a16:creationId xmlns:a16="http://schemas.microsoft.com/office/drawing/2014/main" id="{6A4DCC5F-4465-4B8B-8AB0-AB79ED679151}"/>
              </a:ext>
            </a:extLst>
          </p:cNvPr>
          <p:cNvSpPr>
            <a:spLocks noGrp="1"/>
          </p:cNvSpPr>
          <p:nvPr>
            <p:ph type="subTitle" idx="1"/>
          </p:nvPr>
        </p:nvSpPr>
        <p:spPr/>
        <p:txBody>
          <a:bodyPr/>
          <a:lstStyle/>
          <a:p>
            <a:r>
              <a:rPr lang="en-US"/>
              <a:t>Addressing diverse ecosystem, deployment, and use case requirements</a:t>
            </a:r>
          </a:p>
        </p:txBody>
      </p:sp>
      <p:sp>
        <p:nvSpPr>
          <p:cNvPr id="16" name="Rectangle 15">
            <a:extLst>
              <a:ext uri="{FF2B5EF4-FFF2-40B4-BE49-F238E27FC236}">
                <a16:creationId xmlns:a16="http://schemas.microsoft.com/office/drawing/2014/main" id="{37C6BAA0-2A30-4655-BE4F-9C2ED69B143E}"/>
              </a:ext>
            </a:extLst>
          </p:cNvPr>
          <p:cNvSpPr/>
          <p:nvPr/>
        </p:nvSpPr>
        <p:spPr>
          <a:xfrm>
            <a:off x="493713"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5776"/>
                </a:solidFill>
                <a:effectLst/>
                <a:uLnTx/>
                <a:uFillTx/>
                <a:latin typeface="Microsoft Sans Serif"/>
                <a:ea typeface="+mn-ea"/>
                <a:cs typeface="Microsoft Sans Serif" panose="020B0604020202020204" pitchFamily="34" charset="0"/>
              </a:rPr>
              <a:t>5G broadcast</a:t>
            </a:r>
          </a:p>
        </p:txBody>
      </p:sp>
      <p:sp>
        <p:nvSpPr>
          <p:cNvPr id="18" name="Rectangle 17">
            <a:extLst>
              <a:ext uri="{FF2B5EF4-FFF2-40B4-BE49-F238E27FC236}">
                <a16:creationId xmlns:a16="http://schemas.microsoft.com/office/drawing/2014/main" id="{876A96A2-D56E-4162-8EBC-DFE744406C04}"/>
              </a:ext>
            </a:extLst>
          </p:cNvPr>
          <p:cNvSpPr/>
          <p:nvPr/>
        </p:nvSpPr>
        <p:spPr>
          <a:xfrm>
            <a:off x="6785468"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2853DC"/>
                </a:solidFill>
                <a:effectLst/>
                <a:uLnTx/>
                <a:uFillTx/>
                <a:latin typeface="Microsoft Sans Serif"/>
                <a:ea typeface="+mn-ea"/>
                <a:cs typeface="Microsoft Sans Serif" panose="020B0604020202020204" pitchFamily="34" charset="0"/>
              </a:rPr>
              <a:t>Mixed-mode multicast</a:t>
            </a:r>
          </a:p>
        </p:txBody>
      </p:sp>
      <p:grpSp>
        <p:nvGrpSpPr>
          <p:cNvPr id="22" name="Group 4">
            <a:extLst>
              <a:ext uri="{FF2B5EF4-FFF2-40B4-BE49-F238E27FC236}">
                <a16:creationId xmlns:a16="http://schemas.microsoft.com/office/drawing/2014/main" id="{31B1BE90-0BC1-469B-9FA0-9F202AE68896}"/>
              </a:ext>
            </a:extLst>
          </p:cNvPr>
          <p:cNvGrpSpPr>
            <a:grpSpLocks noChangeAspect="1"/>
          </p:cNvGrpSpPr>
          <p:nvPr/>
        </p:nvGrpSpPr>
        <p:grpSpPr bwMode="auto">
          <a:xfrm>
            <a:off x="2692604" y="3687267"/>
            <a:ext cx="914400" cy="582935"/>
            <a:chOff x="942" y="1778"/>
            <a:chExt cx="2149" cy="1370"/>
          </a:xfrm>
          <a:solidFill>
            <a:srgbClr val="3253DC"/>
          </a:solidFill>
        </p:grpSpPr>
        <p:sp>
          <p:nvSpPr>
            <p:cNvPr id="111" name="Freeform 5">
              <a:extLst>
                <a:ext uri="{FF2B5EF4-FFF2-40B4-BE49-F238E27FC236}">
                  <a16:creationId xmlns:a16="http://schemas.microsoft.com/office/drawing/2014/main" id="{BA37216F-1C37-4E8E-99A6-AF6EDF9B098D}"/>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12" name="Freeform 6">
              <a:extLst>
                <a:ext uri="{FF2B5EF4-FFF2-40B4-BE49-F238E27FC236}">
                  <a16:creationId xmlns:a16="http://schemas.microsoft.com/office/drawing/2014/main" id="{D261A975-28E9-4C1C-8E0B-68772BA4B416}"/>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sp>
        <p:nvSpPr>
          <p:cNvPr id="23" name="TextBox 22">
            <a:extLst>
              <a:ext uri="{FF2B5EF4-FFF2-40B4-BE49-F238E27FC236}">
                <a16:creationId xmlns:a16="http://schemas.microsoft.com/office/drawing/2014/main" id="{4583F1C3-ACBA-459D-B8EC-78E16534E13F}"/>
              </a:ext>
            </a:extLst>
          </p:cNvPr>
          <p:cNvSpPr txBox="1"/>
          <p:nvPr/>
        </p:nvSpPr>
        <p:spPr>
          <a:xfrm>
            <a:off x="927129" y="4610184"/>
            <a:ext cx="2439611"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445776"/>
                </a:solidFill>
                <a:effectLst/>
                <a:uLnTx/>
                <a:uFillTx/>
                <a:latin typeface="Microsoft Sans Serif"/>
                <a:ea typeface="+mn-ea"/>
                <a:cs typeface="+mn-cs"/>
              </a:rPr>
              <a:t>Single Frequency Network (SFN) for downlink broadcast only</a:t>
            </a:r>
          </a:p>
        </p:txBody>
      </p:sp>
      <p:grpSp>
        <p:nvGrpSpPr>
          <p:cNvPr id="24" name="Group 23">
            <a:extLst>
              <a:ext uri="{FF2B5EF4-FFF2-40B4-BE49-F238E27FC236}">
                <a16:creationId xmlns:a16="http://schemas.microsoft.com/office/drawing/2014/main" id="{4970EE72-7633-4BDF-AEBF-2D4021E2F346}"/>
              </a:ext>
            </a:extLst>
          </p:cNvPr>
          <p:cNvGrpSpPr/>
          <p:nvPr/>
        </p:nvGrpSpPr>
        <p:grpSpPr>
          <a:xfrm>
            <a:off x="2875265" y="3884291"/>
            <a:ext cx="548226" cy="172471"/>
            <a:chOff x="9118112" y="3943518"/>
            <a:chExt cx="1446677" cy="455123"/>
          </a:xfrm>
        </p:grpSpPr>
        <p:sp>
          <p:nvSpPr>
            <p:cNvPr id="104" name="Freeform 176">
              <a:extLst>
                <a:ext uri="{FF2B5EF4-FFF2-40B4-BE49-F238E27FC236}">
                  <a16:creationId xmlns:a16="http://schemas.microsoft.com/office/drawing/2014/main" id="{FE91F1A3-E386-4F12-998C-CE55EA74E8F2}"/>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105" name="Group 104">
              <a:extLst>
                <a:ext uri="{FF2B5EF4-FFF2-40B4-BE49-F238E27FC236}">
                  <a16:creationId xmlns:a16="http://schemas.microsoft.com/office/drawing/2014/main" id="{94FBEB15-3ED7-4F3C-A78B-AF68701E3898}"/>
                </a:ext>
              </a:extLst>
            </p:cNvPr>
            <p:cNvGrpSpPr/>
            <p:nvPr/>
          </p:nvGrpSpPr>
          <p:grpSpPr>
            <a:xfrm>
              <a:off x="9308116" y="4049967"/>
              <a:ext cx="1066991" cy="242231"/>
              <a:chOff x="11132070" y="3308794"/>
              <a:chExt cx="208750" cy="47391"/>
            </a:xfrm>
          </p:grpSpPr>
          <p:sp>
            <p:nvSpPr>
              <p:cNvPr id="106" name="Freeform 177">
                <a:extLst>
                  <a:ext uri="{FF2B5EF4-FFF2-40B4-BE49-F238E27FC236}">
                    <a16:creationId xmlns:a16="http://schemas.microsoft.com/office/drawing/2014/main" id="{5FF0E52B-ED7D-4C8C-B55A-F22E947D13E8}"/>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7" name="Freeform 178">
                <a:extLst>
                  <a:ext uri="{FF2B5EF4-FFF2-40B4-BE49-F238E27FC236}">
                    <a16:creationId xmlns:a16="http://schemas.microsoft.com/office/drawing/2014/main" id="{359CC271-AD9E-49B3-9C01-800DA6A22468}"/>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8" name="Freeform 179">
                <a:extLst>
                  <a:ext uri="{FF2B5EF4-FFF2-40B4-BE49-F238E27FC236}">
                    <a16:creationId xmlns:a16="http://schemas.microsoft.com/office/drawing/2014/main" id="{92656C05-6941-43A5-AE91-BB355ABECA99}"/>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9" name="Rectangle 108">
                <a:extLst>
                  <a:ext uri="{FF2B5EF4-FFF2-40B4-BE49-F238E27FC236}">
                    <a16:creationId xmlns:a16="http://schemas.microsoft.com/office/drawing/2014/main" id="{6C7CA1C3-1F17-4908-8413-55CBAF835BC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10" name="Freeform 194">
                <a:extLst>
                  <a:ext uri="{FF2B5EF4-FFF2-40B4-BE49-F238E27FC236}">
                    <a16:creationId xmlns:a16="http://schemas.microsoft.com/office/drawing/2014/main" id="{12DBDF36-5E47-4326-809C-FCDF5D789726}"/>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25" name="Group 24">
            <a:extLst>
              <a:ext uri="{FF2B5EF4-FFF2-40B4-BE49-F238E27FC236}">
                <a16:creationId xmlns:a16="http://schemas.microsoft.com/office/drawing/2014/main" id="{A57CD6D7-D2E5-4493-BF7F-2178313CAFF6}"/>
              </a:ext>
            </a:extLst>
          </p:cNvPr>
          <p:cNvGrpSpPr>
            <a:grpSpLocks noChangeAspect="1"/>
          </p:cNvGrpSpPr>
          <p:nvPr/>
        </p:nvGrpSpPr>
        <p:grpSpPr>
          <a:xfrm>
            <a:off x="3707521" y="3761619"/>
            <a:ext cx="373883" cy="507705"/>
            <a:chOff x="1105197" y="2827506"/>
            <a:chExt cx="1396843" cy="1896808"/>
          </a:xfrm>
        </p:grpSpPr>
        <p:sp>
          <p:nvSpPr>
            <p:cNvPr id="102" name="Freeform 9">
              <a:extLst>
                <a:ext uri="{FF2B5EF4-FFF2-40B4-BE49-F238E27FC236}">
                  <a16:creationId xmlns:a16="http://schemas.microsoft.com/office/drawing/2014/main" id="{D4351149-8BC8-4EC2-8401-3F6F175249A4}"/>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3" name="Freeform 10">
              <a:extLst>
                <a:ext uri="{FF2B5EF4-FFF2-40B4-BE49-F238E27FC236}">
                  <a16:creationId xmlns:a16="http://schemas.microsoft.com/office/drawing/2014/main" id="{9026984C-E3FC-4B77-91BC-CBE2EA0035B0}"/>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26" name="Group 25">
            <a:extLst>
              <a:ext uri="{FF2B5EF4-FFF2-40B4-BE49-F238E27FC236}">
                <a16:creationId xmlns:a16="http://schemas.microsoft.com/office/drawing/2014/main" id="{91B19C16-F8D6-49DB-92DA-B0371E3B093C}"/>
              </a:ext>
            </a:extLst>
          </p:cNvPr>
          <p:cNvGrpSpPr>
            <a:grpSpLocks noChangeAspect="1"/>
          </p:cNvGrpSpPr>
          <p:nvPr/>
        </p:nvGrpSpPr>
        <p:grpSpPr>
          <a:xfrm>
            <a:off x="4178693" y="3810488"/>
            <a:ext cx="246841" cy="457574"/>
            <a:chOff x="5434013" y="2201863"/>
            <a:chExt cx="1323975" cy="2454275"/>
          </a:xfrm>
        </p:grpSpPr>
        <p:sp>
          <p:nvSpPr>
            <p:cNvPr id="100" name="Freeform 5">
              <a:extLst>
                <a:ext uri="{FF2B5EF4-FFF2-40B4-BE49-F238E27FC236}">
                  <a16:creationId xmlns:a16="http://schemas.microsoft.com/office/drawing/2014/main" id="{3F12BA73-3127-439B-AE92-C8EB5337E53D}"/>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01" name="Freeform: Shape 15">
              <a:extLst>
                <a:ext uri="{FF2B5EF4-FFF2-40B4-BE49-F238E27FC236}">
                  <a16:creationId xmlns:a16="http://schemas.microsoft.com/office/drawing/2014/main" id="{00EE7E36-04E4-44FB-9AF2-FF36D248BEA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7" name="Group 26">
            <a:extLst>
              <a:ext uri="{FF2B5EF4-FFF2-40B4-BE49-F238E27FC236}">
                <a16:creationId xmlns:a16="http://schemas.microsoft.com/office/drawing/2014/main" id="{A819BBC6-8BEE-44C2-888F-9DF5B32E4537}"/>
              </a:ext>
            </a:extLst>
          </p:cNvPr>
          <p:cNvGrpSpPr>
            <a:grpSpLocks noChangeAspect="1"/>
          </p:cNvGrpSpPr>
          <p:nvPr/>
        </p:nvGrpSpPr>
        <p:grpSpPr>
          <a:xfrm>
            <a:off x="4868198" y="3798453"/>
            <a:ext cx="246841" cy="457574"/>
            <a:chOff x="5434013" y="2201863"/>
            <a:chExt cx="1323975" cy="2454275"/>
          </a:xfrm>
        </p:grpSpPr>
        <p:sp>
          <p:nvSpPr>
            <p:cNvPr id="98" name="Freeform 5">
              <a:extLst>
                <a:ext uri="{FF2B5EF4-FFF2-40B4-BE49-F238E27FC236}">
                  <a16:creationId xmlns:a16="http://schemas.microsoft.com/office/drawing/2014/main" id="{F69A7899-BB61-4764-8E90-206C2BF1832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9" name="Freeform: Shape 35">
              <a:extLst>
                <a:ext uri="{FF2B5EF4-FFF2-40B4-BE49-F238E27FC236}">
                  <a16:creationId xmlns:a16="http://schemas.microsoft.com/office/drawing/2014/main" id="{1D94999B-C3AE-402E-AB05-E38777D309E8}"/>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8" name="Group 27">
            <a:extLst>
              <a:ext uri="{FF2B5EF4-FFF2-40B4-BE49-F238E27FC236}">
                <a16:creationId xmlns:a16="http://schemas.microsoft.com/office/drawing/2014/main" id="{32A7C95D-8564-44D2-9895-8B4F6ECB47ED}"/>
              </a:ext>
            </a:extLst>
          </p:cNvPr>
          <p:cNvGrpSpPr>
            <a:grpSpLocks noChangeAspect="1"/>
          </p:cNvGrpSpPr>
          <p:nvPr/>
        </p:nvGrpSpPr>
        <p:grpSpPr>
          <a:xfrm>
            <a:off x="5218331" y="3805272"/>
            <a:ext cx="246841" cy="457574"/>
            <a:chOff x="5434013" y="2201863"/>
            <a:chExt cx="1323975" cy="2454275"/>
          </a:xfrm>
        </p:grpSpPr>
        <p:sp>
          <p:nvSpPr>
            <p:cNvPr id="96" name="Freeform 5">
              <a:extLst>
                <a:ext uri="{FF2B5EF4-FFF2-40B4-BE49-F238E27FC236}">
                  <a16:creationId xmlns:a16="http://schemas.microsoft.com/office/drawing/2014/main" id="{557CF26E-9A5F-448D-9656-FE07707E6A45}"/>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7" name="Freeform: Shape 15">
              <a:extLst>
                <a:ext uri="{FF2B5EF4-FFF2-40B4-BE49-F238E27FC236}">
                  <a16:creationId xmlns:a16="http://schemas.microsoft.com/office/drawing/2014/main" id="{51A45677-C66C-47A1-AFF8-5D2375B183E1}"/>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9" name="Group 28">
            <a:extLst>
              <a:ext uri="{FF2B5EF4-FFF2-40B4-BE49-F238E27FC236}">
                <a16:creationId xmlns:a16="http://schemas.microsoft.com/office/drawing/2014/main" id="{4C8F9BAD-D505-475C-A174-DCF7A46DA0BA}"/>
              </a:ext>
            </a:extLst>
          </p:cNvPr>
          <p:cNvGrpSpPr>
            <a:grpSpLocks noChangeAspect="1"/>
          </p:cNvGrpSpPr>
          <p:nvPr/>
        </p:nvGrpSpPr>
        <p:grpSpPr>
          <a:xfrm>
            <a:off x="4524068" y="3806197"/>
            <a:ext cx="246841" cy="457574"/>
            <a:chOff x="5434013" y="2201863"/>
            <a:chExt cx="1323975" cy="2454275"/>
          </a:xfrm>
        </p:grpSpPr>
        <p:sp>
          <p:nvSpPr>
            <p:cNvPr id="94" name="Freeform 5">
              <a:extLst>
                <a:ext uri="{FF2B5EF4-FFF2-40B4-BE49-F238E27FC236}">
                  <a16:creationId xmlns:a16="http://schemas.microsoft.com/office/drawing/2014/main" id="{481A554D-179E-47EC-8EBB-A839BE42E3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5" name="Freeform: Shape 15">
              <a:extLst>
                <a:ext uri="{FF2B5EF4-FFF2-40B4-BE49-F238E27FC236}">
                  <a16:creationId xmlns:a16="http://schemas.microsoft.com/office/drawing/2014/main" id="{CEBB8602-402C-417E-8DD4-8A3F16C42C63}"/>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30" name="Group 29">
            <a:extLst>
              <a:ext uri="{FF2B5EF4-FFF2-40B4-BE49-F238E27FC236}">
                <a16:creationId xmlns:a16="http://schemas.microsoft.com/office/drawing/2014/main" id="{418DF1B7-E337-48D1-979B-0291A4A3EA5D}"/>
              </a:ext>
            </a:extLst>
          </p:cNvPr>
          <p:cNvGrpSpPr/>
          <p:nvPr/>
        </p:nvGrpSpPr>
        <p:grpSpPr>
          <a:xfrm>
            <a:off x="3756861" y="3962127"/>
            <a:ext cx="273446" cy="86025"/>
            <a:chOff x="9118112" y="3943518"/>
            <a:chExt cx="1446677" cy="455123"/>
          </a:xfrm>
        </p:grpSpPr>
        <p:sp>
          <p:nvSpPr>
            <p:cNvPr id="87" name="Freeform 176">
              <a:extLst>
                <a:ext uri="{FF2B5EF4-FFF2-40B4-BE49-F238E27FC236}">
                  <a16:creationId xmlns:a16="http://schemas.microsoft.com/office/drawing/2014/main" id="{F9F24486-73D3-4657-956B-044F1E37108F}"/>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8" name="Group 87">
              <a:extLst>
                <a:ext uri="{FF2B5EF4-FFF2-40B4-BE49-F238E27FC236}">
                  <a16:creationId xmlns:a16="http://schemas.microsoft.com/office/drawing/2014/main" id="{C020D132-F03F-4667-B80A-9EBF99913661}"/>
                </a:ext>
              </a:extLst>
            </p:cNvPr>
            <p:cNvGrpSpPr/>
            <p:nvPr/>
          </p:nvGrpSpPr>
          <p:grpSpPr>
            <a:xfrm>
              <a:off x="9308116" y="4049967"/>
              <a:ext cx="1066991" cy="242231"/>
              <a:chOff x="11132070" y="3308794"/>
              <a:chExt cx="208750" cy="47391"/>
            </a:xfrm>
          </p:grpSpPr>
          <p:sp>
            <p:nvSpPr>
              <p:cNvPr id="89" name="Freeform 177">
                <a:extLst>
                  <a:ext uri="{FF2B5EF4-FFF2-40B4-BE49-F238E27FC236}">
                    <a16:creationId xmlns:a16="http://schemas.microsoft.com/office/drawing/2014/main" id="{833F86EC-6676-4D18-9616-AA31245266F2}"/>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0" name="Freeform 178">
                <a:extLst>
                  <a:ext uri="{FF2B5EF4-FFF2-40B4-BE49-F238E27FC236}">
                    <a16:creationId xmlns:a16="http://schemas.microsoft.com/office/drawing/2014/main" id="{B576CCFB-9F5F-4B64-86B2-EBB5498889E5}"/>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1" name="Freeform 179">
                <a:extLst>
                  <a:ext uri="{FF2B5EF4-FFF2-40B4-BE49-F238E27FC236}">
                    <a16:creationId xmlns:a16="http://schemas.microsoft.com/office/drawing/2014/main" id="{7C33411F-76FE-492C-AA44-A19E539B05DC}"/>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2" name="Rectangle 91">
                <a:extLst>
                  <a:ext uri="{FF2B5EF4-FFF2-40B4-BE49-F238E27FC236}">
                    <a16:creationId xmlns:a16="http://schemas.microsoft.com/office/drawing/2014/main" id="{E8C421EE-235C-4462-B393-677CE003696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3" name="Freeform 194">
                <a:extLst>
                  <a:ext uri="{FF2B5EF4-FFF2-40B4-BE49-F238E27FC236}">
                    <a16:creationId xmlns:a16="http://schemas.microsoft.com/office/drawing/2014/main" id="{36D799F8-89D7-4BC1-9363-86BBF013275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1" name="Group 30">
            <a:extLst>
              <a:ext uri="{FF2B5EF4-FFF2-40B4-BE49-F238E27FC236}">
                <a16:creationId xmlns:a16="http://schemas.microsoft.com/office/drawing/2014/main" id="{6D4B966F-273A-4D58-A6C4-A003B8D19B07}"/>
              </a:ext>
            </a:extLst>
          </p:cNvPr>
          <p:cNvGrpSpPr/>
          <p:nvPr/>
        </p:nvGrpSpPr>
        <p:grpSpPr>
          <a:xfrm>
            <a:off x="4215585" y="3980524"/>
            <a:ext cx="186767" cy="58756"/>
            <a:chOff x="9118112" y="3943518"/>
            <a:chExt cx="1446677" cy="455123"/>
          </a:xfrm>
        </p:grpSpPr>
        <p:sp>
          <p:nvSpPr>
            <p:cNvPr id="80" name="Freeform 176">
              <a:extLst>
                <a:ext uri="{FF2B5EF4-FFF2-40B4-BE49-F238E27FC236}">
                  <a16:creationId xmlns:a16="http://schemas.microsoft.com/office/drawing/2014/main" id="{25C28930-A8E3-44E7-8E55-7C254A99DC5A}"/>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1" name="Group 80">
              <a:extLst>
                <a:ext uri="{FF2B5EF4-FFF2-40B4-BE49-F238E27FC236}">
                  <a16:creationId xmlns:a16="http://schemas.microsoft.com/office/drawing/2014/main" id="{A590B161-6190-497F-9873-1B9ABA209E1A}"/>
                </a:ext>
              </a:extLst>
            </p:cNvPr>
            <p:cNvGrpSpPr/>
            <p:nvPr/>
          </p:nvGrpSpPr>
          <p:grpSpPr>
            <a:xfrm>
              <a:off x="9308116" y="4049967"/>
              <a:ext cx="1066991" cy="242231"/>
              <a:chOff x="11132070" y="3308794"/>
              <a:chExt cx="208750" cy="47391"/>
            </a:xfrm>
          </p:grpSpPr>
          <p:sp>
            <p:nvSpPr>
              <p:cNvPr id="82" name="Freeform 177">
                <a:extLst>
                  <a:ext uri="{FF2B5EF4-FFF2-40B4-BE49-F238E27FC236}">
                    <a16:creationId xmlns:a16="http://schemas.microsoft.com/office/drawing/2014/main" id="{197840F2-7643-4DCD-81DF-868C31CCAAB3}"/>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3" name="Freeform 178">
                <a:extLst>
                  <a:ext uri="{FF2B5EF4-FFF2-40B4-BE49-F238E27FC236}">
                    <a16:creationId xmlns:a16="http://schemas.microsoft.com/office/drawing/2014/main" id="{21737293-D68F-419D-98A1-6A3BECAA4E5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4" name="Freeform 179">
                <a:extLst>
                  <a:ext uri="{FF2B5EF4-FFF2-40B4-BE49-F238E27FC236}">
                    <a16:creationId xmlns:a16="http://schemas.microsoft.com/office/drawing/2014/main" id="{29A4F673-5EC1-4ABA-A88B-0B47E141B3AD}"/>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5" name="Rectangle 84">
                <a:extLst>
                  <a:ext uri="{FF2B5EF4-FFF2-40B4-BE49-F238E27FC236}">
                    <a16:creationId xmlns:a16="http://schemas.microsoft.com/office/drawing/2014/main" id="{0D259677-5BF0-4FEA-9A40-118CE5BAE60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6" name="Freeform 194">
                <a:extLst>
                  <a:ext uri="{FF2B5EF4-FFF2-40B4-BE49-F238E27FC236}">
                    <a16:creationId xmlns:a16="http://schemas.microsoft.com/office/drawing/2014/main" id="{247630FF-016C-49A9-A910-3DC0E96E0855}"/>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2" name="Group 31">
            <a:extLst>
              <a:ext uri="{FF2B5EF4-FFF2-40B4-BE49-F238E27FC236}">
                <a16:creationId xmlns:a16="http://schemas.microsoft.com/office/drawing/2014/main" id="{AE4C4AA8-C564-46AC-AB93-79C5D89F7C56}"/>
              </a:ext>
            </a:extLst>
          </p:cNvPr>
          <p:cNvGrpSpPr/>
          <p:nvPr/>
        </p:nvGrpSpPr>
        <p:grpSpPr>
          <a:xfrm>
            <a:off x="4554056" y="3980524"/>
            <a:ext cx="186767" cy="58756"/>
            <a:chOff x="9118112" y="3943518"/>
            <a:chExt cx="1446677" cy="455123"/>
          </a:xfrm>
        </p:grpSpPr>
        <p:sp>
          <p:nvSpPr>
            <p:cNvPr id="73" name="Freeform 176">
              <a:extLst>
                <a:ext uri="{FF2B5EF4-FFF2-40B4-BE49-F238E27FC236}">
                  <a16:creationId xmlns:a16="http://schemas.microsoft.com/office/drawing/2014/main" id="{80992BBB-FB9E-4FA8-B6D5-B0E9BA3DF73B}"/>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7BA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74" name="Group 73">
              <a:extLst>
                <a:ext uri="{FF2B5EF4-FFF2-40B4-BE49-F238E27FC236}">
                  <a16:creationId xmlns:a16="http://schemas.microsoft.com/office/drawing/2014/main" id="{826C1125-83B3-488F-A9F7-D648AEF600DE}"/>
                </a:ext>
              </a:extLst>
            </p:cNvPr>
            <p:cNvGrpSpPr/>
            <p:nvPr/>
          </p:nvGrpSpPr>
          <p:grpSpPr>
            <a:xfrm>
              <a:off x="9308116" y="4049967"/>
              <a:ext cx="1066991" cy="242231"/>
              <a:chOff x="11132070" y="3308794"/>
              <a:chExt cx="208750" cy="47391"/>
            </a:xfrm>
          </p:grpSpPr>
          <p:sp>
            <p:nvSpPr>
              <p:cNvPr id="75" name="Freeform 177">
                <a:extLst>
                  <a:ext uri="{FF2B5EF4-FFF2-40B4-BE49-F238E27FC236}">
                    <a16:creationId xmlns:a16="http://schemas.microsoft.com/office/drawing/2014/main" id="{EA8CA285-0DB3-4F8C-B8D5-E4A6A651D654}"/>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6" name="Freeform 178">
                <a:extLst>
                  <a:ext uri="{FF2B5EF4-FFF2-40B4-BE49-F238E27FC236}">
                    <a16:creationId xmlns:a16="http://schemas.microsoft.com/office/drawing/2014/main" id="{3CB4BD6F-56FC-4082-AF09-7B7D399B4B3E}"/>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7" name="Freeform 179">
                <a:extLst>
                  <a:ext uri="{FF2B5EF4-FFF2-40B4-BE49-F238E27FC236}">
                    <a16:creationId xmlns:a16="http://schemas.microsoft.com/office/drawing/2014/main" id="{FD66432B-DCFB-4FB0-A6BF-B27385A72D82}"/>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8" name="Rectangle 77">
                <a:extLst>
                  <a:ext uri="{FF2B5EF4-FFF2-40B4-BE49-F238E27FC236}">
                    <a16:creationId xmlns:a16="http://schemas.microsoft.com/office/drawing/2014/main" id="{4FF645D7-CF57-4358-9E0A-0B95F6557C8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9" name="Freeform 194">
                <a:extLst>
                  <a:ext uri="{FF2B5EF4-FFF2-40B4-BE49-F238E27FC236}">
                    <a16:creationId xmlns:a16="http://schemas.microsoft.com/office/drawing/2014/main" id="{12665EED-29A2-4948-BF19-A8BAD4EC4410}"/>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3" name="Group 32">
            <a:extLst>
              <a:ext uri="{FF2B5EF4-FFF2-40B4-BE49-F238E27FC236}">
                <a16:creationId xmlns:a16="http://schemas.microsoft.com/office/drawing/2014/main" id="{C07D4CC3-85DB-44BB-9476-2749876EF7D4}"/>
              </a:ext>
            </a:extLst>
          </p:cNvPr>
          <p:cNvGrpSpPr/>
          <p:nvPr/>
        </p:nvGrpSpPr>
        <p:grpSpPr>
          <a:xfrm>
            <a:off x="4898165" y="3980524"/>
            <a:ext cx="186767" cy="58756"/>
            <a:chOff x="9118112" y="3943518"/>
            <a:chExt cx="1446677" cy="455123"/>
          </a:xfrm>
        </p:grpSpPr>
        <p:sp>
          <p:nvSpPr>
            <p:cNvPr id="66" name="Freeform 176">
              <a:extLst>
                <a:ext uri="{FF2B5EF4-FFF2-40B4-BE49-F238E27FC236}">
                  <a16:creationId xmlns:a16="http://schemas.microsoft.com/office/drawing/2014/main" id="{22087C53-9214-45A4-86B6-D5DE096FA793}"/>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4A5A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7" name="Group 66">
              <a:extLst>
                <a:ext uri="{FF2B5EF4-FFF2-40B4-BE49-F238E27FC236}">
                  <a16:creationId xmlns:a16="http://schemas.microsoft.com/office/drawing/2014/main" id="{54B74D30-E9BB-4D68-BD68-0DE4B5D0672C}"/>
                </a:ext>
              </a:extLst>
            </p:cNvPr>
            <p:cNvGrpSpPr/>
            <p:nvPr/>
          </p:nvGrpSpPr>
          <p:grpSpPr>
            <a:xfrm>
              <a:off x="9308116" y="4049967"/>
              <a:ext cx="1066991" cy="242231"/>
              <a:chOff x="11132070" y="3308794"/>
              <a:chExt cx="208750" cy="47391"/>
            </a:xfrm>
          </p:grpSpPr>
          <p:sp>
            <p:nvSpPr>
              <p:cNvPr id="68" name="Freeform 177">
                <a:extLst>
                  <a:ext uri="{FF2B5EF4-FFF2-40B4-BE49-F238E27FC236}">
                    <a16:creationId xmlns:a16="http://schemas.microsoft.com/office/drawing/2014/main" id="{651EB500-864E-4B0D-AB60-29BD28EC177C}"/>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9" name="Freeform 178">
                <a:extLst>
                  <a:ext uri="{FF2B5EF4-FFF2-40B4-BE49-F238E27FC236}">
                    <a16:creationId xmlns:a16="http://schemas.microsoft.com/office/drawing/2014/main" id="{7A09C7B0-715B-42C8-B065-418E6EB1CE0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0" name="Freeform 179">
                <a:extLst>
                  <a:ext uri="{FF2B5EF4-FFF2-40B4-BE49-F238E27FC236}">
                    <a16:creationId xmlns:a16="http://schemas.microsoft.com/office/drawing/2014/main" id="{BD238009-C02A-4CBB-8BE2-0E74D3AB763A}"/>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1" name="Rectangle 70">
                <a:extLst>
                  <a:ext uri="{FF2B5EF4-FFF2-40B4-BE49-F238E27FC236}">
                    <a16:creationId xmlns:a16="http://schemas.microsoft.com/office/drawing/2014/main" id="{51D55E03-E93B-410F-810D-1500EF667887}"/>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2" name="Freeform 194">
                <a:extLst>
                  <a:ext uri="{FF2B5EF4-FFF2-40B4-BE49-F238E27FC236}">
                    <a16:creationId xmlns:a16="http://schemas.microsoft.com/office/drawing/2014/main" id="{6B1767BB-55B1-4A45-AAC5-0FAC7E0EC30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4" name="Group 33">
            <a:extLst>
              <a:ext uri="{FF2B5EF4-FFF2-40B4-BE49-F238E27FC236}">
                <a16:creationId xmlns:a16="http://schemas.microsoft.com/office/drawing/2014/main" id="{79C5CB42-D7A9-44AB-BDCE-14B95E47184E}"/>
              </a:ext>
            </a:extLst>
          </p:cNvPr>
          <p:cNvGrpSpPr/>
          <p:nvPr/>
        </p:nvGrpSpPr>
        <p:grpSpPr>
          <a:xfrm>
            <a:off x="5247966" y="3980524"/>
            <a:ext cx="186767" cy="58756"/>
            <a:chOff x="9118112" y="3943518"/>
            <a:chExt cx="1446677" cy="455123"/>
          </a:xfrm>
        </p:grpSpPr>
        <p:sp>
          <p:nvSpPr>
            <p:cNvPr id="59" name="Freeform 176">
              <a:extLst>
                <a:ext uri="{FF2B5EF4-FFF2-40B4-BE49-F238E27FC236}">
                  <a16:creationId xmlns:a16="http://schemas.microsoft.com/office/drawing/2014/main" id="{A0B5C14C-39E2-4BEA-8971-75E9740CC13E}"/>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6AB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0" name="Group 59">
              <a:extLst>
                <a:ext uri="{FF2B5EF4-FFF2-40B4-BE49-F238E27FC236}">
                  <a16:creationId xmlns:a16="http://schemas.microsoft.com/office/drawing/2014/main" id="{2F7D7704-5379-4C39-8F79-5EF105DEA6C6}"/>
                </a:ext>
              </a:extLst>
            </p:cNvPr>
            <p:cNvGrpSpPr/>
            <p:nvPr/>
          </p:nvGrpSpPr>
          <p:grpSpPr>
            <a:xfrm>
              <a:off x="9308116" y="4049967"/>
              <a:ext cx="1066991" cy="242231"/>
              <a:chOff x="11132070" y="3308794"/>
              <a:chExt cx="208750" cy="47391"/>
            </a:xfrm>
          </p:grpSpPr>
          <p:sp>
            <p:nvSpPr>
              <p:cNvPr id="61" name="Freeform 177">
                <a:extLst>
                  <a:ext uri="{FF2B5EF4-FFF2-40B4-BE49-F238E27FC236}">
                    <a16:creationId xmlns:a16="http://schemas.microsoft.com/office/drawing/2014/main" id="{A6FCB66C-1E62-42C7-94E5-4A6AE2A61CED}"/>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2" name="Freeform 178">
                <a:extLst>
                  <a:ext uri="{FF2B5EF4-FFF2-40B4-BE49-F238E27FC236}">
                    <a16:creationId xmlns:a16="http://schemas.microsoft.com/office/drawing/2014/main" id="{02AC179A-EC0B-478D-9729-DAD936A7B634}"/>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3" name="Freeform 179">
                <a:extLst>
                  <a:ext uri="{FF2B5EF4-FFF2-40B4-BE49-F238E27FC236}">
                    <a16:creationId xmlns:a16="http://schemas.microsoft.com/office/drawing/2014/main" id="{2078AFA9-D1A7-429C-BD18-FF0DB542FFDF}"/>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2D4A9569-2E22-4E50-9131-AED198943888}"/>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5" name="Freeform 194">
                <a:extLst>
                  <a:ext uri="{FF2B5EF4-FFF2-40B4-BE49-F238E27FC236}">
                    <a16:creationId xmlns:a16="http://schemas.microsoft.com/office/drawing/2014/main" id="{AE1F4274-E203-42CB-B829-6FDCCE50C488}"/>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sp>
        <p:nvSpPr>
          <p:cNvPr id="35" name="Freeform: Shape 34">
            <a:extLst>
              <a:ext uri="{FF2B5EF4-FFF2-40B4-BE49-F238E27FC236}">
                <a16:creationId xmlns:a16="http://schemas.microsoft.com/office/drawing/2014/main" id="{C4FA4006-5615-4531-B9DE-E04055B8ECB2}"/>
              </a:ext>
            </a:extLst>
          </p:cNvPr>
          <p:cNvSpPr/>
          <p:nvPr/>
        </p:nvSpPr>
        <p:spPr>
          <a:xfrm>
            <a:off x="991697" y="3642444"/>
            <a:ext cx="566057" cy="870857"/>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Lst>
            <a:ahLst/>
            <a:cxnLst>
              <a:cxn ang="0">
                <a:pos x="connsiteX0" y="connsiteY0"/>
              </a:cxn>
              <a:cxn ang="0">
                <a:pos x="connsiteX1" y="connsiteY1"/>
              </a:cxn>
              <a:cxn ang="0">
                <a:pos x="connsiteX2" y="connsiteY2"/>
              </a:cxn>
              <a:cxn ang="0">
                <a:pos x="connsiteX3" y="connsiteY3"/>
              </a:cxn>
            </a:cxnLst>
            <a:rect l="l" t="t" r="r" b="b"/>
            <a:pathLst>
              <a:path w="566057" h="870857">
                <a:moveTo>
                  <a:pt x="0" y="0"/>
                </a:moveTo>
                <a:cubicBezTo>
                  <a:pt x="105229" y="39914"/>
                  <a:pt x="210458" y="79829"/>
                  <a:pt x="283029" y="195943"/>
                </a:cubicBezTo>
                <a:cubicBezTo>
                  <a:pt x="355601" y="312057"/>
                  <a:pt x="388258" y="584200"/>
                  <a:pt x="435429" y="696686"/>
                </a:cubicBezTo>
                <a:cubicBezTo>
                  <a:pt x="482600" y="809172"/>
                  <a:pt x="524328" y="840014"/>
                  <a:pt x="566057" y="870857"/>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6" name="Freeform: Shape 35">
            <a:extLst>
              <a:ext uri="{FF2B5EF4-FFF2-40B4-BE49-F238E27FC236}">
                <a16:creationId xmlns:a16="http://schemas.microsoft.com/office/drawing/2014/main" id="{251E0955-EA7D-48A5-BEED-C58266C19C05}"/>
              </a:ext>
            </a:extLst>
          </p:cNvPr>
          <p:cNvSpPr/>
          <p:nvPr/>
        </p:nvSpPr>
        <p:spPr>
          <a:xfrm>
            <a:off x="1002583" y="3440004"/>
            <a:ext cx="500743" cy="191554"/>
          </a:xfrm>
          <a:custGeom>
            <a:avLst/>
            <a:gdLst>
              <a:gd name="connsiteX0" fmla="*/ 0 w 500743"/>
              <a:gd name="connsiteY0" fmla="*/ 318483 h 318483"/>
              <a:gd name="connsiteX1" fmla="*/ 283028 w 500743"/>
              <a:gd name="connsiteY1" fmla="*/ 35455 h 318483"/>
              <a:gd name="connsiteX2" fmla="*/ 500743 w 500743"/>
              <a:gd name="connsiteY2" fmla="*/ 13683 h 318483"/>
            </a:gdLst>
            <a:ahLst/>
            <a:cxnLst>
              <a:cxn ang="0">
                <a:pos x="connsiteX0" y="connsiteY0"/>
              </a:cxn>
              <a:cxn ang="0">
                <a:pos x="connsiteX1" y="connsiteY1"/>
              </a:cxn>
              <a:cxn ang="0">
                <a:pos x="connsiteX2" y="connsiteY2"/>
              </a:cxn>
            </a:cxnLst>
            <a:rect l="l" t="t" r="r" b="b"/>
            <a:pathLst>
              <a:path w="500743" h="318483">
                <a:moveTo>
                  <a:pt x="0" y="318483"/>
                </a:moveTo>
                <a:cubicBezTo>
                  <a:pt x="99785" y="202369"/>
                  <a:pt x="199571" y="86255"/>
                  <a:pt x="283028" y="35455"/>
                </a:cubicBezTo>
                <a:cubicBezTo>
                  <a:pt x="366485" y="-15345"/>
                  <a:pt x="433614" y="-831"/>
                  <a:pt x="500743" y="13683"/>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7" name="Freeform: Shape 36">
            <a:extLst>
              <a:ext uri="{FF2B5EF4-FFF2-40B4-BE49-F238E27FC236}">
                <a16:creationId xmlns:a16="http://schemas.microsoft.com/office/drawing/2014/main" id="{EA89251B-D7DD-4283-8148-F42A64FBA97B}"/>
              </a:ext>
            </a:extLst>
          </p:cNvPr>
          <p:cNvSpPr/>
          <p:nvPr/>
        </p:nvSpPr>
        <p:spPr>
          <a:xfrm>
            <a:off x="991697" y="2934884"/>
            <a:ext cx="406658" cy="696673"/>
          </a:xfrm>
          <a:custGeom>
            <a:avLst/>
            <a:gdLst>
              <a:gd name="connsiteX0" fmla="*/ 0 w 381000"/>
              <a:gd name="connsiteY0" fmla="*/ 827314 h 827314"/>
              <a:gd name="connsiteX1" fmla="*/ 293914 w 381000"/>
              <a:gd name="connsiteY1" fmla="*/ 326571 h 827314"/>
              <a:gd name="connsiteX2" fmla="*/ 381000 w 381000"/>
              <a:gd name="connsiteY2" fmla="*/ 0 h 827314"/>
            </a:gdLst>
            <a:ahLst/>
            <a:cxnLst>
              <a:cxn ang="0">
                <a:pos x="connsiteX0" y="connsiteY0"/>
              </a:cxn>
              <a:cxn ang="0">
                <a:pos x="connsiteX1" y="connsiteY1"/>
              </a:cxn>
              <a:cxn ang="0">
                <a:pos x="connsiteX2" y="connsiteY2"/>
              </a:cxn>
            </a:cxnLst>
            <a:rect l="l" t="t" r="r" b="b"/>
            <a:pathLst>
              <a:path w="381000" h="827314">
                <a:moveTo>
                  <a:pt x="0" y="827314"/>
                </a:moveTo>
                <a:cubicBezTo>
                  <a:pt x="115207" y="645885"/>
                  <a:pt x="230414" y="464457"/>
                  <a:pt x="293914" y="326571"/>
                </a:cubicBezTo>
                <a:cubicBezTo>
                  <a:pt x="357414" y="188685"/>
                  <a:pt x="369207" y="94342"/>
                  <a:pt x="381000" y="0"/>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38" name="Group 37">
            <a:extLst>
              <a:ext uri="{FF2B5EF4-FFF2-40B4-BE49-F238E27FC236}">
                <a16:creationId xmlns:a16="http://schemas.microsoft.com/office/drawing/2014/main" id="{60474718-24CB-45B0-A308-190ECEC79282}"/>
              </a:ext>
            </a:extLst>
          </p:cNvPr>
          <p:cNvGrpSpPr>
            <a:grpSpLocks noChangeAspect="1"/>
          </p:cNvGrpSpPr>
          <p:nvPr/>
        </p:nvGrpSpPr>
        <p:grpSpPr>
          <a:xfrm>
            <a:off x="378982" y="3382492"/>
            <a:ext cx="596972" cy="572979"/>
            <a:chOff x="879510" y="2849109"/>
            <a:chExt cx="1879449" cy="1803914"/>
          </a:xfrm>
        </p:grpSpPr>
        <p:sp>
          <p:nvSpPr>
            <p:cNvPr id="54" name="Freeform 24">
              <a:extLst>
                <a:ext uri="{FF2B5EF4-FFF2-40B4-BE49-F238E27FC236}">
                  <a16:creationId xmlns:a16="http://schemas.microsoft.com/office/drawing/2014/main" id="{A90B90C0-E4DD-4B14-8E9F-AEEA92ECBA9B}"/>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6">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55" name="Group 54">
              <a:extLst>
                <a:ext uri="{FF2B5EF4-FFF2-40B4-BE49-F238E27FC236}">
                  <a16:creationId xmlns:a16="http://schemas.microsoft.com/office/drawing/2014/main" id="{B3AB873C-EE00-4729-BA2A-96945F90DF3E}"/>
                </a:ext>
              </a:extLst>
            </p:cNvPr>
            <p:cNvGrpSpPr/>
            <p:nvPr/>
          </p:nvGrpSpPr>
          <p:grpSpPr>
            <a:xfrm>
              <a:off x="1261322" y="3570504"/>
              <a:ext cx="1115825" cy="1082519"/>
              <a:chOff x="1261322" y="3570504"/>
              <a:chExt cx="1115825" cy="1082519"/>
            </a:xfrm>
          </p:grpSpPr>
          <p:sp>
            <p:nvSpPr>
              <p:cNvPr id="56" name="Rectangle: Rounded Corners 27">
                <a:extLst>
                  <a:ext uri="{FF2B5EF4-FFF2-40B4-BE49-F238E27FC236}">
                    <a16:creationId xmlns:a16="http://schemas.microsoft.com/office/drawing/2014/main" id="{5C5F1899-41CC-41D1-A0C6-6F498FC743B4}"/>
                  </a:ext>
                </a:extLst>
              </p:cNvPr>
              <p:cNvSpPr/>
              <p:nvPr/>
            </p:nvSpPr>
            <p:spPr>
              <a:xfrm>
                <a:off x="1261322" y="3570504"/>
                <a:ext cx="1115825" cy="1082519"/>
              </a:xfrm>
              <a:prstGeom prst="roundRect">
                <a:avLst>
                  <a:gd name="adj" fmla="val 5597"/>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7" name="Freeform: Shape 28">
                <a:extLst>
                  <a:ext uri="{FF2B5EF4-FFF2-40B4-BE49-F238E27FC236}">
                    <a16:creationId xmlns:a16="http://schemas.microsoft.com/office/drawing/2014/main" id="{82E11D2A-0B73-4405-9E20-8DAC2B827AEB}"/>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8" name="Freeform: Shape 29">
                <a:extLst>
                  <a:ext uri="{FF2B5EF4-FFF2-40B4-BE49-F238E27FC236}">
                    <a16:creationId xmlns:a16="http://schemas.microsoft.com/office/drawing/2014/main" id="{61180FDC-3903-46AB-A086-947E5FB0CCA2}"/>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6">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39" name="Group 38">
            <a:extLst>
              <a:ext uri="{FF2B5EF4-FFF2-40B4-BE49-F238E27FC236}">
                <a16:creationId xmlns:a16="http://schemas.microsoft.com/office/drawing/2014/main" id="{17CE0FFD-1752-4B05-901C-20D5529D0A5E}"/>
              </a:ext>
            </a:extLst>
          </p:cNvPr>
          <p:cNvGrpSpPr/>
          <p:nvPr/>
        </p:nvGrpSpPr>
        <p:grpSpPr>
          <a:xfrm>
            <a:off x="1552030" y="3602625"/>
            <a:ext cx="803098" cy="914400"/>
            <a:chOff x="1156464" y="4353768"/>
            <a:chExt cx="803098" cy="914400"/>
          </a:xfrm>
        </p:grpSpPr>
        <p:grpSp>
          <p:nvGrpSpPr>
            <p:cNvPr id="50" name="Group 49">
              <a:extLst>
                <a:ext uri="{FF2B5EF4-FFF2-40B4-BE49-F238E27FC236}">
                  <a16:creationId xmlns:a16="http://schemas.microsoft.com/office/drawing/2014/main" id="{4B116100-290C-43D2-9E01-4243294AF8A3}"/>
                </a:ext>
              </a:extLst>
            </p:cNvPr>
            <p:cNvGrpSpPr/>
            <p:nvPr/>
          </p:nvGrpSpPr>
          <p:grpSpPr>
            <a:xfrm>
              <a:off x="1274137" y="4353768"/>
              <a:ext cx="564412" cy="560867"/>
              <a:chOff x="2744787" y="87313"/>
              <a:chExt cx="6702426" cy="6683376"/>
            </a:xfrm>
            <a:solidFill>
              <a:schemeClr val="accent5"/>
            </a:solidFill>
          </p:grpSpPr>
          <p:sp>
            <p:nvSpPr>
              <p:cNvPr id="52" name="Oval 12">
                <a:extLst>
                  <a:ext uri="{FF2B5EF4-FFF2-40B4-BE49-F238E27FC236}">
                    <a16:creationId xmlns:a16="http://schemas.microsoft.com/office/drawing/2014/main" id="{43B39BD4-63A2-4C49-B8FA-0C3CDDE84235}"/>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3" name="Freeform: Shape 52">
                <a:extLst>
                  <a:ext uri="{FF2B5EF4-FFF2-40B4-BE49-F238E27FC236}">
                    <a16:creationId xmlns:a16="http://schemas.microsoft.com/office/drawing/2014/main" id="{E2D7C528-2C37-4E55-806B-8A24B9F3EE49}"/>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51" name="Freeform: Shape 23">
              <a:extLst>
                <a:ext uri="{FF2B5EF4-FFF2-40B4-BE49-F238E27FC236}">
                  <a16:creationId xmlns:a16="http://schemas.microsoft.com/office/drawing/2014/main" id="{2F323CE5-FC01-41B3-99A8-18467EE37E8B}"/>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0" name="Group 39">
            <a:extLst>
              <a:ext uri="{FF2B5EF4-FFF2-40B4-BE49-F238E27FC236}">
                <a16:creationId xmlns:a16="http://schemas.microsoft.com/office/drawing/2014/main" id="{BF07C61E-A529-4864-8BD6-DBB7AFB06086}"/>
              </a:ext>
            </a:extLst>
          </p:cNvPr>
          <p:cNvGrpSpPr/>
          <p:nvPr/>
        </p:nvGrpSpPr>
        <p:grpSpPr>
          <a:xfrm>
            <a:off x="1492157" y="2979445"/>
            <a:ext cx="421933" cy="480410"/>
            <a:chOff x="1156464" y="4353768"/>
            <a:chExt cx="803098" cy="914400"/>
          </a:xfrm>
        </p:grpSpPr>
        <p:grpSp>
          <p:nvGrpSpPr>
            <p:cNvPr id="46" name="Group 45">
              <a:extLst>
                <a:ext uri="{FF2B5EF4-FFF2-40B4-BE49-F238E27FC236}">
                  <a16:creationId xmlns:a16="http://schemas.microsoft.com/office/drawing/2014/main" id="{BAAB3904-001E-4FAA-9F72-8D0E6870E700}"/>
                </a:ext>
              </a:extLst>
            </p:cNvPr>
            <p:cNvGrpSpPr/>
            <p:nvPr/>
          </p:nvGrpSpPr>
          <p:grpSpPr>
            <a:xfrm>
              <a:off x="1274137" y="4353768"/>
              <a:ext cx="564412" cy="560867"/>
              <a:chOff x="2744787" y="87313"/>
              <a:chExt cx="6702426" cy="6683376"/>
            </a:xfrm>
            <a:solidFill>
              <a:schemeClr val="accent5"/>
            </a:solidFill>
          </p:grpSpPr>
          <p:sp>
            <p:nvSpPr>
              <p:cNvPr id="48" name="Oval 12">
                <a:extLst>
                  <a:ext uri="{FF2B5EF4-FFF2-40B4-BE49-F238E27FC236}">
                    <a16:creationId xmlns:a16="http://schemas.microsoft.com/office/drawing/2014/main" id="{3E2BEBAF-D105-41B2-BDC6-DC867D5CE344}"/>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9" name="Freeform: Shape 48">
                <a:extLst>
                  <a:ext uri="{FF2B5EF4-FFF2-40B4-BE49-F238E27FC236}">
                    <a16:creationId xmlns:a16="http://schemas.microsoft.com/office/drawing/2014/main" id="{56D13952-27E5-49A3-B4AC-3E4990748048}"/>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7" name="Freeform: Shape 23">
              <a:extLst>
                <a:ext uri="{FF2B5EF4-FFF2-40B4-BE49-F238E27FC236}">
                  <a16:creationId xmlns:a16="http://schemas.microsoft.com/office/drawing/2014/main" id="{61B2D724-65C2-40FC-AD94-5D0BDDBFAC80}"/>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1" name="Group 40">
            <a:extLst>
              <a:ext uri="{FF2B5EF4-FFF2-40B4-BE49-F238E27FC236}">
                <a16:creationId xmlns:a16="http://schemas.microsoft.com/office/drawing/2014/main" id="{3336140F-CE97-4003-9C0C-BC34C109D674}"/>
              </a:ext>
            </a:extLst>
          </p:cNvPr>
          <p:cNvGrpSpPr/>
          <p:nvPr/>
        </p:nvGrpSpPr>
        <p:grpSpPr>
          <a:xfrm>
            <a:off x="1381488" y="2559216"/>
            <a:ext cx="329942" cy="375669"/>
            <a:chOff x="1156464" y="4353768"/>
            <a:chExt cx="803098" cy="914400"/>
          </a:xfrm>
        </p:grpSpPr>
        <p:grpSp>
          <p:nvGrpSpPr>
            <p:cNvPr id="42" name="Group 41">
              <a:extLst>
                <a:ext uri="{FF2B5EF4-FFF2-40B4-BE49-F238E27FC236}">
                  <a16:creationId xmlns:a16="http://schemas.microsoft.com/office/drawing/2014/main" id="{6625E704-B515-4FCB-8711-80BEE8DEC9B1}"/>
                </a:ext>
              </a:extLst>
            </p:cNvPr>
            <p:cNvGrpSpPr/>
            <p:nvPr/>
          </p:nvGrpSpPr>
          <p:grpSpPr>
            <a:xfrm>
              <a:off x="1274137" y="4353768"/>
              <a:ext cx="564412" cy="560867"/>
              <a:chOff x="2744787" y="87313"/>
              <a:chExt cx="6702426" cy="6683376"/>
            </a:xfrm>
            <a:solidFill>
              <a:schemeClr val="accent5"/>
            </a:solidFill>
          </p:grpSpPr>
          <p:sp>
            <p:nvSpPr>
              <p:cNvPr id="44" name="Oval 12">
                <a:extLst>
                  <a:ext uri="{FF2B5EF4-FFF2-40B4-BE49-F238E27FC236}">
                    <a16:creationId xmlns:a16="http://schemas.microsoft.com/office/drawing/2014/main" id="{A24FCFBB-174D-453B-99DC-EDD9D2A96FBE}"/>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5" name="Freeform: Shape 44">
                <a:extLst>
                  <a:ext uri="{FF2B5EF4-FFF2-40B4-BE49-F238E27FC236}">
                    <a16:creationId xmlns:a16="http://schemas.microsoft.com/office/drawing/2014/main" id="{713C7FD4-2FA0-4687-B30E-A6EBB5053F5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3" name="Freeform: Shape 23">
              <a:extLst>
                <a:ext uri="{FF2B5EF4-FFF2-40B4-BE49-F238E27FC236}">
                  <a16:creationId xmlns:a16="http://schemas.microsoft.com/office/drawing/2014/main" id="{71FFCE8D-1407-4E5B-A0C1-B639164770ED}"/>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115" name="Group 114">
            <a:extLst>
              <a:ext uri="{FF2B5EF4-FFF2-40B4-BE49-F238E27FC236}">
                <a16:creationId xmlns:a16="http://schemas.microsoft.com/office/drawing/2014/main" id="{92E6E4FF-FFE7-4C60-A5DA-778C600CA40A}"/>
              </a:ext>
            </a:extLst>
          </p:cNvPr>
          <p:cNvGrpSpPr>
            <a:grpSpLocks noChangeAspect="1"/>
          </p:cNvGrpSpPr>
          <p:nvPr/>
        </p:nvGrpSpPr>
        <p:grpSpPr>
          <a:xfrm>
            <a:off x="6907955" y="2902964"/>
            <a:ext cx="564662" cy="541969"/>
            <a:chOff x="879510" y="2849109"/>
            <a:chExt cx="1879449" cy="1803914"/>
          </a:xfrm>
        </p:grpSpPr>
        <p:sp>
          <p:nvSpPr>
            <p:cNvPr id="178" name="Freeform 24">
              <a:extLst>
                <a:ext uri="{FF2B5EF4-FFF2-40B4-BE49-F238E27FC236}">
                  <a16:creationId xmlns:a16="http://schemas.microsoft.com/office/drawing/2014/main" id="{2A2BA087-DA74-43D7-B0B0-C790058B4849}"/>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2">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79" name="Group 178">
              <a:extLst>
                <a:ext uri="{FF2B5EF4-FFF2-40B4-BE49-F238E27FC236}">
                  <a16:creationId xmlns:a16="http://schemas.microsoft.com/office/drawing/2014/main" id="{21132285-C0A1-49C5-AB9C-B754DABAFC59}"/>
                </a:ext>
              </a:extLst>
            </p:cNvPr>
            <p:cNvGrpSpPr/>
            <p:nvPr/>
          </p:nvGrpSpPr>
          <p:grpSpPr>
            <a:xfrm>
              <a:off x="1261322" y="3570504"/>
              <a:ext cx="1115825" cy="1082519"/>
              <a:chOff x="1261322" y="3570504"/>
              <a:chExt cx="1115825" cy="1082519"/>
            </a:xfrm>
          </p:grpSpPr>
          <p:sp>
            <p:nvSpPr>
              <p:cNvPr id="180" name="Rectangle: Rounded Corners 34">
                <a:extLst>
                  <a:ext uri="{FF2B5EF4-FFF2-40B4-BE49-F238E27FC236}">
                    <a16:creationId xmlns:a16="http://schemas.microsoft.com/office/drawing/2014/main" id="{109AB968-A8B8-41AA-BD5C-3E1976244919}"/>
                  </a:ext>
                </a:extLst>
              </p:cNvPr>
              <p:cNvSpPr/>
              <p:nvPr/>
            </p:nvSpPr>
            <p:spPr>
              <a:xfrm>
                <a:off x="1261322" y="3570504"/>
                <a:ext cx="1115825" cy="1082519"/>
              </a:xfrm>
              <a:prstGeom prst="roundRect">
                <a:avLst>
                  <a:gd name="adj" fmla="val 559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81" name="Freeform: Shape 36">
                <a:extLst>
                  <a:ext uri="{FF2B5EF4-FFF2-40B4-BE49-F238E27FC236}">
                    <a16:creationId xmlns:a16="http://schemas.microsoft.com/office/drawing/2014/main" id="{1D0281DC-3E7E-4734-8F50-D7022435297E}"/>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82" name="Freeform: Shape 37">
                <a:extLst>
                  <a:ext uri="{FF2B5EF4-FFF2-40B4-BE49-F238E27FC236}">
                    <a16:creationId xmlns:a16="http://schemas.microsoft.com/office/drawing/2014/main" id="{C0AEE76D-D939-4E42-8B90-A4F5AA908FCA}"/>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2">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116" name="Group 115">
            <a:extLst>
              <a:ext uri="{FF2B5EF4-FFF2-40B4-BE49-F238E27FC236}">
                <a16:creationId xmlns:a16="http://schemas.microsoft.com/office/drawing/2014/main" id="{FECB562B-901D-410F-AE00-846C1A5EDE01}"/>
              </a:ext>
            </a:extLst>
          </p:cNvPr>
          <p:cNvGrpSpPr/>
          <p:nvPr/>
        </p:nvGrpSpPr>
        <p:grpSpPr>
          <a:xfrm>
            <a:off x="7824543" y="3301463"/>
            <a:ext cx="588051" cy="1001109"/>
            <a:chOff x="1263988" y="2256055"/>
            <a:chExt cx="588051" cy="1001109"/>
          </a:xfrm>
        </p:grpSpPr>
        <p:grpSp>
          <p:nvGrpSpPr>
            <p:cNvPr id="171" name="Group 170">
              <a:extLst>
                <a:ext uri="{FF2B5EF4-FFF2-40B4-BE49-F238E27FC236}">
                  <a16:creationId xmlns:a16="http://schemas.microsoft.com/office/drawing/2014/main" id="{9B6A0CCC-6C98-489B-B902-847C676356E2}"/>
                </a:ext>
              </a:extLst>
            </p:cNvPr>
            <p:cNvGrpSpPr/>
            <p:nvPr/>
          </p:nvGrpSpPr>
          <p:grpSpPr>
            <a:xfrm>
              <a:off x="1279490" y="2256055"/>
              <a:ext cx="564752" cy="561286"/>
              <a:chOff x="4054863" y="1116013"/>
              <a:chExt cx="4654550" cy="4625975"/>
            </a:xfrm>
          </p:grpSpPr>
          <p:sp>
            <p:nvSpPr>
              <p:cNvPr id="175" name="Oval 5">
                <a:extLst>
                  <a:ext uri="{FF2B5EF4-FFF2-40B4-BE49-F238E27FC236}">
                    <a16:creationId xmlns:a16="http://schemas.microsoft.com/office/drawing/2014/main" id="{319A3252-CEA4-40B3-A6DA-ED4A5F9416C6}"/>
                  </a:ext>
                </a:extLst>
              </p:cNvPr>
              <p:cNvSpPr>
                <a:spLocks noChangeArrowheads="1"/>
              </p:cNvSpPr>
              <p:nvPr/>
            </p:nvSpPr>
            <p:spPr bwMode="auto">
              <a:xfrm>
                <a:off x="4869253" y="1925641"/>
                <a:ext cx="3013071" cy="2995618"/>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6" name="Freeform 6">
                <a:extLst>
                  <a:ext uri="{FF2B5EF4-FFF2-40B4-BE49-F238E27FC236}">
                    <a16:creationId xmlns:a16="http://schemas.microsoft.com/office/drawing/2014/main" id="{D1B7E0FE-00DB-4F71-B44A-23CB42E22AE3}"/>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7" name="Oval 7">
                <a:extLst>
                  <a:ext uri="{FF2B5EF4-FFF2-40B4-BE49-F238E27FC236}">
                    <a16:creationId xmlns:a16="http://schemas.microsoft.com/office/drawing/2014/main" id="{3ACA33AB-ADCF-4D64-929F-E2F3462AEB07}"/>
                  </a:ext>
                </a:extLst>
              </p:cNvPr>
              <p:cNvSpPr>
                <a:spLocks noChangeArrowheads="1"/>
              </p:cNvSpPr>
              <p:nvPr/>
            </p:nvSpPr>
            <p:spPr bwMode="auto">
              <a:xfrm>
                <a:off x="5642366" y="2667002"/>
                <a:ext cx="1466852" cy="1511298"/>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72" name="Group 171">
              <a:extLst>
                <a:ext uri="{FF2B5EF4-FFF2-40B4-BE49-F238E27FC236}">
                  <a16:creationId xmlns:a16="http://schemas.microsoft.com/office/drawing/2014/main" id="{FAD8E66D-39C9-4B65-8487-C443DCD17EB7}"/>
                </a:ext>
              </a:extLst>
            </p:cNvPr>
            <p:cNvGrpSpPr/>
            <p:nvPr/>
          </p:nvGrpSpPr>
          <p:grpSpPr>
            <a:xfrm>
              <a:off x="1263988" y="2552114"/>
              <a:ext cx="588051" cy="705050"/>
              <a:chOff x="1268187" y="3395208"/>
              <a:chExt cx="1097423" cy="1315771"/>
            </a:xfrm>
          </p:grpSpPr>
          <p:sp>
            <p:nvSpPr>
              <p:cNvPr id="173" name="Rectangle 172">
                <a:extLst>
                  <a:ext uri="{FF2B5EF4-FFF2-40B4-BE49-F238E27FC236}">
                    <a16:creationId xmlns:a16="http://schemas.microsoft.com/office/drawing/2014/main" id="{9DA1DB65-7838-4C9B-BBD2-1571C551B77F}"/>
                  </a:ext>
                </a:extLst>
              </p:cNvPr>
              <p:cNvSpPr>
                <a:spLocks noChangeArrowheads="1"/>
              </p:cNvSpPr>
              <p:nvPr/>
            </p:nvSpPr>
            <p:spPr bwMode="auto">
              <a:xfrm>
                <a:off x="1337459" y="3740760"/>
                <a:ext cx="958878" cy="143812"/>
              </a:xfrm>
              <a:prstGeom prst="rect">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74" name="Freeform 10">
                <a:extLst>
                  <a:ext uri="{FF2B5EF4-FFF2-40B4-BE49-F238E27FC236}">
                    <a16:creationId xmlns:a16="http://schemas.microsoft.com/office/drawing/2014/main" id="{5260CFFB-F34E-4F76-838E-B10C5D2D966E}"/>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sp>
        <p:nvSpPr>
          <p:cNvPr id="117" name="TextBox 116">
            <a:extLst>
              <a:ext uri="{FF2B5EF4-FFF2-40B4-BE49-F238E27FC236}">
                <a16:creationId xmlns:a16="http://schemas.microsoft.com/office/drawing/2014/main" id="{01402684-5065-4E9C-ABF8-A03B7BE970FD}"/>
              </a:ext>
            </a:extLst>
          </p:cNvPr>
          <p:cNvSpPr txBox="1"/>
          <p:nvPr/>
        </p:nvSpPr>
        <p:spPr>
          <a:xfrm>
            <a:off x="6875204" y="4527161"/>
            <a:ext cx="2688058"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n-cs"/>
              </a:rPr>
              <a:t>Dynamic switching between broadcast and unicast, e.g., SC-PTM</a:t>
            </a:r>
            <a:r>
              <a:rPr kumimoji="0" lang="en-US" sz="1200" b="0" i="0" u="none" strike="noStrike" kern="1200" cap="none" spc="0" normalizeH="0" baseline="30000" noProof="0">
                <a:ln>
                  <a:noFill/>
                </a:ln>
                <a:solidFill>
                  <a:srgbClr val="2853DC"/>
                </a:solidFill>
                <a:effectLst/>
                <a:uLnTx/>
                <a:uFillTx/>
                <a:latin typeface="Microsoft Sans Serif"/>
                <a:ea typeface="+mn-ea"/>
                <a:cs typeface="+mn-cs"/>
              </a:rPr>
              <a:t>1</a:t>
            </a:r>
            <a:endParaRPr kumimoji="0" lang="en-US" sz="1200" b="0" i="0" u="none" strike="noStrike" kern="1200" cap="none" spc="0" normalizeH="0" baseline="0" noProof="0">
              <a:ln>
                <a:noFill/>
              </a:ln>
              <a:solidFill>
                <a:srgbClr val="2853DC"/>
              </a:solidFill>
              <a:effectLst/>
              <a:uLnTx/>
              <a:uFillTx/>
              <a:latin typeface="Microsoft Sans Serif"/>
              <a:ea typeface="+mn-ea"/>
              <a:cs typeface="+mn-cs"/>
            </a:endParaRPr>
          </a:p>
        </p:txBody>
      </p:sp>
      <p:sp>
        <p:nvSpPr>
          <p:cNvPr id="118" name="Freeform: Shape 117">
            <a:extLst>
              <a:ext uri="{FF2B5EF4-FFF2-40B4-BE49-F238E27FC236}">
                <a16:creationId xmlns:a16="http://schemas.microsoft.com/office/drawing/2014/main" id="{E5FAC529-BBAB-4793-914F-2968725E27BC}"/>
              </a:ext>
            </a:extLst>
          </p:cNvPr>
          <p:cNvSpPr/>
          <p:nvPr/>
        </p:nvSpPr>
        <p:spPr>
          <a:xfrm>
            <a:off x="7354871" y="3357957"/>
            <a:ext cx="732918" cy="902201"/>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341553 w 566057"/>
              <a:gd name="connsiteY2" fmla="*/ 754182 h 870857"/>
              <a:gd name="connsiteX3" fmla="*/ 566057 w 566057"/>
              <a:gd name="connsiteY3" fmla="*/ 870857 h 870857"/>
              <a:gd name="connsiteX0" fmla="*/ 0 w 574591"/>
              <a:gd name="connsiteY0" fmla="*/ 0 h 795566"/>
              <a:gd name="connsiteX1" fmla="*/ 206221 w 574591"/>
              <a:gd name="connsiteY1" fmla="*/ 291769 h 795566"/>
              <a:gd name="connsiteX2" fmla="*/ 341553 w 574591"/>
              <a:gd name="connsiteY2" fmla="*/ 754182 h 795566"/>
              <a:gd name="connsiteX3" fmla="*/ 574591 w 574591"/>
              <a:gd name="connsiteY3" fmla="*/ 794196 h 795566"/>
              <a:gd name="connsiteX0" fmla="*/ 0 w 574591"/>
              <a:gd name="connsiteY0" fmla="*/ 0 h 794196"/>
              <a:gd name="connsiteX1" fmla="*/ 206221 w 574591"/>
              <a:gd name="connsiteY1" fmla="*/ 291769 h 794196"/>
              <a:gd name="connsiteX2" fmla="*/ 367155 w 574591"/>
              <a:gd name="connsiteY2" fmla="*/ 696686 h 794196"/>
              <a:gd name="connsiteX3" fmla="*/ 574591 w 574591"/>
              <a:gd name="connsiteY3" fmla="*/ 794196 h 794196"/>
            </a:gdLst>
            <a:ahLst/>
            <a:cxnLst>
              <a:cxn ang="0">
                <a:pos x="connsiteX0" y="connsiteY0"/>
              </a:cxn>
              <a:cxn ang="0">
                <a:pos x="connsiteX1" y="connsiteY1"/>
              </a:cxn>
              <a:cxn ang="0">
                <a:pos x="connsiteX2" y="connsiteY2"/>
              </a:cxn>
              <a:cxn ang="0">
                <a:pos x="connsiteX3" y="connsiteY3"/>
              </a:cxn>
            </a:cxnLst>
            <a:rect l="l" t="t" r="r" b="b"/>
            <a:pathLst>
              <a:path w="574591" h="794196">
                <a:moveTo>
                  <a:pt x="0" y="0"/>
                </a:moveTo>
                <a:cubicBezTo>
                  <a:pt x="105229" y="39914"/>
                  <a:pt x="145029" y="175655"/>
                  <a:pt x="206221" y="291769"/>
                </a:cubicBezTo>
                <a:cubicBezTo>
                  <a:pt x="267413" y="407883"/>
                  <a:pt x="305760" y="612948"/>
                  <a:pt x="367155" y="696686"/>
                </a:cubicBezTo>
                <a:cubicBezTo>
                  <a:pt x="428550" y="780424"/>
                  <a:pt x="532862" y="763353"/>
                  <a:pt x="574591" y="7941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156" name="Group 155">
            <a:extLst>
              <a:ext uri="{FF2B5EF4-FFF2-40B4-BE49-F238E27FC236}">
                <a16:creationId xmlns:a16="http://schemas.microsoft.com/office/drawing/2014/main" id="{F47147DB-9745-4224-A23B-B2F2E34D15DA}"/>
              </a:ext>
            </a:extLst>
          </p:cNvPr>
          <p:cNvGrpSpPr/>
          <p:nvPr/>
        </p:nvGrpSpPr>
        <p:grpSpPr>
          <a:xfrm>
            <a:off x="9506396" y="3028391"/>
            <a:ext cx="412626" cy="255643"/>
            <a:chOff x="16516350" y="0"/>
            <a:chExt cx="11074400" cy="6861175"/>
          </a:xfrm>
        </p:grpSpPr>
        <p:sp>
          <p:nvSpPr>
            <p:cNvPr id="167" name="Freeform 5">
              <a:extLst>
                <a:ext uri="{FF2B5EF4-FFF2-40B4-BE49-F238E27FC236}">
                  <a16:creationId xmlns:a16="http://schemas.microsoft.com/office/drawing/2014/main" id="{B98C4994-2E0C-49C1-B5E2-B49CD6536AFB}"/>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8" name="Freeform 6">
              <a:extLst>
                <a:ext uri="{FF2B5EF4-FFF2-40B4-BE49-F238E27FC236}">
                  <a16:creationId xmlns:a16="http://schemas.microsoft.com/office/drawing/2014/main" id="{F5D21956-3F7F-4738-A5E6-AD72EB52F431}"/>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9" name="Freeform 7">
              <a:extLst>
                <a:ext uri="{FF2B5EF4-FFF2-40B4-BE49-F238E27FC236}">
                  <a16:creationId xmlns:a16="http://schemas.microsoft.com/office/drawing/2014/main" id="{31647AB4-9A60-427E-81AD-737B15EA14FE}"/>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0" name="Freeform 8">
              <a:extLst>
                <a:ext uri="{FF2B5EF4-FFF2-40B4-BE49-F238E27FC236}">
                  <a16:creationId xmlns:a16="http://schemas.microsoft.com/office/drawing/2014/main" id="{8D8CEC23-37A4-4F71-9879-FCE399F5BC8D}"/>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7" name="Group 156">
            <a:extLst>
              <a:ext uri="{FF2B5EF4-FFF2-40B4-BE49-F238E27FC236}">
                <a16:creationId xmlns:a16="http://schemas.microsoft.com/office/drawing/2014/main" id="{0CE8F4D9-A069-4947-A6D6-8D59E8CB50B4}"/>
              </a:ext>
            </a:extLst>
          </p:cNvPr>
          <p:cNvGrpSpPr/>
          <p:nvPr/>
        </p:nvGrpSpPr>
        <p:grpSpPr>
          <a:xfrm>
            <a:off x="9260450" y="3361342"/>
            <a:ext cx="412626" cy="255643"/>
            <a:chOff x="16516350" y="0"/>
            <a:chExt cx="11074400" cy="6861175"/>
          </a:xfrm>
        </p:grpSpPr>
        <p:sp>
          <p:nvSpPr>
            <p:cNvPr id="163" name="Freeform 5">
              <a:extLst>
                <a:ext uri="{FF2B5EF4-FFF2-40B4-BE49-F238E27FC236}">
                  <a16:creationId xmlns:a16="http://schemas.microsoft.com/office/drawing/2014/main" id="{86AB15AC-7EED-4014-9CC4-11984FAEBC6D}"/>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4" name="Freeform 6">
              <a:extLst>
                <a:ext uri="{FF2B5EF4-FFF2-40B4-BE49-F238E27FC236}">
                  <a16:creationId xmlns:a16="http://schemas.microsoft.com/office/drawing/2014/main" id="{C1F19F74-19F7-4D6B-B7AB-052AA05F826A}"/>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5" name="Freeform 7">
              <a:extLst>
                <a:ext uri="{FF2B5EF4-FFF2-40B4-BE49-F238E27FC236}">
                  <a16:creationId xmlns:a16="http://schemas.microsoft.com/office/drawing/2014/main" id="{89691CEA-FE15-4BB3-8793-1D7D5EFE76B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6" name="Freeform 8">
              <a:extLst>
                <a:ext uri="{FF2B5EF4-FFF2-40B4-BE49-F238E27FC236}">
                  <a16:creationId xmlns:a16="http://schemas.microsoft.com/office/drawing/2014/main" id="{68274EA2-750F-42A3-A0FC-1AF9ECB1F796}"/>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8" name="Group 157">
            <a:extLst>
              <a:ext uri="{FF2B5EF4-FFF2-40B4-BE49-F238E27FC236}">
                <a16:creationId xmlns:a16="http://schemas.microsoft.com/office/drawing/2014/main" id="{44359AED-31FB-4D26-BB9E-7EEF236E0094}"/>
              </a:ext>
            </a:extLst>
          </p:cNvPr>
          <p:cNvGrpSpPr/>
          <p:nvPr/>
        </p:nvGrpSpPr>
        <p:grpSpPr>
          <a:xfrm>
            <a:off x="9752342" y="3361342"/>
            <a:ext cx="412626" cy="255643"/>
            <a:chOff x="16516350" y="0"/>
            <a:chExt cx="11074400" cy="6861175"/>
          </a:xfrm>
        </p:grpSpPr>
        <p:sp>
          <p:nvSpPr>
            <p:cNvPr id="159" name="Freeform 5">
              <a:extLst>
                <a:ext uri="{FF2B5EF4-FFF2-40B4-BE49-F238E27FC236}">
                  <a16:creationId xmlns:a16="http://schemas.microsoft.com/office/drawing/2014/main" id="{B41088C2-D738-4E3F-B4F2-A06CE9776BA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0" name="Freeform 6">
              <a:extLst>
                <a:ext uri="{FF2B5EF4-FFF2-40B4-BE49-F238E27FC236}">
                  <a16:creationId xmlns:a16="http://schemas.microsoft.com/office/drawing/2014/main" id="{4C22C56D-AC4D-4905-BE55-3ADB8DCA3F2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1" name="Freeform 7">
              <a:extLst>
                <a:ext uri="{FF2B5EF4-FFF2-40B4-BE49-F238E27FC236}">
                  <a16:creationId xmlns:a16="http://schemas.microsoft.com/office/drawing/2014/main" id="{6C848E5A-145A-4ED1-AD64-24ACCFD8AB5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2" name="Freeform 8">
              <a:extLst>
                <a:ext uri="{FF2B5EF4-FFF2-40B4-BE49-F238E27FC236}">
                  <a16:creationId xmlns:a16="http://schemas.microsoft.com/office/drawing/2014/main" id="{A1A6D6D7-F627-40CC-879B-EDD9BDC005B9}"/>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21" name="Group 120">
            <a:extLst>
              <a:ext uri="{FF2B5EF4-FFF2-40B4-BE49-F238E27FC236}">
                <a16:creationId xmlns:a16="http://schemas.microsoft.com/office/drawing/2014/main" id="{77A3DA02-481B-4C58-8194-921DEFEF63B5}"/>
              </a:ext>
            </a:extLst>
          </p:cNvPr>
          <p:cNvGrpSpPr>
            <a:grpSpLocks noChangeAspect="1"/>
          </p:cNvGrpSpPr>
          <p:nvPr/>
        </p:nvGrpSpPr>
        <p:grpSpPr>
          <a:xfrm>
            <a:off x="9837063" y="4152976"/>
            <a:ext cx="246841" cy="457574"/>
            <a:chOff x="5434013" y="2201863"/>
            <a:chExt cx="1323975" cy="2454275"/>
          </a:xfrm>
        </p:grpSpPr>
        <p:sp>
          <p:nvSpPr>
            <p:cNvPr id="154" name="Freeform 5">
              <a:extLst>
                <a:ext uri="{FF2B5EF4-FFF2-40B4-BE49-F238E27FC236}">
                  <a16:creationId xmlns:a16="http://schemas.microsoft.com/office/drawing/2014/main" id="{9D5740F3-9699-4493-B0E9-1D730F43510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5" name="Freeform: Shape 15">
              <a:extLst>
                <a:ext uri="{FF2B5EF4-FFF2-40B4-BE49-F238E27FC236}">
                  <a16:creationId xmlns:a16="http://schemas.microsoft.com/office/drawing/2014/main" id="{BF77DC51-14F1-4061-A477-5F2D6D7EDE85}"/>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2" name="Group 121">
            <a:extLst>
              <a:ext uri="{FF2B5EF4-FFF2-40B4-BE49-F238E27FC236}">
                <a16:creationId xmlns:a16="http://schemas.microsoft.com/office/drawing/2014/main" id="{CB58FBD1-F72F-4289-BC80-E5B4C7888D55}"/>
              </a:ext>
            </a:extLst>
          </p:cNvPr>
          <p:cNvGrpSpPr>
            <a:grpSpLocks noChangeAspect="1"/>
          </p:cNvGrpSpPr>
          <p:nvPr/>
        </p:nvGrpSpPr>
        <p:grpSpPr>
          <a:xfrm>
            <a:off x="10124616" y="4152976"/>
            <a:ext cx="246841" cy="457574"/>
            <a:chOff x="5434013" y="2201863"/>
            <a:chExt cx="1323975" cy="2454275"/>
          </a:xfrm>
        </p:grpSpPr>
        <p:sp>
          <p:nvSpPr>
            <p:cNvPr id="152" name="Freeform 5">
              <a:extLst>
                <a:ext uri="{FF2B5EF4-FFF2-40B4-BE49-F238E27FC236}">
                  <a16:creationId xmlns:a16="http://schemas.microsoft.com/office/drawing/2014/main" id="{D9399F81-18A6-45F1-B643-B301F75A87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3" name="Freeform: Shape 15">
              <a:extLst>
                <a:ext uri="{FF2B5EF4-FFF2-40B4-BE49-F238E27FC236}">
                  <a16:creationId xmlns:a16="http://schemas.microsoft.com/office/drawing/2014/main" id="{0B1283DE-93B4-40EA-A8E0-9A306B0008F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3" name="Group 122">
            <a:extLst>
              <a:ext uri="{FF2B5EF4-FFF2-40B4-BE49-F238E27FC236}">
                <a16:creationId xmlns:a16="http://schemas.microsoft.com/office/drawing/2014/main" id="{3BBF93F1-592C-4E3C-9795-05CB8630870B}"/>
              </a:ext>
            </a:extLst>
          </p:cNvPr>
          <p:cNvGrpSpPr>
            <a:grpSpLocks noChangeAspect="1"/>
          </p:cNvGrpSpPr>
          <p:nvPr/>
        </p:nvGrpSpPr>
        <p:grpSpPr>
          <a:xfrm>
            <a:off x="10412170" y="4152976"/>
            <a:ext cx="246841" cy="457574"/>
            <a:chOff x="5434013" y="2201863"/>
            <a:chExt cx="1323975" cy="2454275"/>
          </a:xfrm>
        </p:grpSpPr>
        <p:sp>
          <p:nvSpPr>
            <p:cNvPr id="150" name="Freeform 5">
              <a:extLst>
                <a:ext uri="{FF2B5EF4-FFF2-40B4-BE49-F238E27FC236}">
                  <a16:creationId xmlns:a16="http://schemas.microsoft.com/office/drawing/2014/main" id="{EF94FE5C-FAB1-4097-8B05-AF7BBFA2DDB3}"/>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1" name="Freeform: Shape 15">
              <a:extLst>
                <a:ext uri="{FF2B5EF4-FFF2-40B4-BE49-F238E27FC236}">
                  <a16:creationId xmlns:a16="http://schemas.microsoft.com/office/drawing/2014/main" id="{BFFBD468-2438-48BA-B958-15347A09BDD2}"/>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sp>
        <p:nvSpPr>
          <p:cNvPr id="124" name="Freeform 19">
            <a:extLst>
              <a:ext uri="{FF2B5EF4-FFF2-40B4-BE49-F238E27FC236}">
                <a16:creationId xmlns:a16="http://schemas.microsoft.com/office/drawing/2014/main" id="{1E10ECCD-240E-46EA-BF09-6F4ABD98DBE9}"/>
              </a:ext>
            </a:extLst>
          </p:cNvPr>
          <p:cNvSpPr>
            <a:spLocks/>
          </p:cNvSpPr>
          <p:nvPr/>
        </p:nvSpPr>
        <p:spPr bwMode="auto">
          <a:xfrm>
            <a:off x="9579742" y="3733091"/>
            <a:ext cx="265935" cy="394001"/>
          </a:xfrm>
          <a:custGeom>
            <a:avLst/>
            <a:gdLst>
              <a:gd name="T0" fmla="*/ 1681 w 1913"/>
              <a:gd name="T1" fmla="*/ 2831 h 2832"/>
              <a:gd name="T2" fmla="*/ 1543 w 1913"/>
              <a:gd name="T3" fmla="*/ 2774 h 2832"/>
              <a:gd name="T4" fmla="*/ 31 w 1913"/>
              <a:gd name="T5" fmla="*/ 287 h 2832"/>
              <a:gd name="T6" fmla="*/ 173 w 1913"/>
              <a:gd name="T7" fmla="*/ 31 h 2832"/>
              <a:gd name="T8" fmla="*/ 428 w 1913"/>
              <a:gd name="T9" fmla="*/ 173 h 2832"/>
              <a:gd name="T10" fmla="*/ 1827 w 1913"/>
              <a:gd name="T11" fmla="*/ 2475 h 2832"/>
              <a:gd name="T12" fmla="*/ 1835 w 1913"/>
              <a:gd name="T13" fmla="*/ 2767 h 2832"/>
              <a:gd name="T14" fmla="*/ 1681 w 1913"/>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3" h="2832">
                <a:moveTo>
                  <a:pt x="1681" y="2831"/>
                </a:moveTo>
                <a:cubicBezTo>
                  <a:pt x="1631" y="2830"/>
                  <a:pt x="1582" y="2811"/>
                  <a:pt x="1543" y="2774"/>
                </a:cubicBezTo>
                <a:cubicBezTo>
                  <a:pt x="825" y="2093"/>
                  <a:pt x="302" y="1233"/>
                  <a:pt x="31" y="287"/>
                </a:cubicBezTo>
                <a:cubicBezTo>
                  <a:pt x="0" y="177"/>
                  <a:pt x="63" y="63"/>
                  <a:pt x="173" y="31"/>
                </a:cubicBezTo>
                <a:cubicBezTo>
                  <a:pt x="283" y="0"/>
                  <a:pt x="397" y="63"/>
                  <a:pt x="428" y="173"/>
                </a:cubicBezTo>
                <a:cubicBezTo>
                  <a:pt x="679" y="1048"/>
                  <a:pt x="1162" y="1844"/>
                  <a:pt x="1827" y="2475"/>
                </a:cubicBezTo>
                <a:cubicBezTo>
                  <a:pt x="1910" y="2553"/>
                  <a:pt x="1913" y="2684"/>
                  <a:pt x="1835" y="2767"/>
                </a:cubicBezTo>
                <a:cubicBezTo>
                  <a:pt x="1793" y="2811"/>
                  <a:pt x="1737" y="2832"/>
                  <a:pt x="1681"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5" name="Freeform 20">
            <a:extLst>
              <a:ext uri="{FF2B5EF4-FFF2-40B4-BE49-F238E27FC236}">
                <a16:creationId xmlns:a16="http://schemas.microsoft.com/office/drawing/2014/main" id="{081D3F2A-6696-4E6E-ABA5-7822021C004B}"/>
              </a:ext>
            </a:extLst>
          </p:cNvPr>
          <p:cNvSpPr>
            <a:spLocks/>
          </p:cNvSpPr>
          <p:nvPr/>
        </p:nvSpPr>
        <p:spPr bwMode="auto">
          <a:xfrm>
            <a:off x="10664828" y="3733091"/>
            <a:ext cx="265935" cy="394001"/>
          </a:xfrm>
          <a:custGeom>
            <a:avLst/>
            <a:gdLst>
              <a:gd name="T0" fmla="*/ 233 w 1914"/>
              <a:gd name="T1" fmla="*/ 2831 h 2832"/>
              <a:gd name="T2" fmla="*/ 371 w 1914"/>
              <a:gd name="T3" fmla="*/ 2774 h 2832"/>
              <a:gd name="T4" fmla="*/ 1882 w 1914"/>
              <a:gd name="T5" fmla="*/ 287 h 2832"/>
              <a:gd name="T6" fmla="*/ 1741 w 1914"/>
              <a:gd name="T7" fmla="*/ 31 h 2832"/>
              <a:gd name="T8" fmla="*/ 1486 w 1914"/>
              <a:gd name="T9" fmla="*/ 173 h 2832"/>
              <a:gd name="T10" fmla="*/ 87 w 1914"/>
              <a:gd name="T11" fmla="*/ 2475 h 2832"/>
              <a:gd name="T12" fmla="*/ 79 w 1914"/>
              <a:gd name="T13" fmla="*/ 2767 h 2832"/>
              <a:gd name="T14" fmla="*/ 233 w 1914"/>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4" h="2832">
                <a:moveTo>
                  <a:pt x="233" y="2831"/>
                </a:moveTo>
                <a:cubicBezTo>
                  <a:pt x="283" y="2830"/>
                  <a:pt x="332" y="2811"/>
                  <a:pt x="371" y="2774"/>
                </a:cubicBezTo>
                <a:cubicBezTo>
                  <a:pt x="1089" y="2093"/>
                  <a:pt x="1612" y="1233"/>
                  <a:pt x="1882" y="287"/>
                </a:cubicBezTo>
                <a:cubicBezTo>
                  <a:pt x="1914" y="177"/>
                  <a:pt x="1850" y="63"/>
                  <a:pt x="1741" y="31"/>
                </a:cubicBezTo>
                <a:cubicBezTo>
                  <a:pt x="1631" y="0"/>
                  <a:pt x="1517" y="63"/>
                  <a:pt x="1486" y="173"/>
                </a:cubicBezTo>
                <a:cubicBezTo>
                  <a:pt x="1235" y="1048"/>
                  <a:pt x="751" y="1844"/>
                  <a:pt x="87" y="2475"/>
                </a:cubicBezTo>
                <a:cubicBezTo>
                  <a:pt x="4" y="2553"/>
                  <a:pt x="0" y="2684"/>
                  <a:pt x="79" y="2767"/>
                </a:cubicBezTo>
                <a:cubicBezTo>
                  <a:pt x="121" y="2811"/>
                  <a:pt x="177" y="2832"/>
                  <a:pt x="233"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6" name="Freeform 21">
            <a:extLst>
              <a:ext uri="{FF2B5EF4-FFF2-40B4-BE49-F238E27FC236}">
                <a16:creationId xmlns:a16="http://schemas.microsoft.com/office/drawing/2014/main" id="{3BFC802B-8089-4E85-B6E8-93BA5FC06438}"/>
              </a:ext>
            </a:extLst>
          </p:cNvPr>
          <p:cNvSpPr>
            <a:spLocks/>
          </p:cNvSpPr>
          <p:nvPr/>
        </p:nvSpPr>
        <p:spPr bwMode="auto">
          <a:xfrm>
            <a:off x="10026814" y="2937593"/>
            <a:ext cx="451687" cy="95760"/>
          </a:xfrm>
          <a:custGeom>
            <a:avLst/>
            <a:gdLst>
              <a:gd name="T0" fmla="*/ 3206 w 3247"/>
              <a:gd name="T1" fmla="*/ 348 h 689"/>
              <a:gd name="T2" fmla="*/ 3086 w 3247"/>
              <a:gd name="T3" fmla="*/ 260 h 689"/>
              <a:gd name="T4" fmla="*/ 175 w 3247"/>
              <a:gd name="T5" fmla="*/ 260 h 689"/>
              <a:gd name="T6" fmla="*/ 30 w 3247"/>
              <a:gd name="T7" fmla="*/ 514 h 689"/>
              <a:gd name="T8" fmla="*/ 284 w 3247"/>
              <a:gd name="T9" fmla="*/ 658 h 689"/>
              <a:gd name="T10" fmla="*/ 2978 w 3247"/>
              <a:gd name="T11" fmla="*/ 658 h 689"/>
              <a:gd name="T12" fmla="*/ 3231 w 3247"/>
              <a:gd name="T13" fmla="*/ 513 h 689"/>
              <a:gd name="T14" fmla="*/ 3206 w 3247"/>
              <a:gd name="T15" fmla="*/ 348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7" h="689">
                <a:moveTo>
                  <a:pt x="3206" y="348"/>
                </a:moveTo>
                <a:cubicBezTo>
                  <a:pt x="3179" y="306"/>
                  <a:pt x="3138" y="274"/>
                  <a:pt x="3086" y="260"/>
                </a:cubicBezTo>
                <a:cubicBezTo>
                  <a:pt x="2131" y="0"/>
                  <a:pt x="1124" y="0"/>
                  <a:pt x="175" y="260"/>
                </a:cubicBezTo>
                <a:cubicBezTo>
                  <a:pt x="65" y="290"/>
                  <a:pt x="0" y="404"/>
                  <a:pt x="30" y="514"/>
                </a:cubicBezTo>
                <a:cubicBezTo>
                  <a:pt x="60" y="624"/>
                  <a:pt x="174" y="689"/>
                  <a:pt x="284" y="658"/>
                </a:cubicBezTo>
                <a:cubicBezTo>
                  <a:pt x="1162" y="418"/>
                  <a:pt x="2094" y="418"/>
                  <a:pt x="2978" y="658"/>
                </a:cubicBezTo>
                <a:cubicBezTo>
                  <a:pt x="3088" y="688"/>
                  <a:pt x="3201" y="624"/>
                  <a:pt x="3231" y="513"/>
                </a:cubicBezTo>
                <a:cubicBezTo>
                  <a:pt x="3247" y="455"/>
                  <a:pt x="3236" y="396"/>
                  <a:pt x="3206" y="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7" name="Freeform 4">
            <a:extLst>
              <a:ext uri="{FF2B5EF4-FFF2-40B4-BE49-F238E27FC236}">
                <a16:creationId xmlns:a16="http://schemas.microsoft.com/office/drawing/2014/main" id="{9785602C-11C4-496D-BF37-EA0BA22510E4}"/>
              </a:ext>
            </a:extLst>
          </p:cNvPr>
          <p:cNvSpPr>
            <a:spLocks noChangeAspect="1"/>
          </p:cNvSpPr>
          <p:nvPr/>
        </p:nvSpPr>
        <p:spPr bwMode="auto">
          <a:xfrm>
            <a:off x="9869694"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8" name="Freeform 4">
            <a:extLst>
              <a:ext uri="{FF2B5EF4-FFF2-40B4-BE49-F238E27FC236}">
                <a16:creationId xmlns:a16="http://schemas.microsoft.com/office/drawing/2014/main" id="{797D4545-A77C-468C-B8A3-67DF300CB155}"/>
              </a:ext>
            </a:extLst>
          </p:cNvPr>
          <p:cNvSpPr>
            <a:spLocks noChangeAspect="1"/>
          </p:cNvSpPr>
          <p:nvPr/>
        </p:nvSpPr>
        <p:spPr bwMode="auto">
          <a:xfrm>
            <a:off x="10155967"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9" name="Freeform 4">
            <a:extLst>
              <a:ext uri="{FF2B5EF4-FFF2-40B4-BE49-F238E27FC236}">
                <a16:creationId xmlns:a16="http://schemas.microsoft.com/office/drawing/2014/main" id="{10894FDE-FAAB-4615-AFC3-C95782CC335F}"/>
              </a:ext>
            </a:extLst>
          </p:cNvPr>
          <p:cNvSpPr>
            <a:spLocks noChangeAspect="1"/>
          </p:cNvSpPr>
          <p:nvPr/>
        </p:nvSpPr>
        <p:spPr bwMode="auto">
          <a:xfrm>
            <a:off x="10449496"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0" name="Group 129">
            <a:extLst>
              <a:ext uri="{FF2B5EF4-FFF2-40B4-BE49-F238E27FC236}">
                <a16:creationId xmlns:a16="http://schemas.microsoft.com/office/drawing/2014/main" id="{65B12708-0640-48E4-B11E-7D2E4FAA6E08}"/>
              </a:ext>
            </a:extLst>
          </p:cNvPr>
          <p:cNvGrpSpPr/>
          <p:nvPr/>
        </p:nvGrpSpPr>
        <p:grpSpPr>
          <a:xfrm>
            <a:off x="10983002" y="2894675"/>
            <a:ext cx="249989" cy="354658"/>
            <a:chOff x="6911903" y="1228430"/>
            <a:chExt cx="618756" cy="877824"/>
          </a:xfrm>
        </p:grpSpPr>
        <p:sp>
          <p:nvSpPr>
            <p:cNvPr id="146" name="Freeform 25">
              <a:extLst>
                <a:ext uri="{FF2B5EF4-FFF2-40B4-BE49-F238E27FC236}">
                  <a16:creationId xmlns:a16="http://schemas.microsoft.com/office/drawing/2014/main" id="{CF98DB8C-FE7D-43C5-9AE4-294A6776F41D}"/>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7" name="Oval 26">
              <a:extLst>
                <a:ext uri="{FF2B5EF4-FFF2-40B4-BE49-F238E27FC236}">
                  <a16:creationId xmlns:a16="http://schemas.microsoft.com/office/drawing/2014/main" id="{42878C5F-944B-45FB-A68C-277CB0F1FB49}"/>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8" name="Oval 27">
              <a:extLst>
                <a:ext uri="{FF2B5EF4-FFF2-40B4-BE49-F238E27FC236}">
                  <a16:creationId xmlns:a16="http://schemas.microsoft.com/office/drawing/2014/main" id="{C5FA190C-69E2-46B2-8849-91B9A6E9B1E2}"/>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9" name="Freeform 28">
              <a:extLst>
                <a:ext uri="{FF2B5EF4-FFF2-40B4-BE49-F238E27FC236}">
                  <a16:creationId xmlns:a16="http://schemas.microsoft.com/office/drawing/2014/main" id="{C65D7A29-EDE9-480B-B971-DE23D36251EB}"/>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31" name="Group 130">
            <a:extLst>
              <a:ext uri="{FF2B5EF4-FFF2-40B4-BE49-F238E27FC236}">
                <a16:creationId xmlns:a16="http://schemas.microsoft.com/office/drawing/2014/main" id="{B1C69A4D-153E-4E85-982C-C0E4E2DA646D}"/>
              </a:ext>
            </a:extLst>
          </p:cNvPr>
          <p:cNvGrpSpPr>
            <a:grpSpLocks noChangeAspect="1"/>
          </p:cNvGrpSpPr>
          <p:nvPr/>
        </p:nvGrpSpPr>
        <p:grpSpPr>
          <a:xfrm>
            <a:off x="10557210" y="2884746"/>
            <a:ext cx="373553" cy="370949"/>
            <a:chOff x="6415005" y="3149663"/>
            <a:chExt cx="2535582" cy="2517209"/>
          </a:xfrm>
        </p:grpSpPr>
        <p:sp>
          <p:nvSpPr>
            <p:cNvPr id="141" name="Oval 8">
              <a:extLst>
                <a:ext uri="{FF2B5EF4-FFF2-40B4-BE49-F238E27FC236}">
                  <a16:creationId xmlns:a16="http://schemas.microsoft.com/office/drawing/2014/main" id="{378C1A18-C5FE-44DB-801A-C50538A054B3}"/>
                </a:ext>
              </a:extLst>
            </p:cNvPr>
            <p:cNvSpPr>
              <a:spLocks noChangeArrowheads="1"/>
            </p:cNvSpPr>
            <p:nvPr/>
          </p:nvSpPr>
          <p:spPr bwMode="auto">
            <a:xfrm>
              <a:off x="6415005" y="3149663"/>
              <a:ext cx="2535582" cy="2517209"/>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2" name="Freeform: Shape 20">
              <a:extLst>
                <a:ext uri="{FF2B5EF4-FFF2-40B4-BE49-F238E27FC236}">
                  <a16:creationId xmlns:a16="http://schemas.microsoft.com/office/drawing/2014/main" id="{95078F98-0FAB-49BB-A1DE-E12EDCF30D81}"/>
                </a:ext>
              </a:extLst>
            </p:cNvPr>
            <p:cNvSpPr>
              <a:spLocks/>
            </p:cNvSpPr>
            <p:nvPr/>
          </p:nvSpPr>
          <p:spPr bwMode="auto">
            <a:xfrm>
              <a:off x="6653865" y="3385180"/>
              <a:ext cx="2058992" cy="2046172"/>
            </a:xfrm>
            <a:custGeom>
              <a:avLst/>
              <a:gdLst>
                <a:gd name="connsiteX0" fmla="*/ 26024 w 2058992"/>
                <a:gd name="connsiteY0" fmla="*/ 1189285 h 2046172"/>
                <a:gd name="connsiteX1" fmla="*/ 1891146 w 2058992"/>
                <a:gd name="connsiteY1" fmla="*/ 1189285 h 2046172"/>
                <a:gd name="connsiteX2" fmla="*/ 1897510 w 2058992"/>
                <a:gd name="connsiteY2" fmla="*/ 1195624 h 2046172"/>
                <a:gd name="connsiteX3" fmla="*/ 1897510 w 2058992"/>
                <a:gd name="connsiteY3" fmla="*/ 1197353 h 2046172"/>
                <a:gd name="connsiteX4" fmla="*/ 1892303 w 2058992"/>
                <a:gd name="connsiteY4" fmla="*/ 1204268 h 2046172"/>
                <a:gd name="connsiteX5" fmla="*/ 1038998 w 2058992"/>
                <a:gd name="connsiteY5" fmla="*/ 2039833 h 2046172"/>
                <a:gd name="connsiteX6" fmla="*/ 1032635 w 2058992"/>
                <a:gd name="connsiteY6" fmla="*/ 2046172 h 2046172"/>
                <a:gd name="connsiteX7" fmla="*/ 16189 w 2058992"/>
                <a:gd name="connsiteY7" fmla="*/ 1201387 h 2046172"/>
                <a:gd name="connsiteX8" fmla="*/ 26024 w 2058992"/>
                <a:gd name="connsiteY8" fmla="*/ 1189285 h 2046172"/>
                <a:gd name="connsiteX9" fmla="*/ 1032948 w 2058992"/>
                <a:gd name="connsiteY9" fmla="*/ 0 h 2046172"/>
                <a:gd name="connsiteX10" fmla="*/ 2058956 w 2058992"/>
                <a:gd name="connsiteY10" fmla="*/ 996747 h 2046172"/>
                <a:gd name="connsiteX11" fmla="*/ 2045653 w 2058992"/>
                <a:gd name="connsiteY11" fmla="*/ 1010559 h 2046172"/>
                <a:gd name="connsiteX12" fmla="*/ 13881 w 2058992"/>
                <a:gd name="connsiteY12" fmla="*/ 1010559 h 2046172"/>
                <a:gd name="connsiteX13" fmla="*/ 0 w 2058992"/>
                <a:gd name="connsiteY13" fmla="*/ 996747 h 2046172"/>
                <a:gd name="connsiteX14" fmla="*/ 1032948 w 2058992"/>
                <a:gd name="connsiteY14" fmla="*/ 0 h 204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8992" h="2046172">
                  <a:moveTo>
                    <a:pt x="26024" y="1189285"/>
                  </a:moveTo>
                  <a:cubicBezTo>
                    <a:pt x="26024" y="1189285"/>
                    <a:pt x="26024" y="1189285"/>
                    <a:pt x="1891146" y="1189285"/>
                  </a:cubicBezTo>
                  <a:cubicBezTo>
                    <a:pt x="1894617" y="1189285"/>
                    <a:pt x="1897510" y="1192167"/>
                    <a:pt x="1897510" y="1195624"/>
                  </a:cubicBezTo>
                  <a:cubicBezTo>
                    <a:pt x="1897510" y="1195624"/>
                    <a:pt x="1897510" y="1195624"/>
                    <a:pt x="1897510" y="1197353"/>
                  </a:cubicBezTo>
                  <a:cubicBezTo>
                    <a:pt x="1897510" y="1200810"/>
                    <a:pt x="1895196" y="1203692"/>
                    <a:pt x="1892303" y="1204268"/>
                  </a:cubicBezTo>
                  <a:cubicBezTo>
                    <a:pt x="1414453" y="1279757"/>
                    <a:pt x="1051726" y="1623779"/>
                    <a:pt x="1038998" y="2039833"/>
                  </a:cubicBezTo>
                  <a:cubicBezTo>
                    <a:pt x="1038998" y="2043867"/>
                    <a:pt x="1036106" y="2046172"/>
                    <a:pt x="1032635" y="2046172"/>
                  </a:cubicBezTo>
                  <a:cubicBezTo>
                    <a:pt x="524123" y="2046172"/>
                    <a:pt x="100652" y="1680828"/>
                    <a:pt x="16189" y="1201387"/>
                  </a:cubicBezTo>
                  <a:cubicBezTo>
                    <a:pt x="15032" y="1195048"/>
                    <a:pt x="20239" y="1189285"/>
                    <a:pt x="26024" y="1189285"/>
                  </a:cubicBezTo>
                  <a:close/>
                  <a:moveTo>
                    <a:pt x="1032948" y="0"/>
                  </a:moveTo>
                  <a:cubicBezTo>
                    <a:pt x="1590486" y="0"/>
                    <a:pt x="2045653" y="444853"/>
                    <a:pt x="2058956" y="996747"/>
                  </a:cubicBezTo>
                  <a:cubicBezTo>
                    <a:pt x="2059534" y="1004229"/>
                    <a:pt x="2053172" y="1010559"/>
                    <a:pt x="2045653" y="1010559"/>
                  </a:cubicBezTo>
                  <a:lnTo>
                    <a:pt x="13881" y="1010559"/>
                  </a:lnTo>
                  <a:cubicBezTo>
                    <a:pt x="6362" y="1010559"/>
                    <a:pt x="0" y="1004229"/>
                    <a:pt x="0" y="996747"/>
                  </a:cubicBezTo>
                  <a:cubicBezTo>
                    <a:pt x="13881" y="444853"/>
                    <a:pt x="473097" y="0"/>
                    <a:pt x="1032948"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3" name="Freeform 11">
              <a:extLst>
                <a:ext uri="{FF2B5EF4-FFF2-40B4-BE49-F238E27FC236}">
                  <a16:creationId xmlns:a16="http://schemas.microsoft.com/office/drawing/2014/main" id="{AA14BC31-B3C3-49C7-84C2-857D933A0B43}"/>
                </a:ext>
              </a:extLst>
            </p:cNvPr>
            <p:cNvSpPr>
              <a:spLocks/>
            </p:cNvSpPr>
            <p:nvPr/>
          </p:nvSpPr>
          <p:spPr bwMode="auto">
            <a:xfrm>
              <a:off x="6996285" y="3809449"/>
              <a:ext cx="1373023" cy="444311"/>
            </a:xfrm>
            <a:custGeom>
              <a:avLst/>
              <a:gdLst>
                <a:gd name="T0" fmla="*/ 2223 w 2375"/>
                <a:gd name="T1" fmla="*/ 0 h 771"/>
                <a:gd name="T2" fmla="*/ 152 w 2375"/>
                <a:gd name="T3" fmla="*/ 0 h 771"/>
                <a:gd name="T4" fmla="*/ 0 w 2375"/>
                <a:gd name="T5" fmla="*/ 152 h 771"/>
                <a:gd name="T6" fmla="*/ 0 w 2375"/>
                <a:gd name="T7" fmla="*/ 622 h 771"/>
                <a:gd name="T8" fmla="*/ 152 w 2375"/>
                <a:gd name="T9" fmla="*/ 771 h 771"/>
                <a:gd name="T10" fmla="*/ 2223 w 2375"/>
                <a:gd name="T11" fmla="*/ 771 h 771"/>
                <a:gd name="T12" fmla="*/ 2375 w 2375"/>
                <a:gd name="T13" fmla="*/ 622 h 771"/>
                <a:gd name="T14" fmla="*/ 2375 w 2375"/>
                <a:gd name="T15" fmla="*/ 152 h 771"/>
                <a:gd name="T16" fmla="*/ 2223 w 2375"/>
                <a:gd name="T17"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5" h="771">
                  <a:moveTo>
                    <a:pt x="2223" y="0"/>
                  </a:moveTo>
                  <a:cubicBezTo>
                    <a:pt x="152" y="0"/>
                    <a:pt x="152" y="0"/>
                    <a:pt x="152" y="0"/>
                  </a:cubicBezTo>
                  <a:cubicBezTo>
                    <a:pt x="69" y="0"/>
                    <a:pt x="0" y="65"/>
                    <a:pt x="0" y="152"/>
                  </a:cubicBezTo>
                  <a:cubicBezTo>
                    <a:pt x="0" y="622"/>
                    <a:pt x="0" y="622"/>
                    <a:pt x="0" y="622"/>
                  </a:cubicBezTo>
                  <a:cubicBezTo>
                    <a:pt x="0" y="706"/>
                    <a:pt x="69" y="771"/>
                    <a:pt x="152" y="771"/>
                  </a:cubicBezTo>
                  <a:cubicBezTo>
                    <a:pt x="2223" y="771"/>
                    <a:pt x="2223" y="771"/>
                    <a:pt x="2223" y="771"/>
                  </a:cubicBezTo>
                  <a:cubicBezTo>
                    <a:pt x="2306" y="771"/>
                    <a:pt x="2375" y="706"/>
                    <a:pt x="2375" y="622"/>
                  </a:cubicBezTo>
                  <a:cubicBezTo>
                    <a:pt x="2375" y="152"/>
                    <a:pt x="2375" y="152"/>
                    <a:pt x="2375" y="152"/>
                  </a:cubicBezTo>
                  <a:cubicBezTo>
                    <a:pt x="2375" y="65"/>
                    <a:pt x="2306" y="0"/>
                    <a:pt x="2223" y="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4" name="Freeform 13">
              <a:extLst>
                <a:ext uri="{FF2B5EF4-FFF2-40B4-BE49-F238E27FC236}">
                  <a16:creationId xmlns:a16="http://schemas.microsoft.com/office/drawing/2014/main" id="{AD9F5997-8C02-451B-B0FD-F9366211D744}"/>
                </a:ext>
              </a:extLst>
            </p:cNvPr>
            <p:cNvSpPr>
              <a:spLocks/>
            </p:cNvSpPr>
            <p:nvPr/>
          </p:nvSpPr>
          <p:spPr bwMode="auto">
            <a:xfrm>
              <a:off x="8095371" y="4786600"/>
              <a:ext cx="415916" cy="611346"/>
            </a:xfrm>
            <a:custGeom>
              <a:avLst/>
              <a:gdLst>
                <a:gd name="T0" fmla="*/ 15 w 722"/>
                <a:gd name="T1" fmla="*/ 1050 h 1062"/>
                <a:gd name="T2" fmla="*/ 288 w 722"/>
                <a:gd name="T3" fmla="*/ 602 h 1062"/>
                <a:gd name="T4" fmla="*/ 284 w 722"/>
                <a:gd name="T5" fmla="*/ 594 h 1062"/>
                <a:gd name="T6" fmla="*/ 25 w 722"/>
                <a:gd name="T7" fmla="*/ 594 h 1062"/>
                <a:gd name="T8" fmla="*/ 9 w 722"/>
                <a:gd name="T9" fmla="*/ 567 h 1062"/>
                <a:gd name="T10" fmla="*/ 345 w 722"/>
                <a:gd name="T11" fmla="*/ 20 h 1062"/>
                <a:gd name="T12" fmla="*/ 379 w 722"/>
                <a:gd name="T13" fmla="*/ 0 h 1062"/>
                <a:gd name="T14" fmla="*/ 639 w 722"/>
                <a:gd name="T15" fmla="*/ 0 h 1062"/>
                <a:gd name="T16" fmla="*/ 653 w 722"/>
                <a:gd name="T17" fmla="*/ 27 h 1062"/>
                <a:gd name="T18" fmla="*/ 393 w 722"/>
                <a:gd name="T19" fmla="*/ 388 h 1062"/>
                <a:gd name="T20" fmla="*/ 397 w 722"/>
                <a:gd name="T21" fmla="*/ 396 h 1062"/>
                <a:gd name="T22" fmla="*/ 694 w 722"/>
                <a:gd name="T23" fmla="*/ 396 h 1062"/>
                <a:gd name="T24" fmla="*/ 708 w 722"/>
                <a:gd name="T25" fmla="*/ 434 h 1062"/>
                <a:gd name="T26" fmla="*/ 24 w 722"/>
                <a:gd name="T27" fmla="*/ 1057 h 1062"/>
                <a:gd name="T28" fmla="*/ 15 w 722"/>
                <a:gd name="T29" fmla="*/ 105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2" h="1062">
                  <a:moveTo>
                    <a:pt x="15" y="1050"/>
                  </a:moveTo>
                  <a:cubicBezTo>
                    <a:pt x="288" y="602"/>
                    <a:pt x="288" y="602"/>
                    <a:pt x="288" y="602"/>
                  </a:cubicBezTo>
                  <a:cubicBezTo>
                    <a:pt x="290" y="598"/>
                    <a:pt x="288" y="594"/>
                    <a:pt x="284" y="594"/>
                  </a:cubicBezTo>
                  <a:cubicBezTo>
                    <a:pt x="25" y="594"/>
                    <a:pt x="25" y="594"/>
                    <a:pt x="25" y="594"/>
                  </a:cubicBezTo>
                  <a:cubicBezTo>
                    <a:pt x="7" y="594"/>
                    <a:pt x="0" y="581"/>
                    <a:pt x="9" y="567"/>
                  </a:cubicBezTo>
                  <a:cubicBezTo>
                    <a:pt x="345" y="20"/>
                    <a:pt x="345" y="20"/>
                    <a:pt x="345" y="20"/>
                  </a:cubicBezTo>
                  <a:cubicBezTo>
                    <a:pt x="352" y="8"/>
                    <a:pt x="365" y="0"/>
                    <a:pt x="379" y="0"/>
                  </a:cubicBezTo>
                  <a:cubicBezTo>
                    <a:pt x="639" y="0"/>
                    <a:pt x="639" y="0"/>
                    <a:pt x="639" y="0"/>
                  </a:cubicBezTo>
                  <a:cubicBezTo>
                    <a:pt x="657" y="0"/>
                    <a:pt x="662" y="13"/>
                    <a:pt x="653" y="27"/>
                  </a:cubicBezTo>
                  <a:cubicBezTo>
                    <a:pt x="393" y="388"/>
                    <a:pt x="393" y="388"/>
                    <a:pt x="393" y="388"/>
                  </a:cubicBezTo>
                  <a:cubicBezTo>
                    <a:pt x="391" y="391"/>
                    <a:pt x="393" y="396"/>
                    <a:pt x="397" y="396"/>
                  </a:cubicBezTo>
                  <a:cubicBezTo>
                    <a:pt x="694" y="396"/>
                    <a:pt x="694" y="396"/>
                    <a:pt x="694" y="396"/>
                  </a:cubicBezTo>
                  <a:cubicBezTo>
                    <a:pt x="713" y="396"/>
                    <a:pt x="722" y="421"/>
                    <a:pt x="708" y="434"/>
                  </a:cubicBezTo>
                  <a:cubicBezTo>
                    <a:pt x="24" y="1057"/>
                    <a:pt x="24" y="1057"/>
                    <a:pt x="24" y="1057"/>
                  </a:cubicBezTo>
                  <a:cubicBezTo>
                    <a:pt x="18" y="1062"/>
                    <a:pt x="11" y="1056"/>
                    <a:pt x="15" y="105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5" name="Freeform: Shape 23">
              <a:extLst>
                <a:ext uri="{FF2B5EF4-FFF2-40B4-BE49-F238E27FC236}">
                  <a16:creationId xmlns:a16="http://schemas.microsoft.com/office/drawing/2014/main" id="{FDF29980-405D-4335-A108-59A027078E17}"/>
                </a:ext>
              </a:extLst>
            </p:cNvPr>
            <p:cNvSpPr/>
            <p:nvPr/>
          </p:nvSpPr>
          <p:spPr>
            <a:xfrm>
              <a:off x="7066368" y="3889625"/>
              <a:ext cx="1264522" cy="299810"/>
            </a:xfrm>
            <a:custGeom>
              <a:avLst/>
              <a:gdLst>
                <a:gd name="connsiteX0" fmla="*/ 500029 w 1264522"/>
                <a:gd name="connsiteY0" fmla="*/ 240384 h 299810"/>
                <a:gd name="connsiteX1" fmla="*/ 520301 w 1264522"/>
                <a:gd name="connsiteY1" fmla="*/ 248740 h 299810"/>
                <a:gd name="connsiteX2" fmla="*/ 528502 w 1264522"/>
                <a:gd name="connsiteY2" fmla="*/ 268856 h 299810"/>
                <a:gd name="connsiteX3" fmla="*/ 520301 w 1264522"/>
                <a:gd name="connsiteY3" fmla="*/ 288405 h 299810"/>
                <a:gd name="connsiteX4" fmla="*/ 500029 w 1264522"/>
                <a:gd name="connsiteY4" fmla="*/ 296504 h 299810"/>
                <a:gd name="connsiteX5" fmla="*/ 480325 w 1264522"/>
                <a:gd name="connsiteY5" fmla="*/ 288405 h 299810"/>
                <a:gd name="connsiteX6" fmla="*/ 472382 w 1264522"/>
                <a:gd name="connsiteY6" fmla="*/ 268856 h 299810"/>
                <a:gd name="connsiteX7" fmla="*/ 480325 w 1264522"/>
                <a:gd name="connsiteY7" fmla="*/ 248740 h 299810"/>
                <a:gd name="connsiteX8" fmla="*/ 500029 w 1264522"/>
                <a:gd name="connsiteY8" fmla="*/ 240384 h 299810"/>
                <a:gd name="connsiteX9" fmla="*/ 1157986 w 1264522"/>
                <a:gd name="connsiteY9" fmla="*/ 33818 h 299810"/>
                <a:gd name="connsiteX10" fmla="*/ 1111657 w 1264522"/>
                <a:gd name="connsiteY10" fmla="*/ 61549 h 299810"/>
                <a:gd name="connsiteX11" fmla="*/ 1092288 w 1264522"/>
                <a:gd name="connsiteY11" fmla="*/ 150318 h 299810"/>
                <a:gd name="connsiteX12" fmla="*/ 1111657 w 1264522"/>
                <a:gd name="connsiteY12" fmla="*/ 238210 h 299810"/>
                <a:gd name="connsiteX13" fmla="*/ 1157986 w 1264522"/>
                <a:gd name="connsiteY13" fmla="*/ 265993 h 299810"/>
                <a:gd name="connsiteX14" fmla="*/ 1204314 w 1264522"/>
                <a:gd name="connsiteY14" fmla="*/ 238210 h 299810"/>
                <a:gd name="connsiteX15" fmla="*/ 1223683 w 1264522"/>
                <a:gd name="connsiteY15" fmla="*/ 150318 h 299810"/>
                <a:gd name="connsiteX16" fmla="*/ 1204314 w 1264522"/>
                <a:gd name="connsiteY16" fmla="*/ 61549 h 299810"/>
                <a:gd name="connsiteX17" fmla="*/ 1157986 w 1264522"/>
                <a:gd name="connsiteY17" fmla="*/ 33818 h 299810"/>
                <a:gd name="connsiteX18" fmla="*/ 910168 w 1264522"/>
                <a:gd name="connsiteY18" fmla="*/ 33818 h 299810"/>
                <a:gd name="connsiteX19" fmla="*/ 863839 w 1264522"/>
                <a:gd name="connsiteY19" fmla="*/ 61549 h 299810"/>
                <a:gd name="connsiteX20" fmla="*/ 844470 w 1264522"/>
                <a:gd name="connsiteY20" fmla="*/ 150318 h 299810"/>
                <a:gd name="connsiteX21" fmla="*/ 863839 w 1264522"/>
                <a:gd name="connsiteY21" fmla="*/ 238210 h 299810"/>
                <a:gd name="connsiteX22" fmla="*/ 910168 w 1264522"/>
                <a:gd name="connsiteY22" fmla="*/ 265993 h 299810"/>
                <a:gd name="connsiteX23" fmla="*/ 956496 w 1264522"/>
                <a:gd name="connsiteY23" fmla="*/ 238210 h 299810"/>
                <a:gd name="connsiteX24" fmla="*/ 975865 w 1264522"/>
                <a:gd name="connsiteY24" fmla="*/ 150318 h 299810"/>
                <a:gd name="connsiteX25" fmla="*/ 956496 w 1264522"/>
                <a:gd name="connsiteY25" fmla="*/ 61549 h 299810"/>
                <a:gd name="connsiteX26" fmla="*/ 910168 w 1264522"/>
                <a:gd name="connsiteY26" fmla="*/ 33818 h 299810"/>
                <a:gd name="connsiteX27" fmla="*/ 662350 w 1264522"/>
                <a:gd name="connsiteY27" fmla="*/ 33818 h 299810"/>
                <a:gd name="connsiteX28" fmla="*/ 616021 w 1264522"/>
                <a:gd name="connsiteY28" fmla="*/ 61549 h 299810"/>
                <a:gd name="connsiteX29" fmla="*/ 596652 w 1264522"/>
                <a:gd name="connsiteY29" fmla="*/ 150318 h 299810"/>
                <a:gd name="connsiteX30" fmla="*/ 616021 w 1264522"/>
                <a:gd name="connsiteY30" fmla="*/ 238210 h 299810"/>
                <a:gd name="connsiteX31" fmla="*/ 662350 w 1264522"/>
                <a:gd name="connsiteY31" fmla="*/ 265993 h 299810"/>
                <a:gd name="connsiteX32" fmla="*/ 708678 w 1264522"/>
                <a:gd name="connsiteY32" fmla="*/ 238210 h 299810"/>
                <a:gd name="connsiteX33" fmla="*/ 728047 w 1264522"/>
                <a:gd name="connsiteY33" fmla="*/ 150318 h 299810"/>
                <a:gd name="connsiteX34" fmla="*/ 708678 w 1264522"/>
                <a:gd name="connsiteY34" fmla="*/ 61549 h 299810"/>
                <a:gd name="connsiteX35" fmla="*/ 662350 w 1264522"/>
                <a:gd name="connsiteY35" fmla="*/ 33818 h 299810"/>
                <a:gd name="connsiteX36" fmla="*/ 345693 w 1264522"/>
                <a:gd name="connsiteY36" fmla="*/ 33818 h 299810"/>
                <a:gd name="connsiteX37" fmla="*/ 299365 w 1264522"/>
                <a:gd name="connsiteY37" fmla="*/ 61549 h 299810"/>
                <a:gd name="connsiteX38" fmla="*/ 279996 w 1264522"/>
                <a:gd name="connsiteY38" fmla="*/ 150318 h 299810"/>
                <a:gd name="connsiteX39" fmla="*/ 299365 w 1264522"/>
                <a:gd name="connsiteY39" fmla="*/ 238210 h 299810"/>
                <a:gd name="connsiteX40" fmla="*/ 345693 w 1264522"/>
                <a:gd name="connsiteY40" fmla="*/ 265993 h 299810"/>
                <a:gd name="connsiteX41" fmla="*/ 392022 w 1264522"/>
                <a:gd name="connsiteY41" fmla="*/ 238210 h 299810"/>
                <a:gd name="connsiteX42" fmla="*/ 411391 w 1264522"/>
                <a:gd name="connsiteY42" fmla="*/ 150318 h 299810"/>
                <a:gd name="connsiteX43" fmla="*/ 392022 w 1264522"/>
                <a:gd name="connsiteY43" fmla="*/ 61549 h 299810"/>
                <a:gd name="connsiteX44" fmla="*/ 345693 w 1264522"/>
                <a:gd name="connsiteY44" fmla="*/ 33818 h 299810"/>
                <a:gd name="connsiteX45" fmla="*/ 1157986 w 1264522"/>
                <a:gd name="connsiteY45" fmla="*/ 1 h 299810"/>
                <a:gd name="connsiteX46" fmla="*/ 1236819 w 1264522"/>
                <a:gd name="connsiteY46" fmla="*/ 41284 h 299810"/>
                <a:gd name="connsiteX47" fmla="*/ 1264522 w 1264522"/>
                <a:gd name="connsiteY47" fmla="*/ 149491 h 299810"/>
                <a:gd name="connsiteX48" fmla="*/ 1236819 w 1264522"/>
                <a:gd name="connsiteY48" fmla="*/ 258269 h 299810"/>
                <a:gd name="connsiteX49" fmla="*/ 1157986 w 1264522"/>
                <a:gd name="connsiteY49" fmla="*/ 299810 h 299810"/>
                <a:gd name="connsiteX50" fmla="*/ 1079152 w 1264522"/>
                <a:gd name="connsiteY50" fmla="*/ 258269 h 299810"/>
                <a:gd name="connsiteX51" fmla="*/ 1051449 w 1264522"/>
                <a:gd name="connsiteY51" fmla="*/ 149491 h 299810"/>
                <a:gd name="connsiteX52" fmla="*/ 1079152 w 1264522"/>
                <a:gd name="connsiteY52" fmla="*/ 41284 h 299810"/>
                <a:gd name="connsiteX53" fmla="*/ 1157986 w 1264522"/>
                <a:gd name="connsiteY53" fmla="*/ 1 h 299810"/>
                <a:gd name="connsiteX54" fmla="*/ 910168 w 1264522"/>
                <a:gd name="connsiteY54" fmla="*/ 1 h 299810"/>
                <a:gd name="connsiteX55" fmla="*/ 989001 w 1264522"/>
                <a:gd name="connsiteY55" fmla="*/ 41284 h 299810"/>
                <a:gd name="connsiteX56" fmla="*/ 1016704 w 1264522"/>
                <a:gd name="connsiteY56" fmla="*/ 149491 h 299810"/>
                <a:gd name="connsiteX57" fmla="*/ 989001 w 1264522"/>
                <a:gd name="connsiteY57" fmla="*/ 258269 h 299810"/>
                <a:gd name="connsiteX58" fmla="*/ 910168 w 1264522"/>
                <a:gd name="connsiteY58" fmla="*/ 299810 h 299810"/>
                <a:gd name="connsiteX59" fmla="*/ 831334 w 1264522"/>
                <a:gd name="connsiteY59" fmla="*/ 258269 h 299810"/>
                <a:gd name="connsiteX60" fmla="*/ 803631 w 1264522"/>
                <a:gd name="connsiteY60" fmla="*/ 149491 h 299810"/>
                <a:gd name="connsiteX61" fmla="*/ 831334 w 1264522"/>
                <a:gd name="connsiteY61" fmla="*/ 41284 h 299810"/>
                <a:gd name="connsiteX62" fmla="*/ 910168 w 1264522"/>
                <a:gd name="connsiteY62" fmla="*/ 1 h 299810"/>
                <a:gd name="connsiteX63" fmla="*/ 662350 w 1264522"/>
                <a:gd name="connsiteY63" fmla="*/ 1 h 299810"/>
                <a:gd name="connsiteX64" fmla="*/ 741182 w 1264522"/>
                <a:gd name="connsiteY64" fmla="*/ 41284 h 299810"/>
                <a:gd name="connsiteX65" fmla="*/ 768886 w 1264522"/>
                <a:gd name="connsiteY65" fmla="*/ 149491 h 299810"/>
                <a:gd name="connsiteX66" fmla="*/ 741182 w 1264522"/>
                <a:gd name="connsiteY66" fmla="*/ 258269 h 299810"/>
                <a:gd name="connsiteX67" fmla="*/ 662350 w 1264522"/>
                <a:gd name="connsiteY67" fmla="*/ 299810 h 299810"/>
                <a:gd name="connsiteX68" fmla="*/ 583516 w 1264522"/>
                <a:gd name="connsiteY68" fmla="*/ 258269 h 299810"/>
                <a:gd name="connsiteX69" fmla="*/ 555813 w 1264522"/>
                <a:gd name="connsiteY69" fmla="*/ 149491 h 299810"/>
                <a:gd name="connsiteX70" fmla="*/ 583516 w 1264522"/>
                <a:gd name="connsiteY70" fmla="*/ 41284 h 299810"/>
                <a:gd name="connsiteX71" fmla="*/ 662350 w 1264522"/>
                <a:gd name="connsiteY71" fmla="*/ 1 h 299810"/>
                <a:gd name="connsiteX72" fmla="*/ 345693 w 1264522"/>
                <a:gd name="connsiteY72" fmla="*/ 1 h 299810"/>
                <a:gd name="connsiteX73" fmla="*/ 424525 w 1264522"/>
                <a:gd name="connsiteY73" fmla="*/ 41284 h 299810"/>
                <a:gd name="connsiteX74" fmla="*/ 452230 w 1264522"/>
                <a:gd name="connsiteY74" fmla="*/ 149491 h 299810"/>
                <a:gd name="connsiteX75" fmla="*/ 424525 w 1264522"/>
                <a:gd name="connsiteY75" fmla="*/ 258269 h 299810"/>
                <a:gd name="connsiteX76" fmla="*/ 345693 w 1264522"/>
                <a:gd name="connsiteY76" fmla="*/ 299810 h 299810"/>
                <a:gd name="connsiteX77" fmla="*/ 266860 w 1264522"/>
                <a:gd name="connsiteY77" fmla="*/ 258269 h 299810"/>
                <a:gd name="connsiteX78" fmla="*/ 239157 w 1264522"/>
                <a:gd name="connsiteY78" fmla="*/ 149491 h 299810"/>
                <a:gd name="connsiteX79" fmla="*/ 266860 w 1264522"/>
                <a:gd name="connsiteY79" fmla="*/ 41284 h 299810"/>
                <a:gd name="connsiteX80" fmla="*/ 345693 w 1264522"/>
                <a:gd name="connsiteY80" fmla="*/ 1 h 299810"/>
                <a:gd name="connsiteX81" fmla="*/ 101756 w 1264522"/>
                <a:gd name="connsiteY81" fmla="*/ 0 h 299810"/>
                <a:gd name="connsiteX82" fmla="*/ 170603 w 1264522"/>
                <a:gd name="connsiteY82" fmla="*/ 23365 h 299810"/>
                <a:gd name="connsiteX83" fmla="*/ 197941 w 1264522"/>
                <a:gd name="connsiteY83" fmla="*/ 85458 h 299810"/>
                <a:gd name="connsiteX84" fmla="*/ 180915 w 1264522"/>
                <a:gd name="connsiteY84" fmla="*/ 138751 h 299810"/>
                <a:gd name="connsiteX85" fmla="*/ 126093 w 1264522"/>
                <a:gd name="connsiteY85" fmla="*/ 198241 h 299810"/>
                <a:gd name="connsiteX86" fmla="*/ 58787 w 1264522"/>
                <a:gd name="connsiteY86" fmla="*/ 258970 h 299810"/>
                <a:gd name="connsiteX87" fmla="*/ 196703 w 1264522"/>
                <a:gd name="connsiteY87" fmla="*/ 258970 h 299810"/>
                <a:gd name="connsiteX88" fmla="*/ 201968 w 1264522"/>
                <a:gd name="connsiteY88" fmla="*/ 261135 h 299810"/>
                <a:gd name="connsiteX89" fmla="*/ 204136 w 1264522"/>
                <a:gd name="connsiteY89" fmla="*/ 266394 h 299810"/>
                <a:gd name="connsiteX90" fmla="*/ 204136 w 1264522"/>
                <a:gd name="connsiteY90" fmla="*/ 286603 h 299810"/>
                <a:gd name="connsiteX91" fmla="*/ 201968 w 1264522"/>
                <a:gd name="connsiteY91" fmla="*/ 292069 h 299810"/>
                <a:gd name="connsiteX92" fmla="*/ 196703 w 1264522"/>
                <a:gd name="connsiteY92" fmla="*/ 294439 h 299810"/>
                <a:gd name="connsiteX93" fmla="*/ 12539 w 1264522"/>
                <a:gd name="connsiteY93" fmla="*/ 294439 h 299810"/>
                <a:gd name="connsiteX94" fmla="*/ 7068 w 1264522"/>
                <a:gd name="connsiteY94" fmla="*/ 292069 h 299810"/>
                <a:gd name="connsiteX95" fmla="*/ 4693 w 1264522"/>
                <a:gd name="connsiteY95" fmla="*/ 286603 h 299810"/>
                <a:gd name="connsiteX96" fmla="*/ 4693 w 1264522"/>
                <a:gd name="connsiteY96" fmla="*/ 269282 h 299810"/>
                <a:gd name="connsiteX97" fmla="*/ 6861 w 1264522"/>
                <a:gd name="connsiteY97" fmla="*/ 261135 h 299810"/>
                <a:gd name="connsiteX98" fmla="*/ 10888 w 1264522"/>
                <a:gd name="connsiteY98" fmla="*/ 256079 h 299810"/>
                <a:gd name="connsiteX99" fmla="*/ 96387 w 1264522"/>
                <a:gd name="connsiteY99" fmla="*/ 177998 h 299810"/>
                <a:gd name="connsiteX100" fmla="*/ 141149 w 1264522"/>
                <a:gd name="connsiteY100" fmla="*/ 131057 h 299810"/>
                <a:gd name="connsiteX101" fmla="*/ 157102 w 1264522"/>
                <a:gd name="connsiteY101" fmla="*/ 87523 h 299810"/>
                <a:gd name="connsiteX102" fmla="*/ 140633 w 1264522"/>
                <a:gd name="connsiteY102" fmla="*/ 49412 h 299810"/>
                <a:gd name="connsiteX103" fmla="*/ 100930 w 1264522"/>
                <a:gd name="connsiteY103" fmla="*/ 35469 h 299810"/>
                <a:gd name="connsiteX104" fmla="*/ 58647 w 1264522"/>
                <a:gd name="connsiteY104" fmla="*/ 52252 h 299810"/>
                <a:gd name="connsiteX105" fmla="*/ 37736 w 1264522"/>
                <a:gd name="connsiteY105" fmla="*/ 87937 h 299810"/>
                <a:gd name="connsiteX106" fmla="*/ 32883 w 1264522"/>
                <a:gd name="connsiteY106" fmla="*/ 95115 h 299810"/>
                <a:gd name="connsiteX107" fmla="*/ 24932 w 1264522"/>
                <a:gd name="connsiteY107" fmla="*/ 95785 h 299810"/>
                <a:gd name="connsiteX108" fmla="*/ 6345 w 1264522"/>
                <a:gd name="connsiteY108" fmla="*/ 91241 h 299810"/>
                <a:gd name="connsiteX109" fmla="*/ 1234 w 1264522"/>
                <a:gd name="connsiteY109" fmla="*/ 87058 h 299810"/>
                <a:gd name="connsiteX110" fmla="*/ 150 w 1264522"/>
                <a:gd name="connsiteY110" fmla="*/ 80087 h 299810"/>
                <a:gd name="connsiteX111" fmla="*/ 33606 w 1264522"/>
                <a:gd name="connsiteY111" fmla="*/ 23622 h 299810"/>
                <a:gd name="connsiteX112" fmla="*/ 101756 w 1264522"/>
                <a:gd name="connsiteY112" fmla="*/ 0 h 2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64522" h="299810">
                  <a:moveTo>
                    <a:pt x="500029" y="240384"/>
                  </a:moveTo>
                  <a:cubicBezTo>
                    <a:pt x="508256" y="240589"/>
                    <a:pt x="515013" y="243375"/>
                    <a:pt x="520301" y="248740"/>
                  </a:cubicBezTo>
                  <a:cubicBezTo>
                    <a:pt x="525588" y="254104"/>
                    <a:pt x="528321" y="260809"/>
                    <a:pt x="528502" y="268856"/>
                  </a:cubicBezTo>
                  <a:cubicBezTo>
                    <a:pt x="528321" y="276689"/>
                    <a:pt x="525588" y="283205"/>
                    <a:pt x="520301" y="288405"/>
                  </a:cubicBezTo>
                  <a:cubicBezTo>
                    <a:pt x="515013" y="293607"/>
                    <a:pt x="508256" y="296306"/>
                    <a:pt x="500029" y="296504"/>
                  </a:cubicBezTo>
                  <a:cubicBezTo>
                    <a:pt x="492017" y="296306"/>
                    <a:pt x="485449" y="293607"/>
                    <a:pt x="480325" y="288405"/>
                  </a:cubicBezTo>
                  <a:cubicBezTo>
                    <a:pt x="475202" y="283205"/>
                    <a:pt x="472554" y="276689"/>
                    <a:pt x="472382" y="268856"/>
                  </a:cubicBezTo>
                  <a:cubicBezTo>
                    <a:pt x="472554" y="260809"/>
                    <a:pt x="475202" y="254104"/>
                    <a:pt x="480325" y="248740"/>
                  </a:cubicBezTo>
                  <a:cubicBezTo>
                    <a:pt x="485449" y="243375"/>
                    <a:pt x="492017" y="240589"/>
                    <a:pt x="500029" y="240384"/>
                  </a:cubicBezTo>
                  <a:close/>
                  <a:moveTo>
                    <a:pt x="1157986" y="33818"/>
                  </a:moveTo>
                  <a:cubicBezTo>
                    <a:pt x="1139522" y="33585"/>
                    <a:pt x="1124077" y="42829"/>
                    <a:pt x="1111657" y="61549"/>
                  </a:cubicBezTo>
                  <a:cubicBezTo>
                    <a:pt x="1099235" y="80267"/>
                    <a:pt x="1092778" y="109858"/>
                    <a:pt x="1092288" y="150318"/>
                  </a:cubicBezTo>
                  <a:cubicBezTo>
                    <a:pt x="1092778" y="190202"/>
                    <a:pt x="1099235" y="219499"/>
                    <a:pt x="1111657" y="238210"/>
                  </a:cubicBezTo>
                  <a:cubicBezTo>
                    <a:pt x="1124077" y="256921"/>
                    <a:pt x="1139522" y="266182"/>
                    <a:pt x="1157986" y="265993"/>
                  </a:cubicBezTo>
                  <a:cubicBezTo>
                    <a:pt x="1176451" y="266182"/>
                    <a:pt x="1191894" y="256921"/>
                    <a:pt x="1204314" y="238210"/>
                  </a:cubicBezTo>
                  <a:cubicBezTo>
                    <a:pt x="1216736" y="219499"/>
                    <a:pt x="1223193" y="190202"/>
                    <a:pt x="1223683" y="150318"/>
                  </a:cubicBezTo>
                  <a:cubicBezTo>
                    <a:pt x="1223193" y="109858"/>
                    <a:pt x="1216736" y="80267"/>
                    <a:pt x="1204314" y="61549"/>
                  </a:cubicBezTo>
                  <a:cubicBezTo>
                    <a:pt x="1191894" y="42829"/>
                    <a:pt x="1176451" y="33585"/>
                    <a:pt x="1157986" y="33818"/>
                  </a:cubicBezTo>
                  <a:close/>
                  <a:moveTo>
                    <a:pt x="910168" y="33818"/>
                  </a:moveTo>
                  <a:cubicBezTo>
                    <a:pt x="891704" y="33585"/>
                    <a:pt x="876259" y="42829"/>
                    <a:pt x="863839" y="61549"/>
                  </a:cubicBezTo>
                  <a:cubicBezTo>
                    <a:pt x="851417" y="80267"/>
                    <a:pt x="844960" y="109858"/>
                    <a:pt x="844470" y="150318"/>
                  </a:cubicBezTo>
                  <a:cubicBezTo>
                    <a:pt x="844960" y="190202"/>
                    <a:pt x="851417" y="219499"/>
                    <a:pt x="863839" y="238210"/>
                  </a:cubicBezTo>
                  <a:cubicBezTo>
                    <a:pt x="876259" y="256921"/>
                    <a:pt x="891704" y="266182"/>
                    <a:pt x="910168" y="265993"/>
                  </a:cubicBezTo>
                  <a:cubicBezTo>
                    <a:pt x="928633" y="266182"/>
                    <a:pt x="944076" y="256921"/>
                    <a:pt x="956496" y="238210"/>
                  </a:cubicBezTo>
                  <a:cubicBezTo>
                    <a:pt x="968918" y="219499"/>
                    <a:pt x="975375" y="190202"/>
                    <a:pt x="975865" y="150318"/>
                  </a:cubicBezTo>
                  <a:cubicBezTo>
                    <a:pt x="975375" y="109858"/>
                    <a:pt x="968918" y="80267"/>
                    <a:pt x="956496" y="61549"/>
                  </a:cubicBezTo>
                  <a:cubicBezTo>
                    <a:pt x="944076" y="42829"/>
                    <a:pt x="928633" y="33585"/>
                    <a:pt x="910168" y="33818"/>
                  </a:cubicBezTo>
                  <a:close/>
                  <a:moveTo>
                    <a:pt x="662350" y="33818"/>
                  </a:moveTo>
                  <a:cubicBezTo>
                    <a:pt x="643886" y="33585"/>
                    <a:pt x="628441" y="42829"/>
                    <a:pt x="616021" y="61549"/>
                  </a:cubicBezTo>
                  <a:cubicBezTo>
                    <a:pt x="603599" y="80267"/>
                    <a:pt x="597142" y="109858"/>
                    <a:pt x="596652" y="150318"/>
                  </a:cubicBezTo>
                  <a:cubicBezTo>
                    <a:pt x="597142" y="190202"/>
                    <a:pt x="603599" y="219499"/>
                    <a:pt x="616021" y="238210"/>
                  </a:cubicBezTo>
                  <a:cubicBezTo>
                    <a:pt x="628441" y="256921"/>
                    <a:pt x="643886" y="266182"/>
                    <a:pt x="662350" y="265993"/>
                  </a:cubicBezTo>
                  <a:cubicBezTo>
                    <a:pt x="680815" y="266182"/>
                    <a:pt x="696258" y="256921"/>
                    <a:pt x="708678" y="238210"/>
                  </a:cubicBezTo>
                  <a:cubicBezTo>
                    <a:pt x="721100" y="219499"/>
                    <a:pt x="727557" y="190202"/>
                    <a:pt x="728047" y="150318"/>
                  </a:cubicBezTo>
                  <a:cubicBezTo>
                    <a:pt x="727557" y="109858"/>
                    <a:pt x="721100" y="80267"/>
                    <a:pt x="708678" y="61549"/>
                  </a:cubicBezTo>
                  <a:cubicBezTo>
                    <a:pt x="696258" y="42829"/>
                    <a:pt x="680815" y="33585"/>
                    <a:pt x="662350" y="33818"/>
                  </a:cubicBezTo>
                  <a:close/>
                  <a:moveTo>
                    <a:pt x="345693" y="33818"/>
                  </a:moveTo>
                  <a:cubicBezTo>
                    <a:pt x="327230" y="33585"/>
                    <a:pt x="311785" y="42829"/>
                    <a:pt x="299365" y="61549"/>
                  </a:cubicBezTo>
                  <a:cubicBezTo>
                    <a:pt x="286943" y="80267"/>
                    <a:pt x="280486" y="109858"/>
                    <a:pt x="279996" y="150318"/>
                  </a:cubicBezTo>
                  <a:cubicBezTo>
                    <a:pt x="280486" y="190202"/>
                    <a:pt x="286943" y="219499"/>
                    <a:pt x="299365" y="238210"/>
                  </a:cubicBezTo>
                  <a:cubicBezTo>
                    <a:pt x="311785" y="256921"/>
                    <a:pt x="327230" y="266182"/>
                    <a:pt x="345693" y="265993"/>
                  </a:cubicBezTo>
                  <a:cubicBezTo>
                    <a:pt x="364159" y="266182"/>
                    <a:pt x="379602" y="256921"/>
                    <a:pt x="392022" y="238210"/>
                  </a:cubicBezTo>
                  <a:cubicBezTo>
                    <a:pt x="404444" y="219499"/>
                    <a:pt x="410901" y="190202"/>
                    <a:pt x="411391" y="150318"/>
                  </a:cubicBezTo>
                  <a:cubicBezTo>
                    <a:pt x="410901" y="109858"/>
                    <a:pt x="404444" y="80267"/>
                    <a:pt x="392022" y="61549"/>
                  </a:cubicBezTo>
                  <a:cubicBezTo>
                    <a:pt x="379602" y="42829"/>
                    <a:pt x="364159" y="33585"/>
                    <a:pt x="345693" y="33818"/>
                  </a:cubicBezTo>
                  <a:close/>
                  <a:moveTo>
                    <a:pt x="1157986" y="1"/>
                  </a:moveTo>
                  <a:cubicBezTo>
                    <a:pt x="1192251" y="653"/>
                    <a:pt x="1218527" y="14413"/>
                    <a:pt x="1236819" y="41284"/>
                  </a:cubicBezTo>
                  <a:cubicBezTo>
                    <a:pt x="1255110" y="68153"/>
                    <a:pt x="1264343" y="104222"/>
                    <a:pt x="1264522" y="149491"/>
                  </a:cubicBezTo>
                  <a:cubicBezTo>
                    <a:pt x="1264343" y="194976"/>
                    <a:pt x="1255110" y="231234"/>
                    <a:pt x="1236819" y="258269"/>
                  </a:cubicBezTo>
                  <a:cubicBezTo>
                    <a:pt x="1218527" y="285302"/>
                    <a:pt x="1192251" y="299150"/>
                    <a:pt x="1157986" y="299810"/>
                  </a:cubicBezTo>
                  <a:cubicBezTo>
                    <a:pt x="1123722" y="299150"/>
                    <a:pt x="1097444" y="285302"/>
                    <a:pt x="1079152" y="258269"/>
                  </a:cubicBezTo>
                  <a:cubicBezTo>
                    <a:pt x="1060862" y="231234"/>
                    <a:pt x="1051628" y="194976"/>
                    <a:pt x="1051449" y="149491"/>
                  </a:cubicBezTo>
                  <a:cubicBezTo>
                    <a:pt x="1051628" y="104222"/>
                    <a:pt x="1060862" y="68153"/>
                    <a:pt x="1079152" y="41284"/>
                  </a:cubicBezTo>
                  <a:cubicBezTo>
                    <a:pt x="1097444" y="14413"/>
                    <a:pt x="1123722" y="653"/>
                    <a:pt x="1157986" y="1"/>
                  </a:cubicBezTo>
                  <a:close/>
                  <a:moveTo>
                    <a:pt x="910168" y="1"/>
                  </a:moveTo>
                  <a:cubicBezTo>
                    <a:pt x="944433" y="653"/>
                    <a:pt x="970709" y="14413"/>
                    <a:pt x="989001" y="41284"/>
                  </a:cubicBezTo>
                  <a:cubicBezTo>
                    <a:pt x="1007292" y="68153"/>
                    <a:pt x="1016525" y="104222"/>
                    <a:pt x="1016704" y="149491"/>
                  </a:cubicBezTo>
                  <a:cubicBezTo>
                    <a:pt x="1016525" y="194976"/>
                    <a:pt x="1007292" y="231234"/>
                    <a:pt x="989001" y="258269"/>
                  </a:cubicBezTo>
                  <a:cubicBezTo>
                    <a:pt x="970709" y="285302"/>
                    <a:pt x="944433" y="299150"/>
                    <a:pt x="910168" y="299810"/>
                  </a:cubicBezTo>
                  <a:cubicBezTo>
                    <a:pt x="875904" y="299150"/>
                    <a:pt x="849626" y="285302"/>
                    <a:pt x="831334" y="258269"/>
                  </a:cubicBezTo>
                  <a:cubicBezTo>
                    <a:pt x="813044" y="231234"/>
                    <a:pt x="803810" y="194976"/>
                    <a:pt x="803631" y="149491"/>
                  </a:cubicBezTo>
                  <a:cubicBezTo>
                    <a:pt x="803810" y="104222"/>
                    <a:pt x="813044" y="68153"/>
                    <a:pt x="831334" y="41284"/>
                  </a:cubicBezTo>
                  <a:cubicBezTo>
                    <a:pt x="849626" y="14413"/>
                    <a:pt x="875904" y="653"/>
                    <a:pt x="910168" y="1"/>
                  </a:cubicBezTo>
                  <a:close/>
                  <a:moveTo>
                    <a:pt x="662350" y="1"/>
                  </a:moveTo>
                  <a:cubicBezTo>
                    <a:pt x="696615" y="653"/>
                    <a:pt x="722891" y="14413"/>
                    <a:pt x="741182" y="41284"/>
                  </a:cubicBezTo>
                  <a:cubicBezTo>
                    <a:pt x="759474" y="68153"/>
                    <a:pt x="768707" y="104222"/>
                    <a:pt x="768886" y="149491"/>
                  </a:cubicBezTo>
                  <a:cubicBezTo>
                    <a:pt x="768707" y="194976"/>
                    <a:pt x="759474" y="231234"/>
                    <a:pt x="741182" y="258269"/>
                  </a:cubicBezTo>
                  <a:cubicBezTo>
                    <a:pt x="722891" y="285302"/>
                    <a:pt x="696615" y="299150"/>
                    <a:pt x="662350" y="299810"/>
                  </a:cubicBezTo>
                  <a:cubicBezTo>
                    <a:pt x="628084" y="299150"/>
                    <a:pt x="601808" y="285302"/>
                    <a:pt x="583516" y="258269"/>
                  </a:cubicBezTo>
                  <a:cubicBezTo>
                    <a:pt x="565226" y="231234"/>
                    <a:pt x="555992" y="194976"/>
                    <a:pt x="555813" y="149491"/>
                  </a:cubicBezTo>
                  <a:cubicBezTo>
                    <a:pt x="555992" y="104222"/>
                    <a:pt x="565226" y="68153"/>
                    <a:pt x="583516" y="41284"/>
                  </a:cubicBezTo>
                  <a:cubicBezTo>
                    <a:pt x="601808" y="14413"/>
                    <a:pt x="628084" y="653"/>
                    <a:pt x="662350" y="1"/>
                  </a:cubicBezTo>
                  <a:close/>
                  <a:moveTo>
                    <a:pt x="345693" y="1"/>
                  </a:moveTo>
                  <a:cubicBezTo>
                    <a:pt x="379957" y="653"/>
                    <a:pt x="406235" y="14413"/>
                    <a:pt x="424525" y="41284"/>
                  </a:cubicBezTo>
                  <a:cubicBezTo>
                    <a:pt x="442817" y="68153"/>
                    <a:pt x="452051" y="104222"/>
                    <a:pt x="452230" y="149491"/>
                  </a:cubicBezTo>
                  <a:cubicBezTo>
                    <a:pt x="452051" y="194976"/>
                    <a:pt x="442817" y="231234"/>
                    <a:pt x="424525" y="258269"/>
                  </a:cubicBezTo>
                  <a:cubicBezTo>
                    <a:pt x="406235" y="285302"/>
                    <a:pt x="379959" y="299150"/>
                    <a:pt x="345693" y="299810"/>
                  </a:cubicBezTo>
                  <a:cubicBezTo>
                    <a:pt x="311428" y="299150"/>
                    <a:pt x="285152" y="285302"/>
                    <a:pt x="266860" y="258269"/>
                  </a:cubicBezTo>
                  <a:cubicBezTo>
                    <a:pt x="248569" y="231234"/>
                    <a:pt x="239336" y="194976"/>
                    <a:pt x="239157" y="149491"/>
                  </a:cubicBezTo>
                  <a:cubicBezTo>
                    <a:pt x="239336" y="104222"/>
                    <a:pt x="248569" y="68153"/>
                    <a:pt x="266860" y="41284"/>
                  </a:cubicBezTo>
                  <a:cubicBezTo>
                    <a:pt x="285152" y="14413"/>
                    <a:pt x="311428" y="653"/>
                    <a:pt x="345693" y="1"/>
                  </a:cubicBezTo>
                  <a:close/>
                  <a:moveTo>
                    <a:pt x="101756" y="0"/>
                  </a:moveTo>
                  <a:cubicBezTo>
                    <a:pt x="129978" y="334"/>
                    <a:pt x="152926" y="8122"/>
                    <a:pt x="170603" y="23365"/>
                  </a:cubicBezTo>
                  <a:cubicBezTo>
                    <a:pt x="188280" y="38607"/>
                    <a:pt x="197392" y="59306"/>
                    <a:pt x="197941" y="85458"/>
                  </a:cubicBezTo>
                  <a:cubicBezTo>
                    <a:pt x="198097" y="103274"/>
                    <a:pt x="192422" y="121038"/>
                    <a:pt x="180915" y="138751"/>
                  </a:cubicBezTo>
                  <a:cubicBezTo>
                    <a:pt x="169410" y="156463"/>
                    <a:pt x="151135" y="176294"/>
                    <a:pt x="126093" y="198241"/>
                  </a:cubicBezTo>
                  <a:lnTo>
                    <a:pt x="58787" y="258970"/>
                  </a:lnTo>
                  <a:lnTo>
                    <a:pt x="196703" y="258970"/>
                  </a:lnTo>
                  <a:cubicBezTo>
                    <a:pt x="198820" y="259022"/>
                    <a:pt x="200574" y="259743"/>
                    <a:pt x="201968" y="261135"/>
                  </a:cubicBezTo>
                  <a:cubicBezTo>
                    <a:pt x="203361" y="262527"/>
                    <a:pt x="204084" y="264280"/>
                    <a:pt x="204136" y="266394"/>
                  </a:cubicBezTo>
                  <a:lnTo>
                    <a:pt x="204136" y="286603"/>
                  </a:lnTo>
                  <a:cubicBezTo>
                    <a:pt x="204084" y="288734"/>
                    <a:pt x="203361" y="290555"/>
                    <a:pt x="201968" y="292069"/>
                  </a:cubicBezTo>
                  <a:cubicBezTo>
                    <a:pt x="200574" y="293581"/>
                    <a:pt x="198820" y="294371"/>
                    <a:pt x="196703" y="294439"/>
                  </a:cubicBezTo>
                  <a:lnTo>
                    <a:pt x="12539" y="294439"/>
                  </a:lnTo>
                  <a:cubicBezTo>
                    <a:pt x="10405" y="294371"/>
                    <a:pt x="8583" y="293581"/>
                    <a:pt x="7068" y="292069"/>
                  </a:cubicBezTo>
                  <a:cubicBezTo>
                    <a:pt x="5555" y="290555"/>
                    <a:pt x="4763" y="288734"/>
                    <a:pt x="4693" y="286603"/>
                  </a:cubicBezTo>
                  <a:lnTo>
                    <a:pt x="4693" y="269282"/>
                  </a:lnTo>
                  <a:cubicBezTo>
                    <a:pt x="4797" y="265999"/>
                    <a:pt x="5520" y="263283"/>
                    <a:pt x="6861" y="261135"/>
                  </a:cubicBezTo>
                  <a:cubicBezTo>
                    <a:pt x="8204" y="258986"/>
                    <a:pt x="9545" y="257300"/>
                    <a:pt x="10888" y="256079"/>
                  </a:cubicBezTo>
                  <a:lnTo>
                    <a:pt x="96387" y="177998"/>
                  </a:lnTo>
                  <a:cubicBezTo>
                    <a:pt x="115722" y="160931"/>
                    <a:pt x="130642" y="145284"/>
                    <a:pt x="141149" y="131057"/>
                  </a:cubicBezTo>
                  <a:cubicBezTo>
                    <a:pt x="151655" y="116829"/>
                    <a:pt x="156973" y="102319"/>
                    <a:pt x="157102" y="87523"/>
                  </a:cubicBezTo>
                  <a:cubicBezTo>
                    <a:pt x="156697" y="71256"/>
                    <a:pt x="151207" y="58553"/>
                    <a:pt x="140633" y="49412"/>
                  </a:cubicBezTo>
                  <a:cubicBezTo>
                    <a:pt x="130058" y="40272"/>
                    <a:pt x="116823" y="35624"/>
                    <a:pt x="100930" y="35469"/>
                  </a:cubicBezTo>
                  <a:cubicBezTo>
                    <a:pt x="82886" y="36081"/>
                    <a:pt x="68791" y="41674"/>
                    <a:pt x="58647" y="52252"/>
                  </a:cubicBezTo>
                  <a:cubicBezTo>
                    <a:pt x="48501" y="62831"/>
                    <a:pt x="41531" y="74725"/>
                    <a:pt x="37736" y="87937"/>
                  </a:cubicBezTo>
                  <a:cubicBezTo>
                    <a:pt x="36686" y="91284"/>
                    <a:pt x="35069" y="93676"/>
                    <a:pt x="32883" y="95115"/>
                  </a:cubicBezTo>
                  <a:cubicBezTo>
                    <a:pt x="30698" y="96551"/>
                    <a:pt x="28047" y="96775"/>
                    <a:pt x="24932" y="95785"/>
                  </a:cubicBezTo>
                  <a:lnTo>
                    <a:pt x="6345" y="91241"/>
                  </a:lnTo>
                  <a:cubicBezTo>
                    <a:pt x="4049" y="90544"/>
                    <a:pt x="2344" y="89149"/>
                    <a:pt x="1234" y="87058"/>
                  </a:cubicBezTo>
                  <a:cubicBezTo>
                    <a:pt x="124" y="84968"/>
                    <a:pt x="-237" y="82644"/>
                    <a:pt x="150" y="80087"/>
                  </a:cubicBezTo>
                  <a:cubicBezTo>
                    <a:pt x="4900" y="57591"/>
                    <a:pt x="16053" y="38769"/>
                    <a:pt x="33606" y="23622"/>
                  </a:cubicBezTo>
                  <a:cubicBezTo>
                    <a:pt x="51159" y="8474"/>
                    <a:pt x="73877" y="600"/>
                    <a:pt x="101756" y="0"/>
                  </a:cubicBezTo>
                  <a:close/>
                </a:path>
              </a:pathLst>
            </a:custGeom>
            <a:solidFill>
              <a:schemeClr val="accent1">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132" name="Group 131">
            <a:extLst>
              <a:ext uri="{FF2B5EF4-FFF2-40B4-BE49-F238E27FC236}">
                <a16:creationId xmlns:a16="http://schemas.microsoft.com/office/drawing/2014/main" id="{918B8E3C-6236-4460-9046-E31FCAE9C98D}"/>
              </a:ext>
            </a:extLst>
          </p:cNvPr>
          <p:cNvGrpSpPr>
            <a:grpSpLocks noChangeAspect="1"/>
          </p:cNvGrpSpPr>
          <p:nvPr/>
        </p:nvGrpSpPr>
        <p:grpSpPr>
          <a:xfrm>
            <a:off x="10726692" y="3328077"/>
            <a:ext cx="411154" cy="328845"/>
            <a:chOff x="956681" y="3107337"/>
            <a:chExt cx="1698714" cy="1358646"/>
          </a:xfrm>
        </p:grpSpPr>
        <p:sp>
          <p:nvSpPr>
            <p:cNvPr id="133" name="Freeform 18">
              <a:extLst>
                <a:ext uri="{FF2B5EF4-FFF2-40B4-BE49-F238E27FC236}">
                  <a16:creationId xmlns:a16="http://schemas.microsoft.com/office/drawing/2014/main" id="{51940FA6-F66B-44C8-871E-00506E740EFB}"/>
                </a:ext>
              </a:extLst>
            </p:cNvPr>
            <p:cNvSpPr>
              <a:spLocks/>
            </p:cNvSpPr>
            <p:nvPr/>
          </p:nvSpPr>
          <p:spPr bwMode="auto">
            <a:xfrm>
              <a:off x="956681" y="3107337"/>
              <a:ext cx="1698714" cy="1358646"/>
            </a:xfrm>
            <a:custGeom>
              <a:avLst/>
              <a:gdLst>
                <a:gd name="T0" fmla="*/ 0 w 4616"/>
                <a:gd name="T1" fmla="*/ 297 h 3700"/>
                <a:gd name="T2" fmla="*/ 302 w 4616"/>
                <a:gd name="T3" fmla="*/ 0 h 3700"/>
                <a:gd name="T4" fmla="*/ 4318 w 4616"/>
                <a:gd name="T5" fmla="*/ 0 h 3700"/>
                <a:gd name="T6" fmla="*/ 4616 w 4616"/>
                <a:gd name="T7" fmla="*/ 297 h 3700"/>
                <a:gd name="T8" fmla="*/ 4616 w 4616"/>
                <a:gd name="T9" fmla="*/ 3403 h 3700"/>
                <a:gd name="T10" fmla="*/ 4318 w 4616"/>
                <a:gd name="T11" fmla="*/ 3700 h 3700"/>
                <a:gd name="T12" fmla="*/ 302 w 4616"/>
                <a:gd name="T13" fmla="*/ 3700 h 3700"/>
                <a:gd name="T14" fmla="*/ 0 w 4616"/>
                <a:gd name="T15" fmla="*/ 3403 h 3700"/>
                <a:gd name="T16" fmla="*/ 0 w 4616"/>
                <a:gd name="T17" fmla="*/ 297 h 3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6" h="3700">
                  <a:moveTo>
                    <a:pt x="0" y="297"/>
                  </a:moveTo>
                  <a:cubicBezTo>
                    <a:pt x="0" y="136"/>
                    <a:pt x="132" y="0"/>
                    <a:pt x="302" y="0"/>
                  </a:cubicBezTo>
                  <a:cubicBezTo>
                    <a:pt x="4318" y="0"/>
                    <a:pt x="4318" y="0"/>
                    <a:pt x="4318" y="0"/>
                  </a:cubicBezTo>
                  <a:cubicBezTo>
                    <a:pt x="4480" y="0"/>
                    <a:pt x="4616" y="136"/>
                    <a:pt x="4616" y="297"/>
                  </a:cubicBezTo>
                  <a:cubicBezTo>
                    <a:pt x="4616" y="3403"/>
                    <a:pt x="4616" y="3403"/>
                    <a:pt x="4616" y="3403"/>
                  </a:cubicBezTo>
                  <a:cubicBezTo>
                    <a:pt x="4616" y="3568"/>
                    <a:pt x="4480" y="3700"/>
                    <a:pt x="4318" y="3700"/>
                  </a:cubicBezTo>
                  <a:cubicBezTo>
                    <a:pt x="302" y="3700"/>
                    <a:pt x="302" y="3700"/>
                    <a:pt x="302" y="3700"/>
                  </a:cubicBezTo>
                  <a:cubicBezTo>
                    <a:pt x="132" y="3700"/>
                    <a:pt x="0" y="3568"/>
                    <a:pt x="0" y="3403"/>
                  </a:cubicBezTo>
                  <a:cubicBezTo>
                    <a:pt x="0" y="297"/>
                    <a:pt x="0" y="297"/>
                    <a:pt x="0" y="297"/>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4" name="Freeform 19">
              <a:extLst>
                <a:ext uri="{FF2B5EF4-FFF2-40B4-BE49-F238E27FC236}">
                  <a16:creationId xmlns:a16="http://schemas.microsoft.com/office/drawing/2014/main" id="{F13CD35F-EAEA-4066-B227-0F84B7EAE02E}"/>
                </a:ext>
              </a:extLst>
            </p:cNvPr>
            <p:cNvSpPr>
              <a:spLocks/>
            </p:cNvSpPr>
            <p:nvPr/>
          </p:nvSpPr>
          <p:spPr bwMode="auto">
            <a:xfrm>
              <a:off x="1011870" y="3469317"/>
              <a:ext cx="1587522" cy="792950"/>
            </a:xfrm>
            <a:custGeom>
              <a:avLst/>
              <a:gdLst>
                <a:gd name="T0" fmla="*/ 0 w 4314"/>
                <a:gd name="T1" fmla="*/ 132 h 2160"/>
                <a:gd name="T2" fmla="*/ 132 w 4314"/>
                <a:gd name="T3" fmla="*/ 0 h 2160"/>
                <a:gd name="T4" fmla="*/ 4182 w 4314"/>
                <a:gd name="T5" fmla="*/ 0 h 2160"/>
                <a:gd name="T6" fmla="*/ 4314 w 4314"/>
                <a:gd name="T7" fmla="*/ 132 h 2160"/>
                <a:gd name="T8" fmla="*/ 4314 w 4314"/>
                <a:gd name="T9" fmla="*/ 2028 h 2160"/>
                <a:gd name="T10" fmla="*/ 4182 w 4314"/>
                <a:gd name="T11" fmla="*/ 2160 h 2160"/>
                <a:gd name="T12" fmla="*/ 132 w 4314"/>
                <a:gd name="T13" fmla="*/ 2160 h 2160"/>
                <a:gd name="T14" fmla="*/ 0 w 4314"/>
                <a:gd name="T15" fmla="*/ 2028 h 2160"/>
                <a:gd name="T16" fmla="*/ 0 w 4314"/>
                <a:gd name="T17" fmla="*/ 132 h 2160"/>
                <a:gd name="T18" fmla="*/ 0 w 4314"/>
                <a:gd name="T19" fmla="*/ 1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4" h="2160">
                  <a:moveTo>
                    <a:pt x="0" y="132"/>
                  </a:moveTo>
                  <a:cubicBezTo>
                    <a:pt x="0" y="60"/>
                    <a:pt x="56" y="0"/>
                    <a:pt x="132" y="0"/>
                  </a:cubicBezTo>
                  <a:cubicBezTo>
                    <a:pt x="4182" y="0"/>
                    <a:pt x="4182" y="0"/>
                    <a:pt x="4182" y="0"/>
                  </a:cubicBezTo>
                  <a:cubicBezTo>
                    <a:pt x="4254" y="0"/>
                    <a:pt x="4314" y="60"/>
                    <a:pt x="4314" y="132"/>
                  </a:cubicBezTo>
                  <a:cubicBezTo>
                    <a:pt x="4314" y="2028"/>
                    <a:pt x="4314" y="2028"/>
                    <a:pt x="4314" y="2028"/>
                  </a:cubicBezTo>
                  <a:cubicBezTo>
                    <a:pt x="4314" y="2100"/>
                    <a:pt x="4254" y="2160"/>
                    <a:pt x="4182" y="2160"/>
                  </a:cubicBezTo>
                  <a:cubicBezTo>
                    <a:pt x="132" y="2160"/>
                    <a:pt x="132" y="2160"/>
                    <a:pt x="132" y="2160"/>
                  </a:cubicBezTo>
                  <a:cubicBezTo>
                    <a:pt x="56" y="2160"/>
                    <a:pt x="0" y="2100"/>
                    <a:pt x="0" y="2028"/>
                  </a:cubicBezTo>
                  <a:cubicBezTo>
                    <a:pt x="0" y="132"/>
                    <a:pt x="0" y="132"/>
                    <a:pt x="0" y="132"/>
                  </a:cubicBezTo>
                  <a:cubicBezTo>
                    <a:pt x="0" y="132"/>
                    <a:pt x="0" y="132"/>
                    <a:pt x="0" y="132"/>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5" name="Freeform: Shape 6">
              <a:extLst>
                <a:ext uri="{FF2B5EF4-FFF2-40B4-BE49-F238E27FC236}">
                  <a16:creationId xmlns:a16="http://schemas.microsoft.com/office/drawing/2014/main" id="{52FFFEEB-2962-4BE8-A29D-BDF5FD02B9BB}"/>
                </a:ext>
              </a:extLst>
            </p:cNvPr>
            <p:cNvSpPr>
              <a:spLocks/>
            </p:cNvSpPr>
            <p:nvPr/>
          </p:nvSpPr>
          <p:spPr bwMode="auto">
            <a:xfrm>
              <a:off x="1077612" y="4303660"/>
              <a:ext cx="1473084" cy="113627"/>
            </a:xfrm>
            <a:custGeom>
              <a:avLst/>
              <a:gdLst>
                <a:gd name="connsiteX0" fmla="*/ 870509 w 2881312"/>
                <a:gd name="connsiteY0" fmla="*/ 12700 h 222250"/>
                <a:gd name="connsiteX1" fmla="*/ 1158315 w 2881312"/>
                <a:gd name="connsiteY1" fmla="*/ 12700 h 222250"/>
                <a:gd name="connsiteX2" fmla="*/ 1214437 w 2881312"/>
                <a:gd name="connsiteY2" fmla="*/ 66059 h 222250"/>
                <a:gd name="connsiteX3" fmla="*/ 1214437 w 2881312"/>
                <a:gd name="connsiteY3" fmla="*/ 153307 h 222250"/>
                <a:gd name="connsiteX4" fmla="*/ 1158315 w 2881312"/>
                <a:gd name="connsiteY4" fmla="*/ 209550 h 222250"/>
                <a:gd name="connsiteX5" fmla="*/ 870509 w 2881312"/>
                <a:gd name="connsiteY5" fmla="*/ 209550 h 222250"/>
                <a:gd name="connsiteX6" fmla="*/ 814387 w 2881312"/>
                <a:gd name="connsiteY6" fmla="*/ 153307 h 222250"/>
                <a:gd name="connsiteX7" fmla="*/ 814387 w 2881312"/>
                <a:gd name="connsiteY7" fmla="*/ 66059 h 222250"/>
                <a:gd name="connsiteX8" fmla="*/ 870509 w 2881312"/>
                <a:gd name="connsiteY8" fmla="*/ 12700 h 222250"/>
                <a:gd name="connsiteX9" fmla="*/ 361846 w 2881312"/>
                <a:gd name="connsiteY9" fmla="*/ 12700 h 222250"/>
                <a:gd name="connsiteX10" fmla="*/ 652131 w 2881312"/>
                <a:gd name="connsiteY10" fmla="*/ 12700 h 222250"/>
                <a:gd name="connsiteX11" fmla="*/ 712788 w 2881312"/>
                <a:gd name="connsiteY11" fmla="*/ 66059 h 222250"/>
                <a:gd name="connsiteX12" fmla="*/ 712788 w 2881312"/>
                <a:gd name="connsiteY12" fmla="*/ 153307 h 222250"/>
                <a:gd name="connsiteX13" fmla="*/ 652131 w 2881312"/>
                <a:gd name="connsiteY13" fmla="*/ 209550 h 222250"/>
                <a:gd name="connsiteX14" fmla="*/ 361846 w 2881312"/>
                <a:gd name="connsiteY14" fmla="*/ 209550 h 222250"/>
                <a:gd name="connsiteX15" fmla="*/ 304800 w 2881312"/>
                <a:gd name="connsiteY15" fmla="*/ 153307 h 222250"/>
                <a:gd name="connsiteX16" fmla="*/ 304800 w 2881312"/>
                <a:gd name="connsiteY16" fmla="*/ 66059 h 222250"/>
                <a:gd name="connsiteX17" fmla="*/ 361846 w 2881312"/>
                <a:gd name="connsiteY17" fmla="*/ 12700 h 222250"/>
                <a:gd name="connsiteX18" fmla="*/ 105569 w 2881312"/>
                <a:gd name="connsiteY18" fmla="*/ 6350 h 222250"/>
                <a:gd name="connsiteX19" fmla="*/ 211138 w 2881312"/>
                <a:gd name="connsiteY19" fmla="*/ 111125 h 222250"/>
                <a:gd name="connsiteX20" fmla="*/ 105569 w 2881312"/>
                <a:gd name="connsiteY20" fmla="*/ 215900 h 222250"/>
                <a:gd name="connsiteX21" fmla="*/ 0 w 2881312"/>
                <a:gd name="connsiteY21" fmla="*/ 111125 h 222250"/>
                <a:gd name="connsiteX22" fmla="*/ 105569 w 2881312"/>
                <a:gd name="connsiteY22" fmla="*/ 6350 h 222250"/>
                <a:gd name="connsiteX23" fmla="*/ 2772286 w 2881312"/>
                <a:gd name="connsiteY23" fmla="*/ 0 h 222250"/>
                <a:gd name="connsiteX24" fmla="*/ 2881312 w 2881312"/>
                <a:gd name="connsiteY24" fmla="*/ 110766 h 222250"/>
                <a:gd name="connsiteX25" fmla="*/ 2772286 w 2881312"/>
                <a:gd name="connsiteY25" fmla="*/ 222250 h 222250"/>
                <a:gd name="connsiteX26" fmla="*/ 2665412 w 2881312"/>
                <a:gd name="connsiteY26" fmla="*/ 110766 h 222250"/>
                <a:gd name="connsiteX27" fmla="*/ 2772286 w 2881312"/>
                <a:gd name="connsiteY27" fmla="*/ 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81312" h="222250">
                  <a:moveTo>
                    <a:pt x="870509" y="12700"/>
                  </a:moveTo>
                  <a:cubicBezTo>
                    <a:pt x="870509" y="12700"/>
                    <a:pt x="870509" y="12700"/>
                    <a:pt x="1158315" y="12700"/>
                  </a:cubicBezTo>
                  <a:cubicBezTo>
                    <a:pt x="1189974" y="12700"/>
                    <a:pt x="1214437" y="36495"/>
                    <a:pt x="1214437" y="66059"/>
                  </a:cubicBezTo>
                  <a:cubicBezTo>
                    <a:pt x="1214437" y="66059"/>
                    <a:pt x="1214437" y="66059"/>
                    <a:pt x="1214437" y="153307"/>
                  </a:cubicBezTo>
                  <a:cubicBezTo>
                    <a:pt x="1214437" y="185034"/>
                    <a:pt x="1189974" y="209550"/>
                    <a:pt x="1158315" y="209550"/>
                  </a:cubicBezTo>
                  <a:cubicBezTo>
                    <a:pt x="1158315" y="209550"/>
                    <a:pt x="1158315" y="209550"/>
                    <a:pt x="870509" y="209550"/>
                  </a:cubicBezTo>
                  <a:cubicBezTo>
                    <a:pt x="838851" y="209550"/>
                    <a:pt x="814387" y="185034"/>
                    <a:pt x="814387" y="153307"/>
                  </a:cubicBezTo>
                  <a:cubicBezTo>
                    <a:pt x="814387" y="153307"/>
                    <a:pt x="814387" y="153307"/>
                    <a:pt x="814387" y="66059"/>
                  </a:cubicBezTo>
                  <a:cubicBezTo>
                    <a:pt x="814387" y="36495"/>
                    <a:pt x="838851" y="12700"/>
                    <a:pt x="870509" y="12700"/>
                  </a:cubicBezTo>
                  <a:close/>
                  <a:moveTo>
                    <a:pt x="361846" y="12700"/>
                  </a:moveTo>
                  <a:cubicBezTo>
                    <a:pt x="361846" y="12700"/>
                    <a:pt x="361846" y="12700"/>
                    <a:pt x="652131" y="12700"/>
                  </a:cubicBezTo>
                  <a:cubicBezTo>
                    <a:pt x="685348" y="12700"/>
                    <a:pt x="712788" y="36495"/>
                    <a:pt x="712788" y="66059"/>
                  </a:cubicBezTo>
                  <a:cubicBezTo>
                    <a:pt x="712788" y="66059"/>
                    <a:pt x="712788" y="66059"/>
                    <a:pt x="712788" y="153307"/>
                  </a:cubicBezTo>
                  <a:cubicBezTo>
                    <a:pt x="712788" y="185034"/>
                    <a:pt x="685348" y="209550"/>
                    <a:pt x="652131" y="209550"/>
                  </a:cubicBezTo>
                  <a:cubicBezTo>
                    <a:pt x="652131" y="209550"/>
                    <a:pt x="652131" y="209550"/>
                    <a:pt x="361846" y="209550"/>
                  </a:cubicBezTo>
                  <a:cubicBezTo>
                    <a:pt x="329351" y="209550"/>
                    <a:pt x="304800" y="185034"/>
                    <a:pt x="304800" y="153307"/>
                  </a:cubicBezTo>
                  <a:cubicBezTo>
                    <a:pt x="304800" y="153307"/>
                    <a:pt x="304800" y="153307"/>
                    <a:pt x="304800" y="66059"/>
                  </a:cubicBezTo>
                  <a:cubicBezTo>
                    <a:pt x="304800" y="36495"/>
                    <a:pt x="329351" y="12700"/>
                    <a:pt x="361846" y="12700"/>
                  </a:cubicBezTo>
                  <a:close/>
                  <a:moveTo>
                    <a:pt x="105569" y="6350"/>
                  </a:moveTo>
                  <a:cubicBezTo>
                    <a:pt x="163873" y="6350"/>
                    <a:pt x="211138" y="53259"/>
                    <a:pt x="211138" y="111125"/>
                  </a:cubicBezTo>
                  <a:cubicBezTo>
                    <a:pt x="211138" y="168991"/>
                    <a:pt x="163873" y="215900"/>
                    <a:pt x="105569" y="215900"/>
                  </a:cubicBezTo>
                  <a:cubicBezTo>
                    <a:pt x="47265" y="215900"/>
                    <a:pt x="0" y="168991"/>
                    <a:pt x="0" y="111125"/>
                  </a:cubicBezTo>
                  <a:cubicBezTo>
                    <a:pt x="0" y="53259"/>
                    <a:pt x="47265" y="6350"/>
                    <a:pt x="105569" y="6350"/>
                  </a:cubicBezTo>
                  <a:close/>
                  <a:moveTo>
                    <a:pt x="2772286" y="0"/>
                  </a:moveTo>
                  <a:cubicBezTo>
                    <a:pt x="2833255" y="0"/>
                    <a:pt x="2881312" y="48910"/>
                    <a:pt x="2881312" y="110766"/>
                  </a:cubicBezTo>
                  <a:cubicBezTo>
                    <a:pt x="2881312" y="173341"/>
                    <a:pt x="2833255" y="222250"/>
                    <a:pt x="2772286" y="222250"/>
                  </a:cubicBezTo>
                  <a:cubicBezTo>
                    <a:pt x="2713470" y="222250"/>
                    <a:pt x="2665412" y="173341"/>
                    <a:pt x="2665412" y="110766"/>
                  </a:cubicBezTo>
                  <a:cubicBezTo>
                    <a:pt x="2665412" y="48910"/>
                    <a:pt x="2713470" y="0"/>
                    <a:pt x="2772286"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6" name="Freeform 24">
              <a:extLst>
                <a:ext uri="{FF2B5EF4-FFF2-40B4-BE49-F238E27FC236}">
                  <a16:creationId xmlns:a16="http://schemas.microsoft.com/office/drawing/2014/main" id="{FF934BC4-7C37-4F4E-A57A-559685A48066}"/>
                </a:ext>
              </a:extLst>
            </p:cNvPr>
            <p:cNvSpPr>
              <a:spLocks/>
            </p:cNvSpPr>
            <p:nvPr/>
          </p:nvSpPr>
          <p:spPr bwMode="auto">
            <a:xfrm>
              <a:off x="1695253" y="3190934"/>
              <a:ext cx="224818" cy="223195"/>
            </a:xfrm>
            <a:custGeom>
              <a:avLst/>
              <a:gdLst>
                <a:gd name="T0" fmla="*/ 537 w 612"/>
                <a:gd name="T1" fmla="*/ 190 h 610"/>
                <a:gd name="T2" fmla="*/ 420 w 612"/>
                <a:gd name="T3" fmla="*/ 190 h 610"/>
                <a:gd name="T4" fmla="*/ 420 w 612"/>
                <a:gd name="T5" fmla="*/ 74 h 610"/>
                <a:gd name="T6" fmla="*/ 345 w 612"/>
                <a:gd name="T7" fmla="*/ 0 h 610"/>
                <a:gd name="T8" fmla="*/ 266 w 612"/>
                <a:gd name="T9" fmla="*/ 0 h 610"/>
                <a:gd name="T10" fmla="*/ 191 w 612"/>
                <a:gd name="T11" fmla="*/ 74 h 610"/>
                <a:gd name="T12" fmla="*/ 191 w 612"/>
                <a:gd name="T13" fmla="*/ 190 h 610"/>
                <a:gd name="T14" fmla="*/ 75 w 612"/>
                <a:gd name="T15" fmla="*/ 190 h 610"/>
                <a:gd name="T16" fmla="*/ 0 w 612"/>
                <a:gd name="T17" fmla="*/ 265 h 610"/>
                <a:gd name="T18" fmla="*/ 0 w 612"/>
                <a:gd name="T19" fmla="*/ 344 h 610"/>
                <a:gd name="T20" fmla="*/ 75 w 612"/>
                <a:gd name="T21" fmla="*/ 419 h 610"/>
                <a:gd name="T22" fmla="*/ 191 w 612"/>
                <a:gd name="T23" fmla="*/ 419 h 610"/>
                <a:gd name="T24" fmla="*/ 191 w 612"/>
                <a:gd name="T25" fmla="*/ 535 h 610"/>
                <a:gd name="T26" fmla="*/ 266 w 612"/>
                <a:gd name="T27" fmla="*/ 610 h 610"/>
                <a:gd name="T28" fmla="*/ 345 w 612"/>
                <a:gd name="T29" fmla="*/ 610 h 610"/>
                <a:gd name="T30" fmla="*/ 420 w 612"/>
                <a:gd name="T31" fmla="*/ 535 h 610"/>
                <a:gd name="T32" fmla="*/ 420 w 612"/>
                <a:gd name="T33" fmla="*/ 419 h 610"/>
                <a:gd name="T34" fmla="*/ 537 w 612"/>
                <a:gd name="T35" fmla="*/ 419 h 610"/>
                <a:gd name="T36" fmla="*/ 612 w 612"/>
                <a:gd name="T37" fmla="*/ 344 h 610"/>
                <a:gd name="T38" fmla="*/ 612 w 612"/>
                <a:gd name="T39" fmla="*/ 265 h 610"/>
                <a:gd name="T40" fmla="*/ 537 w 612"/>
                <a:gd name="T41" fmla="*/ 19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2" h="610">
                  <a:moveTo>
                    <a:pt x="537" y="190"/>
                  </a:moveTo>
                  <a:cubicBezTo>
                    <a:pt x="420" y="190"/>
                    <a:pt x="420" y="190"/>
                    <a:pt x="420" y="190"/>
                  </a:cubicBezTo>
                  <a:cubicBezTo>
                    <a:pt x="420" y="74"/>
                    <a:pt x="420" y="74"/>
                    <a:pt x="420" y="74"/>
                  </a:cubicBezTo>
                  <a:cubicBezTo>
                    <a:pt x="420" y="33"/>
                    <a:pt x="386" y="0"/>
                    <a:pt x="345" y="0"/>
                  </a:cubicBezTo>
                  <a:cubicBezTo>
                    <a:pt x="266" y="0"/>
                    <a:pt x="266" y="0"/>
                    <a:pt x="266" y="0"/>
                  </a:cubicBezTo>
                  <a:cubicBezTo>
                    <a:pt x="225" y="0"/>
                    <a:pt x="191" y="33"/>
                    <a:pt x="191" y="74"/>
                  </a:cubicBezTo>
                  <a:cubicBezTo>
                    <a:pt x="191" y="190"/>
                    <a:pt x="191" y="190"/>
                    <a:pt x="191" y="190"/>
                  </a:cubicBezTo>
                  <a:cubicBezTo>
                    <a:pt x="75" y="190"/>
                    <a:pt x="75" y="190"/>
                    <a:pt x="75" y="190"/>
                  </a:cubicBezTo>
                  <a:cubicBezTo>
                    <a:pt x="33" y="190"/>
                    <a:pt x="0" y="224"/>
                    <a:pt x="0" y="265"/>
                  </a:cubicBezTo>
                  <a:cubicBezTo>
                    <a:pt x="0" y="344"/>
                    <a:pt x="0" y="344"/>
                    <a:pt x="0" y="344"/>
                  </a:cubicBezTo>
                  <a:cubicBezTo>
                    <a:pt x="0" y="385"/>
                    <a:pt x="33" y="419"/>
                    <a:pt x="75" y="419"/>
                  </a:cubicBezTo>
                  <a:cubicBezTo>
                    <a:pt x="191" y="419"/>
                    <a:pt x="191" y="419"/>
                    <a:pt x="191" y="419"/>
                  </a:cubicBezTo>
                  <a:cubicBezTo>
                    <a:pt x="191" y="535"/>
                    <a:pt x="191" y="535"/>
                    <a:pt x="191" y="535"/>
                  </a:cubicBezTo>
                  <a:cubicBezTo>
                    <a:pt x="191" y="576"/>
                    <a:pt x="225" y="610"/>
                    <a:pt x="266" y="610"/>
                  </a:cubicBezTo>
                  <a:cubicBezTo>
                    <a:pt x="345" y="610"/>
                    <a:pt x="345" y="610"/>
                    <a:pt x="345" y="610"/>
                  </a:cubicBezTo>
                  <a:cubicBezTo>
                    <a:pt x="386" y="610"/>
                    <a:pt x="420" y="576"/>
                    <a:pt x="420" y="535"/>
                  </a:cubicBezTo>
                  <a:cubicBezTo>
                    <a:pt x="420" y="419"/>
                    <a:pt x="420" y="419"/>
                    <a:pt x="420" y="419"/>
                  </a:cubicBezTo>
                  <a:cubicBezTo>
                    <a:pt x="537" y="419"/>
                    <a:pt x="537" y="419"/>
                    <a:pt x="537" y="419"/>
                  </a:cubicBezTo>
                  <a:cubicBezTo>
                    <a:pt x="578" y="419"/>
                    <a:pt x="612" y="385"/>
                    <a:pt x="612" y="344"/>
                  </a:cubicBezTo>
                  <a:cubicBezTo>
                    <a:pt x="612" y="265"/>
                    <a:pt x="612" y="265"/>
                    <a:pt x="612" y="265"/>
                  </a:cubicBezTo>
                  <a:cubicBezTo>
                    <a:pt x="612" y="224"/>
                    <a:pt x="578" y="190"/>
                    <a:pt x="537" y="19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7" name="Freeform: Shape 25">
              <a:extLst>
                <a:ext uri="{FF2B5EF4-FFF2-40B4-BE49-F238E27FC236}">
                  <a16:creationId xmlns:a16="http://schemas.microsoft.com/office/drawing/2014/main" id="{49329398-5391-41E8-B1A0-B5BA3D3AC073}"/>
                </a:ext>
              </a:extLst>
            </p:cNvPr>
            <p:cNvSpPr/>
            <p:nvPr/>
          </p:nvSpPr>
          <p:spPr>
            <a:xfrm>
              <a:off x="1129305" y="3698641"/>
              <a:ext cx="654975" cy="369286"/>
            </a:xfrm>
            <a:custGeom>
              <a:avLst/>
              <a:gdLst>
                <a:gd name="connsiteX0" fmla="*/ 233016 w 866392"/>
                <a:gd name="connsiteY0" fmla="*/ 0 h 488487"/>
                <a:gd name="connsiteX1" fmla="*/ 251501 w 866392"/>
                <a:gd name="connsiteY1" fmla="*/ 14582 h 488487"/>
                <a:gd name="connsiteX2" fmla="*/ 346849 w 866392"/>
                <a:gd name="connsiteY2" fmla="*/ 435507 h 488487"/>
                <a:gd name="connsiteX3" fmla="*/ 401819 w 866392"/>
                <a:gd name="connsiteY3" fmla="*/ 227961 h 488487"/>
                <a:gd name="connsiteX4" fmla="*/ 416899 w 866392"/>
                <a:gd name="connsiteY4" fmla="*/ 213379 h 488487"/>
                <a:gd name="connsiteX5" fmla="*/ 434899 w 866392"/>
                <a:gd name="connsiteY5" fmla="*/ 222128 h 488487"/>
                <a:gd name="connsiteX6" fmla="*/ 449493 w 866392"/>
                <a:gd name="connsiteY6" fmla="*/ 242542 h 488487"/>
                <a:gd name="connsiteX7" fmla="*/ 489869 w 866392"/>
                <a:gd name="connsiteY7" fmla="*/ 182272 h 488487"/>
                <a:gd name="connsiteX8" fmla="*/ 506408 w 866392"/>
                <a:gd name="connsiteY8" fmla="*/ 174981 h 488487"/>
                <a:gd name="connsiteX9" fmla="*/ 522948 w 866392"/>
                <a:gd name="connsiteY9" fmla="*/ 182272 h 488487"/>
                <a:gd name="connsiteX10" fmla="*/ 548731 w 866392"/>
                <a:gd name="connsiteY10" fmla="*/ 226017 h 488487"/>
                <a:gd name="connsiteX11" fmla="*/ 550677 w 866392"/>
                <a:gd name="connsiteY11" fmla="*/ 227961 h 488487"/>
                <a:gd name="connsiteX12" fmla="*/ 847906 w 866392"/>
                <a:gd name="connsiteY12" fmla="*/ 227961 h 488487"/>
                <a:gd name="connsiteX13" fmla="*/ 866392 w 866392"/>
                <a:gd name="connsiteY13" fmla="*/ 245945 h 488487"/>
                <a:gd name="connsiteX14" fmla="*/ 847906 w 866392"/>
                <a:gd name="connsiteY14" fmla="*/ 264415 h 488487"/>
                <a:gd name="connsiteX15" fmla="*/ 545326 w 866392"/>
                <a:gd name="connsiteY15" fmla="*/ 264415 h 488487"/>
                <a:gd name="connsiteX16" fmla="*/ 517597 w 866392"/>
                <a:gd name="connsiteY16" fmla="*/ 244000 h 488487"/>
                <a:gd name="connsiteX17" fmla="*/ 504949 w 866392"/>
                <a:gd name="connsiteY17" fmla="*/ 227961 h 488487"/>
                <a:gd name="connsiteX18" fmla="*/ 475275 w 866392"/>
                <a:gd name="connsiteY18" fmla="*/ 267818 h 488487"/>
                <a:gd name="connsiteX19" fmla="*/ 446087 w 866392"/>
                <a:gd name="connsiteY19" fmla="*/ 284343 h 488487"/>
                <a:gd name="connsiteX20" fmla="*/ 427601 w 866392"/>
                <a:gd name="connsiteY20" fmla="*/ 277052 h 488487"/>
                <a:gd name="connsiteX21" fmla="*/ 381874 w 866392"/>
                <a:gd name="connsiteY21" fmla="*/ 461268 h 488487"/>
                <a:gd name="connsiteX22" fmla="*/ 346849 w 866392"/>
                <a:gd name="connsiteY22" fmla="*/ 488487 h 488487"/>
                <a:gd name="connsiteX23" fmla="*/ 315715 w 866392"/>
                <a:gd name="connsiteY23" fmla="*/ 462726 h 488487"/>
                <a:gd name="connsiteX24" fmla="*/ 315715 w 866392"/>
                <a:gd name="connsiteY24" fmla="*/ 457379 h 488487"/>
                <a:gd name="connsiteX25" fmla="*/ 233016 w 866392"/>
                <a:gd name="connsiteY25" fmla="*/ 104016 h 488487"/>
                <a:gd name="connsiteX26" fmla="*/ 205774 w 866392"/>
                <a:gd name="connsiteY26" fmla="*/ 222128 h 488487"/>
                <a:gd name="connsiteX27" fmla="*/ 205774 w 866392"/>
                <a:gd name="connsiteY27" fmla="*/ 226017 h 488487"/>
                <a:gd name="connsiteX28" fmla="*/ 174641 w 866392"/>
                <a:gd name="connsiteY28" fmla="*/ 245945 h 488487"/>
                <a:gd name="connsiteX29" fmla="*/ 18486 w 866392"/>
                <a:gd name="connsiteY29" fmla="*/ 245945 h 488487"/>
                <a:gd name="connsiteX30" fmla="*/ 0 w 866392"/>
                <a:gd name="connsiteY30" fmla="*/ 227961 h 488487"/>
                <a:gd name="connsiteX31" fmla="*/ 18486 w 866392"/>
                <a:gd name="connsiteY31" fmla="*/ 209491 h 488487"/>
                <a:gd name="connsiteX32" fmla="*/ 170749 w 866392"/>
                <a:gd name="connsiteY32" fmla="*/ 209491 h 488487"/>
                <a:gd name="connsiteX33" fmla="*/ 213071 w 866392"/>
                <a:gd name="connsiteY33" fmla="*/ 14582 h 488487"/>
                <a:gd name="connsiteX34" fmla="*/ 233016 w 866392"/>
                <a:gd name="connsiteY34" fmla="*/ 0 h 48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66392" h="488487">
                  <a:moveTo>
                    <a:pt x="233016" y="0"/>
                  </a:moveTo>
                  <a:cubicBezTo>
                    <a:pt x="242259" y="0"/>
                    <a:pt x="249556" y="5347"/>
                    <a:pt x="251501" y="14582"/>
                  </a:cubicBezTo>
                  <a:cubicBezTo>
                    <a:pt x="346849" y="435507"/>
                    <a:pt x="346849" y="435507"/>
                    <a:pt x="346849" y="435507"/>
                  </a:cubicBezTo>
                  <a:cubicBezTo>
                    <a:pt x="401819" y="227961"/>
                    <a:pt x="401819" y="227961"/>
                    <a:pt x="401819" y="227961"/>
                  </a:cubicBezTo>
                  <a:cubicBezTo>
                    <a:pt x="403765" y="220670"/>
                    <a:pt x="411062" y="214837"/>
                    <a:pt x="416899" y="213379"/>
                  </a:cubicBezTo>
                  <a:cubicBezTo>
                    <a:pt x="424196" y="213379"/>
                    <a:pt x="431493" y="214837"/>
                    <a:pt x="434899" y="222128"/>
                  </a:cubicBezTo>
                  <a:cubicBezTo>
                    <a:pt x="449493" y="242542"/>
                    <a:pt x="449493" y="242542"/>
                    <a:pt x="449493" y="242542"/>
                  </a:cubicBezTo>
                  <a:cubicBezTo>
                    <a:pt x="489869" y="182272"/>
                    <a:pt x="489869" y="182272"/>
                    <a:pt x="489869" y="182272"/>
                  </a:cubicBezTo>
                  <a:cubicBezTo>
                    <a:pt x="493761" y="176925"/>
                    <a:pt x="501058" y="174981"/>
                    <a:pt x="506408" y="174981"/>
                  </a:cubicBezTo>
                  <a:cubicBezTo>
                    <a:pt x="512246" y="174981"/>
                    <a:pt x="519543" y="178383"/>
                    <a:pt x="522948" y="182272"/>
                  </a:cubicBezTo>
                  <a:cubicBezTo>
                    <a:pt x="548731" y="226017"/>
                    <a:pt x="548731" y="226017"/>
                    <a:pt x="548731" y="226017"/>
                  </a:cubicBezTo>
                  <a:cubicBezTo>
                    <a:pt x="550677" y="227961"/>
                    <a:pt x="550677" y="227961"/>
                    <a:pt x="550677" y="227961"/>
                  </a:cubicBezTo>
                  <a:cubicBezTo>
                    <a:pt x="847906" y="227961"/>
                    <a:pt x="847906" y="227961"/>
                    <a:pt x="847906" y="227961"/>
                  </a:cubicBezTo>
                  <a:cubicBezTo>
                    <a:pt x="859095" y="227961"/>
                    <a:pt x="866392" y="235251"/>
                    <a:pt x="866392" y="245945"/>
                  </a:cubicBezTo>
                  <a:cubicBezTo>
                    <a:pt x="866392" y="255180"/>
                    <a:pt x="859095" y="264415"/>
                    <a:pt x="847906" y="264415"/>
                  </a:cubicBezTo>
                  <a:cubicBezTo>
                    <a:pt x="545326" y="264415"/>
                    <a:pt x="545326" y="264415"/>
                    <a:pt x="545326" y="264415"/>
                  </a:cubicBezTo>
                  <a:cubicBezTo>
                    <a:pt x="532191" y="264415"/>
                    <a:pt x="522948" y="257124"/>
                    <a:pt x="517597" y="244000"/>
                  </a:cubicBezTo>
                  <a:cubicBezTo>
                    <a:pt x="504949" y="227961"/>
                    <a:pt x="504949" y="227961"/>
                    <a:pt x="504949" y="227961"/>
                  </a:cubicBezTo>
                  <a:cubicBezTo>
                    <a:pt x="475275" y="267818"/>
                    <a:pt x="475275" y="267818"/>
                    <a:pt x="475275" y="267818"/>
                  </a:cubicBezTo>
                  <a:cubicBezTo>
                    <a:pt x="467978" y="284343"/>
                    <a:pt x="451438" y="284343"/>
                    <a:pt x="446087" y="284343"/>
                  </a:cubicBezTo>
                  <a:cubicBezTo>
                    <a:pt x="440736" y="284343"/>
                    <a:pt x="433439" y="280455"/>
                    <a:pt x="427601" y="277052"/>
                  </a:cubicBezTo>
                  <a:cubicBezTo>
                    <a:pt x="381874" y="461268"/>
                    <a:pt x="381874" y="461268"/>
                    <a:pt x="381874" y="461268"/>
                  </a:cubicBezTo>
                  <a:cubicBezTo>
                    <a:pt x="376523" y="477308"/>
                    <a:pt x="363389" y="488487"/>
                    <a:pt x="346849" y="488487"/>
                  </a:cubicBezTo>
                  <a:cubicBezTo>
                    <a:pt x="332255" y="488487"/>
                    <a:pt x="321066" y="473906"/>
                    <a:pt x="315715" y="462726"/>
                  </a:cubicBezTo>
                  <a:cubicBezTo>
                    <a:pt x="315715" y="461268"/>
                    <a:pt x="315715" y="461268"/>
                    <a:pt x="315715" y="457379"/>
                  </a:cubicBezTo>
                  <a:cubicBezTo>
                    <a:pt x="233016" y="104016"/>
                    <a:pt x="233016" y="104016"/>
                    <a:pt x="233016" y="104016"/>
                  </a:cubicBezTo>
                  <a:cubicBezTo>
                    <a:pt x="205774" y="222128"/>
                    <a:pt x="205774" y="222128"/>
                    <a:pt x="205774" y="222128"/>
                  </a:cubicBezTo>
                  <a:cubicBezTo>
                    <a:pt x="205774" y="222128"/>
                    <a:pt x="205774" y="224072"/>
                    <a:pt x="205774" y="226017"/>
                  </a:cubicBezTo>
                  <a:cubicBezTo>
                    <a:pt x="199936" y="238654"/>
                    <a:pt x="187289" y="245945"/>
                    <a:pt x="174641" y="245945"/>
                  </a:cubicBezTo>
                  <a:cubicBezTo>
                    <a:pt x="18486" y="245945"/>
                    <a:pt x="18486" y="245945"/>
                    <a:pt x="18486" y="245945"/>
                  </a:cubicBezTo>
                  <a:cubicBezTo>
                    <a:pt x="9243" y="245945"/>
                    <a:pt x="0" y="238654"/>
                    <a:pt x="0" y="227961"/>
                  </a:cubicBezTo>
                  <a:cubicBezTo>
                    <a:pt x="0" y="218726"/>
                    <a:pt x="9243" y="209491"/>
                    <a:pt x="18486" y="209491"/>
                  </a:cubicBezTo>
                  <a:cubicBezTo>
                    <a:pt x="170749" y="209491"/>
                    <a:pt x="170749" y="209491"/>
                    <a:pt x="170749" y="209491"/>
                  </a:cubicBezTo>
                  <a:cubicBezTo>
                    <a:pt x="213071" y="14582"/>
                    <a:pt x="213071" y="14582"/>
                    <a:pt x="213071" y="14582"/>
                  </a:cubicBezTo>
                  <a:cubicBezTo>
                    <a:pt x="215017" y="5347"/>
                    <a:pt x="222314" y="0"/>
                    <a:pt x="233016" y="0"/>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8" name="Group 137">
              <a:extLst>
                <a:ext uri="{FF2B5EF4-FFF2-40B4-BE49-F238E27FC236}">
                  <a16:creationId xmlns:a16="http://schemas.microsoft.com/office/drawing/2014/main" id="{E214DF97-5F53-45A1-AD5A-236BFE84B666}"/>
                </a:ext>
              </a:extLst>
            </p:cNvPr>
            <p:cNvGrpSpPr/>
            <p:nvPr/>
          </p:nvGrpSpPr>
          <p:grpSpPr>
            <a:xfrm>
              <a:off x="1868942" y="3698641"/>
              <a:ext cx="618888" cy="421937"/>
              <a:chOff x="1512888" y="5453063"/>
              <a:chExt cx="1632281" cy="1112837"/>
            </a:xfrm>
          </p:grpSpPr>
          <p:sp>
            <p:nvSpPr>
              <p:cNvPr id="139" name="Freeform: Shape 111">
                <a:extLst>
                  <a:ext uri="{FF2B5EF4-FFF2-40B4-BE49-F238E27FC236}">
                    <a16:creationId xmlns:a16="http://schemas.microsoft.com/office/drawing/2014/main" id="{86078878-87E0-480F-B4A5-6C09CAFD38E2}"/>
                  </a:ext>
                </a:extLst>
              </p:cNvPr>
              <p:cNvSpPr>
                <a:spLocks noChangeArrowheads="1"/>
              </p:cNvSpPr>
              <p:nvPr/>
            </p:nvSpPr>
            <p:spPr bwMode="auto">
              <a:xfrm>
                <a:off x="1512888" y="5453063"/>
                <a:ext cx="788988" cy="1112837"/>
              </a:xfrm>
              <a:custGeom>
                <a:avLst/>
                <a:gdLst>
                  <a:gd name="connsiteX0" fmla="*/ 395288 w 788988"/>
                  <a:gd name="connsiteY0" fmla="*/ 568325 h 1112837"/>
                  <a:gd name="connsiteX1" fmla="*/ 90488 w 788988"/>
                  <a:gd name="connsiteY1" fmla="*/ 801688 h 1112837"/>
                  <a:gd name="connsiteX2" fmla="*/ 395288 w 788988"/>
                  <a:gd name="connsiteY2" fmla="*/ 1035051 h 1112837"/>
                  <a:gd name="connsiteX3" fmla="*/ 700088 w 788988"/>
                  <a:gd name="connsiteY3" fmla="*/ 801688 h 1112837"/>
                  <a:gd name="connsiteX4" fmla="*/ 395288 w 788988"/>
                  <a:gd name="connsiteY4" fmla="*/ 568325 h 1112837"/>
                  <a:gd name="connsiteX5" fmla="*/ 394494 w 788988"/>
                  <a:gd name="connsiteY5" fmla="*/ 76200 h 1112837"/>
                  <a:gd name="connsiteX6" fmla="*/ 139700 w 788988"/>
                  <a:gd name="connsiteY6" fmla="*/ 280988 h 1112837"/>
                  <a:gd name="connsiteX7" fmla="*/ 394494 w 788988"/>
                  <a:gd name="connsiteY7" fmla="*/ 485776 h 1112837"/>
                  <a:gd name="connsiteX8" fmla="*/ 649288 w 788988"/>
                  <a:gd name="connsiteY8" fmla="*/ 280988 h 1112837"/>
                  <a:gd name="connsiteX9" fmla="*/ 394494 w 788988"/>
                  <a:gd name="connsiteY9" fmla="*/ 76200 h 1112837"/>
                  <a:gd name="connsiteX10" fmla="*/ 394494 w 788988"/>
                  <a:gd name="connsiteY10" fmla="*/ 0 h 1112837"/>
                  <a:gd name="connsiteX11" fmla="*/ 636387 w 788988"/>
                  <a:gd name="connsiteY11" fmla="*/ 77529 h 1112837"/>
                  <a:gd name="connsiteX12" fmla="*/ 736429 w 788988"/>
                  <a:gd name="connsiteY12" fmla="*/ 281191 h 1112837"/>
                  <a:gd name="connsiteX13" fmla="*/ 686258 w 788988"/>
                  <a:gd name="connsiteY13" fmla="*/ 434161 h 1112837"/>
                  <a:gd name="connsiteX14" fmla="*/ 575167 w 788988"/>
                  <a:gd name="connsiteY14" fmla="*/ 523618 h 1112837"/>
                  <a:gd name="connsiteX15" fmla="*/ 724483 w 788988"/>
                  <a:gd name="connsiteY15" fmla="*/ 626791 h 1112837"/>
                  <a:gd name="connsiteX16" fmla="*/ 788988 w 788988"/>
                  <a:gd name="connsiteY16" fmla="*/ 801529 h 1112837"/>
                  <a:gd name="connsiteX17" fmla="*/ 759722 w 788988"/>
                  <a:gd name="connsiteY17" fmla="*/ 928557 h 1112837"/>
                  <a:gd name="connsiteX18" fmla="*/ 677897 w 788988"/>
                  <a:gd name="connsiteY18" fmla="*/ 1027257 h 1112837"/>
                  <a:gd name="connsiteX19" fmla="*/ 553068 w 788988"/>
                  <a:gd name="connsiteY19" fmla="*/ 1090473 h 1112837"/>
                  <a:gd name="connsiteX20" fmla="*/ 394494 w 788988"/>
                  <a:gd name="connsiteY20" fmla="*/ 1112837 h 1112837"/>
                  <a:gd name="connsiteX21" fmla="*/ 235920 w 788988"/>
                  <a:gd name="connsiteY21" fmla="*/ 1090473 h 1112837"/>
                  <a:gd name="connsiteX22" fmla="*/ 111091 w 788988"/>
                  <a:gd name="connsiteY22" fmla="*/ 1027257 h 1112837"/>
                  <a:gd name="connsiteX23" fmla="*/ 29266 w 788988"/>
                  <a:gd name="connsiteY23" fmla="*/ 928557 h 1112837"/>
                  <a:gd name="connsiteX24" fmla="*/ 0 w 788988"/>
                  <a:gd name="connsiteY24" fmla="*/ 801529 h 1112837"/>
                  <a:gd name="connsiteX25" fmla="*/ 64803 w 788988"/>
                  <a:gd name="connsiteY25" fmla="*/ 626791 h 1112837"/>
                  <a:gd name="connsiteX26" fmla="*/ 215016 w 788988"/>
                  <a:gd name="connsiteY26" fmla="*/ 523618 h 1112837"/>
                  <a:gd name="connsiteX27" fmla="*/ 103028 w 788988"/>
                  <a:gd name="connsiteY27" fmla="*/ 434459 h 1112837"/>
                  <a:gd name="connsiteX28" fmla="*/ 52559 w 788988"/>
                  <a:gd name="connsiteY28" fmla="*/ 281191 h 1112837"/>
                  <a:gd name="connsiteX29" fmla="*/ 152601 w 788988"/>
                  <a:gd name="connsiteY29" fmla="*/ 77529 h 1112837"/>
                  <a:gd name="connsiteX30" fmla="*/ 394494 w 788988"/>
                  <a:gd name="connsiteY30"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8988" h="1112837">
                    <a:moveTo>
                      <a:pt x="395288" y="568325"/>
                    </a:moveTo>
                    <a:cubicBezTo>
                      <a:pt x="226952" y="568325"/>
                      <a:pt x="90488" y="672805"/>
                      <a:pt x="90488" y="801688"/>
                    </a:cubicBezTo>
                    <a:cubicBezTo>
                      <a:pt x="90488" y="930571"/>
                      <a:pt x="226952" y="1035051"/>
                      <a:pt x="395288" y="1035051"/>
                    </a:cubicBezTo>
                    <a:cubicBezTo>
                      <a:pt x="563624" y="1035051"/>
                      <a:pt x="700088" y="930571"/>
                      <a:pt x="700088" y="801688"/>
                    </a:cubicBezTo>
                    <a:cubicBezTo>
                      <a:pt x="700088" y="672805"/>
                      <a:pt x="563624" y="568325"/>
                      <a:pt x="395288" y="568325"/>
                    </a:cubicBezTo>
                    <a:close/>
                    <a:moveTo>
                      <a:pt x="394494" y="76200"/>
                    </a:moveTo>
                    <a:cubicBezTo>
                      <a:pt x="253775" y="76200"/>
                      <a:pt x="139700" y="167887"/>
                      <a:pt x="139700" y="280988"/>
                    </a:cubicBezTo>
                    <a:cubicBezTo>
                      <a:pt x="139700" y="394089"/>
                      <a:pt x="253775" y="485776"/>
                      <a:pt x="394494" y="485776"/>
                    </a:cubicBezTo>
                    <a:cubicBezTo>
                      <a:pt x="535213" y="485776"/>
                      <a:pt x="649288" y="394089"/>
                      <a:pt x="649288" y="280988"/>
                    </a:cubicBezTo>
                    <a:cubicBezTo>
                      <a:pt x="649288" y="167887"/>
                      <a:pt x="535213" y="76200"/>
                      <a:pt x="394494" y="76200"/>
                    </a:cubicBezTo>
                    <a:close/>
                    <a:moveTo>
                      <a:pt x="394494" y="0"/>
                    </a:moveTo>
                    <a:cubicBezTo>
                      <a:pt x="487966" y="0"/>
                      <a:pt x="573972" y="27433"/>
                      <a:pt x="636387" y="77529"/>
                    </a:cubicBezTo>
                    <a:cubicBezTo>
                      <a:pt x="700891" y="128817"/>
                      <a:pt x="736429" y="201277"/>
                      <a:pt x="736429" y="281191"/>
                    </a:cubicBezTo>
                    <a:cubicBezTo>
                      <a:pt x="736429" y="336654"/>
                      <a:pt x="719108" y="389433"/>
                      <a:pt x="686258" y="434161"/>
                    </a:cubicBezTo>
                    <a:cubicBezTo>
                      <a:pt x="658486" y="472329"/>
                      <a:pt x="620559" y="502744"/>
                      <a:pt x="575167" y="523618"/>
                    </a:cubicBezTo>
                    <a:cubicBezTo>
                      <a:pt x="636088" y="546578"/>
                      <a:pt x="687154" y="581765"/>
                      <a:pt x="724483" y="626791"/>
                    </a:cubicBezTo>
                    <a:cubicBezTo>
                      <a:pt x="766889" y="677781"/>
                      <a:pt x="788988" y="738313"/>
                      <a:pt x="788988" y="801529"/>
                    </a:cubicBezTo>
                    <a:cubicBezTo>
                      <a:pt x="788988" y="847152"/>
                      <a:pt x="779133" y="889793"/>
                      <a:pt x="759722" y="928557"/>
                    </a:cubicBezTo>
                    <a:cubicBezTo>
                      <a:pt x="740908" y="966427"/>
                      <a:pt x="713434" y="999526"/>
                      <a:pt x="677897" y="1027257"/>
                    </a:cubicBezTo>
                    <a:cubicBezTo>
                      <a:pt x="642658" y="1054691"/>
                      <a:pt x="600849" y="1075862"/>
                      <a:pt x="553068" y="1090473"/>
                    </a:cubicBezTo>
                    <a:cubicBezTo>
                      <a:pt x="504690" y="1105382"/>
                      <a:pt x="451234" y="1112837"/>
                      <a:pt x="394494" y="1112837"/>
                    </a:cubicBezTo>
                    <a:cubicBezTo>
                      <a:pt x="337754" y="1112837"/>
                      <a:pt x="284299" y="1105382"/>
                      <a:pt x="235920" y="1090473"/>
                    </a:cubicBezTo>
                    <a:cubicBezTo>
                      <a:pt x="188139" y="1075862"/>
                      <a:pt x="146330" y="1054691"/>
                      <a:pt x="111091" y="1027257"/>
                    </a:cubicBezTo>
                    <a:cubicBezTo>
                      <a:pt x="75853" y="999526"/>
                      <a:pt x="48080" y="966427"/>
                      <a:pt x="29266" y="928557"/>
                    </a:cubicBezTo>
                    <a:cubicBezTo>
                      <a:pt x="9855" y="889793"/>
                      <a:pt x="0" y="847152"/>
                      <a:pt x="0" y="801529"/>
                    </a:cubicBezTo>
                    <a:cubicBezTo>
                      <a:pt x="0" y="738313"/>
                      <a:pt x="22397" y="677781"/>
                      <a:pt x="64803" y="626791"/>
                    </a:cubicBezTo>
                    <a:cubicBezTo>
                      <a:pt x="102133" y="581765"/>
                      <a:pt x="153796" y="546578"/>
                      <a:pt x="215016" y="523618"/>
                    </a:cubicBezTo>
                    <a:cubicBezTo>
                      <a:pt x="169325" y="502744"/>
                      <a:pt x="131100" y="472329"/>
                      <a:pt x="103028" y="434459"/>
                    </a:cubicBezTo>
                    <a:cubicBezTo>
                      <a:pt x="70179" y="389731"/>
                      <a:pt x="52559" y="336654"/>
                      <a:pt x="52559" y="281191"/>
                    </a:cubicBezTo>
                    <a:cubicBezTo>
                      <a:pt x="52559" y="201277"/>
                      <a:pt x="88097" y="128817"/>
                      <a:pt x="152601" y="77529"/>
                    </a:cubicBezTo>
                    <a:cubicBezTo>
                      <a:pt x="215016" y="27433"/>
                      <a:pt x="301022" y="0"/>
                      <a:pt x="39449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0" name="Freeform: Shape 112">
                <a:extLst>
                  <a:ext uri="{FF2B5EF4-FFF2-40B4-BE49-F238E27FC236}">
                    <a16:creationId xmlns:a16="http://schemas.microsoft.com/office/drawing/2014/main" id="{19E9851A-B60B-46A1-97CB-937E4B1394EA}"/>
                  </a:ext>
                </a:extLst>
              </p:cNvPr>
              <p:cNvSpPr>
                <a:spLocks/>
              </p:cNvSpPr>
              <p:nvPr/>
            </p:nvSpPr>
            <p:spPr bwMode="auto">
              <a:xfrm>
                <a:off x="2386344" y="5453063"/>
                <a:ext cx="758825" cy="1112837"/>
              </a:xfrm>
              <a:custGeom>
                <a:avLst/>
                <a:gdLst>
                  <a:gd name="connsiteX0" fmla="*/ 378470 w 758825"/>
                  <a:gd name="connsiteY0" fmla="*/ 79375 h 1112837"/>
                  <a:gd name="connsiteX1" fmla="*/ 177446 w 758825"/>
                  <a:gd name="connsiteY1" fmla="*/ 195429 h 1112837"/>
                  <a:gd name="connsiteX2" fmla="*/ 88900 w 758825"/>
                  <a:gd name="connsiteY2" fmla="*/ 554927 h 1112837"/>
                  <a:gd name="connsiteX3" fmla="*/ 177745 w 758825"/>
                  <a:gd name="connsiteY3" fmla="*/ 916513 h 1112837"/>
                  <a:gd name="connsiteX4" fmla="*/ 378470 w 758825"/>
                  <a:gd name="connsiteY4" fmla="*/ 1033462 h 1112837"/>
                  <a:gd name="connsiteX5" fmla="*/ 579493 w 758825"/>
                  <a:gd name="connsiteY5" fmla="*/ 916513 h 1112837"/>
                  <a:gd name="connsiteX6" fmla="*/ 668338 w 758825"/>
                  <a:gd name="connsiteY6" fmla="*/ 554927 h 1112837"/>
                  <a:gd name="connsiteX7" fmla="*/ 579493 w 758825"/>
                  <a:gd name="connsiteY7" fmla="*/ 195429 h 1112837"/>
                  <a:gd name="connsiteX8" fmla="*/ 378470 w 758825"/>
                  <a:gd name="connsiteY8" fmla="*/ 79375 h 1112837"/>
                  <a:gd name="connsiteX9" fmla="*/ 379263 w 758825"/>
                  <a:gd name="connsiteY9" fmla="*/ 0 h 1112837"/>
                  <a:gd name="connsiteX10" fmla="*/ 658485 w 758825"/>
                  <a:gd name="connsiteY10" fmla="*/ 156847 h 1112837"/>
                  <a:gd name="connsiteX11" fmla="*/ 758825 w 758825"/>
                  <a:gd name="connsiteY11" fmla="*/ 554928 h 1112837"/>
                  <a:gd name="connsiteX12" fmla="*/ 658485 w 758825"/>
                  <a:gd name="connsiteY12" fmla="*/ 955692 h 1112837"/>
                  <a:gd name="connsiteX13" fmla="*/ 379263 w 758825"/>
                  <a:gd name="connsiteY13" fmla="*/ 1112837 h 1112837"/>
                  <a:gd name="connsiteX14" fmla="*/ 100341 w 758825"/>
                  <a:gd name="connsiteY14" fmla="*/ 955692 h 1112837"/>
                  <a:gd name="connsiteX15" fmla="*/ 0 w 758825"/>
                  <a:gd name="connsiteY15" fmla="*/ 554928 h 1112837"/>
                  <a:gd name="connsiteX16" fmla="*/ 100341 w 758825"/>
                  <a:gd name="connsiteY16" fmla="*/ 156847 h 1112837"/>
                  <a:gd name="connsiteX17" fmla="*/ 379263 w 758825"/>
                  <a:gd name="connsiteY17"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8825" h="1112837">
                    <a:moveTo>
                      <a:pt x="378470" y="79375"/>
                    </a:moveTo>
                    <a:cubicBezTo>
                      <a:pt x="300094" y="79375"/>
                      <a:pt x="228899" y="120546"/>
                      <a:pt x="177446" y="195429"/>
                    </a:cubicBezTo>
                    <a:cubicBezTo>
                      <a:pt x="119413" y="280455"/>
                      <a:pt x="88900" y="404564"/>
                      <a:pt x="88900" y="554927"/>
                    </a:cubicBezTo>
                    <a:cubicBezTo>
                      <a:pt x="88900" y="705886"/>
                      <a:pt x="119413" y="830890"/>
                      <a:pt x="177745" y="916513"/>
                    </a:cubicBezTo>
                    <a:cubicBezTo>
                      <a:pt x="228899" y="991993"/>
                      <a:pt x="300094" y="1033462"/>
                      <a:pt x="378470" y="1033462"/>
                    </a:cubicBezTo>
                    <a:cubicBezTo>
                      <a:pt x="456845" y="1033462"/>
                      <a:pt x="528340" y="991993"/>
                      <a:pt x="579493" y="916513"/>
                    </a:cubicBezTo>
                    <a:cubicBezTo>
                      <a:pt x="637527" y="830890"/>
                      <a:pt x="668338" y="705886"/>
                      <a:pt x="668338" y="554927"/>
                    </a:cubicBezTo>
                    <a:cubicBezTo>
                      <a:pt x="668338" y="404564"/>
                      <a:pt x="637527" y="280455"/>
                      <a:pt x="579493" y="195429"/>
                    </a:cubicBezTo>
                    <a:cubicBezTo>
                      <a:pt x="528340" y="120546"/>
                      <a:pt x="456845" y="79375"/>
                      <a:pt x="378470" y="79375"/>
                    </a:cubicBezTo>
                    <a:close/>
                    <a:moveTo>
                      <a:pt x="379263" y="0"/>
                    </a:moveTo>
                    <a:cubicBezTo>
                      <a:pt x="493938" y="0"/>
                      <a:pt x="590396" y="54270"/>
                      <a:pt x="658485" y="156847"/>
                    </a:cubicBezTo>
                    <a:cubicBezTo>
                      <a:pt x="724184" y="255845"/>
                      <a:pt x="758825" y="393608"/>
                      <a:pt x="758825" y="554928"/>
                    </a:cubicBezTo>
                    <a:cubicBezTo>
                      <a:pt x="758825" y="717738"/>
                      <a:pt x="724184" y="856396"/>
                      <a:pt x="658485" y="955692"/>
                    </a:cubicBezTo>
                    <a:cubicBezTo>
                      <a:pt x="590396" y="1058567"/>
                      <a:pt x="493938" y="1112837"/>
                      <a:pt x="379263" y="1112837"/>
                    </a:cubicBezTo>
                    <a:cubicBezTo>
                      <a:pt x="264588" y="1112837"/>
                      <a:pt x="168130" y="1058567"/>
                      <a:pt x="100341" y="955692"/>
                    </a:cubicBezTo>
                    <a:cubicBezTo>
                      <a:pt x="34641" y="856396"/>
                      <a:pt x="0" y="717738"/>
                      <a:pt x="0" y="554928"/>
                    </a:cubicBezTo>
                    <a:cubicBezTo>
                      <a:pt x="0" y="393608"/>
                      <a:pt x="34641" y="255845"/>
                      <a:pt x="100341" y="156847"/>
                    </a:cubicBezTo>
                    <a:cubicBezTo>
                      <a:pt x="168429" y="54270"/>
                      <a:pt x="264887" y="0"/>
                      <a:pt x="37926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sp>
        <p:nvSpPr>
          <p:cNvPr id="3" name="Rectangle: Rounded Corners 2">
            <a:extLst>
              <a:ext uri="{FF2B5EF4-FFF2-40B4-BE49-F238E27FC236}">
                <a16:creationId xmlns:a16="http://schemas.microsoft.com/office/drawing/2014/main" id="{CBB32042-9DA8-4772-82E8-11764D8FC6B3}"/>
              </a:ext>
            </a:extLst>
          </p:cNvPr>
          <p:cNvSpPr/>
          <p:nvPr/>
        </p:nvSpPr>
        <p:spPr>
          <a:xfrm>
            <a:off x="108514" y="306012"/>
            <a:ext cx="5623543" cy="4951212"/>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5" name="TextBox 4">
            <a:extLst>
              <a:ext uri="{FF2B5EF4-FFF2-40B4-BE49-F238E27FC236}">
                <a16:creationId xmlns:a16="http://schemas.microsoft.com/office/drawing/2014/main" id="{68DEAAEF-3C90-4CA4-9087-A6B599315DD2}"/>
              </a:ext>
            </a:extLst>
          </p:cNvPr>
          <p:cNvSpPr txBox="1"/>
          <p:nvPr/>
        </p:nvSpPr>
        <p:spPr>
          <a:xfrm>
            <a:off x="1549744" y="36985"/>
            <a:ext cx="2343590" cy="236347"/>
          </a:xfrm>
          <a:prstGeom prst="rect">
            <a:avLst/>
          </a:prstGeom>
        </p:spPr>
        <p:txBody>
          <a:bodyPr wrap="none" lIns="0" tIns="0" rIns="0" bIns="0" rtlCol="0">
            <a:spAutoFit/>
          </a:bodyPr>
          <a:lstStyle/>
          <a:p>
            <a:pPr algn="l">
              <a:lnSpc>
                <a:spcPct val="96000"/>
              </a:lnSpc>
            </a:pPr>
            <a:r>
              <a:rPr lang="en-US" sz="1600" b="1">
                <a:solidFill>
                  <a:schemeClr val="accent1"/>
                </a:solidFill>
                <a:latin typeface="Microsoft Sans Serif"/>
                <a:cs typeface="Microsoft Sans Serif" panose="020B0604020202020204" pitchFamily="34" charset="0"/>
              </a:rPr>
              <a:t>Focus of this presentation</a:t>
            </a:r>
          </a:p>
        </p:txBody>
      </p:sp>
      <p:grpSp>
        <p:nvGrpSpPr>
          <p:cNvPr id="186" name="Group 185">
            <a:extLst>
              <a:ext uri="{FF2B5EF4-FFF2-40B4-BE49-F238E27FC236}">
                <a16:creationId xmlns:a16="http://schemas.microsoft.com/office/drawing/2014/main" id="{B14160FD-FDA0-49DB-B839-8FC14B555EDB}"/>
              </a:ext>
            </a:extLst>
          </p:cNvPr>
          <p:cNvGrpSpPr/>
          <p:nvPr/>
        </p:nvGrpSpPr>
        <p:grpSpPr>
          <a:xfrm>
            <a:off x="4179402" y="4457878"/>
            <a:ext cx="412626" cy="255643"/>
            <a:chOff x="16516350" y="0"/>
            <a:chExt cx="11074400" cy="6861175"/>
          </a:xfrm>
        </p:grpSpPr>
        <p:sp>
          <p:nvSpPr>
            <p:cNvPr id="187" name="Freeform 5">
              <a:extLst>
                <a:ext uri="{FF2B5EF4-FFF2-40B4-BE49-F238E27FC236}">
                  <a16:creationId xmlns:a16="http://schemas.microsoft.com/office/drawing/2014/main" id="{94C004A3-F71C-4F2D-8B38-69972FB6C16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8" name="Freeform 6">
              <a:extLst>
                <a:ext uri="{FF2B5EF4-FFF2-40B4-BE49-F238E27FC236}">
                  <a16:creationId xmlns:a16="http://schemas.microsoft.com/office/drawing/2014/main" id="{19127074-8B36-4B83-B99C-A93A91E41EF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9" name="Freeform 7">
              <a:extLst>
                <a:ext uri="{FF2B5EF4-FFF2-40B4-BE49-F238E27FC236}">
                  <a16:creationId xmlns:a16="http://schemas.microsoft.com/office/drawing/2014/main" id="{878DD15A-7FED-44BB-A639-40ADAFA21858}"/>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0" name="Freeform 8">
              <a:extLst>
                <a:ext uri="{FF2B5EF4-FFF2-40B4-BE49-F238E27FC236}">
                  <a16:creationId xmlns:a16="http://schemas.microsoft.com/office/drawing/2014/main" id="{FAC3D4D0-8CAE-4123-A796-6697C1915D0B}"/>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91" name="Group 190">
            <a:extLst>
              <a:ext uri="{FF2B5EF4-FFF2-40B4-BE49-F238E27FC236}">
                <a16:creationId xmlns:a16="http://schemas.microsoft.com/office/drawing/2014/main" id="{DD20B6FE-8E30-49C7-976E-82492F87C560}"/>
              </a:ext>
            </a:extLst>
          </p:cNvPr>
          <p:cNvGrpSpPr/>
          <p:nvPr/>
        </p:nvGrpSpPr>
        <p:grpSpPr>
          <a:xfrm>
            <a:off x="3479169" y="3207003"/>
            <a:ext cx="249989" cy="354658"/>
            <a:chOff x="6911903" y="1228430"/>
            <a:chExt cx="618756" cy="877824"/>
          </a:xfrm>
        </p:grpSpPr>
        <p:sp>
          <p:nvSpPr>
            <p:cNvPr id="192" name="Freeform 25">
              <a:extLst>
                <a:ext uri="{FF2B5EF4-FFF2-40B4-BE49-F238E27FC236}">
                  <a16:creationId xmlns:a16="http://schemas.microsoft.com/office/drawing/2014/main" id="{012190DA-3B95-4BF5-BB36-58B5D91094EA}"/>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3" name="Oval 26">
              <a:extLst>
                <a:ext uri="{FF2B5EF4-FFF2-40B4-BE49-F238E27FC236}">
                  <a16:creationId xmlns:a16="http://schemas.microsoft.com/office/drawing/2014/main" id="{FA52EE95-BC5C-4F4F-8E6B-AF4937293225}"/>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4" name="Oval 27">
              <a:extLst>
                <a:ext uri="{FF2B5EF4-FFF2-40B4-BE49-F238E27FC236}">
                  <a16:creationId xmlns:a16="http://schemas.microsoft.com/office/drawing/2014/main" id="{7F872D01-15C0-4B12-98CF-1EB0AD93FE7C}"/>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5" name="Freeform 28">
              <a:extLst>
                <a:ext uri="{FF2B5EF4-FFF2-40B4-BE49-F238E27FC236}">
                  <a16:creationId xmlns:a16="http://schemas.microsoft.com/office/drawing/2014/main" id="{7C7E6438-0ACC-4393-8DA5-2FF9ACD01FF4}"/>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96" name="TextBox 195">
            <a:extLst>
              <a:ext uri="{FF2B5EF4-FFF2-40B4-BE49-F238E27FC236}">
                <a16:creationId xmlns:a16="http://schemas.microsoft.com/office/drawing/2014/main" id="{160F8C32-773D-4AA8-B96C-DA00B76B2597}"/>
              </a:ext>
            </a:extLst>
          </p:cNvPr>
          <p:cNvSpPr txBox="1"/>
          <p:nvPr/>
        </p:nvSpPr>
        <p:spPr>
          <a:xfrm>
            <a:off x="6417284" y="1067339"/>
            <a:ext cx="6098958"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Operator spectrum (</a:t>
            </a:r>
            <a:r>
              <a:rPr lang="en-US" sz="1600" b="1">
                <a:solidFill>
                  <a:schemeClr val="accent1"/>
                </a:solidFill>
                <a:latin typeface="Qualcomm Office Regular" panose="020B0503030202060203" pitchFamily="34" charset="0"/>
                <a:cs typeface="Microsoft Sans Serif" panose="020B0604020202020204" pitchFamily="34" charset="0"/>
              </a:rPr>
              <a:t>IMT</a:t>
            </a:r>
            <a:r>
              <a:rPr lang="en-US" sz="1600">
                <a:solidFill>
                  <a:schemeClr val="accent5"/>
                </a:solidFill>
                <a:latin typeface="Qualcomm Office Regular" panose="020B0503030202060203" pitchFamily="34" charset="0"/>
                <a:cs typeface="Microsoft Sans Serif" panose="020B0604020202020204" pitchFamily="34" charset="0"/>
              </a:rPr>
              <a: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Integration with </a:t>
            </a:r>
            <a:r>
              <a:rPr lang="en-US" sz="1600" b="1">
                <a:solidFill>
                  <a:schemeClr val="accent1"/>
                </a:solidFill>
                <a:latin typeface="Qualcomm Office Regular" panose="020B0503030202060203" pitchFamily="34" charset="0"/>
                <a:cs typeface="Microsoft Sans Serif" panose="020B0604020202020204" pitchFamily="34" charset="0"/>
              </a:rPr>
              <a:t>unicast</a:t>
            </a:r>
            <a:r>
              <a:rPr lang="en-US" sz="1600">
                <a:solidFill>
                  <a:schemeClr val="accent5"/>
                </a:solidFill>
                <a:latin typeface="Qualcomm Office Regular" panose="020B0503030202060203" pitchFamily="34" charset="0"/>
                <a:cs typeface="Microsoft Sans Serif" panose="020B0604020202020204" pitchFamily="34" charset="0"/>
              </a:rPr>
              <a:t> network</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Efficient delivery of multicast/broadcast traffic (vs unicas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Reuse of cellular infrastructure (</a:t>
            </a:r>
            <a:r>
              <a:rPr lang="en-US" sz="1600" b="1">
                <a:solidFill>
                  <a:schemeClr val="accent1"/>
                </a:solidFill>
                <a:latin typeface="Qualcomm Office Regular" panose="020B0503030202060203" pitchFamily="34" charset="0"/>
                <a:cs typeface="Microsoft Sans Serif" panose="020B0604020202020204" pitchFamily="34" charset="0"/>
              </a:rPr>
              <a:t>low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198" name="TextBox 197">
            <a:extLst>
              <a:ext uri="{FF2B5EF4-FFF2-40B4-BE49-F238E27FC236}">
                <a16:creationId xmlns:a16="http://schemas.microsoft.com/office/drawing/2014/main" id="{BC51BF04-A9A8-40B7-B103-04B59E02D051}"/>
              </a:ext>
            </a:extLst>
          </p:cNvPr>
          <p:cNvSpPr txBox="1"/>
          <p:nvPr/>
        </p:nvSpPr>
        <p:spPr>
          <a:xfrm>
            <a:off x="293349" y="1139888"/>
            <a:ext cx="6258756"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Broadcast spectrum (e.g. </a:t>
            </a:r>
            <a:r>
              <a:rPr lang="en-US" sz="1600" b="1">
                <a:solidFill>
                  <a:schemeClr val="accent1"/>
                </a:solidFill>
                <a:latin typeface="Qualcomm Office Regular" panose="020B0503030202060203" pitchFamily="34" charset="0"/>
                <a:cs typeface="Microsoft Sans Serif" panose="020B0604020202020204" pitchFamily="34" charset="0"/>
              </a:rPr>
              <a:t>UHF</a:t>
            </a:r>
            <a:r>
              <a:rPr lang="en-US" sz="1600">
                <a:solidFill>
                  <a:schemeClr val="accent5"/>
                </a:solidFill>
                <a:latin typeface="Qualcomm Office Regular" panose="020B0503030202060203" pitchFamily="34" charset="0"/>
                <a:cs typeface="Microsoft Sans Serif" panose="020B0604020202020204" pitchFamily="34" charset="0"/>
              </a:rPr>
              <a:t>) </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No unicast. </a:t>
            </a:r>
            <a:r>
              <a:rPr lang="en-US" sz="1600" b="1">
                <a:solidFill>
                  <a:schemeClr val="accent1"/>
                </a:solidFill>
                <a:latin typeface="Qualcomm Office Regular" panose="020B0503030202060203" pitchFamily="34" charset="0"/>
                <a:cs typeface="Microsoft Sans Serif" panose="020B0604020202020204" pitchFamily="34" charset="0"/>
              </a:rPr>
              <a:t>Downlink – only </a:t>
            </a:r>
            <a:r>
              <a:rPr lang="en-US" sz="1600">
                <a:solidFill>
                  <a:schemeClr val="accent5"/>
                </a:solidFill>
                <a:latin typeface="Qualcomm Office Regular" panose="020B0503030202060203" pitchFamily="34" charset="0"/>
                <a:cs typeface="Microsoft Sans Serif" panose="020B0604020202020204" pitchFamily="34" charset="0"/>
              </a:rPr>
              <a:t>traffic.</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livery of linear content (e.g. TV) or IP file delivery</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dicated broadcast infrastructure (can be </a:t>
            </a:r>
            <a:r>
              <a:rPr lang="en-US" sz="1600" b="1">
                <a:solidFill>
                  <a:schemeClr val="accent1"/>
                </a:solidFill>
                <a:latin typeface="Qualcomm Office Regular" panose="020B0503030202060203" pitchFamily="34" charset="0"/>
                <a:cs typeface="Microsoft Sans Serif" panose="020B0604020202020204" pitchFamily="34" charset="0"/>
              </a:rPr>
              <a:t>high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2" name="Footer Placeholder 1">
            <a:extLst>
              <a:ext uri="{FF2B5EF4-FFF2-40B4-BE49-F238E27FC236}">
                <a16:creationId xmlns:a16="http://schemas.microsoft.com/office/drawing/2014/main" id="{84C88B58-04A8-E263-D761-9D10BA72DA63}"/>
              </a:ext>
            </a:extLst>
          </p:cNvPr>
          <p:cNvSpPr>
            <a:spLocks noGrp="1"/>
          </p:cNvSpPr>
          <p:nvPr>
            <p:ph type="ftr" sz="quarter" idx="10"/>
          </p:nvPr>
        </p:nvSpPr>
        <p:spPr/>
        <p:txBody>
          <a:bodyPr/>
          <a:lstStyle/>
          <a:p>
            <a:r>
              <a:rPr lang="en-US"/>
              <a:t>IBC 2023</a:t>
            </a:r>
          </a:p>
        </p:txBody>
      </p:sp>
    </p:spTree>
    <p:extLst>
      <p:ext uri="{BB962C8B-B14F-4D97-AF65-F5344CB8AC3E}">
        <p14:creationId xmlns:p14="http://schemas.microsoft.com/office/powerpoint/2010/main" val="42588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65125"/>
            <a:ext cx="11187112" cy="439479"/>
          </a:xfrm>
        </p:spPr>
        <p:txBody>
          <a:bodyPr/>
          <a:lstStyle/>
          <a:p>
            <a:r>
              <a:rPr lang="en-US" spc="-151"/>
              <a:t>General technology introduction</a:t>
            </a:r>
            <a:endParaRPr lang="en-US"/>
          </a:p>
        </p:txBody>
      </p:sp>
      <p:sp>
        <p:nvSpPr>
          <p:cNvPr id="3" name="Content Placeholder 2">
            <a:extLst>
              <a:ext uri="{FF2B5EF4-FFF2-40B4-BE49-F238E27FC236}">
                <a16:creationId xmlns:a16="http://schemas.microsoft.com/office/drawing/2014/main" id="{9EC1CCEB-3125-433C-AAF7-F7487D795A9E}"/>
              </a:ext>
            </a:extLst>
          </p:cNvPr>
          <p:cNvSpPr>
            <a:spLocks noGrp="1"/>
          </p:cNvSpPr>
          <p:nvPr>
            <p:ph sz="quarter" idx="14"/>
          </p:nvPr>
        </p:nvSpPr>
        <p:spPr>
          <a:xfrm>
            <a:off x="495300" y="1719072"/>
            <a:ext cx="11187112" cy="4681727"/>
          </a:xfrm>
        </p:spPr>
        <p:txBody>
          <a:bodyPr/>
          <a:lstStyle/>
          <a:p>
            <a:r>
              <a:rPr lang="en-US" sz="2000" dirty="0"/>
              <a:t>“5G broadcast” is a broadcasting standard defined by 3GPP (Release 16 - 2020)</a:t>
            </a:r>
          </a:p>
          <a:p>
            <a:pPr lvl="1"/>
            <a:r>
              <a:rPr lang="en-US" dirty="0"/>
              <a:t>3GPP is the industry group responsible for defining global cellular tech standards (e.g. 4G / 5G)</a:t>
            </a:r>
          </a:p>
          <a:p>
            <a:pPr lvl="1"/>
            <a:r>
              <a:rPr lang="en-US" dirty="0"/>
              <a:t>In the last few years 3GPP has expanded to new </a:t>
            </a:r>
            <a:r>
              <a:rPr lang="en-US" i="1" dirty="0"/>
              <a:t>verticals</a:t>
            </a:r>
            <a:r>
              <a:rPr lang="en-US" dirty="0"/>
              <a:t> (e.g. broadcast, automotive, satellite, etc.) hence it should not be regarded as a surprise that a broadcasting tech is coming out of 3GPP</a:t>
            </a:r>
          </a:p>
          <a:p>
            <a:pPr lvl="1"/>
            <a:endParaRPr lang="en-US" dirty="0"/>
          </a:p>
          <a:p>
            <a:r>
              <a:rPr lang="en-US" sz="2000" dirty="0"/>
              <a:t>Even though 5G Broadcast has been standardized by 3GPP, </a:t>
            </a:r>
            <a:r>
              <a:rPr lang="en-US" sz="2000" b="1" u="sng" dirty="0"/>
              <a:t>it is a broadcasting technology</a:t>
            </a:r>
          </a:p>
          <a:p>
            <a:pPr lvl="1"/>
            <a:r>
              <a:rPr lang="en-US" dirty="0"/>
              <a:t>I.e. meant to be used by broadcasting operators, in broadcasting spectrum</a:t>
            </a:r>
          </a:p>
          <a:p>
            <a:pPr lvl="1"/>
            <a:r>
              <a:rPr lang="en-US" dirty="0"/>
              <a:t>No need of supporting a unicast network. 5G Broadcast does not have anything to do with unicast</a:t>
            </a:r>
          </a:p>
          <a:p>
            <a:pPr lvl="1"/>
            <a:endParaRPr lang="en-US" dirty="0"/>
          </a:p>
          <a:p>
            <a:r>
              <a:rPr lang="en-US" sz="2000" dirty="0"/>
              <a:t>The main design target &amp; “reason for being” of 5G broadcast is to enable operation of a broadcast network where the receivers are </a:t>
            </a:r>
            <a:r>
              <a:rPr lang="en-US" sz="2000" dirty="0">
                <a:solidFill>
                  <a:schemeClr val="bg2"/>
                </a:solidFill>
              </a:rPr>
              <a:t>hardware-compatible</a:t>
            </a:r>
            <a:r>
              <a:rPr lang="en-US" sz="2000" dirty="0">
                <a:solidFill>
                  <a:srgbClr val="FF0000"/>
                </a:solidFill>
              </a:rPr>
              <a:t> </a:t>
            </a:r>
            <a:r>
              <a:rPr lang="en-US" sz="2000" dirty="0"/>
              <a:t>with cellular modems</a:t>
            </a:r>
          </a:p>
          <a:p>
            <a:pPr lvl="1"/>
            <a:r>
              <a:rPr lang="en-US" dirty="0"/>
              <a:t>“Hardware compatible” means lower barrier to adoption in mobile devices compared to other broadcasting technologies</a:t>
            </a:r>
          </a:p>
          <a:p>
            <a:pPr lvl="2"/>
            <a:r>
              <a:rPr lang="en-US" sz="1400" dirty="0"/>
              <a:t>This is because several 5G Broadcast building blocks are already there in a 4G/5G modem, hence the additions are marginal. </a:t>
            </a:r>
          </a:p>
          <a:p>
            <a:pPr lvl="2"/>
            <a:r>
              <a:rPr lang="en-US" sz="1400" dirty="0"/>
              <a:t>For other technologies, a separate piece of silicon / die area would be required</a:t>
            </a:r>
          </a:p>
          <a:p>
            <a:pPr lvl="1"/>
            <a:r>
              <a:rPr lang="en-US" dirty="0"/>
              <a:t>To be clear, 5G Broadcast has nothing to do with “cellular operators trying to take over from broadcasters”</a:t>
            </a:r>
            <a:endParaRPr lang="en-US" sz="1400" dirty="0"/>
          </a:p>
        </p:txBody>
      </p:sp>
      <p:sp>
        <p:nvSpPr>
          <p:cNvPr id="5" name="Subtitle 4">
            <a:extLst>
              <a:ext uri="{FF2B5EF4-FFF2-40B4-BE49-F238E27FC236}">
                <a16:creationId xmlns:a16="http://schemas.microsoft.com/office/drawing/2014/main" id="{A562B7B8-CF1C-28E3-6C25-8A2EC2B992A8}"/>
              </a:ext>
            </a:extLst>
          </p:cNvPr>
          <p:cNvSpPr>
            <a:spLocks noGrp="1"/>
          </p:cNvSpPr>
          <p:nvPr>
            <p:ph type="subTitle" idx="1"/>
          </p:nvPr>
        </p:nvSpPr>
        <p:spPr>
          <a:xfrm>
            <a:off x="494189" y="1088135"/>
            <a:ext cx="11188223" cy="265907"/>
          </a:xfrm>
        </p:spPr>
        <p:txBody>
          <a:bodyPr/>
          <a:lstStyle/>
          <a:p>
            <a:r>
              <a:rPr lang="en-US"/>
              <a:t>5G broadcast and 3GPP</a:t>
            </a:r>
          </a:p>
        </p:txBody>
      </p:sp>
      <p:sp>
        <p:nvSpPr>
          <p:cNvPr id="4" name="Footer Placeholder 3">
            <a:extLst>
              <a:ext uri="{FF2B5EF4-FFF2-40B4-BE49-F238E27FC236}">
                <a16:creationId xmlns:a16="http://schemas.microsoft.com/office/drawing/2014/main" id="{57B7E9C5-7389-C4B2-EFDA-D494EADC1E5B}"/>
              </a:ext>
            </a:extLst>
          </p:cNvPr>
          <p:cNvSpPr>
            <a:spLocks noGrp="1"/>
          </p:cNvSpPr>
          <p:nvPr>
            <p:ph type="ftr" sz="quarter" idx="10"/>
          </p:nvPr>
        </p:nvSpPr>
        <p:spPr/>
        <p:txBody>
          <a:bodyPr/>
          <a:lstStyle/>
          <a:p>
            <a:r>
              <a:rPr lang="en-US"/>
              <a:t>IBC 2023</a:t>
            </a:r>
            <a:endParaRPr lang="en-US" dirty="0"/>
          </a:p>
        </p:txBody>
      </p:sp>
    </p:spTree>
    <p:extLst>
      <p:ext uri="{BB962C8B-B14F-4D97-AF65-F5344CB8AC3E}">
        <p14:creationId xmlns:p14="http://schemas.microsoft.com/office/powerpoint/2010/main" val="171462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ags/tag2.xml><?xml version="1.0" encoding="utf-8"?>
<p:tagLst xmlns:a="http://schemas.openxmlformats.org/drawingml/2006/main" xmlns:r="http://schemas.openxmlformats.org/officeDocument/2006/relationships" xmlns:p="http://schemas.openxmlformats.org/presentationml/2006/main">
  <p:tag name="TIMING" val="|6.4|15.7|17.6"/>
</p:tagLst>
</file>

<file path=ppt/tags/tag3.xml><?xml version="1.0" encoding="utf-8"?>
<p:tagLst xmlns:a="http://schemas.openxmlformats.org/drawingml/2006/main" xmlns:r="http://schemas.openxmlformats.org/officeDocument/2006/relationships" xmlns:p="http://schemas.openxmlformats.org/presentationml/2006/main">
  <p:tag name="RS_CLASSIFICATIONID" val="2"/>
  <p:tag name="RS_CLASSIFICATION" val="COMPANY CONFIDENTIAL"/>
</p:tagLst>
</file>

<file path=ppt/tags/tag4.xml><?xml version="1.0" encoding="utf-8"?>
<p:tagLst xmlns:a="http://schemas.openxmlformats.org/drawingml/2006/main" xmlns:r="http://schemas.openxmlformats.org/officeDocument/2006/relationships" xmlns:p="http://schemas.openxmlformats.org/presentationml/2006/main">
  <p:tag name="RS_CLASSIFICATIONID" val="0"/>
  <p:tag name="RS_CLASSIFICATION" val="UNRESTRICTED"/>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pptx" id="{4CC383AF-9C1E-4258-AF22-EB5EECC8D6DB}" vid="{B83B365D-47B1-4B29-B06C-D091944C9870}"/>
    </a:ext>
  </a:extLst>
</a:theme>
</file>

<file path=ppt/theme/theme10.xml><?xml version="1.0" encoding="utf-8"?>
<a:theme xmlns:a="http://schemas.openxmlformats.org/drawingml/2006/main" name="2_Qualcomm Corporat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3" id="{1B5A7F5E-1054-4FAF-9A1E-513063606D04}" vid="{B2AD1865-2F03-485F-8372-4FE4ABCE9C1E}"/>
    </a:ext>
  </a:extLst>
</a:theme>
</file>

<file path=ppt/theme/theme11.xml><?xml version="1.0" encoding="utf-8"?>
<a:theme xmlns:a="http://schemas.openxmlformats.org/drawingml/2006/main" name="12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12.xml><?xml version="1.0" encoding="utf-8"?>
<a:theme xmlns:a="http://schemas.openxmlformats.org/drawingml/2006/main" name="3_Qualcomm Corporate 16X9 Simplified">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4C22F2E4-C790-46B9-BC12-8047252F9C90}" vid="{80F76977-2754-43F7-BADD-C7B9047CB281}"/>
    </a:ext>
  </a:extLst>
</a:theme>
</file>

<file path=ppt/theme/theme13.xml><?xml version="1.0" encoding="utf-8"?>
<a:theme xmlns:a="http://schemas.openxmlformats.org/drawingml/2006/main" name="13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14.xml><?xml version="1.0" encoding="utf-8"?>
<a:theme xmlns:a="http://schemas.openxmlformats.org/drawingml/2006/main" name="14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15.xml><?xml version="1.0" encoding="utf-8"?>
<a:theme xmlns:a="http://schemas.openxmlformats.org/drawingml/2006/main" name="Qualcomm Corporate Confidential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SIMPLIFIED_Qualcomm_Corporate_Confidential_Template-May2022_v05.pptx" id="{EF405156-F952-4019-A835-55916C45E21F}" vid="{513AEE75-FBD9-4D23-BE5F-D0C023114B7A}"/>
    </a:ext>
  </a:extLst>
</a:theme>
</file>

<file path=ppt/theme/theme16.xml><?xml version="1.0" encoding="utf-8"?>
<a:theme xmlns:a="http://schemas.openxmlformats.org/drawingml/2006/main" name="1_Qualcomm Corporate Confidential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SIMPLIFIED_Qualcomm_Corporate_Confidential_Template-May2022_v05.pptx" id="{EF405156-F952-4019-A835-55916C45E21F}" vid="{513AEE75-FBD9-4D23-BE5F-D0C023114B7A}"/>
    </a:ext>
  </a:extLst>
</a:theme>
</file>

<file path=ppt/theme/theme17.xml><?xml version="1.0" encoding="utf-8"?>
<a:theme xmlns:a="http://schemas.openxmlformats.org/drawingml/2006/main" name="Qualcomm Executive External_March2021">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4" id="{20670063-6D46-F647-8A0C-4E9CEDCADF87}" vid="{85022A61-E813-134A-8EAF-2F1B9BEC2518}"/>
    </a:ext>
  </a:extLst>
</a:theme>
</file>

<file path=ppt/theme/theme18.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E634FF34-9700-45D6-B72A-74CEED7A3875}" vid="{07B1864F-EB64-4766-8D93-9CD94F27A63E}"/>
    </a:ext>
  </a:extLst>
</a:theme>
</file>

<file path=ppt/theme/theme3.xml><?xml version="1.0" encoding="utf-8"?>
<a:theme xmlns:a="http://schemas.openxmlformats.org/drawingml/2006/main" name="Qualcomm Corporat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3" id="{1B5A7F5E-1054-4FAF-9A1E-513063606D04}" vid="{B2AD1865-2F03-485F-8372-4FE4ABCE9C1E}"/>
    </a:ext>
  </a:extLst>
</a:theme>
</file>

<file path=ppt/theme/theme4.xml><?xml version="1.0" encoding="utf-8"?>
<a:theme xmlns:a="http://schemas.openxmlformats.org/drawingml/2006/main" name="15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0" tIns="0" rIns="0" bIns="0" rtlCol="0">
        <a:spAutoFit/>
      </a:bodyPr>
      <a:lstStyle>
        <a:defPPr algn="l">
          <a:lnSpc>
            <a:spcPct val="95000"/>
          </a:lnSpc>
          <a:spcBef>
            <a:spcPts val="1200"/>
          </a:spcBef>
          <a:defRPr sz="1600"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Qualcomm_16x9_Corporate_External_Template_06.04.2018_D" id="{A634B24F-C7ED-423C-844E-1859CC2AB32E}" vid="{66E6A5C8-91A6-4DD3-9BD9-B21A51D27381}"/>
    </a:ext>
  </a:extLst>
</a:theme>
</file>

<file path=ppt/theme/theme5.xml><?xml version="1.0" encoding="utf-8"?>
<a:theme xmlns:a="http://schemas.openxmlformats.org/drawingml/2006/main" name="2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6.xml><?xml version="1.0" encoding="utf-8"?>
<a:theme xmlns:a="http://schemas.openxmlformats.org/drawingml/2006/main" name="8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5" id="{4AD6EDE2-E9C0-3847-9F6E-063E3DB4D081}" vid="{873D8D08-C910-E349-A8D8-4F9BC24DC922}"/>
    </a:ext>
  </a:extLst>
</a:theme>
</file>

<file path=ppt/theme/theme7.xml><?xml version="1.0" encoding="utf-8"?>
<a:theme xmlns:a="http://schemas.openxmlformats.org/drawingml/2006/main" name="10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5" id="{4AD6EDE2-E9C0-3847-9F6E-063E3DB4D081}" vid="{873D8D08-C910-E349-A8D8-4F9BC24DC922}"/>
    </a:ext>
  </a:extLst>
</a:theme>
</file>

<file path=ppt/theme/theme8.xml><?xml version="1.0" encoding="utf-8"?>
<a:theme xmlns:a="http://schemas.openxmlformats.org/drawingml/2006/main" name="1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NEXT">
      <a:majorFont>
        <a:latin typeface="Qualcomm Next"/>
        <a:ea typeface=""/>
        <a:cs typeface=""/>
      </a:majorFont>
      <a:minorFont>
        <a:latin typeface="Qualcomm N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CF476125-C098-4B7A-B0D4-6ED0876C1CEA}" vid="{D65BB01D-0084-4EB7-91BF-6C50C1726CDC}"/>
    </a:ext>
  </a:extLst>
</a:theme>
</file>

<file path=ppt/theme/theme9.xml><?xml version="1.0" encoding="utf-8"?>
<a:theme xmlns:a="http://schemas.openxmlformats.org/drawingml/2006/main" name="3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pptx" id="{4CC383AF-9C1E-4258-AF22-EB5EECC8D6DB}" vid="{B83B365D-47B1-4B29-B06C-D091944C987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837C5C26E127740843D49FFC8DCD408" ma:contentTypeVersion="18" ma:contentTypeDescription="Create a new document." ma:contentTypeScope="" ma:versionID="6a5eba832d15e16467e2e93563718a15">
  <xsd:schema xmlns:xsd="http://www.w3.org/2001/XMLSchema" xmlns:xs="http://www.w3.org/2001/XMLSchema" xmlns:p="http://schemas.microsoft.com/office/2006/metadata/properties" xmlns:ns2="53ecf17a-635f-4af8-b09d-798f247db59d" xmlns:ns3="167b7f1a-5ed3-4d0b-9ec1-efdd6f7810e2" targetNamespace="http://schemas.microsoft.com/office/2006/metadata/properties" ma:root="true" ma:fieldsID="2ce8d383c8cdb3319aab47c13be047dd" ns2:_="" ns3:_="">
    <xsd:import namespace="53ecf17a-635f-4af8-b09d-798f247db59d"/>
    <xsd:import namespace="167b7f1a-5ed3-4d0b-9ec1-efdd6f7810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PresentationDate" minOccurs="0"/>
                <xsd:element ref="ns2:Presenter" minOccurs="0"/>
                <xsd:element ref="ns2:Topic"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2:Not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ecf17a-635f-4af8-b09d-798f247db5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PresentationDate" ma:index="11" nillable="true" ma:displayName="Presentation Date" ma:format="DateOnly" ma:internalName="PresentationDate">
      <xsd:simpleType>
        <xsd:restriction base="dms:DateTime"/>
      </xsd:simpleType>
    </xsd:element>
    <xsd:element name="Presenter" ma:index="12" nillable="true" ma:displayName="Presenter" ma:format="Dropdown" ma:list="UserInfo" ma:SharePointGroup="0" ma:internalName="Presen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opic" ma:index="13" nillable="true" ma:displayName="Topic" ma:format="Dropdown" ma:internalName="Topic">
      <xsd:simpleType>
        <xsd:restriction base="dms:Text">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b6025a7-9da5-4e5d-b8eb-1a04d9b2f68c" ma:termSetId="09814cd3-568e-fe90-9814-8d621ff8fb84" ma:anchorId="fba54fb3-c3e1-fe81-a776-ca4b69148c4d" ma:open="true" ma:isKeyword="false">
      <xsd:complexType>
        <xsd:sequence>
          <xsd:element ref="pc:Terms" minOccurs="0" maxOccurs="1"/>
        </xsd:sequence>
      </xsd:complex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Notes" ma:index="24" nillable="true" ma:displayName="Notes" ma:format="Dropdown" ma:internalName="Notes">
      <xsd:simpleType>
        <xsd:restriction base="dms:Text">
          <xsd:maxLength value="255"/>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7b7f1a-5ed3-4d0b-9ec1-efdd6f7810e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cce865dd-a8d9-42df-a6bb-63df58a56386}" ma:internalName="TaxCatchAll" ma:showField="CatchAllData" ma:web="167b7f1a-5ed3-4d0b-9ec1-efdd6f7810e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resenter xmlns="53ecf17a-635f-4af8-b09d-798f247db59d">
      <UserInfo>
        <DisplayName/>
        <AccountId xsi:nil="true"/>
        <AccountType/>
      </UserInfo>
    </Presenter>
    <TaxCatchAll xmlns="167b7f1a-5ed3-4d0b-9ec1-efdd6f7810e2" xsi:nil="true"/>
    <PresentationDate xmlns="53ecf17a-635f-4af8-b09d-798f247db59d" xsi:nil="true"/>
    <Topic xmlns="53ecf17a-635f-4af8-b09d-798f247db59d" xsi:nil="true"/>
    <lcf76f155ced4ddcb4097134ff3c332f xmlns="53ecf17a-635f-4af8-b09d-798f247db59d">
      <Terms xmlns="http://schemas.microsoft.com/office/infopath/2007/PartnerControls"/>
    </lcf76f155ced4ddcb4097134ff3c332f>
    <Notes xmlns="53ecf17a-635f-4af8-b09d-798f247db59d" xsi:nil="true"/>
  </documentManagement>
</p:properties>
</file>

<file path=customXml/itemProps1.xml><?xml version="1.0" encoding="utf-8"?>
<ds:datastoreItem xmlns:ds="http://schemas.openxmlformats.org/officeDocument/2006/customXml" ds:itemID="{AB11EB98-7DBE-4D18-9685-48EAA2FE244E}">
  <ds:schemaRefs>
    <ds:schemaRef ds:uri="http://schemas.microsoft.com/sharepoint/v3/contenttype/forms"/>
  </ds:schemaRefs>
</ds:datastoreItem>
</file>

<file path=customXml/itemProps2.xml><?xml version="1.0" encoding="utf-8"?>
<ds:datastoreItem xmlns:ds="http://schemas.openxmlformats.org/officeDocument/2006/customXml" ds:itemID="{C9A734D1-B9EB-4478-A586-B08131D7FE12}">
  <ds:schemaRefs>
    <ds:schemaRef ds:uri="167b7f1a-5ed3-4d0b-9ec1-efdd6f7810e2"/>
    <ds:schemaRef ds:uri="53ecf17a-635f-4af8-b09d-798f247db5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1B6FF4-83B8-4F8E-87C3-6B49573D2A4F}">
  <ds:schemaRefs>
    <ds:schemaRef ds:uri="167b7f1a-5ed3-4d0b-9ec1-efdd6f7810e2"/>
    <ds:schemaRef ds:uri="53ecf17a-635f-4af8-b09d-798f247db5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otalTime>9585</TotalTime>
  <Words>6982</Words>
  <Application>Microsoft Office PowerPoint</Application>
  <PresentationFormat>Widescreen</PresentationFormat>
  <Paragraphs>1091</Paragraphs>
  <Slides>70</Slides>
  <Notes>13</Notes>
  <HiddenSlides>1</HiddenSlides>
  <MMClips>1</MMClips>
  <ScaleCrop>false</ScaleCrop>
  <HeadingPairs>
    <vt:vector size="8" baseType="variant">
      <vt:variant>
        <vt:lpstr>Fonts Used</vt:lpstr>
      </vt:variant>
      <vt:variant>
        <vt:i4>19</vt:i4>
      </vt:variant>
      <vt:variant>
        <vt:lpstr>Theme</vt:lpstr>
      </vt:variant>
      <vt:variant>
        <vt:i4>17</vt:i4>
      </vt:variant>
      <vt:variant>
        <vt:lpstr>Embedded OLE Servers</vt:lpstr>
      </vt:variant>
      <vt:variant>
        <vt:i4>1</vt:i4>
      </vt:variant>
      <vt:variant>
        <vt:lpstr>Slide Titles</vt:lpstr>
      </vt:variant>
      <vt:variant>
        <vt:i4>70</vt:i4>
      </vt:variant>
    </vt:vector>
  </HeadingPairs>
  <TitlesOfParts>
    <vt:vector size="107" baseType="lpstr">
      <vt:lpstr>-apple-system</vt:lpstr>
      <vt:lpstr>Arial</vt:lpstr>
      <vt:lpstr>Calibri</vt:lpstr>
      <vt:lpstr>Cambria Math</vt:lpstr>
      <vt:lpstr>Century Gothic</vt:lpstr>
      <vt:lpstr>Linotype Univers Condensed</vt:lpstr>
      <vt:lpstr>Microsoft Sans Serif</vt:lpstr>
      <vt:lpstr>Poppins</vt:lpstr>
      <vt:lpstr>Poppins ExtraLight</vt:lpstr>
      <vt:lpstr>Poppins SemiBold</vt:lpstr>
      <vt:lpstr>Qualcomm Next</vt:lpstr>
      <vt:lpstr>Qualcomm Next Medium</vt:lpstr>
      <vt:lpstr>Qualcomm Next Thin</vt:lpstr>
      <vt:lpstr>Qualcomm Office Regular</vt:lpstr>
      <vt:lpstr>Qualcomm Regular</vt:lpstr>
      <vt:lpstr>Tahoma</vt:lpstr>
      <vt:lpstr>Times</vt:lpstr>
      <vt:lpstr>Trebuchet MS</vt:lpstr>
      <vt:lpstr>Wingdings</vt:lpstr>
      <vt:lpstr>Qualcomm</vt:lpstr>
      <vt:lpstr>2_Qualcomm Executive External</vt:lpstr>
      <vt:lpstr>Qualcomm Corporate External</vt:lpstr>
      <vt:lpstr>15_Qualcomm</vt:lpstr>
      <vt:lpstr>2_Qualcomm</vt:lpstr>
      <vt:lpstr>8_Qualcomm Executive External</vt:lpstr>
      <vt:lpstr>10_Qualcomm Executive External</vt:lpstr>
      <vt:lpstr>11_Qualcomm Executive External</vt:lpstr>
      <vt:lpstr>3_Qualcomm</vt:lpstr>
      <vt:lpstr>2_Qualcomm Corporate External</vt:lpstr>
      <vt:lpstr>12_Qualcomm Executive External</vt:lpstr>
      <vt:lpstr>3_Qualcomm Corporate 16X9 Simplified</vt:lpstr>
      <vt:lpstr>13_Qualcomm Executive External</vt:lpstr>
      <vt:lpstr>14_Qualcomm Executive External</vt:lpstr>
      <vt:lpstr>Qualcomm Corporate Confidential Template - May2022</vt:lpstr>
      <vt:lpstr>1_Qualcomm Corporate Confidential Template - May2022</vt:lpstr>
      <vt:lpstr>Qualcomm Executive External_March2021</vt:lpstr>
      <vt:lpstr>Visio</vt:lpstr>
      <vt:lpstr>5G Broadcast –Technologies, Standards and Productization</vt:lpstr>
      <vt:lpstr>PowerPoint Presentation</vt:lpstr>
      <vt:lpstr>Taking a system approach to technology innovations</vt:lpstr>
      <vt:lpstr>5G Broadcast – Future TV+ for everyone</vt:lpstr>
      <vt:lpstr>PowerPoint Presentation</vt:lpstr>
      <vt:lpstr>What is 5G Broadcast?  And what not?</vt:lpstr>
      <vt:lpstr>Challenges for Broadcasters: Devices, Formats, Users</vt:lpstr>
      <vt:lpstr>5G defines two modes of broadcast communication</vt:lpstr>
      <vt:lpstr>General technology introduction</vt:lpstr>
      <vt:lpstr>5G Broadcast – Core Features for multiple use cases</vt:lpstr>
      <vt:lpstr>PowerPoint Presentation</vt:lpstr>
      <vt:lpstr>5G Broadcast at IBC 2023</vt:lpstr>
      <vt:lpstr>Standardization</vt:lpstr>
      <vt:lpstr>PowerPoint Presentation</vt:lpstr>
      <vt:lpstr>5G Broadcast Standards Evolution</vt:lpstr>
      <vt:lpstr>Latest Updates</vt:lpstr>
      <vt:lpstr>Technologies and Trials</vt:lpstr>
      <vt:lpstr>Proof of concept in 2022:</vt:lpstr>
      <vt:lpstr>PowerPoint Presentation</vt:lpstr>
      <vt:lpstr>PowerPoint Presentation</vt:lpstr>
      <vt:lpstr>Qualcomm devices</vt:lpstr>
      <vt:lpstr>APIs – Test and commercial devices</vt:lpstr>
      <vt:lpstr>Android APIs</vt:lpstr>
      <vt:lpstr>QRD use in initial trials</vt:lpstr>
      <vt:lpstr>Eurovision Song contest</vt:lpstr>
      <vt:lpstr>MWC 23</vt:lpstr>
      <vt:lpstr>Other demos / trials</vt:lpstr>
      <vt:lpstr>Technology Evolution</vt:lpstr>
      <vt:lpstr>MBMS/LTE eMBMS/5G broadcast History</vt:lpstr>
      <vt:lpstr>5G Broadcast: the technology</vt:lpstr>
      <vt:lpstr>RAN: MBMS  5G Broadcast Evolution</vt:lpstr>
      <vt:lpstr>Performance Comparison 5G Broadcast vs. an unconstrained system</vt:lpstr>
      <vt:lpstr>Summary of potentially identified differences</vt:lpstr>
      <vt:lpstr>Simulations</vt:lpstr>
      <vt:lpstr>Achievable spectral efficiency&amp;capacity (LTE, NR, ATSC)</vt:lpstr>
      <vt:lpstr>Frequency &amp; Time Interleaver (1)</vt:lpstr>
      <vt:lpstr>Frequency &amp; Time Interleaver (2)</vt:lpstr>
      <vt:lpstr>Receive Antennas for NLoS</vt:lpstr>
      <vt:lpstr>Some Fundamentals of Cellular Modems </vt:lpstr>
      <vt:lpstr>Interleaving – Facts, Challenges and Opportunities</vt:lpstr>
      <vt:lpstr>Time Interleaving proposal: 3GPP modem-friendly designs</vt:lpstr>
      <vt:lpstr>Time Interleaving proposals: modem-friendly designs</vt:lpstr>
      <vt:lpstr>Frequency interleaving</vt:lpstr>
      <vt:lpstr>Evolution of SNR requirements with interleaving</vt:lpstr>
      <vt:lpstr>Impact of Modem-Friendly Time and Frequency Interleaving</vt:lpstr>
      <vt:lpstr>Time-frequency interleaver status in 3GPP</vt:lpstr>
      <vt:lpstr>Summary and Conclusions</vt:lpstr>
      <vt:lpstr>Support the 5G Broadcast Community in 3GPP RAN Rel-19 Planning</vt:lpstr>
      <vt:lpstr>Opportunities and Selected Use Cases</vt:lpstr>
      <vt:lpstr>Selected use cases</vt:lpstr>
      <vt:lpstr>Emergency alerts</vt:lpstr>
      <vt:lpstr>Use cases for emergency notifications</vt:lpstr>
      <vt:lpstr>Emergency message demo with ABS</vt:lpstr>
      <vt:lpstr>How is the QRD MBMS Layer used?</vt:lpstr>
      <vt:lpstr>Coexistence of ATSC 3.0 &amp; 5G Broadcast</vt:lpstr>
      <vt:lpstr>DVB-I via 5G Broadcast</vt:lpstr>
      <vt:lpstr>Hybrid Unicast Broadcast</vt:lpstr>
      <vt:lpstr>PowerPoint Presentation</vt:lpstr>
      <vt:lpstr>How is the QRD MBMS Layer used?</vt:lpstr>
      <vt:lpstr>5G-MAG Reference Tools?</vt:lpstr>
      <vt:lpstr>PowerPoint Presentation</vt:lpstr>
      <vt:lpstr>5G-MAG Reference Tools</vt:lpstr>
      <vt:lpstr>5G-MAG Reference Tools</vt:lpstr>
      <vt:lpstr>Demos 2023</vt:lpstr>
      <vt:lpstr>Summary &amp; Next Steps</vt:lpstr>
      <vt:lpstr>PowerPoint Presentation</vt:lpstr>
      <vt:lpstr>Background – Coexistence with other broadcast systems</vt:lpstr>
      <vt:lpstr>Background - Mechanisms for coexistence</vt:lpstr>
      <vt:lpstr>Limitations to coexistence</vt:lpstr>
      <vt:lpstr>Proposal to enable clean coexist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V Services over 5G Verticals benefitting from global 5G Technologies</dc:title>
  <dc:creator>Thomas</dc:creator>
  <cp:lastModifiedBy>Thomas Stockhammer</cp:lastModifiedBy>
  <cp:revision>7</cp:revision>
  <dcterms:created xsi:type="dcterms:W3CDTF">2020-09-15T22:37:34Z</dcterms:created>
  <dcterms:modified xsi:type="dcterms:W3CDTF">2023-09-15T08: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37C5C26E127740843D49FFC8DCD408</vt:lpwstr>
  </property>
  <property fmtid="{D5CDD505-2E9C-101B-9397-08002B2CF9AE}" pid="3" name="MediaServiceImageTags">
    <vt:lpwstr/>
  </property>
</Properties>
</file>